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ink/ink1.xml" ContentType="application/inkml+xml"/>
  <Override PartName="/ppt/ink/ink2.xml" ContentType="application/inkml+xml"/>
  <Override PartName="/ppt/ink/ink3.xml" ContentType="application/inkml+xml"/>
  <Override PartName="/ppt/ink/ink4.xml" ContentType="application/inkml+xml"/>
  <Override PartName="/ppt/ink/ink5.xml" ContentType="application/inkml+xml"/>
  <Override PartName="/ppt/ink/ink6.xml" ContentType="application/inkml+xml"/>
  <Override PartName="/ppt/ink/ink7.xml" ContentType="application/inkml+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tags/tag1.xml" ContentType="application/vnd.openxmlformats-officedocument.presentationml.tags+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59" r:id="rId4"/>
  </p:sldMasterIdLst>
  <p:notesMasterIdLst>
    <p:notesMasterId r:id="rId219"/>
  </p:notesMasterIdLst>
  <p:handoutMasterIdLst>
    <p:handoutMasterId r:id="rId220"/>
  </p:handoutMasterIdLst>
  <p:sldIdLst>
    <p:sldId id="269" r:id="rId5"/>
    <p:sldId id="265" r:id="rId6"/>
    <p:sldId id="2147471257" r:id="rId7"/>
    <p:sldId id="2147471258" r:id="rId8"/>
    <p:sldId id="2147471259" r:id="rId9"/>
    <p:sldId id="2147471260" r:id="rId10"/>
    <p:sldId id="2147471256" r:id="rId11"/>
    <p:sldId id="2147471261" r:id="rId12"/>
    <p:sldId id="2147471302" r:id="rId13"/>
    <p:sldId id="2147471301" r:id="rId14"/>
    <p:sldId id="2147471300" r:id="rId15"/>
    <p:sldId id="2147471299" r:id="rId16"/>
    <p:sldId id="2147471298" r:id="rId17"/>
    <p:sldId id="2147471297" r:id="rId18"/>
    <p:sldId id="2147471296" r:id="rId19"/>
    <p:sldId id="2147471295" r:id="rId20"/>
    <p:sldId id="2147471294" r:id="rId21"/>
    <p:sldId id="2147471293" r:id="rId22"/>
    <p:sldId id="2147471292" r:id="rId23"/>
    <p:sldId id="2147471291" r:id="rId24"/>
    <p:sldId id="2147471290" r:id="rId25"/>
    <p:sldId id="2147471289" r:id="rId26"/>
    <p:sldId id="2147471288" r:id="rId27"/>
    <p:sldId id="2147471287" r:id="rId28"/>
    <p:sldId id="2147471286" r:id="rId29"/>
    <p:sldId id="2147471285" r:id="rId30"/>
    <p:sldId id="2147471284" r:id="rId31"/>
    <p:sldId id="2147471283" r:id="rId32"/>
    <p:sldId id="2147471282" r:id="rId33"/>
    <p:sldId id="2147471281" r:id="rId34"/>
    <p:sldId id="2147471280" r:id="rId35"/>
    <p:sldId id="2147471279" r:id="rId36"/>
    <p:sldId id="2147471278" r:id="rId37"/>
    <p:sldId id="2147471277" r:id="rId38"/>
    <p:sldId id="2147471276" r:id="rId39"/>
    <p:sldId id="2147471275" r:id="rId40"/>
    <p:sldId id="2147471274" r:id="rId41"/>
    <p:sldId id="2147471273" r:id="rId42"/>
    <p:sldId id="2147471272" r:id="rId43"/>
    <p:sldId id="2147471271" r:id="rId44"/>
    <p:sldId id="2147471270" r:id="rId45"/>
    <p:sldId id="2147471269" r:id="rId46"/>
    <p:sldId id="2147471268" r:id="rId47"/>
    <p:sldId id="2147471267" r:id="rId48"/>
    <p:sldId id="2147471266" r:id="rId49"/>
    <p:sldId id="2147471265" r:id="rId50"/>
    <p:sldId id="2147471264" r:id="rId51"/>
    <p:sldId id="2147471263" r:id="rId52"/>
    <p:sldId id="2147471262" r:id="rId53"/>
    <p:sldId id="2147471337" r:id="rId54"/>
    <p:sldId id="2147471336" r:id="rId55"/>
    <p:sldId id="2147471335" r:id="rId56"/>
    <p:sldId id="2147471334" r:id="rId57"/>
    <p:sldId id="2147471333" r:id="rId58"/>
    <p:sldId id="2147471332" r:id="rId59"/>
    <p:sldId id="2147471331" r:id="rId60"/>
    <p:sldId id="2147471330" r:id="rId61"/>
    <p:sldId id="2147471329" r:id="rId62"/>
    <p:sldId id="2147471328" r:id="rId63"/>
    <p:sldId id="2147471327" r:id="rId64"/>
    <p:sldId id="2147471326" r:id="rId65"/>
    <p:sldId id="2147471325" r:id="rId66"/>
    <p:sldId id="2147471324" r:id="rId67"/>
    <p:sldId id="2147471323" r:id="rId68"/>
    <p:sldId id="2147471322" r:id="rId69"/>
    <p:sldId id="2147471321" r:id="rId70"/>
    <p:sldId id="2147471320" r:id="rId71"/>
    <p:sldId id="2147471319" r:id="rId72"/>
    <p:sldId id="2147471318" r:id="rId73"/>
    <p:sldId id="2147471317" r:id="rId74"/>
    <p:sldId id="2147471316" r:id="rId75"/>
    <p:sldId id="2147471315" r:id="rId76"/>
    <p:sldId id="2147471314" r:id="rId77"/>
    <p:sldId id="2147471313" r:id="rId78"/>
    <p:sldId id="2147471312" r:id="rId79"/>
    <p:sldId id="2147471311" r:id="rId80"/>
    <p:sldId id="2147471310" r:id="rId81"/>
    <p:sldId id="2147471309" r:id="rId82"/>
    <p:sldId id="2147471308" r:id="rId83"/>
    <p:sldId id="2147471307" r:id="rId84"/>
    <p:sldId id="2147471306" r:id="rId85"/>
    <p:sldId id="2147471305" r:id="rId86"/>
    <p:sldId id="2147471304" r:id="rId87"/>
    <p:sldId id="2147471303" r:id="rId88"/>
    <p:sldId id="2147471372" r:id="rId89"/>
    <p:sldId id="2147471371" r:id="rId90"/>
    <p:sldId id="2147471370" r:id="rId91"/>
    <p:sldId id="2147471369" r:id="rId92"/>
    <p:sldId id="2147471368" r:id="rId93"/>
    <p:sldId id="2147471367" r:id="rId94"/>
    <p:sldId id="2147471366" r:id="rId95"/>
    <p:sldId id="2147471365" r:id="rId96"/>
    <p:sldId id="2147471364" r:id="rId97"/>
    <p:sldId id="2147471363" r:id="rId98"/>
    <p:sldId id="2147471362" r:id="rId99"/>
    <p:sldId id="2147471361" r:id="rId100"/>
    <p:sldId id="2147471360" r:id="rId101"/>
    <p:sldId id="2147471359" r:id="rId102"/>
    <p:sldId id="2147471358" r:id="rId103"/>
    <p:sldId id="2147471357" r:id="rId104"/>
    <p:sldId id="2147471356" r:id="rId105"/>
    <p:sldId id="2147471355" r:id="rId106"/>
    <p:sldId id="2147471354" r:id="rId107"/>
    <p:sldId id="2147471353" r:id="rId108"/>
    <p:sldId id="2147471352" r:id="rId109"/>
    <p:sldId id="2147471351" r:id="rId110"/>
    <p:sldId id="2147471350" r:id="rId111"/>
    <p:sldId id="2147471349" r:id="rId112"/>
    <p:sldId id="2147471348" r:id="rId113"/>
    <p:sldId id="2147471347" r:id="rId114"/>
    <p:sldId id="2147471346" r:id="rId115"/>
    <p:sldId id="2147471345" r:id="rId116"/>
    <p:sldId id="2147471344" r:id="rId117"/>
    <p:sldId id="2147471343" r:id="rId118"/>
    <p:sldId id="2147471342" r:id="rId119"/>
    <p:sldId id="2147471341" r:id="rId120"/>
    <p:sldId id="2147471340" r:id="rId121"/>
    <p:sldId id="2147471339" r:id="rId122"/>
    <p:sldId id="2147471338" r:id="rId123"/>
    <p:sldId id="2147471405" r:id="rId124"/>
    <p:sldId id="2147471404" r:id="rId125"/>
    <p:sldId id="2147471403" r:id="rId126"/>
    <p:sldId id="2147471402" r:id="rId127"/>
    <p:sldId id="2147471401" r:id="rId128"/>
    <p:sldId id="2147471400" r:id="rId129"/>
    <p:sldId id="2147471399" r:id="rId130"/>
    <p:sldId id="2147471398" r:id="rId131"/>
    <p:sldId id="2147471397" r:id="rId132"/>
    <p:sldId id="2147471396" r:id="rId133"/>
    <p:sldId id="2147471395" r:id="rId134"/>
    <p:sldId id="2147471394" r:id="rId135"/>
    <p:sldId id="2147471393" r:id="rId136"/>
    <p:sldId id="2147471392" r:id="rId137"/>
    <p:sldId id="2147471391" r:id="rId138"/>
    <p:sldId id="2147471390" r:id="rId139"/>
    <p:sldId id="2147471389" r:id="rId140"/>
    <p:sldId id="2147471388" r:id="rId141"/>
    <p:sldId id="2147471387" r:id="rId142"/>
    <p:sldId id="2147471386" r:id="rId143"/>
    <p:sldId id="2147471385" r:id="rId144"/>
    <p:sldId id="2147471384" r:id="rId145"/>
    <p:sldId id="2147471383" r:id="rId146"/>
    <p:sldId id="2147471382" r:id="rId147"/>
    <p:sldId id="2147471381" r:id="rId148"/>
    <p:sldId id="2147471380" r:id="rId149"/>
    <p:sldId id="2147471379" r:id="rId150"/>
    <p:sldId id="2147471378" r:id="rId151"/>
    <p:sldId id="2147471377" r:id="rId152"/>
    <p:sldId id="2147471376" r:id="rId153"/>
    <p:sldId id="2147471375" r:id="rId154"/>
    <p:sldId id="2147471374" r:id="rId155"/>
    <p:sldId id="2147471373" r:id="rId156"/>
    <p:sldId id="2147471429" r:id="rId157"/>
    <p:sldId id="2147471428" r:id="rId158"/>
    <p:sldId id="2147471427" r:id="rId159"/>
    <p:sldId id="2147471426" r:id="rId160"/>
    <p:sldId id="2147471425" r:id="rId161"/>
    <p:sldId id="2147471424" r:id="rId162"/>
    <p:sldId id="2147471423" r:id="rId163"/>
    <p:sldId id="2147471422" r:id="rId164"/>
    <p:sldId id="2147471421" r:id="rId165"/>
    <p:sldId id="2147471420" r:id="rId166"/>
    <p:sldId id="2147471419" r:id="rId167"/>
    <p:sldId id="2147471418" r:id="rId168"/>
    <p:sldId id="2147471417" r:id="rId169"/>
    <p:sldId id="2147471416" r:id="rId170"/>
    <p:sldId id="2147471415" r:id="rId171"/>
    <p:sldId id="2147471414" r:id="rId172"/>
    <p:sldId id="2147471413" r:id="rId173"/>
    <p:sldId id="2147471412" r:id="rId174"/>
    <p:sldId id="2147471411" r:id="rId175"/>
    <p:sldId id="2147471410" r:id="rId176"/>
    <p:sldId id="2147471409" r:id="rId177"/>
    <p:sldId id="2147471408" r:id="rId178"/>
    <p:sldId id="2147471407" r:id="rId179"/>
    <p:sldId id="2147471406" r:id="rId180"/>
    <p:sldId id="2147471462" r:id="rId181"/>
    <p:sldId id="2147471461" r:id="rId182"/>
    <p:sldId id="2147471460" r:id="rId183"/>
    <p:sldId id="2147471459" r:id="rId184"/>
    <p:sldId id="2147471458" r:id="rId185"/>
    <p:sldId id="2147471457" r:id="rId186"/>
    <p:sldId id="2147471456" r:id="rId187"/>
    <p:sldId id="2147471455" r:id="rId188"/>
    <p:sldId id="2147471454" r:id="rId189"/>
    <p:sldId id="2147471453" r:id="rId190"/>
    <p:sldId id="2147471452" r:id="rId191"/>
    <p:sldId id="2147471451" r:id="rId192"/>
    <p:sldId id="2147471450" r:id="rId193"/>
    <p:sldId id="2147471449" r:id="rId194"/>
    <p:sldId id="2147471448" r:id="rId195"/>
    <p:sldId id="2147471447" r:id="rId196"/>
    <p:sldId id="2147471446" r:id="rId197"/>
    <p:sldId id="2147471445" r:id="rId198"/>
    <p:sldId id="2147471444" r:id="rId199"/>
    <p:sldId id="2147471443" r:id="rId200"/>
    <p:sldId id="2147471442" r:id="rId201"/>
    <p:sldId id="2147471441" r:id="rId202"/>
    <p:sldId id="2147471440" r:id="rId203"/>
    <p:sldId id="2147471439" r:id="rId204"/>
    <p:sldId id="2147471438" r:id="rId205"/>
    <p:sldId id="2147471437" r:id="rId206"/>
    <p:sldId id="2147471436" r:id="rId207"/>
    <p:sldId id="2147471435" r:id="rId208"/>
    <p:sldId id="2147471434" r:id="rId209"/>
    <p:sldId id="2147471433" r:id="rId210"/>
    <p:sldId id="2147471432" r:id="rId211"/>
    <p:sldId id="2147471431" r:id="rId212"/>
    <p:sldId id="2147471430" r:id="rId213"/>
    <p:sldId id="2147471467" r:id="rId214"/>
    <p:sldId id="2147471466" r:id="rId215"/>
    <p:sldId id="2147471465" r:id="rId216"/>
    <p:sldId id="2147471464" r:id="rId217"/>
    <p:sldId id="2147471463" r:id="rId218"/>
  </p:sldIdLst>
  <p:sldSz cx="9144000" cy="5148263"/>
  <p:notesSz cx="6858000" cy="9144000"/>
  <p:defaultTextStyle>
    <a:defPPr>
      <a:defRPr lang="en-US"/>
    </a:defPPr>
    <a:lvl1pPr algn="l" rtl="0" fontAlgn="base">
      <a:spcBef>
        <a:spcPct val="0"/>
      </a:spcBef>
      <a:spcAft>
        <a:spcPct val="0"/>
      </a:spcAft>
      <a:defRPr sz="2400" kern="1200">
        <a:solidFill>
          <a:schemeClr val="tx1"/>
        </a:solidFill>
        <a:latin typeface="Arial" charset="0"/>
        <a:ea typeface="ＭＳ Ｐゴシック" charset="0"/>
        <a:cs typeface="ＭＳ Ｐゴシック" charset="0"/>
      </a:defRPr>
    </a:lvl1pPr>
    <a:lvl2pPr marL="457200" algn="l" rtl="0" fontAlgn="base">
      <a:spcBef>
        <a:spcPct val="0"/>
      </a:spcBef>
      <a:spcAft>
        <a:spcPct val="0"/>
      </a:spcAft>
      <a:defRPr sz="2400" kern="1200">
        <a:solidFill>
          <a:schemeClr val="tx1"/>
        </a:solidFill>
        <a:latin typeface="Arial" charset="0"/>
        <a:ea typeface="ＭＳ Ｐゴシック" charset="0"/>
        <a:cs typeface="ＭＳ Ｐゴシック" charset="0"/>
      </a:defRPr>
    </a:lvl2pPr>
    <a:lvl3pPr marL="914400" algn="l" rtl="0" fontAlgn="base">
      <a:spcBef>
        <a:spcPct val="0"/>
      </a:spcBef>
      <a:spcAft>
        <a:spcPct val="0"/>
      </a:spcAft>
      <a:defRPr sz="2400" kern="1200">
        <a:solidFill>
          <a:schemeClr val="tx1"/>
        </a:solidFill>
        <a:latin typeface="Arial" charset="0"/>
        <a:ea typeface="ＭＳ Ｐゴシック" charset="0"/>
        <a:cs typeface="ＭＳ Ｐゴシック" charset="0"/>
      </a:defRPr>
    </a:lvl3pPr>
    <a:lvl4pPr marL="1371600" algn="l" rtl="0" fontAlgn="base">
      <a:spcBef>
        <a:spcPct val="0"/>
      </a:spcBef>
      <a:spcAft>
        <a:spcPct val="0"/>
      </a:spcAft>
      <a:defRPr sz="2400" kern="1200">
        <a:solidFill>
          <a:schemeClr val="tx1"/>
        </a:solidFill>
        <a:latin typeface="Arial" charset="0"/>
        <a:ea typeface="ＭＳ Ｐゴシック" charset="0"/>
        <a:cs typeface="ＭＳ Ｐゴシック" charset="0"/>
      </a:defRPr>
    </a:lvl4pPr>
    <a:lvl5pPr marL="1828800" algn="l" rtl="0" fontAlgn="base">
      <a:spcBef>
        <a:spcPct val="0"/>
      </a:spcBef>
      <a:spcAft>
        <a:spcPct val="0"/>
      </a:spcAft>
      <a:defRPr sz="2400" kern="1200">
        <a:solidFill>
          <a:schemeClr val="tx1"/>
        </a:solidFill>
        <a:latin typeface="Arial" charset="0"/>
        <a:ea typeface="ＭＳ Ｐゴシック" charset="0"/>
        <a:cs typeface="ＭＳ Ｐゴシック" charset="0"/>
      </a:defRPr>
    </a:lvl5pPr>
    <a:lvl6pPr marL="2286000" algn="l" defTabSz="457200" rtl="0" eaLnBrk="1" latinLnBrk="0" hangingPunct="1">
      <a:defRPr sz="2400" kern="1200">
        <a:solidFill>
          <a:schemeClr val="tx1"/>
        </a:solidFill>
        <a:latin typeface="Arial" charset="0"/>
        <a:ea typeface="ＭＳ Ｐゴシック" charset="0"/>
        <a:cs typeface="ＭＳ Ｐゴシック" charset="0"/>
      </a:defRPr>
    </a:lvl6pPr>
    <a:lvl7pPr marL="2743200" algn="l" defTabSz="457200" rtl="0" eaLnBrk="1" latinLnBrk="0" hangingPunct="1">
      <a:defRPr sz="2400" kern="1200">
        <a:solidFill>
          <a:schemeClr val="tx1"/>
        </a:solidFill>
        <a:latin typeface="Arial" charset="0"/>
        <a:ea typeface="ＭＳ Ｐゴシック" charset="0"/>
        <a:cs typeface="ＭＳ Ｐゴシック" charset="0"/>
      </a:defRPr>
    </a:lvl7pPr>
    <a:lvl8pPr marL="3200400" algn="l" defTabSz="457200" rtl="0" eaLnBrk="1" latinLnBrk="0" hangingPunct="1">
      <a:defRPr sz="2400" kern="1200">
        <a:solidFill>
          <a:schemeClr val="tx1"/>
        </a:solidFill>
        <a:latin typeface="Arial" charset="0"/>
        <a:ea typeface="ＭＳ Ｐゴシック" charset="0"/>
        <a:cs typeface="ＭＳ Ｐゴシック" charset="0"/>
      </a:defRPr>
    </a:lvl8pPr>
    <a:lvl9pPr marL="3657600" algn="l" defTabSz="457200" rtl="0" eaLnBrk="1" latinLnBrk="0" hangingPunct="1">
      <a:defRPr sz="2400" kern="1200">
        <a:solidFill>
          <a:schemeClr val="tx1"/>
        </a:solidFill>
        <a:latin typeface="Arial" charset="0"/>
        <a:ea typeface="ＭＳ Ｐゴシック" charset="0"/>
        <a:cs typeface="ＭＳ Ｐゴシック" charset="0"/>
      </a:defRPr>
    </a:lvl9pPr>
  </p:defaultTextStyle>
  <p:extLst>
    <p:ext uri="{EFAFB233-063F-42B5-8137-9DF3F51BA10A}">
      <p15:sldGuideLst xmlns:p15="http://schemas.microsoft.com/office/powerpoint/2012/main">
        <p15:guide id="1" orient="horz" pos="1622">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E51"/>
    <a:srgbClr val="21FF76"/>
    <a:srgbClr val="FFC82C"/>
    <a:srgbClr val="FFC92A"/>
    <a:srgbClr val="00376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EBD26C2-EC25-2928-559C-918739D712D5}" v="41" dt="2023-09-15T16:23:22.009"/>
    <p1510:client id="{73E36091-3B4D-4262-9086-A88037D78B29}" v="10" dt="2023-09-06T19:19:37.086"/>
    <p1510:client id="{96352FA2-5EDD-CA0B-FA76-63E31EF6307D}" v="165" dt="2023-09-15T16:31:38.05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32633" autoAdjust="0"/>
    <p:restoredTop sz="94694"/>
  </p:normalViewPr>
  <p:slideViewPr>
    <p:cSldViewPr snapToGrid="0" snapToObjects="1">
      <p:cViewPr varScale="1">
        <p:scale>
          <a:sx n="80" d="100"/>
          <a:sy n="80" d="100"/>
        </p:scale>
        <p:origin x="412" y="40"/>
      </p:cViewPr>
      <p:guideLst>
        <p:guide orient="horz" pos="1622"/>
        <p:guide pos="2880"/>
      </p:guideLst>
    </p:cSldViewPr>
  </p:slideViewPr>
  <p:notesTextViewPr>
    <p:cViewPr>
      <p:scale>
        <a:sx n="1" d="1"/>
        <a:sy n="1" d="1"/>
      </p:scale>
      <p:origin x="0" y="0"/>
    </p:cViewPr>
  </p:notesTextViewPr>
  <p:sorterViewPr>
    <p:cViewPr>
      <p:scale>
        <a:sx n="80" d="100"/>
        <a:sy n="80" d="100"/>
      </p:scale>
      <p:origin x="0" y="0"/>
    </p:cViewPr>
  </p:sorterViewPr>
  <p:notesViewPr>
    <p:cSldViewPr snapToGrid="0" snapToObjects="1">
      <p:cViewPr varScale="1">
        <p:scale>
          <a:sx n="97" d="100"/>
          <a:sy n="97" d="100"/>
        </p:scale>
        <p:origin x="4328" y="200"/>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3.xml"/><Relationship Id="rId21" Type="http://schemas.openxmlformats.org/officeDocument/2006/relationships/slide" Target="slides/slide17.xml"/><Relationship Id="rId42" Type="http://schemas.openxmlformats.org/officeDocument/2006/relationships/slide" Target="slides/slide38.xml"/><Relationship Id="rId63" Type="http://schemas.openxmlformats.org/officeDocument/2006/relationships/slide" Target="slides/slide59.xml"/><Relationship Id="rId84" Type="http://schemas.openxmlformats.org/officeDocument/2006/relationships/slide" Target="slides/slide80.xml"/><Relationship Id="rId138" Type="http://schemas.openxmlformats.org/officeDocument/2006/relationships/slide" Target="slides/slide134.xml"/><Relationship Id="rId159" Type="http://schemas.openxmlformats.org/officeDocument/2006/relationships/slide" Target="slides/slide155.xml"/><Relationship Id="rId170" Type="http://schemas.openxmlformats.org/officeDocument/2006/relationships/slide" Target="slides/slide166.xml"/><Relationship Id="rId191" Type="http://schemas.openxmlformats.org/officeDocument/2006/relationships/slide" Target="slides/slide187.xml"/><Relationship Id="rId205" Type="http://schemas.openxmlformats.org/officeDocument/2006/relationships/slide" Target="slides/slide201.xml"/><Relationship Id="rId226" Type="http://schemas.microsoft.com/office/2015/10/relationships/revisionInfo" Target="revisionInfo.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53" Type="http://schemas.openxmlformats.org/officeDocument/2006/relationships/slide" Target="slides/slide49.xml"/><Relationship Id="rId74" Type="http://schemas.openxmlformats.org/officeDocument/2006/relationships/slide" Target="slides/slide70.xml"/><Relationship Id="rId128" Type="http://schemas.openxmlformats.org/officeDocument/2006/relationships/slide" Target="slides/slide124.xml"/><Relationship Id="rId149" Type="http://schemas.openxmlformats.org/officeDocument/2006/relationships/slide" Target="slides/slide145.xml"/><Relationship Id="rId5" Type="http://schemas.openxmlformats.org/officeDocument/2006/relationships/slide" Target="slides/slide1.xml"/><Relationship Id="rId95" Type="http://schemas.openxmlformats.org/officeDocument/2006/relationships/slide" Target="slides/slide91.xml"/><Relationship Id="rId160" Type="http://schemas.openxmlformats.org/officeDocument/2006/relationships/slide" Target="slides/slide156.xml"/><Relationship Id="rId181" Type="http://schemas.openxmlformats.org/officeDocument/2006/relationships/slide" Target="slides/slide177.xml"/><Relationship Id="rId216" Type="http://schemas.openxmlformats.org/officeDocument/2006/relationships/slide" Target="slides/slide212.xml"/><Relationship Id="rId22" Type="http://schemas.openxmlformats.org/officeDocument/2006/relationships/slide" Target="slides/slide18.xml"/><Relationship Id="rId43" Type="http://schemas.openxmlformats.org/officeDocument/2006/relationships/slide" Target="slides/slide39.xml"/><Relationship Id="rId64" Type="http://schemas.openxmlformats.org/officeDocument/2006/relationships/slide" Target="slides/slide60.xml"/><Relationship Id="rId118" Type="http://schemas.openxmlformats.org/officeDocument/2006/relationships/slide" Target="slides/slide114.xml"/><Relationship Id="rId139" Type="http://schemas.openxmlformats.org/officeDocument/2006/relationships/slide" Target="slides/slide135.xml"/><Relationship Id="rId85" Type="http://schemas.openxmlformats.org/officeDocument/2006/relationships/slide" Target="slides/slide81.xml"/><Relationship Id="rId150" Type="http://schemas.openxmlformats.org/officeDocument/2006/relationships/slide" Target="slides/slide146.xml"/><Relationship Id="rId171" Type="http://schemas.openxmlformats.org/officeDocument/2006/relationships/slide" Target="slides/slide167.xml"/><Relationship Id="rId192" Type="http://schemas.openxmlformats.org/officeDocument/2006/relationships/slide" Target="slides/slide188.xml"/><Relationship Id="rId206" Type="http://schemas.openxmlformats.org/officeDocument/2006/relationships/slide" Target="slides/slide202.xml"/><Relationship Id="rId12" Type="http://schemas.openxmlformats.org/officeDocument/2006/relationships/slide" Target="slides/slide8.xml"/><Relationship Id="rId33" Type="http://schemas.openxmlformats.org/officeDocument/2006/relationships/slide" Target="slides/slide29.xml"/><Relationship Id="rId108" Type="http://schemas.openxmlformats.org/officeDocument/2006/relationships/slide" Target="slides/slide104.xml"/><Relationship Id="rId129" Type="http://schemas.openxmlformats.org/officeDocument/2006/relationships/slide" Target="slides/slide125.xml"/><Relationship Id="rId54" Type="http://schemas.openxmlformats.org/officeDocument/2006/relationships/slide" Target="slides/slide50.xml"/><Relationship Id="rId75" Type="http://schemas.openxmlformats.org/officeDocument/2006/relationships/slide" Target="slides/slide71.xml"/><Relationship Id="rId96" Type="http://schemas.openxmlformats.org/officeDocument/2006/relationships/slide" Target="slides/slide92.xml"/><Relationship Id="rId140" Type="http://schemas.openxmlformats.org/officeDocument/2006/relationships/slide" Target="slides/slide136.xml"/><Relationship Id="rId161" Type="http://schemas.openxmlformats.org/officeDocument/2006/relationships/slide" Target="slides/slide157.xml"/><Relationship Id="rId182" Type="http://schemas.openxmlformats.org/officeDocument/2006/relationships/slide" Target="slides/slide178.xml"/><Relationship Id="rId217" Type="http://schemas.openxmlformats.org/officeDocument/2006/relationships/slide" Target="slides/slide213.xml"/><Relationship Id="rId6" Type="http://schemas.openxmlformats.org/officeDocument/2006/relationships/slide" Target="slides/slide2.xml"/><Relationship Id="rId23" Type="http://schemas.openxmlformats.org/officeDocument/2006/relationships/slide" Target="slides/slide19.xml"/><Relationship Id="rId119" Type="http://schemas.openxmlformats.org/officeDocument/2006/relationships/slide" Target="slides/slide115.xml"/><Relationship Id="rId44" Type="http://schemas.openxmlformats.org/officeDocument/2006/relationships/slide" Target="slides/slide40.xml"/><Relationship Id="rId65" Type="http://schemas.openxmlformats.org/officeDocument/2006/relationships/slide" Target="slides/slide61.xml"/><Relationship Id="rId86" Type="http://schemas.openxmlformats.org/officeDocument/2006/relationships/slide" Target="slides/slide82.xml"/><Relationship Id="rId130" Type="http://schemas.openxmlformats.org/officeDocument/2006/relationships/slide" Target="slides/slide126.xml"/><Relationship Id="rId151" Type="http://schemas.openxmlformats.org/officeDocument/2006/relationships/slide" Target="slides/slide147.xml"/><Relationship Id="rId172" Type="http://schemas.openxmlformats.org/officeDocument/2006/relationships/slide" Target="slides/slide168.xml"/><Relationship Id="rId193" Type="http://schemas.openxmlformats.org/officeDocument/2006/relationships/slide" Target="slides/slide189.xml"/><Relationship Id="rId207" Type="http://schemas.openxmlformats.org/officeDocument/2006/relationships/slide" Target="slides/slide203.xml"/><Relationship Id="rId13" Type="http://schemas.openxmlformats.org/officeDocument/2006/relationships/slide" Target="slides/slide9.xml"/><Relationship Id="rId109" Type="http://schemas.openxmlformats.org/officeDocument/2006/relationships/slide" Target="slides/slide105.xml"/><Relationship Id="rId34" Type="http://schemas.openxmlformats.org/officeDocument/2006/relationships/slide" Target="slides/slide30.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20" Type="http://schemas.openxmlformats.org/officeDocument/2006/relationships/slide" Target="slides/slide116.xml"/><Relationship Id="rId141" Type="http://schemas.openxmlformats.org/officeDocument/2006/relationships/slide" Target="slides/slide137.xml"/><Relationship Id="rId7" Type="http://schemas.openxmlformats.org/officeDocument/2006/relationships/slide" Target="slides/slide3.xml"/><Relationship Id="rId162" Type="http://schemas.openxmlformats.org/officeDocument/2006/relationships/slide" Target="slides/slide158.xml"/><Relationship Id="rId183" Type="http://schemas.openxmlformats.org/officeDocument/2006/relationships/slide" Target="slides/slide179.xml"/><Relationship Id="rId218" Type="http://schemas.openxmlformats.org/officeDocument/2006/relationships/slide" Target="slides/slide214.xml"/><Relationship Id="rId24" Type="http://schemas.openxmlformats.org/officeDocument/2006/relationships/slide" Target="slides/slide20.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31" Type="http://schemas.openxmlformats.org/officeDocument/2006/relationships/slide" Target="slides/slide127.xml"/><Relationship Id="rId152" Type="http://schemas.openxmlformats.org/officeDocument/2006/relationships/slide" Target="slides/slide148.xml"/><Relationship Id="rId173" Type="http://schemas.openxmlformats.org/officeDocument/2006/relationships/slide" Target="slides/slide169.xml"/><Relationship Id="rId194" Type="http://schemas.openxmlformats.org/officeDocument/2006/relationships/slide" Target="slides/slide190.xml"/><Relationship Id="rId208" Type="http://schemas.openxmlformats.org/officeDocument/2006/relationships/slide" Target="slides/slide204.xml"/><Relationship Id="rId14" Type="http://schemas.openxmlformats.org/officeDocument/2006/relationships/slide" Target="slides/slide10.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8" Type="http://schemas.openxmlformats.org/officeDocument/2006/relationships/slide" Target="slides/slide4.xml"/><Relationship Id="rId98" Type="http://schemas.openxmlformats.org/officeDocument/2006/relationships/slide" Target="slides/slide94.xml"/><Relationship Id="rId121" Type="http://schemas.openxmlformats.org/officeDocument/2006/relationships/slide" Target="slides/slide117.xml"/><Relationship Id="rId142" Type="http://schemas.openxmlformats.org/officeDocument/2006/relationships/slide" Target="slides/slide138.xml"/><Relationship Id="rId163" Type="http://schemas.openxmlformats.org/officeDocument/2006/relationships/slide" Target="slides/slide159.xml"/><Relationship Id="rId184" Type="http://schemas.openxmlformats.org/officeDocument/2006/relationships/slide" Target="slides/slide180.xml"/><Relationship Id="rId219" Type="http://schemas.openxmlformats.org/officeDocument/2006/relationships/notesMaster" Target="notesMasters/notesMaster1.xml"/><Relationship Id="rId3" Type="http://schemas.openxmlformats.org/officeDocument/2006/relationships/customXml" Target="../customXml/item3.xml"/><Relationship Id="rId214" Type="http://schemas.openxmlformats.org/officeDocument/2006/relationships/slide" Target="slides/slide210.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116" Type="http://schemas.openxmlformats.org/officeDocument/2006/relationships/slide" Target="slides/slide112.xml"/><Relationship Id="rId137" Type="http://schemas.openxmlformats.org/officeDocument/2006/relationships/slide" Target="slides/slide133.xml"/><Relationship Id="rId158" Type="http://schemas.openxmlformats.org/officeDocument/2006/relationships/slide" Target="slides/slide154.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openxmlformats.org/officeDocument/2006/relationships/slide" Target="slides/slide107.xml"/><Relationship Id="rId132" Type="http://schemas.openxmlformats.org/officeDocument/2006/relationships/slide" Target="slides/slide128.xml"/><Relationship Id="rId153" Type="http://schemas.openxmlformats.org/officeDocument/2006/relationships/slide" Target="slides/slide149.xml"/><Relationship Id="rId174" Type="http://schemas.openxmlformats.org/officeDocument/2006/relationships/slide" Target="slides/slide170.xml"/><Relationship Id="rId179" Type="http://schemas.openxmlformats.org/officeDocument/2006/relationships/slide" Target="slides/slide175.xml"/><Relationship Id="rId195" Type="http://schemas.openxmlformats.org/officeDocument/2006/relationships/slide" Target="slides/slide191.xml"/><Relationship Id="rId209" Type="http://schemas.openxmlformats.org/officeDocument/2006/relationships/slide" Target="slides/slide205.xml"/><Relationship Id="rId190" Type="http://schemas.openxmlformats.org/officeDocument/2006/relationships/slide" Target="slides/slide186.xml"/><Relationship Id="rId204" Type="http://schemas.openxmlformats.org/officeDocument/2006/relationships/slide" Target="slides/slide200.xml"/><Relationship Id="rId220" Type="http://schemas.openxmlformats.org/officeDocument/2006/relationships/handoutMaster" Target="handoutMasters/handoutMaster1.xml"/><Relationship Id="rId225" Type="http://schemas.microsoft.com/office/2016/11/relationships/changesInfo" Target="changesInfos/changesInfo1.xml"/><Relationship Id="rId15" Type="http://schemas.openxmlformats.org/officeDocument/2006/relationships/slide" Target="slides/slide11.xml"/><Relationship Id="rId36" Type="http://schemas.openxmlformats.org/officeDocument/2006/relationships/slide" Target="slides/slide32.xml"/><Relationship Id="rId57" Type="http://schemas.openxmlformats.org/officeDocument/2006/relationships/slide" Target="slides/slide53.xml"/><Relationship Id="rId106" Type="http://schemas.openxmlformats.org/officeDocument/2006/relationships/slide" Target="slides/slide102.xml"/><Relationship Id="rId127" Type="http://schemas.openxmlformats.org/officeDocument/2006/relationships/slide" Target="slides/slide123.xml"/><Relationship Id="rId10" Type="http://schemas.openxmlformats.org/officeDocument/2006/relationships/slide" Target="slides/slide6.xml"/><Relationship Id="rId31" Type="http://schemas.openxmlformats.org/officeDocument/2006/relationships/slide" Target="slides/slide27.xml"/><Relationship Id="rId52" Type="http://schemas.openxmlformats.org/officeDocument/2006/relationships/slide" Target="slides/slide48.xml"/><Relationship Id="rId73" Type="http://schemas.openxmlformats.org/officeDocument/2006/relationships/slide" Target="slides/slide69.xml"/><Relationship Id="rId78" Type="http://schemas.openxmlformats.org/officeDocument/2006/relationships/slide" Target="slides/slide74.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slide" Target="slides/slide118.xml"/><Relationship Id="rId143" Type="http://schemas.openxmlformats.org/officeDocument/2006/relationships/slide" Target="slides/slide139.xml"/><Relationship Id="rId148" Type="http://schemas.openxmlformats.org/officeDocument/2006/relationships/slide" Target="slides/slide144.xml"/><Relationship Id="rId164" Type="http://schemas.openxmlformats.org/officeDocument/2006/relationships/slide" Target="slides/slide160.xml"/><Relationship Id="rId169" Type="http://schemas.openxmlformats.org/officeDocument/2006/relationships/slide" Target="slides/slide165.xml"/><Relationship Id="rId185" Type="http://schemas.openxmlformats.org/officeDocument/2006/relationships/slide" Target="slides/slide181.xml"/><Relationship Id="rId4" Type="http://schemas.openxmlformats.org/officeDocument/2006/relationships/slideMaster" Target="slideMasters/slideMaster1.xml"/><Relationship Id="rId9" Type="http://schemas.openxmlformats.org/officeDocument/2006/relationships/slide" Target="slides/slide5.xml"/><Relationship Id="rId180" Type="http://schemas.openxmlformats.org/officeDocument/2006/relationships/slide" Target="slides/slide176.xml"/><Relationship Id="rId210" Type="http://schemas.openxmlformats.org/officeDocument/2006/relationships/slide" Target="slides/slide206.xml"/><Relationship Id="rId215" Type="http://schemas.openxmlformats.org/officeDocument/2006/relationships/slide" Target="slides/slide211.xml"/><Relationship Id="rId26" Type="http://schemas.openxmlformats.org/officeDocument/2006/relationships/slide" Target="slides/slide22.xml"/><Relationship Id="rId47" Type="http://schemas.openxmlformats.org/officeDocument/2006/relationships/slide" Target="slides/slide43.xml"/><Relationship Id="rId68" Type="http://schemas.openxmlformats.org/officeDocument/2006/relationships/slide" Target="slides/slide64.xml"/><Relationship Id="rId89" Type="http://schemas.openxmlformats.org/officeDocument/2006/relationships/slide" Target="slides/slide85.xml"/><Relationship Id="rId112" Type="http://schemas.openxmlformats.org/officeDocument/2006/relationships/slide" Target="slides/slide108.xml"/><Relationship Id="rId133" Type="http://schemas.openxmlformats.org/officeDocument/2006/relationships/slide" Target="slides/slide129.xml"/><Relationship Id="rId154" Type="http://schemas.openxmlformats.org/officeDocument/2006/relationships/slide" Target="slides/slide150.xml"/><Relationship Id="rId175" Type="http://schemas.openxmlformats.org/officeDocument/2006/relationships/slide" Target="slides/slide171.xml"/><Relationship Id="rId196" Type="http://schemas.openxmlformats.org/officeDocument/2006/relationships/slide" Target="slides/slide192.xml"/><Relationship Id="rId200" Type="http://schemas.openxmlformats.org/officeDocument/2006/relationships/slide" Target="slides/slide196.xml"/><Relationship Id="rId16" Type="http://schemas.openxmlformats.org/officeDocument/2006/relationships/slide" Target="slides/slide12.xml"/><Relationship Id="rId221" Type="http://schemas.openxmlformats.org/officeDocument/2006/relationships/presProps" Target="presProps.xml"/><Relationship Id="rId37" Type="http://schemas.openxmlformats.org/officeDocument/2006/relationships/slide" Target="slides/slide33.xml"/><Relationship Id="rId58" Type="http://schemas.openxmlformats.org/officeDocument/2006/relationships/slide" Target="slides/slide54.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slide" Target="slides/slide119.xml"/><Relationship Id="rId144" Type="http://schemas.openxmlformats.org/officeDocument/2006/relationships/slide" Target="slides/slide140.xml"/><Relationship Id="rId90" Type="http://schemas.openxmlformats.org/officeDocument/2006/relationships/slide" Target="slides/slide86.xml"/><Relationship Id="rId165" Type="http://schemas.openxmlformats.org/officeDocument/2006/relationships/slide" Target="slides/slide161.xml"/><Relationship Id="rId186" Type="http://schemas.openxmlformats.org/officeDocument/2006/relationships/slide" Target="slides/slide182.xml"/><Relationship Id="rId211" Type="http://schemas.openxmlformats.org/officeDocument/2006/relationships/slide" Target="slides/slide207.xml"/><Relationship Id="rId27" Type="http://schemas.openxmlformats.org/officeDocument/2006/relationships/slide" Target="slides/slide23.xml"/><Relationship Id="rId48" Type="http://schemas.openxmlformats.org/officeDocument/2006/relationships/slide" Target="slides/slide44.xml"/><Relationship Id="rId69" Type="http://schemas.openxmlformats.org/officeDocument/2006/relationships/slide" Target="slides/slide65.xml"/><Relationship Id="rId113" Type="http://schemas.openxmlformats.org/officeDocument/2006/relationships/slide" Target="slides/slide109.xml"/><Relationship Id="rId134" Type="http://schemas.openxmlformats.org/officeDocument/2006/relationships/slide" Target="slides/slide130.xml"/><Relationship Id="rId80" Type="http://schemas.openxmlformats.org/officeDocument/2006/relationships/slide" Target="slides/slide76.xml"/><Relationship Id="rId155" Type="http://schemas.openxmlformats.org/officeDocument/2006/relationships/slide" Target="slides/slide151.xml"/><Relationship Id="rId176" Type="http://schemas.openxmlformats.org/officeDocument/2006/relationships/slide" Target="slides/slide172.xml"/><Relationship Id="rId197" Type="http://schemas.openxmlformats.org/officeDocument/2006/relationships/slide" Target="slides/slide193.xml"/><Relationship Id="rId201" Type="http://schemas.openxmlformats.org/officeDocument/2006/relationships/slide" Target="slides/slide197.xml"/><Relationship Id="rId222" Type="http://schemas.openxmlformats.org/officeDocument/2006/relationships/viewProps" Target="viewProps.xml"/><Relationship Id="rId17" Type="http://schemas.openxmlformats.org/officeDocument/2006/relationships/slide" Target="slides/slide13.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24" Type="http://schemas.openxmlformats.org/officeDocument/2006/relationships/slide" Target="slides/slide120.xml"/><Relationship Id="rId70" Type="http://schemas.openxmlformats.org/officeDocument/2006/relationships/slide" Target="slides/slide66.xml"/><Relationship Id="rId91" Type="http://schemas.openxmlformats.org/officeDocument/2006/relationships/slide" Target="slides/slide87.xml"/><Relationship Id="rId145" Type="http://schemas.openxmlformats.org/officeDocument/2006/relationships/slide" Target="slides/slide141.xml"/><Relationship Id="rId166" Type="http://schemas.openxmlformats.org/officeDocument/2006/relationships/slide" Target="slides/slide162.xml"/><Relationship Id="rId187" Type="http://schemas.openxmlformats.org/officeDocument/2006/relationships/slide" Target="slides/slide183.xml"/><Relationship Id="rId1" Type="http://schemas.openxmlformats.org/officeDocument/2006/relationships/customXml" Target="../customXml/item1.xml"/><Relationship Id="rId212" Type="http://schemas.openxmlformats.org/officeDocument/2006/relationships/slide" Target="slides/slide208.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slide" Target="slides/slide110.xml"/><Relationship Id="rId60" Type="http://schemas.openxmlformats.org/officeDocument/2006/relationships/slide" Target="slides/slide56.xml"/><Relationship Id="rId81" Type="http://schemas.openxmlformats.org/officeDocument/2006/relationships/slide" Target="slides/slide77.xml"/><Relationship Id="rId135" Type="http://schemas.openxmlformats.org/officeDocument/2006/relationships/slide" Target="slides/slide131.xml"/><Relationship Id="rId156" Type="http://schemas.openxmlformats.org/officeDocument/2006/relationships/slide" Target="slides/slide152.xml"/><Relationship Id="rId177" Type="http://schemas.openxmlformats.org/officeDocument/2006/relationships/slide" Target="slides/slide173.xml"/><Relationship Id="rId198" Type="http://schemas.openxmlformats.org/officeDocument/2006/relationships/slide" Target="slides/slide194.xml"/><Relationship Id="rId202" Type="http://schemas.openxmlformats.org/officeDocument/2006/relationships/slide" Target="slides/slide198.xml"/><Relationship Id="rId223" Type="http://schemas.openxmlformats.org/officeDocument/2006/relationships/theme" Target="theme/theme1.xml"/><Relationship Id="rId18" Type="http://schemas.openxmlformats.org/officeDocument/2006/relationships/slide" Target="slides/slide14.xml"/><Relationship Id="rId39" Type="http://schemas.openxmlformats.org/officeDocument/2006/relationships/slide" Target="slides/slide35.xml"/><Relationship Id="rId50" Type="http://schemas.openxmlformats.org/officeDocument/2006/relationships/slide" Target="slides/slide46.xml"/><Relationship Id="rId104" Type="http://schemas.openxmlformats.org/officeDocument/2006/relationships/slide" Target="slides/slide100.xml"/><Relationship Id="rId125" Type="http://schemas.openxmlformats.org/officeDocument/2006/relationships/slide" Target="slides/slide121.xml"/><Relationship Id="rId146" Type="http://schemas.openxmlformats.org/officeDocument/2006/relationships/slide" Target="slides/slide142.xml"/><Relationship Id="rId167" Type="http://schemas.openxmlformats.org/officeDocument/2006/relationships/slide" Target="slides/slide163.xml"/><Relationship Id="rId188" Type="http://schemas.openxmlformats.org/officeDocument/2006/relationships/slide" Target="slides/slide184.xml"/><Relationship Id="rId71" Type="http://schemas.openxmlformats.org/officeDocument/2006/relationships/slide" Target="slides/slide67.xml"/><Relationship Id="rId92" Type="http://schemas.openxmlformats.org/officeDocument/2006/relationships/slide" Target="slides/slide88.xml"/><Relationship Id="rId213" Type="http://schemas.openxmlformats.org/officeDocument/2006/relationships/slide" Target="slides/slide209.xml"/><Relationship Id="rId2" Type="http://schemas.openxmlformats.org/officeDocument/2006/relationships/customXml" Target="../customXml/item2.xml"/><Relationship Id="rId29" Type="http://schemas.openxmlformats.org/officeDocument/2006/relationships/slide" Target="slides/slide25.xml"/><Relationship Id="rId40" Type="http://schemas.openxmlformats.org/officeDocument/2006/relationships/slide" Target="slides/slide36.xml"/><Relationship Id="rId115" Type="http://schemas.openxmlformats.org/officeDocument/2006/relationships/slide" Target="slides/slide111.xml"/><Relationship Id="rId136" Type="http://schemas.openxmlformats.org/officeDocument/2006/relationships/slide" Target="slides/slide132.xml"/><Relationship Id="rId157" Type="http://schemas.openxmlformats.org/officeDocument/2006/relationships/slide" Target="slides/slide153.xml"/><Relationship Id="rId178" Type="http://schemas.openxmlformats.org/officeDocument/2006/relationships/slide" Target="slides/slide174.xml"/><Relationship Id="rId61" Type="http://schemas.openxmlformats.org/officeDocument/2006/relationships/slide" Target="slides/slide57.xml"/><Relationship Id="rId82" Type="http://schemas.openxmlformats.org/officeDocument/2006/relationships/slide" Target="slides/slide78.xml"/><Relationship Id="rId199" Type="http://schemas.openxmlformats.org/officeDocument/2006/relationships/slide" Target="slides/slide195.xml"/><Relationship Id="rId203" Type="http://schemas.openxmlformats.org/officeDocument/2006/relationships/slide" Target="slides/slide199.xml"/><Relationship Id="rId19" Type="http://schemas.openxmlformats.org/officeDocument/2006/relationships/slide" Target="slides/slide15.xml"/><Relationship Id="rId224" Type="http://schemas.openxmlformats.org/officeDocument/2006/relationships/tableStyles" Target="tableStyles.xml"/><Relationship Id="rId30" Type="http://schemas.openxmlformats.org/officeDocument/2006/relationships/slide" Target="slides/slide26.xml"/><Relationship Id="rId105" Type="http://schemas.openxmlformats.org/officeDocument/2006/relationships/slide" Target="slides/slide101.xml"/><Relationship Id="rId126" Type="http://schemas.openxmlformats.org/officeDocument/2006/relationships/slide" Target="slides/slide122.xml"/><Relationship Id="rId147" Type="http://schemas.openxmlformats.org/officeDocument/2006/relationships/slide" Target="slides/slide143.xml"/><Relationship Id="rId168" Type="http://schemas.openxmlformats.org/officeDocument/2006/relationships/slide" Target="slides/slide16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189" Type="http://schemas.openxmlformats.org/officeDocument/2006/relationships/slide" Target="slides/slide18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arah Nemshick" userId="b2e3d327-557d-411e-bc11-c17db7499854" providerId="ADAL" clId="{73E36091-3B4D-4262-9086-A88037D78B29}"/>
    <pc:docChg chg="custSel addSld delSld modSld">
      <pc:chgData name="Sarah Nemshick" userId="b2e3d327-557d-411e-bc11-c17db7499854" providerId="ADAL" clId="{73E36091-3B4D-4262-9086-A88037D78B29}" dt="2023-09-06T19:20:22.849" v="632" actId="1076"/>
      <pc:docMkLst>
        <pc:docMk/>
      </pc:docMkLst>
      <pc:sldChg chg="del">
        <pc:chgData name="Sarah Nemshick" userId="b2e3d327-557d-411e-bc11-c17db7499854" providerId="ADAL" clId="{73E36091-3B4D-4262-9086-A88037D78B29}" dt="2023-09-06T19:11:50.060" v="52" actId="47"/>
        <pc:sldMkLst>
          <pc:docMk/>
          <pc:sldMk cId="3375361018" sldId="262"/>
        </pc:sldMkLst>
      </pc:sldChg>
      <pc:sldChg chg="modSp mod">
        <pc:chgData name="Sarah Nemshick" userId="b2e3d327-557d-411e-bc11-c17db7499854" providerId="ADAL" clId="{73E36091-3B4D-4262-9086-A88037D78B29}" dt="2023-09-06T19:16:54.806" v="252" actId="113"/>
        <pc:sldMkLst>
          <pc:docMk/>
          <pc:sldMk cId="1643160523" sldId="265"/>
        </pc:sldMkLst>
        <pc:spChg chg="mod">
          <ac:chgData name="Sarah Nemshick" userId="b2e3d327-557d-411e-bc11-c17db7499854" providerId="ADAL" clId="{73E36091-3B4D-4262-9086-A88037D78B29}" dt="2023-09-06T19:16:54.806" v="252" actId="113"/>
          <ac:spMkLst>
            <pc:docMk/>
            <pc:sldMk cId="1643160523" sldId="265"/>
            <ac:spMk id="2" creationId="{00000000-0000-0000-0000-000000000000}"/>
          </ac:spMkLst>
        </pc:spChg>
        <pc:spChg chg="mod">
          <ac:chgData name="Sarah Nemshick" userId="b2e3d327-557d-411e-bc11-c17db7499854" providerId="ADAL" clId="{73E36091-3B4D-4262-9086-A88037D78B29}" dt="2023-09-06T19:12:03.491" v="72" actId="20577"/>
          <ac:spMkLst>
            <pc:docMk/>
            <pc:sldMk cId="1643160523" sldId="265"/>
            <ac:spMk id="4" creationId="{00000000-0000-0000-0000-000000000000}"/>
          </ac:spMkLst>
        </pc:spChg>
      </pc:sldChg>
      <pc:sldChg chg="del">
        <pc:chgData name="Sarah Nemshick" userId="b2e3d327-557d-411e-bc11-c17db7499854" providerId="ADAL" clId="{73E36091-3B4D-4262-9086-A88037D78B29}" dt="2023-09-06T19:11:36.902" v="35" actId="47"/>
        <pc:sldMkLst>
          <pc:docMk/>
          <pc:sldMk cId="878484124" sldId="315"/>
        </pc:sldMkLst>
      </pc:sldChg>
      <pc:sldChg chg="addSp delSp modSp del mod">
        <pc:chgData name="Sarah Nemshick" userId="b2e3d327-557d-411e-bc11-c17db7499854" providerId="ADAL" clId="{73E36091-3B4D-4262-9086-A88037D78B29}" dt="2023-09-06T19:11:35.800" v="34" actId="2696"/>
        <pc:sldMkLst>
          <pc:docMk/>
          <pc:sldMk cId="1358112176" sldId="491"/>
        </pc:sldMkLst>
        <pc:spChg chg="del">
          <ac:chgData name="Sarah Nemshick" userId="b2e3d327-557d-411e-bc11-c17db7499854" providerId="ADAL" clId="{73E36091-3B4D-4262-9086-A88037D78B29}" dt="2023-09-06T19:11:30.558" v="33" actId="478"/>
          <ac:spMkLst>
            <pc:docMk/>
            <pc:sldMk cId="1358112176" sldId="491"/>
            <ac:spMk id="2" creationId="{00000000-0000-0000-0000-000000000000}"/>
          </ac:spMkLst>
        </pc:spChg>
        <pc:spChg chg="add mod">
          <ac:chgData name="Sarah Nemshick" userId="b2e3d327-557d-411e-bc11-c17db7499854" providerId="ADAL" clId="{73E36091-3B4D-4262-9086-A88037D78B29}" dt="2023-09-06T19:11:30.558" v="33" actId="478"/>
          <ac:spMkLst>
            <pc:docMk/>
            <pc:sldMk cId="1358112176" sldId="491"/>
            <ac:spMk id="18" creationId="{DF3AA7FB-D064-0AE3-F1DA-8E51D5B252B5}"/>
          </ac:spMkLst>
        </pc:spChg>
      </pc:sldChg>
      <pc:sldChg chg="del">
        <pc:chgData name="Sarah Nemshick" userId="b2e3d327-557d-411e-bc11-c17db7499854" providerId="ADAL" clId="{73E36091-3B4D-4262-9086-A88037D78B29}" dt="2023-09-06T19:11:48.545" v="48" actId="47"/>
        <pc:sldMkLst>
          <pc:docMk/>
          <pc:sldMk cId="987427285" sldId="569"/>
        </pc:sldMkLst>
      </pc:sldChg>
      <pc:sldChg chg="del">
        <pc:chgData name="Sarah Nemshick" userId="b2e3d327-557d-411e-bc11-c17db7499854" providerId="ADAL" clId="{73E36091-3B4D-4262-9086-A88037D78B29}" dt="2023-09-06T19:11:54.142" v="63" actId="47"/>
        <pc:sldMkLst>
          <pc:docMk/>
          <pc:sldMk cId="905484594" sldId="572"/>
        </pc:sldMkLst>
      </pc:sldChg>
      <pc:sldChg chg="del">
        <pc:chgData name="Sarah Nemshick" userId="b2e3d327-557d-411e-bc11-c17db7499854" providerId="ADAL" clId="{73E36091-3B4D-4262-9086-A88037D78B29}" dt="2023-09-06T19:11:37.199" v="36" actId="47"/>
        <pc:sldMkLst>
          <pc:docMk/>
          <pc:sldMk cId="3053280772" sldId="573"/>
        </pc:sldMkLst>
      </pc:sldChg>
      <pc:sldChg chg="del">
        <pc:chgData name="Sarah Nemshick" userId="b2e3d327-557d-411e-bc11-c17db7499854" providerId="ADAL" clId="{73E36091-3B4D-4262-9086-A88037D78B29}" dt="2023-09-06T19:11:45.544" v="45" actId="47"/>
        <pc:sldMkLst>
          <pc:docMk/>
          <pc:sldMk cId="2844599444" sldId="576"/>
        </pc:sldMkLst>
      </pc:sldChg>
      <pc:sldChg chg="del">
        <pc:chgData name="Sarah Nemshick" userId="b2e3d327-557d-411e-bc11-c17db7499854" providerId="ADAL" clId="{73E36091-3B4D-4262-9086-A88037D78B29}" dt="2023-09-06T19:11:54.716" v="64" actId="47"/>
        <pc:sldMkLst>
          <pc:docMk/>
          <pc:sldMk cId="163647164" sldId="753"/>
        </pc:sldMkLst>
      </pc:sldChg>
      <pc:sldChg chg="del">
        <pc:chgData name="Sarah Nemshick" userId="b2e3d327-557d-411e-bc11-c17db7499854" providerId="ADAL" clId="{73E36091-3B4D-4262-9086-A88037D78B29}" dt="2023-09-06T19:11:50.277" v="53" actId="47"/>
        <pc:sldMkLst>
          <pc:docMk/>
          <pc:sldMk cId="0" sldId="3286"/>
        </pc:sldMkLst>
      </pc:sldChg>
      <pc:sldChg chg="del">
        <pc:chgData name="Sarah Nemshick" userId="b2e3d327-557d-411e-bc11-c17db7499854" providerId="ADAL" clId="{73E36091-3B4D-4262-9086-A88037D78B29}" dt="2023-09-06T19:11:44.944" v="44" actId="47"/>
        <pc:sldMkLst>
          <pc:docMk/>
          <pc:sldMk cId="3267576935" sldId="2147471222"/>
        </pc:sldMkLst>
      </pc:sldChg>
      <pc:sldChg chg="del">
        <pc:chgData name="Sarah Nemshick" userId="b2e3d327-557d-411e-bc11-c17db7499854" providerId="ADAL" clId="{73E36091-3B4D-4262-9086-A88037D78B29}" dt="2023-09-06T19:11:42.988" v="41" actId="47"/>
        <pc:sldMkLst>
          <pc:docMk/>
          <pc:sldMk cId="931842383" sldId="2147471241"/>
        </pc:sldMkLst>
      </pc:sldChg>
      <pc:sldChg chg="del">
        <pc:chgData name="Sarah Nemshick" userId="b2e3d327-557d-411e-bc11-c17db7499854" providerId="ADAL" clId="{73E36091-3B4D-4262-9086-A88037D78B29}" dt="2023-09-06T19:11:41.280" v="40" actId="47"/>
        <pc:sldMkLst>
          <pc:docMk/>
          <pc:sldMk cId="1704643469" sldId="2147471242"/>
        </pc:sldMkLst>
      </pc:sldChg>
      <pc:sldChg chg="del">
        <pc:chgData name="Sarah Nemshick" userId="b2e3d327-557d-411e-bc11-c17db7499854" providerId="ADAL" clId="{73E36091-3B4D-4262-9086-A88037D78B29}" dt="2023-09-06T19:11:48.876" v="49" actId="47"/>
        <pc:sldMkLst>
          <pc:docMk/>
          <pc:sldMk cId="879295625" sldId="2147471244"/>
        </pc:sldMkLst>
      </pc:sldChg>
      <pc:sldChg chg="del">
        <pc:chgData name="Sarah Nemshick" userId="b2e3d327-557d-411e-bc11-c17db7499854" providerId="ADAL" clId="{73E36091-3B4D-4262-9086-A88037D78B29}" dt="2023-09-06T19:11:49.455" v="51" actId="47"/>
        <pc:sldMkLst>
          <pc:docMk/>
          <pc:sldMk cId="365158313" sldId="2147471245"/>
        </pc:sldMkLst>
      </pc:sldChg>
      <pc:sldChg chg="del">
        <pc:chgData name="Sarah Nemshick" userId="b2e3d327-557d-411e-bc11-c17db7499854" providerId="ADAL" clId="{73E36091-3B4D-4262-9086-A88037D78B29}" dt="2023-09-06T19:11:47.834" v="47" actId="47"/>
        <pc:sldMkLst>
          <pc:docMk/>
          <pc:sldMk cId="4242582806" sldId="2147471252"/>
        </pc:sldMkLst>
      </pc:sldChg>
      <pc:sldChg chg="del">
        <pc:chgData name="Sarah Nemshick" userId="b2e3d327-557d-411e-bc11-c17db7499854" providerId="ADAL" clId="{73E36091-3B4D-4262-9086-A88037D78B29}" dt="2023-09-06T19:11:46.895" v="46" actId="47"/>
        <pc:sldMkLst>
          <pc:docMk/>
          <pc:sldMk cId="3595237298" sldId="2147471253"/>
        </pc:sldMkLst>
      </pc:sldChg>
      <pc:sldChg chg="del">
        <pc:chgData name="Sarah Nemshick" userId="b2e3d327-557d-411e-bc11-c17db7499854" providerId="ADAL" clId="{73E36091-3B4D-4262-9086-A88037D78B29}" dt="2023-09-06T19:11:49.080" v="50" actId="47"/>
        <pc:sldMkLst>
          <pc:docMk/>
          <pc:sldMk cId="3456112515" sldId="2147471254"/>
        </pc:sldMkLst>
      </pc:sldChg>
      <pc:sldChg chg="del">
        <pc:chgData name="Sarah Nemshick" userId="b2e3d327-557d-411e-bc11-c17db7499854" providerId="ADAL" clId="{73E36091-3B4D-4262-9086-A88037D78B29}" dt="2023-09-06T19:11:50.462" v="54" actId="47"/>
        <pc:sldMkLst>
          <pc:docMk/>
          <pc:sldMk cId="358069861" sldId="2147471255"/>
        </pc:sldMkLst>
      </pc:sldChg>
      <pc:sldChg chg="addSp modSp mod">
        <pc:chgData name="Sarah Nemshick" userId="b2e3d327-557d-411e-bc11-c17db7499854" providerId="ADAL" clId="{73E36091-3B4D-4262-9086-A88037D78B29}" dt="2023-09-06T19:13:41.314" v="130"/>
        <pc:sldMkLst>
          <pc:docMk/>
          <pc:sldMk cId="3618188752" sldId="2147471256"/>
        </pc:sldMkLst>
        <pc:spChg chg="mod">
          <ac:chgData name="Sarah Nemshick" userId="b2e3d327-557d-411e-bc11-c17db7499854" providerId="ADAL" clId="{73E36091-3B4D-4262-9086-A88037D78B29}" dt="2023-09-06T19:12:10.668" v="85" actId="20577"/>
          <ac:spMkLst>
            <pc:docMk/>
            <pc:sldMk cId="3618188752" sldId="2147471256"/>
            <ac:spMk id="2" creationId="{9773BB96-06F6-84B7-61A6-F008D7A1CE5F}"/>
          </ac:spMkLst>
        </pc:spChg>
        <pc:picChg chg="add mod">
          <ac:chgData name="Sarah Nemshick" userId="b2e3d327-557d-411e-bc11-c17db7499854" providerId="ADAL" clId="{73E36091-3B4D-4262-9086-A88037D78B29}" dt="2023-09-06T19:13:41.314" v="130"/>
          <ac:picMkLst>
            <pc:docMk/>
            <pc:sldMk cId="3618188752" sldId="2147471256"/>
            <ac:picMk id="3" creationId="{99B7CFF6-DB4F-C6AE-4076-D1B67D8F05CF}"/>
          </ac:picMkLst>
        </pc:picChg>
      </pc:sldChg>
      <pc:sldChg chg="del">
        <pc:chgData name="Sarah Nemshick" userId="b2e3d327-557d-411e-bc11-c17db7499854" providerId="ADAL" clId="{73E36091-3B4D-4262-9086-A88037D78B29}" dt="2023-09-06T19:11:40.068" v="38" actId="47"/>
        <pc:sldMkLst>
          <pc:docMk/>
          <pc:sldMk cId="2480440089" sldId="2147471257"/>
        </pc:sldMkLst>
      </pc:sldChg>
      <pc:sldChg chg="addSp delSp modSp add mod">
        <pc:chgData name="Sarah Nemshick" userId="b2e3d327-557d-411e-bc11-c17db7499854" providerId="ADAL" clId="{73E36091-3B4D-4262-9086-A88037D78B29}" dt="2023-09-06T19:17:06.121" v="253" actId="14100"/>
        <pc:sldMkLst>
          <pc:docMk/>
          <pc:sldMk cId="2496030569" sldId="2147471257"/>
        </pc:sldMkLst>
        <pc:spChg chg="del mod">
          <ac:chgData name="Sarah Nemshick" userId="b2e3d327-557d-411e-bc11-c17db7499854" providerId="ADAL" clId="{73E36091-3B4D-4262-9086-A88037D78B29}" dt="2023-09-06T19:15:10.958" v="138" actId="478"/>
          <ac:spMkLst>
            <pc:docMk/>
            <pc:sldMk cId="2496030569" sldId="2147471257"/>
            <ac:spMk id="2" creationId="{00000000-0000-0000-0000-000000000000}"/>
          </ac:spMkLst>
        </pc:spChg>
        <pc:spChg chg="mod">
          <ac:chgData name="Sarah Nemshick" userId="b2e3d327-557d-411e-bc11-c17db7499854" providerId="ADAL" clId="{73E36091-3B4D-4262-9086-A88037D78B29}" dt="2023-09-06T19:12:21.175" v="117" actId="20577"/>
          <ac:spMkLst>
            <pc:docMk/>
            <pc:sldMk cId="2496030569" sldId="2147471257"/>
            <ac:spMk id="4" creationId="{00000000-0000-0000-0000-000000000000}"/>
          </ac:spMkLst>
        </pc:spChg>
        <pc:picChg chg="add mod">
          <ac:chgData name="Sarah Nemshick" userId="b2e3d327-557d-411e-bc11-c17db7499854" providerId="ADAL" clId="{73E36091-3B4D-4262-9086-A88037D78B29}" dt="2023-09-06T19:15:32.009" v="147" actId="1076"/>
          <ac:picMkLst>
            <pc:docMk/>
            <pc:sldMk cId="2496030569" sldId="2147471257"/>
            <ac:picMk id="5" creationId="{3FFE3891-B651-E7E9-7ACD-512B218C955B}"/>
          </ac:picMkLst>
        </pc:picChg>
        <pc:picChg chg="add mod">
          <ac:chgData name="Sarah Nemshick" userId="b2e3d327-557d-411e-bc11-c17db7499854" providerId="ADAL" clId="{73E36091-3B4D-4262-9086-A88037D78B29}" dt="2023-09-06T19:17:06.121" v="253" actId="14100"/>
          <ac:picMkLst>
            <pc:docMk/>
            <pc:sldMk cId="2496030569" sldId="2147471257"/>
            <ac:picMk id="7" creationId="{2F6C2F6C-43E6-FF37-23B1-EDD7CEA0098B}"/>
          </ac:picMkLst>
        </pc:picChg>
        <pc:picChg chg="add mod">
          <ac:chgData name="Sarah Nemshick" userId="b2e3d327-557d-411e-bc11-c17db7499854" providerId="ADAL" clId="{73E36091-3B4D-4262-9086-A88037D78B29}" dt="2023-09-06T19:15:51.565" v="154" actId="1076"/>
          <ac:picMkLst>
            <pc:docMk/>
            <pc:sldMk cId="2496030569" sldId="2147471257"/>
            <ac:picMk id="9" creationId="{6C80D0F5-A8F0-80CD-D51F-ED4AD3637B0D}"/>
          </ac:picMkLst>
        </pc:picChg>
        <pc:picChg chg="add mod">
          <ac:chgData name="Sarah Nemshick" userId="b2e3d327-557d-411e-bc11-c17db7499854" providerId="ADAL" clId="{73E36091-3B4D-4262-9086-A88037D78B29}" dt="2023-09-06T19:16:09.093" v="161" actId="1076"/>
          <ac:picMkLst>
            <pc:docMk/>
            <pc:sldMk cId="2496030569" sldId="2147471257"/>
            <ac:picMk id="11" creationId="{7F5DA714-A7BE-37F2-CAD3-2266D568D708}"/>
          </ac:picMkLst>
        </pc:picChg>
      </pc:sldChg>
      <pc:sldChg chg="del">
        <pc:chgData name="Sarah Nemshick" userId="b2e3d327-557d-411e-bc11-c17db7499854" providerId="ADAL" clId="{73E36091-3B4D-4262-9086-A88037D78B29}" dt="2023-09-06T19:11:50.860" v="56" actId="47"/>
        <pc:sldMkLst>
          <pc:docMk/>
          <pc:sldMk cId="1354118589" sldId="2147471258"/>
        </pc:sldMkLst>
      </pc:sldChg>
      <pc:sldChg chg="addSp modSp add mod">
        <pc:chgData name="Sarah Nemshick" userId="b2e3d327-557d-411e-bc11-c17db7499854" providerId="ADAL" clId="{73E36091-3B4D-4262-9086-A88037D78B29}" dt="2023-09-06T19:13:04.014" v="121" actId="14100"/>
        <pc:sldMkLst>
          <pc:docMk/>
          <pc:sldMk cId="3163587254" sldId="2147471258"/>
        </pc:sldMkLst>
        <pc:picChg chg="add mod">
          <ac:chgData name="Sarah Nemshick" userId="b2e3d327-557d-411e-bc11-c17db7499854" providerId="ADAL" clId="{73E36091-3B4D-4262-9086-A88037D78B29}" dt="2023-09-06T19:13:04.014" v="121" actId="14100"/>
          <ac:picMkLst>
            <pc:docMk/>
            <pc:sldMk cId="3163587254" sldId="2147471258"/>
            <ac:picMk id="3" creationId="{E6D7B922-0772-8101-D51E-74C505796D58}"/>
          </ac:picMkLst>
        </pc:picChg>
      </pc:sldChg>
      <pc:sldChg chg="del">
        <pc:chgData name="Sarah Nemshick" userId="b2e3d327-557d-411e-bc11-c17db7499854" providerId="ADAL" clId="{73E36091-3B4D-4262-9086-A88037D78B29}" dt="2023-09-06T19:11:51.062" v="57" actId="47"/>
        <pc:sldMkLst>
          <pc:docMk/>
          <pc:sldMk cId="704604450" sldId="2147471259"/>
        </pc:sldMkLst>
      </pc:sldChg>
      <pc:sldChg chg="addSp delSp modSp add mod">
        <pc:chgData name="Sarah Nemshick" userId="b2e3d327-557d-411e-bc11-c17db7499854" providerId="ADAL" clId="{73E36091-3B4D-4262-9086-A88037D78B29}" dt="2023-09-06T19:13:14.544" v="124"/>
        <pc:sldMkLst>
          <pc:docMk/>
          <pc:sldMk cId="2130142568" sldId="2147471259"/>
        </pc:sldMkLst>
        <pc:picChg chg="del">
          <ac:chgData name="Sarah Nemshick" userId="b2e3d327-557d-411e-bc11-c17db7499854" providerId="ADAL" clId="{73E36091-3B4D-4262-9086-A88037D78B29}" dt="2023-09-06T19:13:09.678" v="123" actId="478"/>
          <ac:picMkLst>
            <pc:docMk/>
            <pc:sldMk cId="2130142568" sldId="2147471259"/>
            <ac:picMk id="3" creationId="{E6D7B922-0772-8101-D51E-74C505796D58}"/>
          </ac:picMkLst>
        </pc:picChg>
        <pc:picChg chg="add mod">
          <ac:chgData name="Sarah Nemshick" userId="b2e3d327-557d-411e-bc11-c17db7499854" providerId="ADAL" clId="{73E36091-3B4D-4262-9086-A88037D78B29}" dt="2023-09-06T19:13:14.544" v="124"/>
          <ac:picMkLst>
            <pc:docMk/>
            <pc:sldMk cId="2130142568" sldId="2147471259"/>
            <ac:picMk id="5" creationId="{FF2D9231-602B-DC84-6447-597B7846662F}"/>
          </ac:picMkLst>
        </pc:picChg>
      </pc:sldChg>
      <pc:sldChg chg="del">
        <pc:chgData name="Sarah Nemshick" userId="b2e3d327-557d-411e-bc11-c17db7499854" providerId="ADAL" clId="{73E36091-3B4D-4262-9086-A88037D78B29}" dt="2023-09-06T19:11:50.646" v="55" actId="47"/>
        <pc:sldMkLst>
          <pc:docMk/>
          <pc:sldMk cId="44984248" sldId="2147471260"/>
        </pc:sldMkLst>
      </pc:sldChg>
      <pc:sldChg chg="addSp delSp modSp add mod">
        <pc:chgData name="Sarah Nemshick" userId="b2e3d327-557d-411e-bc11-c17db7499854" providerId="ADAL" clId="{73E36091-3B4D-4262-9086-A88037D78B29}" dt="2023-09-06T19:13:27.617" v="127"/>
        <pc:sldMkLst>
          <pc:docMk/>
          <pc:sldMk cId="383935952" sldId="2147471260"/>
        </pc:sldMkLst>
        <pc:picChg chg="add mod">
          <ac:chgData name="Sarah Nemshick" userId="b2e3d327-557d-411e-bc11-c17db7499854" providerId="ADAL" clId="{73E36091-3B4D-4262-9086-A88037D78B29}" dt="2023-09-06T19:13:27.617" v="127"/>
          <ac:picMkLst>
            <pc:docMk/>
            <pc:sldMk cId="383935952" sldId="2147471260"/>
            <ac:picMk id="3" creationId="{0214EDCD-28AF-E96D-19A4-2A69835E417D}"/>
          </ac:picMkLst>
        </pc:picChg>
        <pc:picChg chg="del">
          <ac:chgData name="Sarah Nemshick" userId="b2e3d327-557d-411e-bc11-c17db7499854" providerId="ADAL" clId="{73E36091-3B4D-4262-9086-A88037D78B29}" dt="2023-09-06T19:13:20.015" v="126" actId="478"/>
          <ac:picMkLst>
            <pc:docMk/>
            <pc:sldMk cId="383935952" sldId="2147471260"/>
            <ac:picMk id="5" creationId="{FF2D9231-602B-DC84-6447-597B7846662F}"/>
          </ac:picMkLst>
        </pc:picChg>
      </pc:sldChg>
      <pc:sldChg chg="add del">
        <pc:chgData name="Sarah Nemshick" userId="b2e3d327-557d-411e-bc11-c17db7499854" providerId="ADAL" clId="{73E36091-3B4D-4262-9086-A88037D78B29}" dt="2023-09-06T19:13:39.881" v="129" actId="47"/>
        <pc:sldMkLst>
          <pc:docMk/>
          <pc:sldMk cId="1330157836" sldId="2147471261"/>
        </pc:sldMkLst>
      </pc:sldChg>
      <pc:sldChg chg="addSp delSp modSp add mod">
        <pc:chgData name="Sarah Nemshick" userId="b2e3d327-557d-411e-bc11-c17db7499854" providerId="ADAL" clId="{73E36091-3B4D-4262-9086-A88037D78B29}" dt="2023-09-06T19:20:22.849" v="632" actId="1076"/>
        <pc:sldMkLst>
          <pc:docMk/>
          <pc:sldMk cId="2065792551" sldId="2147471261"/>
        </pc:sldMkLst>
        <pc:spChg chg="mod">
          <ac:chgData name="Sarah Nemshick" userId="b2e3d327-557d-411e-bc11-c17db7499854" providerId="ADAL" clId="{73E36091-3B4D-4262-9086-A88037D78B29}" dt="2023-09-06T19:17:15.864" v="254" actId="1076"/>
          <ac:spMkLst>
            <pc:docMk/>
            <pc:sldMk cId="2065792551" sldId="2147471261"/>
            <ac:spMk id="2" creationId="{9773BB96-06F6-84B7-61A6-F008D7A1CE5F}"/>
          </ac:spMkLst>
        </pc:spChg>
        <pc:spChg chg="add mod">
          <ac:chgData name="Sarah Nemshick" userId="b2e3d327-557d-411e-bc11-c17db7499854" providerId="ADAL" clId="{73E36091-3B4D-4262-9086-A88037D78B29}" dt="2023-09-06T19:20:22.849" v="632" actId="1076"/>
          <ac:spMkLst>
            <pc:docMk/>
            <pc:sldMk cId="2065792551" sldId="2147471261"/>
            <ac:spMk id="4" creationId="{21DC2327-9A42-E4D1-7ED8-AAD234B217EA}"/>
          </ac:spMkLst>
        </pc:spChg>
        <pc:picChg chg="del">
          <ac:chgData name="Sarah Nemshick" userId="b2e3d327-557d-411e-bc11-c17db7499854" providerId="ADAL" clId="{73E36091-3B4D-4262-9086-A88037D78B29}" dt="2023-09-06T19:13:51.007" v="132" actId="478"/>
          <ac:picMkLst>
            <pc:docMk/>
            <pc:sldMk cId="2065792551" sldId="2147471261"/>
            <ac:picMk id="3" creationId="{99B7CFF6-DB4F-C6AE-4076-D1B67D8F05CF}"/>
          </ac:picMkLst>
        </pc:picChg>
        <pc:picChg chg="add del mod">
          <ac:chgData name="Sarah Nemshick" userId="b2e3d327-557d-411e-bc11-c17db7499854" providerId="ADAL" clId="{73E36091-3B4D-4262-9086-A88037D78B29}" dt="2023-09-06T19:19:39.388" v="619" actId="478"/>
          <ac:picMkLst>
            <pc:docMk/>
            <pc:sldMk cId="2065792551" sldId="2147471261"/>
            <ac:picMk id="5" creationId="{6ABE85D6-DA1B-B524-9790-D606BA5806CD}"/>
          </ac:picMkLst>
        </pc:picChg>
      </pc:sldChg>
      <pc:sldChg chg="del">
        <pc:chgData name="Sarah Nemshick" userId="b2e3d327-557d-411e-bc11-c17db7499854" providerId="ADAL" clId="{73E36091-3B4D-4262-9086-A88037D78B29}" dt="2023-09-06T19:11:51.252" v="58" actId="47"/>
        <pc:sldMkLst>
          <pc:docMk/>
          <pc:sldMk cId="3317027434" sldId="2147471261"/>
        </pc:sldMkLst>
      </pc:sldChg>
      <pc:sldChg chg="del">
        <pc:chgData name="Sarah Nemshick" userId="b2e3d327-557d-411e-bc11-c17db7499854" providerId="ADAL" clId="{73E36091-3B4D-4262-9086-A88037D78B29}" dt="2023-09-06T19:11:40.683" v="39" actId="47"/>
        <pc:sldMkLst>
          <pc:docMk/>
          <pc:sldMk cId="1503538979" sldId="2147471262"/>
        </pc:sldMkLst>
      </pc:sldChg>
      <pc:sldChg chg="del">
        <pc:chgData name="Sarah Nemshick" userId="b2e3d327-557d-411e-bc11-c17db7499854" providerId="ADAL" clId="{73E36091-3B4D-4262-9086-A88037D78B29}" dt="2023-09-06T19:11:43.742" v="42" actId="47"/>
        <pc:sldMkLst>
          <pc:docMk/>
          <pc:sldMk cId="1319812274" sldId="2147471263"/>
        </pc:sldMkLst>
      </pc:sldChg>
      <pc:sldChg chg="del">
        <pc:chgData name="Sarah Nemshick" userId="b2e3d327-557d-411e-bc11-c17db7499854" providerId="ADAL" clId="{73E36091-3B4D-4262-9086-A88037D78B29}" dt="2023-09-06T19:11:44.329" v="43" actId="47"/>
        <pc:sldMkLst>
          <pc:docMk/>
          <pc:sldMk cId="3167473135" sldId="2147471264"/>
        </pc:sldMkLst>
      </pc:sldChg>
      <pc:sldChg chg="del">
        <pc:chgData name="Sarah Nemshick" userId="b2e3d327-557d-411e-bc11-c17db7499854" providerId="ADAL" clId="{73E36091-3B4D-4262-9086-A88037D78B29}" dt="2023-09-06T19:11:37.595" v="37" actId="47"/>
        <pc:sldMkLst>
          <pc:docMk/>
          <pc:sldMk cId="4094623170" sldId="2147471266"/>
        </pc:sldMkLst>
      </pc:sldChg>
      <pc:sldChg chg="del">
        <pc:chgData name="Sarah Nemshick" userId="b2e3d327-557d-411e-bc11-c17db7499854" providerId="ADAL" clId="{73E36091-3B4D-4262-9086-A88037D78B29}" dt="2023-09-06T19:11:52.565" v="62" actId="47"/>
        <pc:sldMkLst>
          <pc:docMk/>
          <pc:sldMk cId="26333598" sldId="2147471267"/>
        </pc:sldMkLst>
      </pc:sldChg>
      <pc:sldChg chg="del">
        <pc:chgData name="Sarah Nemshick" userId="b2e3d327-557d-411e-bc11-c17db7499854" providerId="ADAL" clId="{73E36091-3B4D-4262-9086-A88037D78B29}" dt="2023-09-06T19:11:52.347" v="61" actId="47"/>
        <pc:sldMkLst>
          <pc:docMk/>
          <pc:sldMk cId="1596709956" sldId="2147471268"/>
        </pc:sldMkLst>
      </pc:sldChg>
      <pc:sldChg chg="del">
        <pc:chgData name="Sarah Nemshick" userId="b2e3d327-557d-411e-bc11-c17db7499854" providerId="ADAL" clId="{73E36091-3B4D-4262-9086-A88037D78B29}" dt="2023-09-06T19:11:52.008" v="60" actId="47"/>
        <pc:sldMkLst>
          <pc:docMk/>
          <pc:sldMk cId="130323255" sldId="2147471269"/>
        </pc:sldMkLst>
      </pc:sldChg>
      <pc:sldChg chg="del">
        <pc:chgData name="Sarah Nemshick" userId="b2e3d327-557d-411e-bc11-c17db7499854" providerId="ADAL" clId="{73E36091-3B4D-4262-9086-A88037D78B29}" dt="2023-09-06T19:11:57.591" v="65" actId="47"/>
        <pc:sldMkLst>
          <pc:docMk/>
          <pc:sldMk cId="2812291958" sldId="2147471270"/>
        </pc:sldMkLst>
      </pc:sldChg>
      <pc:sldChg chg="del">
        <pc:chgData name="Sarah Nemshick" userId="b2e3d327-557d-411e-bc11-c17db7499854" providerId="ADAL" clId="{73E36091-3B4D-4262-9086-A88037D78B29}" dt="2023-09-06T19:11:51.423" v="59" actId="47"/>
        <pc:sldMkLst>
          <pc:docMk/>
          <pc:sldMk cId="3549586448" sldId="2147471271"/>
        </pc:sldMkLst>
      </pc:sldChg>
      <pc:sldMasterChg chg="delSldLayout">
        <pc:chgData name="Sarah Nemshick" userId="b2e3d327-557d-411e-bc11-c17db7499854" providerId="ADAL" clId="{73E36091-3B4D-4262-9086-A88037D78B29}" dt="2023-09-06T19:11:54.716" v="64" actId="47"/>
        <pc:sldMasterMkLst>
          <pc:docMk/>
          <pc:sldMasterMk cId="1070809925" sldId="2147483659"/>
        </pc:sldMasterMkLst>
        <pc:sldLayoutChg chg="del">
          <pc:chgData name="Sarah Nemshick" userId="b2e3d327-557d-411e-bc11-c17db7499854" providerId="ADAL" clId="{73E36091-3B4D-4262-9086-A88037D78B29}" dt="2023-09-06T19:11:42.988" v="41" actId="47"/>
          <pc:sldLayoutMkLst>
            <pc:docMk/>
            <pc:sldMasterMk cId="1070809925" sldId="2147483659"/>
            <pc:sldLayoutMk cId="2882712935" sldId="2147483670"/>
          </pc:sldLayoutMkLst>
        </pc:sldLayoutChg>
        <pc:sldLayoutChg chg="del">
          <pc:chgData name="Sarah Nemshick" userId="b2e3d327-557d-411e-bc11-c17db7499854" providerId="ADAL" clId="{73E36091-3B4D-4262-9086-A88037D78B29}" dt="2023-09-06T19:11:54.716" v="64" actId="47"/>
          <pc:sldLayoutMkLst>
            <pc:docMk/>
            <pc:sldMasterMk cId="1070809925" sldId="2147483659"/>
            <pc:sldLayoutMk cId="2752063409" sldId="2147483671"/>
          </pc:sldLayoutMkLst>
        </pc:sldLayoutChg>
      </pc:sldMasterChg>
    </pc:docChg>
  </pc:docChgLst>
  <pc:docChgLst>
    <pc:chgData name="Sean Gallagher" userId="S::sgallagher@mjhlifesciences.com::577446c3-45ae-4097-b8f0-9d862fa3a0df" providerId="AD" clId="Web-{96352FA2-5EDD-CA0B-FA76-63E31EF6307D}"/>
    <pc:docChg chg="addSld">
      <pc:chgData name="Sean Gallagher" userId="S::sgallagher@mjhlifesciences.com::577446c3-45ae-4097-b8f0-9d862fa3a0df" providerId="AD" clId="Web-{96352FA2-5EDD-CA0B-FA76-63E31EF6307D}" dt="2023-09-15T16:31:38.055" v="164"/>
      <pc:docMkLst>
        <pc:docMk/>
      </pc:docMkLst>
      <pc:sldChg chg="add">
        <pc:chgData name="Sean Gallagher" userId="S::sgallagher@mjhlifesciences.com::577446c3-45ae-4097-b8f0-9d862fa3a0df" providerId="AD" clId="Web-{96352FA2-5EDD-CA0B-FA76-63E31EF6307D}" dt="2023-09-15T16:27:03.174" v="0"/>
        <pc:sldMkLst>
          <pc:docMk/>
          <pc:sldMk cId="4087567005" sldId="2147471303"/>
        </pc:sldMkLst>
      </pc:sldChg>
      <pc:sldChg chg="add">
        <pc:chgData name="Sean Gallagher" userId="S::sgallagher@mjhlifesciences.com::577446c3-45ae-4097-b8f0-9d862fa3a0df" providerId="AD" clId="Web-{96352FA2-5EDD-CA0B-FA76-63E31EF6307D}" dt="2023-09-15T16:27:03.517" v="1"/>
        <pc:sldMkLst>
          <pc:docMk/>
          <pc:sldMk cId="640821786" sldId="2147471304"/>
        </pc:sldMkLst>
      </pc:sldChg>
      <pc:sldChg chg="add">
        <pc:chgData name="Sean Gallagher" userId="S::sgallagher@mjhlifesciences.com::577446c3-45ae-4097-b8f0-9d862fa3a0df" providerId="AD" clId="Web-{96352FA2-5EDD-CA0B-FA76-63E31EF6307D}" dt="2023-09-15T16:27:03.908" v="2"/>
        <pc:sldMkLst>
          <pc:docMk/>
          <pc:sldMk cId="9988873" sldId="2147471305"/>
        </pc:sldMkLst>
      </pc:sldChg>
      <pc:sldChg chg="add">
        <pc:chgData name="Sean Gallagher" userId="S::sgallagher@mjhlifesciences.com::577446c3-45ae-4097-b8f0-9d862fa3a0df" providerId="AD" clId="Web-{96352FA2-5EDD-CA0B-FA76-63E31EF6307D}" dt="2023-09-15T16:27:04.205" v="3"/>
        <pc:sldMkLst>
          <pc:docMk/>
          <pc:sldMk cId="23794161" sldId="2147471306"/>
        </pc:sldMkLst>
      </pc:sldChg>
      <pc:sldChg chg="add">
        <pc:chgData name="Sean Gallagher" userId="S::sgallagher@mjhlifesciences.com::577446c3-45ae-4097-b8f0-9d862fa3a0df" providerId="AD" clId="Web-{96352FA2-5EDD-CA0B-FA76-63E31EF6307D}" dt="2023-09-15T16:27:04.564" v="4"/>
        <pc:sldMkLst>
          <pc:docMk/>
          <pc:sldMk cId="1107145962" sldId="2147471307"/>
        </pc:sldMkLst>
      </pc:sldChg>
      <pc:sldChg chg="add">
        <pc:chgData name="Sean Gallagher" userId="S::sgallagher@mjhlifesciences.com::577446c3-45ae-4097-b8f0-9d862fa3a0df" providerId="AD" clId="Web-{96352FA2-5EDD-CA0B-FA76-63E31EF6307D}" dt="2023-09-15T16:27:04.861" v="5"/>
        <pc:sldMkLst>
          <pc:docMk/>
          <pc:sldMk cId="3521105153" sldId="2147471308"/>
        </pc:sldMkLst>
      </pc:sldChg>
      <pc:sldChg chg="add">
        <pc:chgData name="Sean Gallagher" userId="S::sgallagher@mjhlifesciences.com::577446c3-45ae-4097-b8f0-9d862fa3a0df" providerId="AD" clId="Web-{96352FA2-5EDD-CA0B-FA76-63E31EF6307D}" dt="2023-09-15T16:27:05.080" v="6"/>
        <pc:sldMkLst>
          <pc:docMk/>
          <pc:sldMk cId="3624056741" sldId="2147471309"/>
        </pc:sldMkLst>
      </pc:sldChg>
      <pc:sldChg chg="add">
        <pc:chgData name="Sean Gallagher" userId="S::sgallagher@mjhlifesciences.com::577446c3-45ae-4097-b8f0-9d862fa3a0df" providerId="AD" clId="Web-{96352FA2-5EDD-CA0B-FA76-63E31EF6307D}" dt="2023-09-15T16:27:05.392" v="7"/>
        <pc:sldMkLst>
          <pc:docMk/>
          <pc:sldMk cId="1586560606" sldId="2147471310"/>
        </pc:sldMkLst>
      </pc:sldChg>
      <pc:sldChg chg="add">
        <pc:chgData name="Sean Gallagher" userId="S::sgallagher@mjhlifesciences.com::577446c3-45ae-4097-b8f0-9d862fa3a0df" providerId="AD" clId="Web-{96352FA2-5EDD-CA0B-FA76-63E31EF6307D}" dt="2023-09-15T16:27:05.736" v="8"/>
        <pc:sldMkLst>
          <pc:docMk/>
          <pc:sldMk cId="928575558" sldId="2147471311"/>
        </pc:sldMkLst>
      </pc:sldChg>
      <pc:sldChg chg="add">
        <pc:chgData name="Sean Gallagher" userId="S::sgallagher@mjhlifesciences.com::577446c3-45ae-4097-b8f0-9d862fa3a0df" providerId="AD" clId="Web-{96352FA2-5EDD-CA0B-FA76-63E31EF6307D}" dt="2023-09-15T16:27:06.049" v="9"/>
        <pc:sldMkLst>
          <pc:docMk/>
          <pc:sldMk cId="2524822269" sldId="2147471312"/>
        </pc:sldMkLst>
      </pc:sldChg>
      <pc:sldChg chg="add">
        <pc:chgData name="Sean Gallagher" userId="S::sgallagher@mjhlifesciences.com::577446c3-45ae-4097-b8f0-9d862fa3a0df" providerId="AD" clId="Web-{96352FA2-5EDD-CA0B-FA76-63E31EF6307D}" dt="2023-09-15T16:27:06.424" v="10"/>
        <pc:sldMkLst>
          <pc:docMk/>
          <pc:sldMk cId="4255489301" sldId="2147471313"/>
        </pc:sldMkLst>
      </pc:sldChg>
      <pc:sldChg chg="add">
        <pc:chgData name="Sean Gallagher" userId="S::sgallagher@mjhlifesciences.com::577446c3-45ae-4097-b8f0-9d862fa3a0df" providerId="AD" clId="Web-{96352FA2-5EDD-CA0B-FA76-63E31EF6307D}" dt="2023-09-15T16:27:06.767" v="11"/>
        <pc:sldMkLst>
          <pc:docMk/>
          <pc:sldMk cId="4190856772" sldId="2147471314"/>
        </pc:sldMkLst>
      </pc:sldChg>
      <pc:sldChg chg="add">
        <pc:chgData name="Sean Gallagher" userId="S::sgallagher@mjhlifesciences.com::577446c3-45ae-4097-b8f0-9d862fa3a0df" providerId="AD" clId="Web-{96352FA2-5EDD-CA0B-FA76-63E31EF6307D}" dt="2023-09-15T16:27:07.111" v="12"/>
        <pc:sldMkLst>
          <pc:docMk/>
          <pc:sldMk cId="2838359159" sldId="2147471315"/>
        </pc:sldMkLst>
      </pc:sldChg>
      <pc:sldChg chg="add">
        <pc:chgData name="Sean Gallagher" userId="S::sgallagher@mjhlifesciences.com::577446c3-45ae-4097-b8f0-9d862fa3a0df" providerId="AD" clId="Web-{96352FA2-5EDD-CA0B-FA76-63E31EF6307D}" dt="2023-09-15T16:27:07.455" v="13"/>
        <pc:sldMkLst>
          <pc:docMk/>
          <pc:sldMk cId="988129983" sldId="2147471316"/>
        </pc:sldMkLst>
      </pc:sldChg>
      <pc:sldChg chg="add">
        <pc:chgData name="Sean Gallagher" userId="S::sgallagher@mjhlifesciences.com::577446c3-45ae-4097-b8f0-9d862fa3a0df" providerId="AD" clId="Web-{96352FA2-5EDD-CA0B-FA76-63E31EF6307D}" dt="2023-09-15T16:27:07.814" v="14"/>
        <pc:sldMkLst>
          <pc:docMk/>
          <pc:sldMk cId="3226490260" sldId="2147471317"/>
        </pc:sldMkLst>
      </pc:sldChg>
      <pc:sldChg chg="add">
        <pc:chgData name="Sean Gallagher" userId="S::sgallagher@mjhlifesciences.com::577446c3-45ae-4097-b8f0-9d862fa3a0df" providerId="AD" clId="Web-{96352FA2-5EDD-CA0B-FA76-63E31EF6307D}" dt="2023-09-15T16:27:08.142" v="15"/>
        <pc:sldMkLst>
          <pc:docMk/>
          <pc:sldMk cId="3849457313" sldId="2147471318"/>
        </pc:sldMkLst>
      </pc:sldChg>
      <pc:sldChg chg="add">
        <pc:chgData name="Sean Gallagher" userId="S::sgallagher@mjhlifesciences.com::577446c3-45ae-4097-b8f0-9d862fa3a0df" providerId="AD" clId="Web-{96352FA2-5EDD-CA0B-FA76-63E31EF6307D}" dt="2023-09-15T16:27:08.533" v="16"/>
        <pc:sldMkLst>
          <pc:docMk/>
          <pc:sldMk cId="2006218887" sldId="2147471319"/>
        </pc:sldMkLst>
      </pc:sldChg>
      <pc:sldChg chg="add">
        <pc:chgData name="Sean Gallagher" userId="S::sgallagher@mjhlifesciences.com::577446c3-45ae-4097-b8f0-9d862fa3a0df" providerId="AD" clId="Web-{96352FA2-5EDD-CA0B-FA76-63E31EF6307D}" dt="2023-09-15T16:27:08.861" v="17"/>
        <pc:sldMkLst>
          <pc:docMk/>
          <pc:sldMk cId="2497061404" sldId="2147471320"/>
        </pc:sldMkLst>
      </pc:sldChg>
      <pc:sldChg chg="add">
        <pc:chgData name="Sean Gallagher" userId="S::sgallagher@mjhlifesciences.com::577446c3-45ae-4097-b8f0-9d862fa3a0df" providerId="AD" clId="Web-{96352FA2-5EDD-CA0B-FA76-63E31EF6307D}" dt="2023-09-15T16:27:09.455" v="18"/>
        <pc:sldMkLst>
          <pc:docMk/>
          <pc:sldMk cId="4017223512" sldId="2147471321"/>
        </pc:sldMkLst>
      </pc:sldChg>
      <pc:sldChg chg="add">
        <pc:chgData name="Sean Gallagher" userId="S::sgallagher@mjhlifesciences.com::577446c3-45ae-4097-b8f0-9d862fa3a0df" providerId="AD" clId="Web-{96352FA2-5EDD-CA0B-FA76-63E31EF6307D}" dt="2023-09-15T16:27:09.674" v="19"/>
        <pc:sldMkLst>
          <pc:docMk/>
          <pc:sldMk cId="450504527" sldId="2147471322"/>
        </pc:sldMkLst>
      </pc:sldChg>
      <pc:sldChg chg="add">
        <pc:chgData name="Sean Gallagher" userId="S::sgallagher@mjhlifesciences.com::577446c3-45ae-4097-b8f0-9d862fa3a0df" providerId="AD" clId="Web-{96352FA2-5EDD-CA0B-FA76-63E31EF6307D}" dt="2023-09-15T16:27:09.939" v="20"/>
        <pc:sldMkLst>
          <pc:docMk/>
          <pc:sldMk cId="730810196" sldId="2147471323"/>
        </pc:sldMkLst>
      </pc:sldChg>
      <pc:sldChg chg="add">
        <pc:chgData name="Sean Gallagher" userId="S::sgallagher@mjhlifesciences.com::577446c3-45ae-4097-b8f0-9d862fa3a0df" providerId="AD" clId="Web-{96352FA2-5EDD-CA0B-FA76-63E31EF6307D}" dt="2023-09-15T16:27:10.252" v="21"/>
        <pc:sldMkLst>
          <pc:docMk/>
          <pc:sldMk cId="2156581008" sldId="2147471324"/>
        </pc:sldMkLst>
      </pc:sldChg>
      <pc:sldChg chg="add">
        <pc:chgData name="Sean Gallagher" userId="S::sgallagher@mjhlifesciences.com::577446c3-45ae-4097-b8f0-9d862fa3a0df" providerId="AD" clId="Web-{96352FA2-5EDD-CA0B-FA76-63E31EF6307D}" dt="2023-09-15T16:27:10.549" v="22"/>
        <pc:sldMkLst>
          <pc:docMk/>
          <pc:sldMk cId="2272071036" sldId="2147471325"/>
        </pc:sldMkLst>
      </pc:sldChg>
      <pc:sldChg chg="add">
        <pc:chgData name="Sean Gallagher" userId="S::sgallagher@mjhlifesciences.com::577446c3-45ae-4097-b8f0-9d862fa3a0df" providerId="AD" clId="Web-{96352FA2-5EDD-CA0B-FA76-63E31EF6307D}" dt="2023-09-15T16:27:10.830" v="23"/>
        <pc:sldMkLst>
          <pc:docMk/>
          <pc:sldMk cId="3012977919" sldId="2147471326"/>
        </pc:sldMkLst>
      </pc:sldChg>
      <pc:sldChg chg="add">
        <pc:chgData name="Sean Gallagher" userId="S::sgallagher@mjhlifesciences.com::577446c3-45ae-4097-b8f0-9d862fa3a0df" providerId="AD" clId="Web-{96352FA2-5EDD-CA0B-FA76-63E31EF6307D}" dt="2023-09-15T16:27:11.096" v="24"/>
        <pc:sldMkLst>
          <pc:docMk/>
          <pc:sldMk cId="1182808611" sldId="2147471327"/>
        </pc:sldMkLst>
      </pc:sldChg>
      <pc:sldChg chg="add">
        <pc:chgData name="Sean Gallagher" userId="S::sgallagher@mjhlifesciences.com::577446c3-45ae-4097-b8f0-9d862fa3a0df" providerId="AD" clId="Web-{96352FA2-5EDD-CA0B-FA76-63E31EF6307D}" dt="2023-09-15T16:27:11.971" v="25"/>
        <pc:sldMkLst>
          <pc:docMk/>
          <pc:sldMk cId="510937859" sldId="2147471328"/>
        </pc:sldMkLst>
      </pc:sldChg>
      <pc:sldChg chg="add">
        <pc:chgData name="Sean Gallagher" userId="S::sgallagher@mjhlifesciences.com::577446c3-45ae-4097-b8f0-9d862fa3a0df" providerId="AD" clId="Web-{96352FA2-5EDD-CA0B-FA76-63E31EF6307D}" dt="2023-09-15T16:27:12.267" v="26"/>
        <pc:sldMkLst>
          <pc:docMk/>
          <pc:sldMk cId="1411011161" sldId="2147471329"/>
        </pc:sldMkLst>
      </pc:sldChg>
      <pc:sldChg chg="add">
        <pc:chgData name="Sean Gallagher" userId="S::sgallagher@mjhlifesciences.com::577446c3-45ae-4097-b8f0-9d862fa3a0df" providerId="AD" clId="Web-{96352FA2-5EDD-CA0B-FA76-63E31EF6307D}" dt="2023-09-15T16:27:12.564" v="27"/>
        <pc:sldMkLst>
          <pc:docMk/>
          <pc:sldMk cId="2355515701" sldId="2147471330"/>
        </pc:sldMkLst>
      </pc:sldChg>
      <pc:sldChg chg="add">
        <pc:chgData name="Sean Gallagher" userId="S::sgallagher@mjhlifesciences.com::577446c3-45ae-4097-b8f0-9d862fa3a0df" providerId="AD" clId="Web-{96352FA2-5EDD-CA0B-FA76-63E31EF6307D}" dt="2023-09-15T16:27:12.768" v="28"/>
        <pc:sldMkLst>
          <pc:docMk/>
          <pc:sldMk cId="1758217510" sldId="2147471331"/>
        </pc:sldMkLst>
      </pc:sldChg>
      <pc:sldChg chg="add">
        <pc:chgData name="Sean Gallagher" userId="S::sgallagher@mjhlifesciences.com::577446c3-45ae-4097-b8f0-9d862fa3a0df" providerId="AD" clId="Web-{96352FA2-5EDD-CA0B-FA76-63E31EF6307D}" dt="2023-09-15T16:27:13.049" v="29"/>
        <pc:sldMkLst>
          <pc:docMk/>
          <pc:sldMk cId="2944427986" sldId="2147471332"/>
        </pc:sldMkLst>
      </pc:sldChg>
      <pc:sldChg chg="add">
        <pc:chgData name="Sean Gallagher" userId="S::sgallagher@mjhlifesciences.com::577446c3-45ae-4097-b8f0-9d862fa3a0df" providerId="AD" clId="Web-{96352FA2-5EDD-CA0B-FA76-63E31EF6307D}" dt="2023-09-15T16:27:13.455" v="30"/>
        <pc:sldMkLst>
          <pc:docMk/>
          <pc:sldMk cId="687772698" sldId="2147471333"/>
        </pc:sldMkLst>
      </pc:sldChg>
      <pc:sldChg chg="add">
        <pc:chgData name="Sean Gallagher" userId="S::sgallagher@mjhlifesciences.com::577446c3-45ae-4097-b8f0-9d862fa3a0df" providerId="AD" clId="Web-{96352FA2-5EDD-CA0B-FA76-63E31EF6307D}" dt="2023-09-15T16:27:13.939" v="31"/>
        <pc:sldMkLst>
          <pc:docMk/>
          <pc:sldMk cId="4093983238" sldId="2147471334"/>
        </pc:sldMkLst>
      </pc:sldChg>
      <pc:sldChg chg="add">
        <pc:chgData name="Sean Gallagher" userId="S::sgallagher@mjhlifesciences.com::577446c3-45ae-4097-b8f0-9d862fa3a0df" providerId="AD" clId="Web-{96352FA2-5EDD-CA0B-FA76-63E31EF6307D}" dt="2023-09-15T16:27:14.252" v="32"/>
        <pc:sldMkLst>
          <pc:docMk/>
          <pc:sldMk cId="87413088" sldId="2147471335"/>
        </pc:sldMkLst>
      </pc:sldChg>
      <pc:sldChg chg="add">
        <pc:chgData name="Sean Gallagher" userId="S::sgallagher@mjhlifesciences.com::577446c3-45ae-4097-b8f0-9d862fa3a0df" providerId="AD" clId="Web-{96352FA2-5EDD-CA0B-FA76-63E31EF6307D}" dt="2023-09-15T16:27:14.502" v="33"/>
        <pc:sldMkLst>
          <pc:docMk/>
          <pc:sldMk cId="606196535" sldId="2147471336"/>
        </pc:sldMkLst>
      </pc:sldChg>
      <pc:sldChg chg="add">
        <pc:chgData name="Sean Gallagher" userId="S::sgallagher@mjhlifesciences.com::577446c3-45ae-4097-b8f0-9d862fa3a0df" providerId="AD" clId="Web-{96352FA2-5EDD-CA0B-FA76-63E31EF6307D}" dt="2023-09-15T16:27:16.689" v="34"/>
        <pc:sldMkLst>
          <pc:docMk/>
          <pc:sldMk cId="357327065" sldId="2147471337"/>
        </pc:sldMkLst>
      </pc:sldChg>
      <pc:sldChg chg="add">
        <pc:chgData name="Sean Gallagher" userId="S::sgallagher@mjhlifesciences.com::577446c3-45ae-4097-b8f0-9d862fa3a0df" providerId="AD" clId="Web-{96352FA2-5EDD-CA0B-FA76-63E31EF6307D}" dt="2023-09-15T16:28:00.378" v="35"/>
        <pc:sldMkLst>
          <pc:docMk/>
          <pc:sldMk cId="1889206481" sldId="2147471338"/>
        </pc:sldMkLst>
      </pc:sldChg>
      <pc:sldChg chg="add">
        <pc:chgData name="Sean Gallagher" userId="S::sgallagher@mjhlifesciences.com::577446c3-45ae-4097-b8f0-9d862fa3a0df" providerId="AD" clId="Web-{96352FA2-5EDD-CA0B-FA76-63E31EF6307D}" dt="2023-09-15T16:28:00.722" v="36"/>
        <pc:sldMkLst>
          <pc:docMk/>
          <pc:sldMk cId="7453946" sldId="2147471339"/>
        </pc:sldMkLst>
      </pc:sldChg>
      <pc:sldChg chg="add">
        <pc:chgData name="Sean Gallagher" userId="S::sgallagher@mjhlifesciences.com::577446c3-45ae-4097-b8f0-9d862fa3a0df" providerId="AD" clId="Web-{96352FA2-5EDD-CA0B-FA76-63E31EF6307D}" dt="2023-09-15T16:28:01.144" v="37"/>
        <pc:sldMkLst>
          <pc:docMk/>
          <pc:sldMk cId="4209444695" sldId="2147471340"/>
        </pc:sldMkLst>
      </pc:sldChg>
      <pc:sldChg chg="add">
        <pc:chgData name="Sean Gallagher" userId="S::sgallagher@mjhlifesciences.com::577446c3-45ae-4097-b8f0-9d862fa3a0df" providerId="AD" clId="Web-{96352FA2-5EDD-CA0B-FA76-63E31EF6307D}" dt="2023-09-15T16:28:01.612" v="38"/>
        <pc:sldMkLst>
          <pc:docMk/>
          <pc:sldMk cId="442252071" sldId="2147471341"/>
        </pc:sldMkLst>
      </pc:sldChg>
      <pc:sldChg chg="add">
        <pc:chgData name="Sean Gallagher" userId="S::sgallagher@mjhlifesciences.com::577446c3-45ae-4097-b8f0-9d862fa3a0df" providerId="AD" clId="Web-{96352FA2-5EDD-CA0B-FA76-63E31EF6307D}" dt="2023-09-15T16:28:01.956" v="39"/>
        <pc:sldMkLst>
          <pc:docMk/>
          <pc:sldMk cId="2660022156" sldId="2147471342"/>
        </pc:sldMkLst>
      </pc:sldChg>
      <pc:sldChg chg="add">
        <pc:chgData name="Sean Gallagher" userId="S::sgallagher@mjhlifesciences.com::577446c3-45ae-4097-b8f0-9d862fa3a0df" providerId="AD" clId="Web-{96352FA2-5EDD-CA0B-FA76-63E31EF6307D}" dt="2023-09-15T16:28:02.316" v="40"/>
        <pc:sldMkLst>
          <pc:docMk/>
          <pc:sldMk cId="330151404" sldId="2147471343"/>
        </pc:sldMkLst>
      </pc:sldChg>
      <pc:sldChg chg="add">
        <pc:chgData name="Sean Gallagher" userId="S::sgallagher@mjhlifesciences.com::577446c3-45ae-4097-b8f0-9d862fa3a0df" providerId="AD" clId="Web-{96352FA2-5EDD-CA0B-FA76-63E31EF6307D}" dt="2023-09-15T16:28:02.581" v="41"/>
        <pc:sldMkLst>
          <pc:docMk/>
          <pc:sldMk cId="2226018442" sldId="2147471344"/>
        </pc:sldMkLst>
      </pc:sldChg>
      <pc:sldChg chg="add">
        <pc:chgData name="Sean Gallagher" userId="S::sgallagher@mjhlifesciences.com::577446c3-45ae-4097-b8f0-9d862fa3a0df" providerId="AD" clId="Web-{96352FA2-5EDD-CA0B-FA76-63E31EF6307D}" dt="2023-09-15T16:28:02.878" v="42"/>
        <pc:sldMkLst>
          <pc:docMk/>
          <pc:sldMk cId="3092401022" sldId="2147471345"/>
        </pc:sldMkLst>
      </pc:sldChg>
      <pc:sldChg chg="add">
        <pc:chgData name="Sean Gallagher" userId="S::sgallagher@mjhlifesciences.com::577446c3-45ae-4097-b8f0-9d862fa3a0df" providerId="AD" clId="Web-{96352FA2-5EDD-CA0B-FA76-63E31EF6307D}" dt="2023-09-15T16:28:03.144" v="43"/>
        <pc:sldMkLst>
          <pc:docMk/>
          <pc:sldMk cId="2611955822" sldId="2147471346"/>
        </pc:sldMkLst>
      </pc:sldChg>
      <pc:sldChg chg="add">
        <pc:chgData name="Sean Gallagher" userId="S::sgallagher@mjhlifesciences.com::577446c3-45ae-4097-b8f0-9d862fa3a0df" providerId="AD" clId="Web-{96352FA2-5EDD-CA0B-FA76-63E31EF6307D}" dt="2023-09-15T16:28:03.394" v="44"/>
        <pc:sldMkLst>
          <pc:docMk/>
          <pc:sldMk cId="178270753" sldId="2147471347"/>
        </pc:sldMkLst>
      </pc:sldChg>
      <pc:sldChg chg="add">
        <pc:chgData name="Sean Gallagher" userId="S::sgallagher@mjhlifesciences.com::577446c3-45ae-4097-b8f0-9d862fa3a0df" providerId="AD" clId="Web-{96352FA2-5EDD-CA0B-FA76-63E31EF6307D}" dt="2023-09-15T16:28:03.738" v="45"/>
        <pc:sldMkLst>
          <pc:docMk/>
          <pc:sldMk cId="745391433" sldId="2147471348"/>
        </pc:sldMkLst>
      </pc:sldChg>
      <pc:sldChg chg="add">
        <pc:chgData name="Sean Gallagher" userId="S::sgallagher@mjhlifesciences.com::577446c3-45ae-4097-b8f0-9d862fa3a0df" providerId="AD" clId="Web-{96352FA2-5EDD-CA0B-FA76-63E31EF6307D}" dt="2023-09-15T16:28:04.034" v="46"/>
        <pc:sldMkLst>
          <pc:docMk/>
          <pc:sldMk cId="2543386298" sldId="2147471349"/>
        </pc:sldMkLst>
      </pc:sldChg>
      <pc:sldChg chg="add">
        <pc:chgData name="Sean Gallagher" userId="S::sgallagher@mjhlifesciences.com::577446c3-45ae-4097-b8f0-9d862fa3a0df" providerId="AD" clId="Web-{96352FA2-5EDD-CA0B-FA76-63E31EF6307D}" dt="2023-09-15T16:28:04.378" v="47"/>
        <pc:sldMkLst>
          <pc:docMk/>
          <pc:sldMk cId="3255610239" sldId="2147471350"/>
        </pc:sldMkLst>
      </pc:sldChg>
      <pc:sldChg chg="add">
        <pc:chgData name="Sean Gallagher" userId="S::sgallagher@mjhlifesciences.com::577446c3-45ae-4097-b8f0-9d862fa3a0df" providerId="AD" clId="Web-{96352FA2-5EDD-CA0B-FA76-63E31EF6307D}" dt="2023-09-15T16:28:04.613" v="48"/>
        <pc:sldMkLst>
          <pc:docMk/>
          <pc:sldMk cId="4126087532" sldId="2147471351"/>
        </pc:sldMkLst>
      </pc:sldChg>
      <pc:sldChg chg="add">
        <pc:chgData name="Sean Gallagher" userId="S::sgallagher@mjhlifesciences.com::577446c3-45ae-4097-b8f0-9d862fa3a0df" providerId="AD" clId="Web-{96352FA2-5EDD-CA0B-FA76-63E31EF6307D}" dt="2023-09-15T16:28:04.972" v="49"/>
        <pc:sldMkLst>
          <pc:docMk/>
          <pc:sldMk cId="241764240" sldId="2147471352"/>
        </pc:sldMkLst>
      </pc:sldChg>
      <pc:sldChg chg="add">
        <pc:chgData name="Sean Gallagher" userId="S::sgallagher@mjhlifesciences.com::577446c3-45ae-4097-b8f0-9d862fa3a0df" providerId="AD" clId="Web-{96352FA2-5EDD-CA0B-FA76-63E31EF6307D}" dt="2023-09-15T16:28:05.316" v="50"/>
        <pc:sldMkLst>
          <pc:docMk/>
          <pc:sldMk cId="1911556719" sldId="2147471353"/>
        </pc:sldMkLst>
      </pc:sldChg>
      <pc:sldChg chg="add">
        <pc:chgData name="Sean Gallagher" userId="S::sgallagher@mjhlifesciences.com::577446c3-45ae-4097-b8f0-9d862fa3a0df" providerId="AD" clId="Web-{96352FA2-5EDD-CA0B-FA76-63E31EF6307D}" dt="2023-09-15T16:28:05.753" v="51"/>
        <pc:sldMkLst>
          <pc:docMk/>
          <pc:sldMk cId="528913993" sldId="2147471354"/>
        </pc:sldMkLst>
      </pc:sldChg>
      <pc:sldChg chg="add">
        <pc:chgData name="Sean Gallagher" userId="S::sgallagher@mjhlifesciences.com::577446c3-45ae-4097-b8f0-9d862fa3a0df" providerId="AD" clId="Web-{96352FA2-5EDD-CA0B-FA76-63E31EF6307D}" dt="2023-09-15T16:28:06.128" v="52"/>
        <pc:sldMkLst>
          <pc:docMk/>
          <pc:sldMk cId="1248470935" sldId="2147471355"/>
        </pc:sldMkLst>
      </pc:sldChg>
      <pc:sldChg chg="add">
        <pc:chgData name="Sean Gallagher" userId="S::sgallagher@mjhlifesciences.com::577446c3-45ae-4097-b8f0-9d862fa3a0df" providerId="AD" clId="Web-{96352FA2-5EDD-CA0B-FA76-63E31EF6307D}" dt="2023-09-15T16:28:06.488" v="53"/>
        <pc:sldMkLst>
          <pc:docMk/>
          <pc:sldMk cId="3872466864" sldId="2147471356"/>
        </pc:sldMkLst>
      </pc:sldChg>
      <pc:sldChg chg="add">
        <pc:chgData name="Sean Gallagher" userId="S::sgallagher@mjhlifesciences.com::577446c3-45ae-4097-b8f0-9d862fa3a0df" providerId="AD" clId="Web-{96352FA2-5EDD-CA0B-FA76-63E31EF6307D}" dt="2023-09-15T16:28:06.847" v="54"/>
        <pc:sldMkLst>
          <pc:docMk/>
          <pc:sldMk cId="1542193141" sldId="2147471357"/>
        </pc:sldMkLst>
      </pc:sldChg>
      <pc:sldChg chg="add">
        <pc:chgData name="Sean Gallagher" userId="S::sgallagher@mjhlifesciences.com::577446c3-45ae-4097-b8f0-9d862fa3a0df" providerId="AD" clId="Web-{96352FA2-5EDD-CA0B-FA76-63E31EF6307D}" dt="2023-09-15T16:28:07.253" v="55"/>
        <pc:sldMkLst>
          <pc:docMk/>
          <pc:sldMk cId="1991067117" sldId="2147471358"/>
        </pc:sldMkLst>
      </pc:sldChg>
      <pc:sldChg chg="add">
        <pc:chgData name="Sean Gallagher" userId="S::sgallagher@mjhlifesciences.com::577446c3-45ae-4097-b8f0-9d862fa3a0df" providerId="AD" clId="Web-{96352FA2-5EDD-CA0B-FA76-63E31EF6307D}" dt="2023-09-15T16:28:07.691" v="56"/>
        <pc:sldMkLst>
          <pc:docMk/>
          <pc:sldMk cId="1586429069" sldId="2147471359"/>
        </pc:sldMkLst>
      </pc:sldChg>
      <pc:sldChg chg="add">
        <pc:chgData name="Sean Gallagher" userId="S::sgallagher@mjhlifesciences.com::577446c3-45ae-4097-b8f0-9d862fa3a0df" providerId="AD" clId="Web-{96352FA2-5EDD-CA0B-FA76-63E31EF6307D}" dt="2023-09-15T16:28:08.097" v="57"/>
        <pc:sldMkLst>
          <pc:docMk/>
          <pc:sldMk cId="1441349471" sldId="2147471360"/>
        </pc:sldMkLst>
      </pc:sldChg>
      <pc:sldChg chg="add">
        <pc:chgData name="Sean Gallagher" userId="S::sgallagher@mjhlifesciences.com::577446c3-45ae-4097-b8f0-9d862fa3a0df" providerId="AD" clId="Web-{96352FA2-5EDD-CA0B-FA76-63E31EF6307D}" dt="2023-09-15T16:28:08.488" v="58"/>
        <pc:sldMkLst>
          <pc:docMk/>
          <pc:sldMk cId="1046906837" sldId="2147471361"/>
        </pc:sldMkLst>
      </pc:sldChg>
      <pc:sldChg chg="add">
        <pc:chgData name="Sean Gallagher" userId="S::sgallagher@mjhlifesciences.com::577446c3-45ae-4097-b8f0-9d862fa3a0df" providerId="AD" clId="Web-{96352FA2-5EDD-CA0B-FA76-63E31EF6307D}" dt="2023-09-15T16:28:08.910" v="59"/>
        <pc:sldMkLst>
          <pc:docMk/>
          <pc:sldMk cId="3243264107" sldId="2147471362"/>
        </pc:sldMkLst>
      </pc:sldChg>
      <pc:sldChg chg="add">
        <pc:chgData name="Sean Gallagher" userId="S::sgallagher@mjhlifesciences.com::577446c3-45ae-4097-b8f0-9d862fa3a0df" providerId="AD" clId="Web-{96352FA2-5EDD-CA0B-FA76-63E31EF6307D}" dt="2023-09-15T16:28:09.269" v="60"/>
        <pc:sldMkLst>
          <pc:docMk/>
          <pc:sldMk cId="490368021" sldId="2147471363"/>
        </pc:sldMkLst>
      </pc:sldChg>
      <pc:sldChg chg="add">
        <pc:chgData name="Sean Gallagher" userId="S::sgallagher@mjhlifesciences.com::577446c3-45ae-4097-b8f0-9d862fa3a0df" providerId="AD" clId="Web-{96352FA2-5EDD-CA0B-FA76-63E31EF6307D}" dt="2023-09-15T16:28:09.644" v="61"/>
        <pc:sldMkLst>
          <pc:docMk/>
          <pc:sldMk cId="1105186301" sldId="2147471364"/>
        </pc:sldMkLst>
      </pc:sldChg>
      <pc:sldChg chg="add">
        <pc:chgData name="Sean Gallagher" userId="S::sgallagher@mjhlifesciences.com::577446c3-45ae-4097-b8f0-9d862fa3a0df" providerId="AD" clId="Web-{96352FA2-5EDD-CA0B-FA76-63E31EF6307D}" dt="2023-09-15T16:28:09.988" v="62"/>
        <pc:sldMkLst>
          <pc:docMk/>
          <pc:sldMk cId="671918929" sldId="2147471365"/>
        </pc:sldMkLst>
      </pc:sldChg>
      <pc:sldChg chg="add">
        <pc:chgData name="Sean Gallagher" userId="S::sgallagher@mjhlifesciences.com::577446c3-45ae-4097-b8f0-9d862fa3a0df" providerId="AD" clId="Web-{96352FA2-5EDD-CA0B-FA76-63E31EF6307D}" dt="2023-09-15T16:28:10.300" v="63"/>
        <pc:sldMkLst>
          <pc:docMk/>
          <pc:sldMk cId="1729364629" sldId="2147471366"/>
        </pc:sldMkLst>
      </pc:sldChg>
      <pc:sldChg chg="add">
        <pc:chgData name="Sean Gallagher" userId="S::sgallagher@mjhlifesciences.com::577446c3-45ae-4097-b8f0-9d862fa3a0df" providerId="AD" clId="Web-{96352FA2-5EDD-CA0B-FA76-63E31EF6307D}" dt="2023-09-15T16:28:10.581" v="64"/>
        <pc:sldMkLst>
          <pc:docMk/>
          <pc:sldMk cId="828883664" sldId="2147471367"/>
        </pc:sldMkLst>
      </pc:sldChg>
      <pc:sldChg chg="add">
        <pc:chgData name="Sean Gallagher" userId="S::sgallagher@mjhlifesciences.com::577446c3-45ae-4097-b8f0-9d862fa3a0df" providerId="AD" clId="Web-{96352FA2-5EDD-CA0B-FA76-63E31EF6307D}" dt="2023-09-15T16:28:10.878" v="65"/>
        <pc:sldMkLst>
          <pc:docMk/>
          <pc:sldMk cId="250145780" sldId="2147471368"/>
        </pc:sldMkLst>
      </pc:sldChg>
      <pc:sldChg chg="add">
        <pc:chgData name="Sean Gallagher" userId="S::sgallagher@mjhlifesciences.com::577446c3-45ae-4097-b8f0-9d862fa3a0df" providerId="AD" clId="Web-{96352FA2-5EDD-CA0B-FA76-63E31EF6307D}" dt="2023-09-15T16:28:11.144" v="66"/>
        <pc:sldMkLst>
          <pc:docMk/>
          <pc:sldMk cId="72585209" sldId="2147471369"/>
        </pc:sldMkLst>
      </pc:sldChg>
      <pc:sldChg chg="add">
        <pc:chgData name="Sean Gallagher" userId="S::sgallagher@mjhlifesciences.com::577446c3-45ae-4097-b8f0-9d862fa3a0df" providerId="AD" clId="Web-{96352FA2-5EDD-CA0B-FA76-63E31EF6307D}" dt="2023-09-15T16:28:11.378" v="67"/>
        <pc:sldMkLst>
          <pc:docMk/>
          <pc:sldMk cId="501416357" sldId="2147471370"/>
        </pc:sldMkLst>
      </pc:sldChg>
      <pc:sldChg chg="add">
        <pc:chgData name="Sean Gallagher" userId="S::sgallagher@mjhlifesciences.com::577446c3-45ae-4097-b8f0-9d862fa3a0df" providerId="AD" clId="Web-{96352FA2-5EDD-CA0B-FA76-63E31EF6307D}" dt="2023-09-15T16:28:11.628" v="68"/>
        <pc:sldMkLst>
          <pc:docMk/>
          <pc:sldMk cId="3129121712" sldId="2147471371"/>
        </pc:sldMkLst>
      </pc:sldChg>
      <pc:sldChg chg="add">
        <pc:chgData name="Sean Gallagher" userId="S::sgallagher@mjhlifesciences.com::577446c3-45ae-4097-b8f0-9d862fa3a0df" providerId="AD" clId="Web-{96352FA2-5EDD-CA0B-FA76-63E31EF6307D}" dt="2023-09-15T16:28:14.253" v="69"/>
        <pc:sldMkLst>
          <pc:docMk/>
          <pc:sldMk cId="3189950419" sldId="2147471372"/>
        </pc:sldMkLst>
      </pc:sldChg>
      <pc:sldChg chg="add">
        <pc:chgData name="Sean Gallagher" userId="S::sgallagher@mjhlifesciences.com::577446c3-45ae-4097-b8f0-9d862fa3a0df" providerId="AD" clId="Web-{96352FA2-5EDD-CA0B-FA76-63E31EF6307D}" dt="2023-09-15T16:28:48.036" v="70"/>
        <pc:sldMkLst>
          <pc:docMk/>
          <pc:sldMk cId="790050835" sldId="2147471373"/>
        </pc:sldMkLst>
      </pc:sldChg>
      <pc:sldChg chg="add">
        <pc:chgData name="Sean Gallagher" userId="S::sgallagher@mjhlifesciences.com::577446c3-45ae-4097-b8f0-9d862fa3a0df" providerId="AD" clId="Web-{96352FA2-5EDD-CA0B-FA76-63E31EF6307D}" dt="2023-09-15T16:28:48.286" v="71"/>
        <pc:sldMkLst>
          <pc:docMk/>
          <pc:sldMk cId="895747030" sldId="2147471374"/>
        </pc:sldMkLst>
      </pc:sldChg>
      <pc:sldChg chg="add">
        <pc:chgData name="Sean Gallagher" userId="S::sgallagher@mjhlifesciences.com::577446c3-45ae-4097-b8f0-9d862fa3a0df" providerId="AD" clId="Web-{96352FA2-5EDD-CA0B-FA76-63E31EF6307D}" dt="2023-09-15T16:28:48.536" v="72"/>
        <pc:sldMkLst>
          <pc:docMk/>
          <pc:sldMk cId="1300056461" sldId="2147471375"/>
        </pc:sldMkLst>
      </pc:sldChg>
      <pc:sldChg chg="add">
        <pc:chgData name="Sean Gallagher" userId="S::sgallagher@mjhlifesciences.com::577446c3-45ae-4097-b8f0-9d862fa3a0df" providerId="AD" clId="Web-{96352FA2-5EDD-CA0B-FA76-63E31EF6307D}" dt="2023-09-15T16:28:48.786" v="73"/>
        <pc:sldMkLst>
          <pc:docMk/>
          <pc:sldMk cId="2214133314" sldId="2147471376"/>
        </pc:sldMkLst>
      </pc:sldChg>
      <pc:sldChg chg="add">
        <pc:chgData name="Sean Gallagher" userId="S::sgallagher@mjhlifesciences.com::577446c3-45ae-4097-b8f0-9d862fa3a0df" providerId="AD" clId="Web-{96352FA2-5EDD-CA0B-FA76-63E31EF6307D}" dt="2023-09-15T16:28:49.098" v="74"/>
        <pc:sldMkLst>
          <pc:docMk/>
          <pc:sldMk cId="1264429458" sldId="2147471377"/>
        </pc:sldMkLst>
      </pc:sldChg>
      <pc:sldChg chg="add">
        <pc:chgData name="Sean Gallagher" userId="S::sgallagher@mjhlifesciences.com::577446c3-45ae-4097-b8f0-9d862fa3a0df" providerId="AD" clId="Web-{96352FA2-5EDD-CA0B-FA76-63E31EF6307D}" dt="2023-09-15T16:28:49.504" v="75"/>
        <pc:sldMkLst>
          <pc:docMk/>
          <pc:sldMk cId="2512432287" sldId="2147471378"/>
        </pc:sldMkLst>
      </pc:sldChg>
      <pc:sldChg chg="add">
        <pc:chgData name="Sean Gallagher" userId="S::sgallagher@mjhlifesciences.com::577446c3-45ae-4097-b8f0-9d862fa3a0df" providerId="AD" clId="Web-{96352FA2-5EDD-CA0B-FA76-63E31EF6307D}" dt="2023-09-15T16:28:49.895" v="76"/>
        <pc:sldMkLst>
          <pc:docMk/>
          <pc:sldMk cId="2615820962" sldId="2147471379"/>
        </pc:sldMkLst>
      </pc:sldChg>
      <pc:sldChg chg="add">
        <pc:chgData name="Sean Gallagher" userId="S::sgallagher@mjhlifesciences.com::577446c3-45ae-4097-b8f0-9d862fa3a0df" providerId="AD" clId="Web-{96352FA2-5EDD-CA0B-FA76-63E31EF6307D}" dt="2023-09-15T16:28:50.301" v="77"/>
        <pc:sldMkLst>
          <pc:docMk/>
          <pc:sldMk cId="1425548431" sldId="2147471380"/>
        </pc:sldMkLst>
      </pc:sldChg>
      <pc:sldChg chg="add">
        <pc:chgData name="Sean Gallagher" userId="S::sgallagher@mjhlifesciences.com::577446c3-45ae-4097-b8f0-9d862fa3a0df" providerId="AD" clId="Web-{96352FA2-5EDD-CA0B-FA76-63E31EF6307D}" dt="2023-09-15T16:28:50.661" v="78"/>
        <pc:sldMkLst>
          <pc:docMk/>
          <pc:sldMk cId="4192177144" sldId="2147471381"/>
        </pc:sldMkLst>
      </pc:sldChg>
      <pc:sldChg chg="add">
        <pc:chgData name="Sean Gallagher" userId="S::sgallagher@mjhlifesciences.com::577446c3-45ae-4097-b8f0-9d862fa3a0df" providerId="AD" clId="Web-{96352FA2-5EDD-CA0B-FA76-63E31EF6307D}" dt="2023-09-15T16:28:51.083" v="79"/>
        <pc:sldMkLst>
          <pc:docMk/>
          <pc:sldMk cId="3667781939" sldId="2147471382"/>
        </pc:sldMkLst>
      </pc:sldChg>
      <pc:sldChg chg="add">
        <pc:chgData name="Sean Gallagher" userId="S::sgallagher@mjhlifesciences.com::577446c3-45ae-4097-b8f0-9d862fa3a0df" providerId="AD" clId="Web-{96352FA2-5EDD-CA0B-FA76-63E31EF6307D}" dt="2023-09-15T16:28:51.317" v="80"/>
        <pc:sldMkLst>
          <pc:docMk/>
          <pc:sldMk cId="3531921222" sldId="2147471383"/>
        </pc:sldMkLst>
      </pc:sldChg>
      <pc:sldChg chg="add">
        <pc:chgData name="Sean Gallagher" userId="S::sgallagher@mjhlifesciences.com::577446c3-45ae-4097-b8f0-9d862fa3a0df" providerId="AD" clId="Web-{96352FA2-5EDD-CA0B-FA76-63E31EF6307D}" dt="2023-09-15T16:28:51.583" v="81"/>
        <pc:sldMkLst>
          <pc:docMk/>
          <pc:sldMk cId="392456251" sldId="2147471384"/>
        </pc:sldMkLst>
      </pc:sldChg>
      <pc:sldChg chg="add">
        <pc:chgData name="Sean Gallagher" userId="S::sgallagher@mjhlifesciences.com::577446c3-45ae-4097-b8f0-9d862fa3a0df" providerId="AD" clId="Web-{96352FA2-5EDD-CA0B-FA76-63E31EF6307D}" dt="2023-09-15T16:28:51.879" v="82"/>
        <pc:sldMkLst>
          <pc:docMk/>
          <pc:sldMk cId="3396232638" sldId="2147471385"/>
        </pc:sldMkLst>
      </pc:sldChg>
      <pc:sldChg chg="add">
        <pc:chgData name="Sean Gallagher" userId="S::sgallagher@mjhlifesciences.com::577446c3-45ae-4097-b8f0-9d862fa3a0df" providerId="AD" clId="Web-{96352FA2-5EDD-CA0B-FA76-63E31EF6307D}" dt="2023-09-15T16:28:52.239" v="83"/>
        <pc:sldMkLst>
          <pc:docMk/>
          <pc:sldMk cId="3918659174" sldId="2147471386"/>
        </pc:sldMkLst>
      </pc:sldChg>
      <pc:sldChg chg="add">
        <pc:chgData name="Sean Gallagher" userId="S::sgallagher@mjhlifesciences.com::577446c3-45ae-4097-b8f0-9d862fa3a0df" providerId="AD" clId="Web-{96352FA2-5EDD-CA0B-FA76-63E31EF6307D}" dt="2023-09-15T16:28:52.567" v="84"/>
        <pc:sldMkLst>
          <pc:docMk/>
          <pc:sldMk cId="66773170" sldId="2147471387"/>
        </pc:sldMkLst>
      </pc:sldChg>
      <pc:sldChg chg="add">
        <pc:chgData name="Sean Gallagher" userId="S::sgallagher@mjhlifesciences.com::577446c3-45ae-4097-b8f0-9d862fa3a0df" providerId="AD" clId="Web-{96352FA2-5EDD-CA0B-FA76-63E31EF6307D}" dt="2023-09-15T16:28:53.036" v="85"/>
        <pc:sldMkLst>
          <pc:docMk/>
          <pc:sldMk cId="1447790507" sldId="2147471388"/>
        </pc:sldMkLst>
      </pc:sldChg>
      <pc:sldChg chg="add">
        <pc:chgData name="Sean Gallagher" userId="S::sgallagher@mjhlifesciences.com::577446c3-45ae-4097-b8f0-9d862fa3a0df" providerId="AD" clId="Web-{96352FA2-5EDD-CA0B-FA76-63E31EF6307D}" dt="2023-09-15T16:28:53.395" v="86"/>
        <pc:sldMkLst>
          <pc:docMk/>
          <pc:sldMk cId="712716786" sldId="2147471389"/>
        </pc:sldMkLst>
      </pc:sldChg>
      <pc:sldChg chg="add">
        <pc:chgData name="Sean Gallagher" userId="S::sgallagher@mjhlifesciences.com::577446c3-45ae-4097-b8f0-9d862fa3a0df" providerId="AD" clId="Web-{96352FA2-5EDD-CA0B-FA76-63E31EF6307D}" dt="2023-09-15T16:28:53.911" v="87"/>
        <pc:sldMkLst>
          <pc:docMk/>
          <pc:sldMk cId="678987673" sldId="2147471390"/>
        </pc:sldMkLst>
      </pc:sldChg>
      <pc:sldChg chg="add">
        <pc:chgData name="Sean Gallagher" userId="S::sgallagher@mjhlifesciences.com::577446c3-45ae-4097-b8f0-9d862fa3a0df" providerId="AD" clId="Web-{96352FA2-5EDD-CA0B-FA76-63E31EF6307D}" dt="2023-09-15T16:28:54.239" v="88"/>
        <pc:sldMkLst>
          <pc:docMk/>
          <pc:sldMk cId="3340619372" sldId="2147471391"/>
        </pc:sldMkLst>
      </pc:sldChg>
      <pc:sldChg chg="add">
        <pc:chgData name="Sean Gallagher" userId="S::sgallagher@mjhlifesciences.com::577446c3-45ae-4097-b8f0-9d862fa3a0df" providerId="AD" clId="Web-{96352FA2-5EDD-CA0B-FA76-63E31EF6307D}" dt="2023-09-15T16:28:54.567" v="89"/>
        <pc:sldMkLst>
          <pc:docMk/>
          <pc:sldMk cId="3603517023" sldId="2147471392"/>
        </pc:sldMkLst>
      </pc:sldChg>
      <pc:sldChg chg="add">
        <pc:chgData name="Sean Gallagher" userId="S::sgallagher@mjhlifesciences.com::577446c3-45ae-4097-b8f0-9d862fa3a0df" providerId="AD" clId="Web-{96352FA2-5EDD-CA0B-FA76-63E31EF6307D}" dt="2023-09-15T16:28:54.895" v="90"/>
        <pc:sldMkLst>
          <pc:docMk/>
          <pc:sldMk cId="429135097" sldId="2147471393"/>
        </pc:sldMkLst>
      </pc:sldChg>
      <pc:sldChg chg="add">
        <pc:chgData name="Sean Gallagher" userId="S::sgallagher@mjhlifesciences.com::577446c3-45ae-4097-b8f0-9d862fa3a0df" providerId="AD" clId="Web-{96352FA2-5EDD-CA0B-FA76-63E31EF6307D}" dt="2023-09-15T16:28:55.208" v="91"/>
        <pc:sldMkLst>
          <pc:docMk/>
          <pc:sldMk cId="7180363" sldId="2147471394"/>
        </pc:sldMkLst>
      </pc:sldChg>
      <pc:sldChg chg="add">
        <pc:chgData name="Sean Gallagher" userId="S::sgallagher@mjhlifesciences.com::577446c3-45ae-4097-b8f0-9d862fa3a0df" providerId="AD" clId="Web-{96352FA2-5EDD-CA0B-FA76-63E31EF6307D}" dt="2023-09-15T16:28:55.536" v="92"/>
        <pc:sldMkLst>
          <pc:docMk/>
          <pc:sldMk cId="889700919" sldId="2147471395"/>
        </pc:sldMkLst>
      </pc:sldChg>
      <pc:sldChg chg="add">
        <pc:chgData name="Sean Gallagher" userId="S::sgallagher@mjhlifesciences.com::577446c3-45ae-4097-b8f0-9d862fa3a0df" providerId="AD" clId="Web-{96352FA2-5EDD-CA0B-FA76-63E31EF6307D}" dt="2023-09-15T16:28:55.973" v="93"/>
        <pc:sldMkLst>
          <pc:docMk/>
          <pc:sldMk cId="3697313316" sldId="2147471396"/>
        </pc:sldMkLst>
      </pc:sldChg>
      <pc:sldChg chg="add">
        <pc:chgData name="Sean Gallagher" userId="S::sgallagher@mjhlifesciences.com::577446c3-45ae-4097-b8f0-9d862fa3a0df" providerId="AD" clId="Web-{96352FA2-5EDD-CA0B-FA76-63E31EF6307D}" dt="2023-09-15T16:28:56.426" v="94"/>
        <pc:sldMkLst>
          <pc:docMk/>
          <pc:sldMk cId="1003024906" sldId="2147471397"/>
        </pc:sldMkLst>
      </pc:sldChg>
      <pc:sldChg chg="add">
        <pc:chgData name="Sean Gallagher" userId="S::sgallagher@mjhlifesciences.com::577446c3-45ae-4097-b8f0-9d862fa3a0df" providerId="AD" clId="Web-{96352FA2-5EDD-CA0B-FA76-63E31EF6307D}" dt="2023-09-15T16:28:56.723" v="95"/>
        <pc:sldMkLst>
          <pc:docMk/>
          <pc:sldMk cId="2178195900" sldId="2147471398"/>
        </pc:sldMkLst>
      </pc:sldChg>
      <pc:sldChg chg="add">
        <pc:chgData name="Sean Gallagher" userId="S::sgallagher@mjhlifesciences.com::577446c3-45ae-4097-b8f0-9d862fa3a0df" providerId="AD" clId="Web-{96352FA2-5EDD-CA0B-FA76-63E31EF6307D}" dt="2023-09-15T16:28:57.145" v="96"/>
        <pc:sldMkLst>
          <pc:docMk/>
          <pc:sldMk cId="644271923" sldId="2147471399"/>
        </pc:sldMkLst>
      </pc:sldChg>
      <pc:sldChg chg="add">
        <pc:chgData name="Sean Gallagher" userId="S::sgallagher@mjhlifesciences.com::577446c3-45ae-4097-b8f0-9d862fa3a0df" providerId="AD" clId="Web-{96352FA2-5EDD-CA0B-FA76-63E31EF6307D}" dt="2023-09-15T16:28:57.489" v="97"/>
        <pc:sldMkLst>
          <pc:docMk/>
          <pc:sldMk cId="878878683" sldId="2147471400"/>
        </pc:sldMkLst>
      </pc:sldChg>
      <pc:sldChg chg="add">
        <pc:chgData name="Sean Gallagher" userId="S::sgallagher@mjhlifesciences.com::577446c3-45ae-4097-b8f0-9d862fa3a0df" providerId="AD" clId="Web-{96352FA2-5EDD-CA0B-FA76-63E31EF6307D}" dt="2023-09-15T16:28:57.833" v="98"/>
        <pc:sldMkLst>
          <pc:docMk/>
          <pc:sldMk cId="3856118641" sldId="2147471401"/>
        </pc:sldMkLst>
      </pc:sldChg>
      <pc:sldChg chg="add">
        <pc:chgData name="Sean Gallagher" userId="S::sgallagher@mjhlifesciences.com::577446c3-45ae-4097-b8f0-9d862fa3a0df" providerId="AD" clId="Web-{96352FA2-5EDD-CA0B-FA76-63E31EF6307D}" dt="2023-09-15T16:28:58.051" v="99"/>
        <pc:sldMkLst>
          <pc:docMk/>
          <pc:sldMk cId="1031550091" sldId="2147471402"/>
        </pc:sldMkLst>
      </pc:sldChg>
      <pc:sldChg chg="add">
        <pc:chgData name="Sean Gallagher" userId="S::sgallagher@mjhlifesciences.com::577446c3-45ae-4097-b8f0-9d862fa3a0df" providerId="AD" clId="Web-{96352FA2-5EDD-CA0B-FA76-63E31EF6307D}" dt="2023-09-15T16:28:58.301" v="100"/>
        <pc:sldMkLst>
          <pc:docMk/>
          <pc:sldMk cId="2495725164" sldId="2147471403"/>
        </pc:sldMkLst>
      </pc:sldChg>
      <pc:sldChg chg="add">
        <pc:chgData name="Sean Gallagher" userId="S::sgallagher@mjhlifesciences.com::577446c3-45ae-4097-b8f0-9d862fa3a0df" providerId="AD" clId="Web-{96352FA2-5EDD-CA0B-FA76-63E31EF6307D}" dt="2023-09-15T16:28:58.536" v="101"/>
        <pc:sldMkLst>
          <pc:docMk/>
          <pc:sldMk cId="1072925768" sldId="2147471404"/>
        </pc:sldMkLst>
      </pc:sldChg>
      <pc:sldChg chg="add">
        <pc:chgData name="Sean Gallagher" userId="S::sgallagher@mjhlifesciences.com::577446c3-45ae-4097-b8f0-9d862fa3a0df" providerId="AD" clId="Web-{96352FA2-5EDD-CA0B-FA76-63E31EF6307D}" dt="2023-09-15T16:29:00.708" v="102"/>
        <pc:sldMkLst>
          <pc:docMk/>
          <pc:sldMk cId="3162541094" sldId="2147471405"/>
        </pc:sldMkLst>
      </pc:sldChg>
      <pc:sldChg chg="add">
        <pc:chgData name="Sean Gallagher" userId="S::sgallagher@mjhlifesciences.com::577446c3-45ae-4097-b8f0-9d862fa3a0df" providerId="AD" clId="Web-{96352FA2-5EDD-CA0B-FA76-63E31EF6307D}" dt="2023-09-15T16:29:43.099" v="103"/>
        <pc:sldMkLst>
          <pc:docMk/>
          <pc:sldMk cId="1425303164" sldId="2147471406"/>
        </pc:sldMkLst>
      </pc:sldChg>
      <pc:sldChg chg="add">
        <pc:chgData name="Sean Gallagher" userId="S::sgallagher@mjhlifesciences.com::577446c3-45ae-4097-b8f0-9d862fa3a0df" providerId="AD" clId="Web-{96352FA2-5EDD-CA0B-FA76-63E31EF6307D}" dt="2023-09-15T16:29:43.412" v="104"/>
        <pc:sldMkLst>
          <pc:docMk/>
          <pc:sldMk cId="3117950242" sldId="2147471407"/>
        </pc:sldMkLst>
      </pc:sldChg>
      <pc:sldChg chg="add">
        <pc:chgData name="Sean Gallagher" userId="S::sgallagher@mjhlifesciences.com::577446c3-45ae-4097-b8f0-9d862fa3a0df" providerId="AD" clId="Web-{96352FA2-5EDD-CA0B-FA76-63E31EF6307D}" dt="2023-09-15T16:29:43.662" v="105"/>
        <pc:sldMkLst>
          <pc:docMk/>
          <pc:sldMk cId="2432623632" sldId="2147471408"/>
        </pc:sldMkLst>
      </pc:sldChg>
      <pc:sldChg chg="add">
        <pc:chgData name="Sean Gallagher" userId="S::sgallagher@mjhlifesciences.com::577446c3-45ae-4097-b8f0-9d862fa3a0df" providerId="AD" clId="Web-{96352FA2-5EDD-CA0B-FA76-63E31EF6307D}" dt="2023-09-15T16:29:44.006" v="106"/>
        <pc:sldMkLst>
          <pc:docMk/>
          <pc:sldMk cId="1651885303" sldId="2147471409"/>
        </pc:sldMkLst>
      </pc:sldChg>
      <pc:sldChg chg="add">
        <pc:chgData name="Sean Gallagher" userId="S::sgallagher@mjhlifesciences.com::577446c3-45ae-4097-b8f0-9d862fa3a0df" providerId="AD" clId="Web-{96352FA2-5EDD-CA0B-FA76-63E31EF6307D}" dt="2023-09-15T16:29:44.287" v="107"/>
        <pc:sldMkLst>
          <pc:docMk/>
          <pc:sldMk cId="850465609" sldId="2147471410"/>
        </pc:sldMkLst>
      </pc:sldChg>
      <pc:sldChg chg="add">
        <pc:chgData name="Sean Gallagher" userId="S::sgallagher@mjhlifesciences.com::577446c3-45ae-4097-b8f0-9d862fa3a0df" providerId="AD" clId="Web-{96352FA2-5EDD-CA0B-FA76-63E31EF6307D}" dt="2023-09-15T16:29:44.537" v="108"/>
        <pc:sldMkLst>
          <pc:docMk/>
          <pc:sldMk cId="939524495" sldId="2147471411"/>
        </pc:sldMkLst>
      </pc:sldChg>
      <pc:sldChg chg="add">
        <pc:chgData name="Sean Gallagher" userId="S::sgallagher@mjhlifesciences.com::577446c3-45ae-4097-b8f0-9d862fa3a0df" providerId="AD" clId="Web-{96352FA2-5EDD-CA0B-FA76-63E31EF6307D}" dt="2023-09-15T16:29:44.928" v="109"/>
        <pc:sldMkLst>
          <pc:docMk/>
          <pc:sldMk cId="1474099378" sldId="2147471412"/>
        </pc:sldMkLst>
      </pc:sldChg>
      <pc:sldChg chg="add">
        <pc:chgData name="Sean Gallagher" userId="S::sgallagher@mjhlifesciences.com::577446c3-45ae-4097-b8f0-9d862fa3a0df" providerId="AD" clId="Web-{96352FA2-5EDD-CA0B-FA76-63E31EF6307D}" dt="2023-09-15T16:29:45.287" v="110"/>
        <pc:sldMkLst>
          <pc:docMk/>
          <pc:sldMk cId="1525860419" sldId="2147471413"/>
        </pc:sldMkLst>
      </pc:sldChg>
      <pc:sldChg chg="add">
        <pc:chgData name="Sean Gallagher" userId="S::sgallagher@mjhlifesciences.com::577446c3-45ae-4097-b8f0-9d862fa3a0df" providerId="AD" clId="Web-{96352FA2-5EDD-CA0B-FA76-63E31EF6307D}" dt="2023-09-15T16:29:45.662" v="111"/>
        <pc:sldMkLst>
          <pc:docMk/>
          <pc:sldMk cId="3520139832" sldId="2147471414"/>
        </pc:sldMkLst>
      </pc:sldChg>
      <pc:sldChg chg="add">
        <pc:chgData name="Sean Gallagher" userId="S::sgallagher@mjhlifesciences.com::577446c3-45ae-4097-b8f0-9d862fa3a0df" providerId="AD" clId="Web-{96352FA2-5EDD-CA0B-FA76-63E31EF6307D}" dt="2023-09-15T16:29:45.928" v="112"/>
        <pc:sldMkLst>
          <pc:docMk/>
          <pc:sldMk cId="171230021" sldId="2147471415"/>
        </pc:sldMkLst>
      </pc:sldChg>
      <pc:sldChg chg="add">
        <pc:chgData name="Sean Gallagher" userId="S::sgallagher@mjhlifesciences.com::577446c3-45ae-4097-b8f0-9d862fa3a0df" providerId="AD" clId="Web-{96352FA2-5EDD-CA0B-FA76-63E31EF6307D}" dt="2023-09-15T16:29:46.193" v="113"/>
        <pc:sldMkLst>
          <pc:docMk/>
          <pc:sldMk cId="705225343" sldId="2147471416"/>
        </pc:sldMkLst>
      </pc:sldChg>
      <pc:sldChg chg="add">
        <pc:chgData name="Sean Gallagher" userId="S::sgallagher@mjhlifesciences.com::577446c3-45ae-4097-b8f0-9d862fa3a0df" providerId="AD" clId="Web-{96352FA2-5EDD-CA0B-FA76-63E31EF6307D}" dt="2023-09-15T16:29:46.459" v="114"/>
        <pc:sldMkLst>
          <pc:docMk/>
          <pc:sldMk cId="3215036723" sldId="2147471417"/>
        </pc:sldMkLst>
      </pc:sldChg>
      <pc:sldChg chg="add">
        <pc:chgData name="Sean Gallagher" userId="S::sgallagher@mjhlifesciences.com::577446c3-45ae-4097-b8f0-9d862fa3a0df" providerId="AD" clId="Web-{96352FA2-5EDD-CA0B-FA76-63E31EF6307D}" dt="2023-09-15T16:29:46.678" v="115"/>
        <pc:sldMkLst>
          <pc:docMk/>
          <pc:sldMk cId="1894430845" sldId="2147471418"/>
        </pc:sldMkLst>
      </pc:sldChg>
      <pc:sldChg chg="add">
        <pc:chgData name="Sean Gallagher" userId="S::sgallagher@mjhlifesciences.com::577446c3-45ae-4097-b8f0-9d862fa3a0df" providerId="AD" clId="Web-{96352FA2-5EDD-CA0B-FA76-63E31EF6307D}" dt="2023-09-15T16:29:47.053" v="116"/>
        <pc:sldMkLst>
          <pc:docMk/>
          <pc:sldMk cId="3390846735" sldId="2147471419"/>
        </pc:sldMkLst>
      </pc:sldChg>
      <pc:sldChg chg="add">
        <pc:chgData name="Sean Gallagher" userId="S::sgallagher@mjhlifesciences.com::577446c3-45ae-4097-b8f0-9d862fa3a0df" providerId="AD" clId="Web-{96352FA2-5EDD-CA0B-FA76-63E31EF6307D}" dt="2023-09-15T16:29:47.350" v="117"/>
        <pc:sldMkLst>
          <pc:docMk/>
          <pc:sldMk cId="600598629" sldId="2147471420"/>
        </pc:sldMkLst>
      </pc:sldChg>
      <pc:sldChg chg="add">
        <pc:chgData name="Sean Gallagher" userId="S::sgallagher@mjhlifesciences.com::577446c3-45ae-4097-b8f0-9d862fa3a0df" providerId="AD" clId="Web-{96352FA2-5EDD-CA0B-FA76-63E31EF6307D}" dt="2023-09-15T16:29:47.678" v="118"/>
        <pc:sldMkLst>
          <pc:docMk/>
          <pc:sldMk cId="3352584128" sldId="2147471421"/>
        </pc:sldMkLst>
      </pc:sldChg>
      <pc:sldChg chg="add">
        <pc:chgData name="Sean Gallagher" userId="S::sgallagher@mjhlifesciences.com::577446c3-45ae-4097-b8f0-9d862fa3a0df" providerId="AD" clId="Web-{96352FA2-5EDD-CA0B-FA76-63E31EF6307D}" dt="2023-09-15T16:29:48.037" v="119"/>
        <pc:sldMkLst>
          <pc:docMk/>
          <pc:sldMk cId="1390256374" sldId="2147471422"/>
        </pc:sldMkLst>
      </pc:sldChg>
      <pc:sldChg chg="add">
        <pc:chgData name="Sean Gallagher" userId="S::sgallagher@mjhlifesciences.com::577446c3-45ae-4097-b8f0-9d862fa3a0df" providerId="AD" clId="Web-{96352FA2-5EDD-CA0B-FA76-63E31EF6307D}" dt="2023-09-15T16:29:48.287" v="120"/>
        <pc:sldMkLst>
          <pc:docMk/>
          <pc:sldMk cId="2886570051" sldId="2147471423"/>
        </pc:sldMkLst>
      </pc:sldChg>
      <pc:sldChg chg="add">
        <pc:chgData name="Sean Gallagher" userId="S::sgallagher@mjhlifesciences.com::577446c3-45ae-4097-b8f0-9d862fa3a0df" providerId="AD" clId="Web-{96352FA2-5EDD-CA0B-FA76-63E31EF6307D}" dt="2023-09-15T16:29:48.662" v="121"/>
        <pc:sldMkLst>
          <pc:docMk/>
          <pc:sldMk cId="2137883152" sldId="2147471424"/>
        </pc:sldMkLst>
      </pc:sldChg>
      <pc:sldChg chg="add">
        <pc:chgData name="Sean Gallagher" userId="S::sgallagher@mjhlifesciences.com::577446c3-45ae-4097-b8f0-9d862fa3a0df" providerId="AD" clId="Web-{96352FA2-5EDD-CA0B-FA76-63E31EF6307D}" dt="2023-09-15T16:29:49.053" v="122"/>
        <pc:sldMkLst>
          <pc:docMk/>
          <pc:sldMk cId="1880324122" sldId="2147471425"/>
        </pc:sldMkLst>
      </pc:sldChg>
      <pc:sldChg chg="add">
        <pc:chgData name="Sean Gallagher" userId="S::sgallagher@mjhlifesciences.com::577446c3-45ae-4097-b8f0-9d862fa3a0df" providerId="AD" clId="Web-{96352FA2-5EDD-CA0B-FA76-63E31EF6307D}" dt="2023-09-15T16:29:49.412" v="123"/>
        <pc:sldMkLst>
          <pc:docMk/>
          <pc:sldMk cId="2376931628" sldId="2147471426"/>
        </pc:sldMkLst>
      </pc:sldChg>
      <pc:sldChg chg="add">
        <pc:chgData name="Sean Gallagher" userId="S::sgallagher@mjhlifesciences.com::577446c3-45ae-4097-b8f0-9d862fa3a0df" providerId="AD" clId="Web-{96352FA2-5EDD-CA0B-FA76-63E31EF6307D}" dt="2023-09-15T16:29:49.646" v="124"/>
        <pc:sldMkLst>
          <pc:docMk/>
          <pc:sldMk cId="2489084101" sldId="2147471427"/>
        </pc:sldMkLst>
      </pc:sldChg>
      <pc:sldChg chg="add">
        <pc:chgData name="Sean Gallagher" userId="S::sgallagher@mjhlifesciences.com::577446c3-45ae-4097-b8f0-9d862fa3a0df" providerId="AD" clId="Web-{96352FA2-5EDD-CA0B-FA76-63E31EF6307D}" dt="2023-09-15T16:29:49.912" v="125"/>
        <pc:sldMkLst>
          <pc:docMk/>
          <pc:sldMk cId="3541431946" sldId="2147471428"/>
        </pc:sldMkLst>
      </pc:sldChg>
      <pc:sldChg chg="add">
        <pc:chgData name="Sean Gallagher" userId="S::sgallagher@mjhlifesciences.com::577446c3-45ae-4097-b8f0-9d862fa3a0df" providerId="AD" clId="Web-{96352FA2-5EDD-CA0B-FA76-63E31EF6307D}" dt="2023-09-15T16:29:52.209" v="126"/>
        <pc:sldMkLst>
          <pc:docMk/>
          <pc:sldMk cId="80605103" sldId="2147471429"/>
        </pc:sldMkLst>
      </pc:sldChg>
      <pc:sldChg chg="add">
        <pc:chgData name="Sean Gallagher" userId="S::sgallagher@mjhlifesciences.com::577446c3-45ae-4097-b8f0-9d862fa3a0df" providerId="AD" clId="Web-{96352FA2-5EDD-CA0B-FA76-63E31EF6307D}" dt="2023-09-15T16:30:23.897" v="127"/>
        <pc:sldMkLst>
          <pc:docMk/>
          <pc:sldMk cId="122519094" sldId="2147471430"/>
        </pc:sldMkLst>
      </pc:sldChg>
      <pc:sldChg chg="add">
        <pc:chgData name="Sean Gallagher" userId="S::sgallagher@mjhlifesciences.com::577446c3-45ae-4097-b8f0-9d862fa3a0df" providerId="AD" clId="Web-{96352FA2-5EDD-CA0B-FA76-63E31EF6307D}" dt="2023-09-15T16:30:24.257" v="128"/>
        <pc:sldMkLst>
          <pc:docMk/>
          <pc:sldMk cId="3338099461" sldId="2147471431"/>
        </pc:sldMkLst>
      </pc:sldChg>
      <pc:sldChg chg="add">
        <pc:chgData name="Sean Gallagher" userId="S::sgallagher@mjhlifesciences.com::577446c3-45ae-4097-b8f0-9d862fa3a0df" providerId="AD" clId="Web-{96352FA2-5EDD-CA0B-FA76-63E31EF6307D}" dt="2023-09-15T16:30:24.491" v="129"/>
        <pc:sldMkLst>
          <pc:docMk/>
          <pc:sldMk cId="4123917669" sldId="2147471432"/>
        </pc:sldMkLst>
      </pc:sldChg>
      <pc:sldChg chg="add">
        <pc:chgData name="Sean Gallagher" userId="S::sgallagher@mjhlifesciences.com::577446c3-45ae-4097-b8f0-9d862fa3a0df" providerId="AD" clId="Web-{96352FA2-5EDD-CA0B-FA76-63E31EF6307D}" dt="2023-09-15T16:30:24.788" v="130"/>
        <pc:sldMkLst>
          <pc:docMk/>
          <pc:sldMk cId="2933663925" sldId="2147471433"/>
        </pc:sldMkLst>
      </pc:sldChg>
      <pc:sldChg chg="add">
        <pc:chgData name="Sean Gallagher" userId="S::sgallagher@mjhlifesciences.com::577446c3-45ae-4097-b8f0-9d862fa3a0df" providerId="AD" clId="Web-{96352FA2-5EDD-CA0B-FA76-63E31EF6307D}" dt="2023-09-15T16:30:25.022" v="131"/>
        <pc:sldMkLst>
          <pc:docMk/>
          <pc:sldMk cId="4091534335" sldId="2147471434"/>
        </pc:sldMkLst>
      </pc:sldChg>
      <pc:sldChg chg="add">
        <pc:chgData name="Sean Gallagher" userId="S::sgallagher@mjhlifesciences.com::577446c3-45ae-4097-b8f0-9d862fa3a0df" providerId="AD" clId="Web-{96352FA2-5EDD-CA0B-FA76-63E31EF6307D}" dt="2023-09-15T16:30:25.257" v="132"/>
        <pc:sldMkLst>
          <pc:docMk/>
          <pc:sldMk cId="103987459" sldId="2147471435"/>
        </pc:sldMkLst>
      </pc:sldChg>
      <pc:sldChg chg="add">
        <pc:chgData name="Sean Gallagher" userId="S::sgallagher@mjhlifesciences.com::577446c3-45ae-4097-b8f0-9d862fa3a0df" providerId="AD" clId="Web-{96352FA2-5EDD-CA0B-FA76-63E31EF6307D}" dt="2023-09-15T16:30:25.507" v="133"/>
        <pc:sldMkLst>
          <pc:docMk/>
          <pc:sldMk cId="2925652747" sldId="2147471436"/>
        </pc:sldMkLst>
      </pc:sldChg>
      <pc:sldChg chg="add">
        <pc:chgData name="Sean Gallagher" userId="S::sgallagher@mjhlifesciences.com::577446c3-45ae-4097-b8f0-9d862fa3a0df" providerId="AD" clId="Web-{96352FA2-5EDD-CA0B-FA76-63E31EF6307D}" dt="2023-09-15T16:30:25.866" v="134"/>
        <pc:sldMkLst>
          <pc:docMk/>
          <pc:sldMk cId="1740519927" sldId="2147471437"/>
        </pc:sldMkLst>
      </pc:sldChg>
      <pc:sldChg chg="add">
        <pc:chgData name="Sean Gallagher" userId="S::sgallagher@mjhlifesciences.com::577446c3-45ae-4097-b8f0-9d862fa3a0df" providerId="AD" clId="Web-{96352FA2-5EDD-CA0B-FA76-63E31EF6307D}" dt="2023-09-15T16:30:26.241" v="135"/>
        <pc:sldMkLst>
          <pc:docMk/>
          <pc:sldMk cId="3998584570" sldId="2147471438"/>
        </pc:sldMkLst>
      </pc:sldChg>
      <pc:sldChg chg="add">
        <pc:chgData name="Sean Gallagher" userId="S::sgallagher@mjhlifesciences.com::577446c3-45ae-4097-b8f0-9d862fa3a0df" providerId="AD" clId="Web-{96352FA2-5EDD-CA0B-FA76-63E31EF6307D}" dt="2023-09-15T16:30:26.554" v="136"/>
        <pc:sldMkLst>
          <pc:docMk/>
          <pc:sldMk cId="2638748872" sldId="2147471439"/>
        </pc:sldMkLst>
      </pc:sldChg>
      <pc:sldChg chg="add">
        <pc:chgData name="Sean Gallagher" userId="S::sgallagher@mjhlifesciences.com::577446c3-45ae-4097-b8f0-9d862fa3a0df" providerId="AD" clId="Web-{96352FA2-5EDD-CA0B-FA76-63E31EF6307D}" dt="2023-09-15T16:30:26.851" v="137"/>
        <pc:sldMkLst>
          <pc:docMk/>
          <pc:sldMk cId="105414473" sldId="2147471440"/>
        </pc:sldMkLst>
      </pc:sldChg>
      <pc:sldChg chg="add">
        <pc:chgData name="Sean Gallagher" userId="S::sgallagher@mjhlifesciences.com::577446c3-45ae-4097-b8f0-9d862fa3a0df" providerId="AD" clId="Web-{96352FA2-5EDD-CA0B-FA76-63E31EF6307D}" dt="2023-09-15T16:30:27.210" v="138"/>
        <pc:sldMkLst>
          <pc:docMk/>
          <pc:sldMk cId="2527693350" sldId="2147471441"/>
        </pc:sldMkLst>
      </pc:sldChg>
      <pc:sldChg chg="add">
        <pc:chgData name="Sean Gallagher" userId="S::sgallagher@mjhlifesciences.com::577446c3-45ae-4097-b8f0-9d862fa3a0df" providerId="AD" clId="Web-{96352FA2-5EDD-CA0B-FA76-63E31EF6307D}" dt="2023-09-15T16:30:27.554" v="139"/>
        <pc:sldMkLst>
          <pc:docMk/>
          <pc:sldMk cId="2615322770" sldId="2147471442"/>
        </pc:sldMkLst>
      </pc:sldChg>
      <pc:sldChg chg="add">
        <pc:chgData name="Sean Gallagher" userId="S::sgallagher@mjhlifesciences.com::577446c3-45ae-4097-b8f0-9d862fa3a0df" providerId="AD" clId="Web-{96352FA2-5EDD-CA0B-FA76-63E31EF6307D}" dt="2023-09-15T16:30:27.788" v="140"/>
        <pc:sldMkLst>
          <pc:docMk/>
          <pc:sldMk cId="3290526069" sldId="2147471443"/>
        </pc:sldMkLst>
      </pc:sldChg>
      <pc:sldChg chg="add">
        <pc:chgData name="Sean Gallagher" userId="S::sgallagher@mjhlifesciences.com::577446c3-45ae-4097-b8f0-9d862fa3a0df" providerId="AD" clId="Web-{96352FA2-5EDD-CA0B-FA76-63E31EF6307D}" dt="2023-09-15T16:30:28.116" v="141"/>
        <pc:sldMkLst>
          <pc:docMk/>
          <pc:sldMk cId="982007876" sldId="2147471444"/>
        </pc:sldMkLst>
      </pc:sldChg>
      <pc:sldChg chg="add">
        <pc:chgData name="Sean Gallagher" userId="S::sgallagher@mjhlifesciences.com::577446c3-45ae-4097-b8f0-9d862fa3a0df" providerId="AD" clId="Web-{96352FA2-5EDD-CA0B-FA76-63E31EF6307D}" dt="2023-09-15T16:30:28.476" v="142"/>
        <pc:sldMkLst>
          <pc:docMk/>
          <pc:sldMk cId="149356183" sldId="2147471445"/>
        </pc:sldMkLst>
      </pc:sldChg>
      <pc:sldChg chg="add">
        <pc:chgData name="Sean Gallagher" userId="S::sgallagher@mjhlifesciences.com::577446c3-45ae-4097-b8f0-9d862fa3a0df" providerId="AD" clId="Web-{96352FA2-5EDD-CA0B-FA76-63E31EF6307D}" dt="2023-09-15T16:30:28.913" v="143"/>
        <pc:sldMkLst>
          <pc:docMk/>
          <pc:sldMk cId="1913841866" sldId="2147471446"/>
        </pc:sldMkLst>
      </pc:sldChg>
      <pc:sldChg chg="add">
        <pc:chgData name="Sean Gallagher" userId="S::sgallagher@mjhlifesciences.com::577446c3-45ae-4097-b8f0-9d862fa3a0df" providerId="AD" clId="Web-{96352FA2-5EDD-CA0B-FA76-63E31EF6307D}" dt="2023-09-15T16:30:29.382" v="144"/>
        <pc:sldMkLst>
          <pc:docMk/>
          <pc:sldMk cId="3467596228" sldId="2147471447"/>
        </pc:sldMkLst>
      </pc:sldChg>
      <pc:sldChg chg="add">
        <pc:chgData name="Sean Gallagher" userId="S::sgallagher@mjhlifesciences.com::577446c3-45ae-4097-b8f0-9d862fa3a0df" providerId="AD" clId="Web-{96352FA2-5EDD-CA0B-FA76-63E31EF6307D}" dt="2023-09-15T16:30:29.679" v="145"/>
        <pc:sldMkLst>
          <pc:docMk/>
          <pc:sldMk cId="1865928614" sldId="2147471448"/>
        </pc:sldMkLst>
      </pc:sldChg>
      <pc:sldChg chg="add">
        <pc:chgData name="Sean Gallagher" userId="S::sgallagher@mjhlifesciences.com::577446c3-45ae-4097-b8f0-9d862fa3a0df" providerId="AD" clId="Web-{96352FA2-5EDD-CA0B-FA76-63E31EF6307D}" dt="2023-09-15T16:30:29.929" v="146"/>
        <pc:sldMkLst>
          <pc:docMk/>
          <pc:sldMk cId="3049222258" sldId="2147471449"/>
        </pc:sldMkLst>
      </pc:sldChg>
      <pc:sldChg chg="add">
        <pc:chgData name="Sean Gallagher" userId="S::sgallagher@mjhlifesciences.com::577446c3-45ae-4097-b8f0-9d862fa3a0df" providerId="AD" clId="Web-{96352FA2-5EDD-CA0B-FA76-63E31EF6307D}" dt="2023-09-15T16:30:30.351" v="147"/>
        <pc:sldMkLst>
          <pc:docMk/>
          <pc:sldMk cId="638894893" sldId="2147471450"/>
        </pc:sldMkLst>
      </pc:sldChg>
      <pc:sldChg chg="add">
        <pc:chgData name="Sean Gallagher" userId="S::sgallagher@mjhlifesciences.com::577446c3-45ae-4097-b8f0-9d862fa3a0df" providerId="AD" clId="Web-{96352FA2-5EDD-CA0B-FA76-63E31EF6307D}" dt="2023-09-15T16:30:30.757" v="148"/>
        <pc:sldMkLst>
          <pc:docMk/>
          <pc:sldMk cId="263812902" sldId="2147471451"/>
        </pc:sldMkLst>
      </pc:sldChg>
      <pc:sldChg chg="add">
        <pc:chgData name="Sean Gallagher" userId="S::sgallagher@mjhlifesciences.com::577446c3-45ae-4097-b8f0-9d862fa3a0df" providerId="AD" clId="Web-{96352FA2-5EDD-CA0B-FA76-63E31EF6307D}" dt="2023-09-15T16:30:31.179" v="149"/>
        <pc:sldMkLst>
          <pc:docMk/>
          <pc:sldMk cId="4225445769" sldId="2147471452"/>
        </pc:sldMkLst>
      </pc:sldChg>
      <pc:sldChg chg="add">
        <pc:chgData name="Sean Gallagher" userId="S::sgallagher@mjhlifesciences.com::577446c3-45ae-4097-b8f0-9d862fa3a0df" providerId="AD" clId="Web-{96352FA2-5EDD-CA0B-FA76-63E31EF6307D}" dt="2023-09-15T16:30:31.757" v="150"/>
        <pc:sldMkLst>
          <pc:docMk/>
          <pc:sldMk cId="689262146" sldId="2147471453"/>
        </pc:sldMkLst>
      </pc:sldChg>
      <pc:sldChg chg="add">
        <pc:chgData name="Sean Gallagher" userId="S::sgallagher@mjhlifesciences.com::577446c3-45ae-4097-b8f0-9d862fa3a0df" providerId="AD" clId="Web-{96352FA2-5EDD-CA0B-FA76-63E31EF6307D}" dt="2023-09-15T16:30:32.101" v="151"/>
        <pc:sldMkLst>
          <pc:docMk/>
          <pc:sldMk cId="431643889" sldId="2147471454"/>
        </pc:sldMkLst>
      </pc:sldChg>
      <pc:sldChg chg="add">
        <pc:chgData name="Sean Gallagher" userId="S::sgallagher@mjhlifesciences.com::577446c3-45ae-4097-b8f0-9d862fa3a0df" providerId="AD" clId="Web-{96352FA2-5EDD-CA0B-FA76-63E31EF6307D}" dt="2023-09-15T16:30:32.351" v="152"/>
        <pc:sldMkLst>
          <pc:docMk/>
          <pc:sldMk cId="2736418581" sldId="2147471455"/>
        </pc:sldMkLst>
      </pc:sldChg>
      <pc:sldChg chg="add">
        <pc:chgData name="Sean Gallagher" userId="S::sgallagher@mjhlifesciences.com::577446c3-45ae-4097-b8f0-9d862fa3a0df" providerId="AD" clId="Web-{96352FA2-5EDD-CA0B-FA76-63E31EF6307D}" dt="2023-09-15T16:30:32.601" v="153"/>
        <pc:sldMkLst>
          <pc:docMk/>
          <pc:sldMk cId="2288204625" sldId="2147471456"/>
        </pc:sldMkLst>
      </pc:sldChg>
      <pc:sldChg chg="add">
        <pc:chgData name="Sean Gallagher" userId="S::sgallagher@mjhlifesciences.com::577446c3-45ae-4097-b8f0-9d862fa3a0df" providerId="AD" clId="Web-{96352FA2-5EDD-CA0B-FA76-63E31EF6307D}" dt="2023-09-15T16:30:32.960" v="154"/>
        <pc:sldMkLst>
          <pc:docMk/>
          <pc:sldMk cId="3469261709" sldId="2147471457"/>
        </pc:sldMkLst>
      </pc:sldChg>
      <pc:sldChg chg="add">
        <pc:chgData name="Sean Gallagher" userId="S::sgallagher@mjhlifesciences.com::577446c3-45ae-4097-b8f0-9d862fa3a0df" providerId="AD" clId="Web-{96352FA2-5EDD-CA0B-FA76-63E31EF6307D}" dt="2023-09-15T16:30:33.413" v="155"/>
        <pc:sldMkLst>
          <pc:docMk/>
          <pc:sldMk cId="1154533250" sldId="2147471458"/>
        </pc:sldMkLst>
      </pc:sldChg>
      <pc:sldChg chg="add">
        <pc:chgData name="Sean Gallagher" userId="S::sgallagher@mjhlifesciences.com::577446c3-45ae-4097-b8f0-9d862fa3a0df" providerId="AD" clId="Web-{96352FA2-5EDD-CA0B-FA76-63E31EF6307D}" dt="2023-09-15T16:30:33.804" v="156"/>
        <pc:sldMkLst>
          <pc:docMk/>
          <pc:sldMk cId="4185839180" sldId="2147471459"/>
        </pc:sldMkLst>
      </pc:sldChg>
      <pc:sldChg chg="add">
        <pc:chgData name="Sean Gallagher" userId="S::sgallagher@mjhlifesciences.com::577446c3-45ae-4097-b8f0-9d862fa3a0df" providerId="AD" clId="Web-{96352FA2-5EDD-CA0B-FA76-63E31EF6307D}" dt="2023-09-15T16:30:34.085" v="157"/>
        <pc:sldMkLst>
          <pc:docMk/>
          <pc:sldMk cId="1954735871" sldId="2147471460"/>
        </pc:sldMkLst>
      </pc:sldChg>
      <pc:sldChg chg="add">
        <pc:chgData name="Sean Gallagher" userId="S::sgallagher@mjhlifesciences.com::577446c3-45ae-4097-b8f0-9d862fa3a0df" providerId="AD" clId="Web-{96352FA2-5EDD-CA0B-FA76-63E31EF6307D}" dt="2023-09-15T16:30:34.319" v="158"/>
        <pc:sldMkLst>
          <pc:docMk/>
          <pc:sldMk cId="2119571184" sldId="2147471461"/>
        </pc:sldMkLst>
      </pc:sldChg>
      <pc:sldChg chg="add">
        <pc:chgData name="Sean Gallagher" userId="S::sgallagher@mjhlifesciences.com::577446c3-45ae-4097-b8f0-9d862fa3a0df" providerId="AD" clId="Web-{96352FA2-5EDD-CA0B-FA76-63E31EF6307D}" dt="2023-09-15T16:30:36.929" v="159"/>
        <pc:sldMkLst>
          <pc:docMk/>
          <pc:sldMk cId="3152717163" sldId="2147471462"/>
        </pc:sldMkLst>
      </pc:sldChg>
      <pc:sldChg chg="add">
        <pc:chgData name="Sean Gallagher" userId="S::sgallagher@mjhlifesciences.com::577446c3-45ae-4097-b8f0-9d862fa3a0df" providerId="AD" clId="Web-{96352FA2-5EDD-CA0B-FA76-63E31EF6307D}" dt="2023-09-15T16:31:34.399" v="160"/>
        <pc:sldMkLst>
          <pc:docMk/>
          <pc:sldMk cId="2761426148" sldId="2147471463"/>
        </pc:sldMkLst>
      </pc:sldChg>
      <pc:sldChg chg="add">
        <pc:chgData name="Sean Gallagher" userId="S::sgallagher@mjhlifesciences.com::577446c3-45ae-4097-b8f0-9d862fa3a0df" providerId="AD" clId="Web-{96352FA2-5EDD-CA0B-FA76-63E31EF6307D}" dt="2023-09-15T16:31:34.821" v="161"/>
        <pc:sldMkLst>
          <pc:docMk/>
          <pc:sldMk cId="1366155086" sldId="2147471464"/>
        </pc:sldMkLst>
      </pc:sldChg>
      <pc:sldChg chg="add">
        <pc:chgData name="Sean Gallagher" userId="S::sgallagher@mjhlifesciences.com::577446c3-45ae-4097-b8f0-9d862fa3a0df" providerId="AD" clId="Web-{96352FA2-5EDD-CA0B-FA76-63E31EF6307D}" dt="2023-09-15T16:31:35.212" v="162"/>
        <pc:sldMkLst>
          <pc:docMk/>
          <pc:sldMk cId="3386502181" sldId="2147471465"/>
        </pc:sldMkLst>
      </pc:sldChg>
      <pc:sldChg chg="add">
        <pc:chgData name="Sean Gallagher" userId="S::sgallagher@mjhlifesciences.com::577446c3-45ae-4097-b8f0-9d862fa3a0df" providerId="AD" clId="Web-{96352FA2-5EDD-CA0B-FA76-63E31EF6307D}" dt="2023-09-15T16:31:35.462" v="163"/>
        <pc:sldMkLst>
          <pc:docMk/>
          <pc:sldMk cId="755301471" sldId="2147471466"/>
        </pc:sldMkLst>
      </pc:sldChg>
      <pc:sldChg chg="add">
        <pc:chgData name="Sean Gallagher" userId="S::sgallagher@mjhlifesciences.com::577446c3-45ae-4097-b8f0-9d862fa3a0df" providerId="AD" clId="Web-{96352FA2-5EDD-CA0B-FA76-63E31EF6307D}" dt="2023-09-15T16:31:38.055" v="164"/>
        <pc:sldMkLst>
          <pc:docMk/>
          <pc:sldMk cId="626535417" sldId="2147471467"/>
        </pc:sldMkLst>
      </pc:sldChg>
      <pc:sldMasterChg chg="addSldLayout">
        <pc:chgData name="Sean Gallagher" userId="S::sgallagher@mjhlifesciences.com::577446c3-45ae-4097-b8f0-9d862fa3a0df" providerId="AD" clId="Web-{96352FA2-5EDD-CA0B-FA76-63E31EF6307D}" dt="2023-09-15T16:28:48.036" v="70"/>
        <pc:sldMasterMkLst>
          <pc:docMk/>
          <pc:sldMasterMk cId="1070809925" sldId="2147483659"/>
        </pc:sldMasterMkLst>
        <pc:sldLayoutChg chg="add">
          <pc:chgData name="Sean Gallagher" userId="S::sgallagher@mjhlifesciences.com::577446c3-45ae-4097-b8f0-9d862fa3a0df" providerId="AD" clId="Web-{96352FA2-5EDD-CA0B-FA76-63E31EF6307D}" dt="2023-09-15T16:28:48.036" v="70"/>
          <pc:sldLayoutMkLst>
            <pc:docMk/>
            <pc:sldMasterMk cId="1070809925" sldId="2147483659"/>
            <pc:sldLayoutMk cId="3873533070" sldId="2147483668"/>
          </pc:sldLayoutMkLst>
        </pc:sldLayoutChg>
        <pc:sldLayoutChg chg="add">
          <pc:chgData name="Sean Gallagher" userId="S::sgallagher@mjhlifesciences.com::577446c3-45ae-4097-b8f0-9d862fa3a0df" providerId="AD" clId="Web-{96352FA2-5EDD-CA0B-FA76-63E31EF6307D}" dt="2023-09-15T16:28:48.036" v="70"/>
          <pc:sldLayoutMkLst>
            <pc:docMk/>
            <pc:sldMasterMk cId="1070809925" sldId="2147483659"/>
            <pc:sldLayoutMk cId="2113374956" sldId="2147483669"/>
          </pc:sldLayoutMkLst>
        </pc:sldLayoutChg>
        <pc:sldLayoutChg chg="add">
          <pc:chgData name="Sean Gallagher" userId="S::sgallagher@mjhlifesciences.com::577446c3-45ae-4097-b8f0-9d862fa3a0df" providerId="AD" clId="Web-{96352FA2-5EDD-CA0B-FA76-63E31EF6307D}" dt="2023-09-15T16:27:03.174" v="0"/>
          <pc:sldLayoutMkLst>
            <pc:docMk/>
            <pc:sldMasterMk cId="1070809925" sldId="2147483659"/>
            <pc:sldLayoutMk cId="2882712935" sldId="2147483670"/>
          </pc:sldLayoutMkLst>
        </pc:sldLayoutChg>
        <pc:sldLayoutChg chg="add">
          <pc:chgData name="Sean Gallagher" userId="S::sgallagher@mjhlifesciences.com::577446c3-45ae-4097-b8f0-9d862fa3a0df" providerId="AD" clId="Web-{96352FA2-5EDD-CA0B-FA76-63E31EF6307D}" dt="2023-09-15T16:27:03.174" v="0"/>
          <pc:sldLayoutMkLst>
            <pc:docMk/>
            <pc:sldMasterMk cId="1070809925" sldId="2147483659"/>
            <pc:sldLayoutMk cId="2752063409" sldId="2147483671"/>
          </pc:sldLayoutMkLst>
        </pc:sldLayoutChg>
      </pc:sldMasterChg>
    </pc:docChg>
  </pc:docChgLst>
  <pc:docChgLst>
    <pc:chgData name="Sean Gallagher" userId="S::sgallagher@mjhlifesciences.com::577446c3-45ae-4097-b8f0-9d862fa3a0df" providerId="AD" clId="Web-{6EBD26C2-EC25-2928-559C-918739D712D5}"/>
    <pc:docChg chg="addSld">
      <pc:chgData name="Sean Gallagher" userId="S::sgallagher@mjhlifesciences.com::577446c3-45ae-4097-b8f0-9d862fa3a0df" providerId="AD" clId="Web-{6EBD26C2-EC25-2928-559C-918739D712D5}" dt="2023-09-15T16:23:22.009" v="40"/>
      <pc:docMkLst>
        <pc:docMk/>
      </pc:docMkLst>
      <pc:sldChg chg="add">
        <pc:chgData name="Sean Gallagher" userId="S::sgallagher@mjhlifesciences.com::577446c3-45ae-4097-b8f0-9d862fa3a0df" providerId="AD" clId="Web-{6EBD26C2-EC25-2928-559C-918739D712D5}" dt="2023-09-15T16:23:05.274" v="0"/>
        <pc:sldMkLst>
          <pc:docMk/>
          <pc:sldMk cId="322272489" sldId="2147471262"/>
        </pc:sldMkLst>
      </pc:sldChg>
      <pc:sldChg chg="add">
        <pc:chgData name="Sean Gallagher" userId="S::sgallagher@mjhlifesciences.com::577446c3-45ae-4097-b8f0-9d862fa3a0df" providerId="AD" clId="Web-{6EBD26C2-EC25-2928-559C-918739D712D5}" dt="2023-09-15T16:23:05.524" v="1"/>
        <pc:sldMkLst>
          <pc:docMk/>
          <pc:sldMk cId="2642032277" sldId="2147471263"/>
        </pc:sldMkLst>
      </pc:sldChg>
      <pc:sldChg chg="add">
        <pc:chgData name="Sean Gallagher" userId="S::sgallagher@mjhlifesciences.com::577446c3-45ae-4097-b8f0-9d862fa3a0df" providerId="AD" clId="Web-{6EBD26C2-EC25-2928-559C-918739D712D5}" dt="2023-09-15T16:23:06.603" v="2"/>
        <pc:sldMkLst>
          <pc:docMk/>
          <pc:sldMk cId="2522840192" sldId="2147471264"/>
        </pc:sldMkLst>
      </pc:sldChg>
      <pc:sldChg chg="add">
        <pc:chgData name="Sean Gallagher" userId="S::sgallagher@mjhlifesciences.com::577446c3-45ae-4097-b8f0-9d862fa3a0df" providerId="AD" clId="Web-{6EBD26C2-EC25-2928-559C-918739D712D5}" dt="2023-09-15T16:23:07.009" v="3"/>
        <pc:sldMkLst>
          <pc:docMk/>
          <pc:sldMk cId="1403218677" sldId="2147471265"/>
        </pc:sldMkLst>
      </pc:sldChg>
      <pc:sldChg chg="add">
        <pc:chgData name="Sean Gallagher" userId="S::sgallagher@mjhlifesciences.com::577446c3-45ae-4097-b8f0-9d862fa3a0df" providerId="AD" clId="Web-{6EBD26C2-EC25-2928-559C-918739D712D5}" dt="2023-09-15T16:23:07.462" v="4"/>
        <pc:sldMkLst>
          <pc:docMk/>
          <pc:sldMk cId="1548117062" sldId="2147471266"/>
        </pc:sldMkLst>
      </pc:sldChg>
      <pc:sldChg chg="add">
        <pc:chgData name="Sean Gallagher" userId="S::sgallagher@mjhlifesciences.com::577446c3-45ae-4097-b8f0-9d862fa3a0df" providerId="AD" clId="Web-{6EBD26C2-EC25-2928-559C-918739D712D5}" dt="2023-09-15T16:23:07.899" v="5"/>
        <pc:sldMkLst>
          <pc:docMk/>
          <pc:sldMk cId="278383886" sldId="2147471267"/>
        </pc:sldMkLst>
      </pc:sldChg>
      <pc:sldChg chg="add">
        <pc:chgData name="Sean Gallagher" userId="S::sgallagher@mjhlifesciences.com::577446c3-45ae-4097-b8f0-9d862fa3a0df" providerId="AD" clId="Web-{6EBD26C2-EC25-2928-559C-918739D712D5}" dt="2023-09-15T16:23:08.321" v="6"/>
        <pc:sldMkLst>
          <pc:docMk/>
          <pc:sldMk cId="2492768170" sldId="2147471268"/>
        </pc:sldMkLst>
      </pc:sldChg>
      <pc:sldChg chg="add">
        <pc:chgData name="Sean Gallagher" userId="S::sgallagher@mjhlifesciences.com::577446c3-45ae-4097-b8f0-9d862fa3a0df" providerId="AD" clId="Web-{6EBD26C2-EC25-2928-559C-918739D712D5}" dt="2023-09-15T16:23:08.743" v="7"/>
        <pc:sldMkLst>
          <pc:docMk/>
          <pc:sldMk cId="2727259439" sldId="2147471269"/>
        </pc:sldMkLst>
      </pc:sldChg>
      <pc:sldChg chg="add">
        <pc:chgData name="Sean Gallagher" userId="S::sgallagher@mjhlifesciences.com::577446c3-45ae-4097-b8f0-9d862fa3a0df" providerId="AD" clId="Web-{6EBD26C2-EC25-2928-559C-918739D712D5}" dt="2023-09-15T16:23:09.212" v="8"/>
        <pc:sldMkLst>
          <pc:docMk/>
          <pc:sldMk cId="1137401987" sldId="2147471270"/>
        </pc:sldMkLst>
      </pc:sldChg>
      <pc:sldChg chg="add">
        <pc:chgData name="Sean Gallagher" userId="S::sgallagher@mjhlifesciences.com::577446c3-45ae-4097-b8f0-9d862fa3a0df" providerId="AD" clId="Web-{6EBD26C2-EC25-2928-559C-918739D712D5}" dt="2023-09-15T16:23:09.478" v="9"/>
        <pc:sldMkLst>
          <pc:docMk/>
          <pc:sldMk cId="3416875714" sldId="2147471271"/>
        </pc:sldMkLst>
      </pc:sldChg>
      <pc:sldChg chg="add">
        <pc:chgData name="Sean Gallagher" userId="S::sgallagher@mjhlifesciences.com::577446c3-45ae-4097-b8f0-9d862fa3a0df" providerId="AD" clId="Web-{6EBD26C2-EC25-2928-559C-918739D712D5}" dt="2023-09-15T16:23:09.712" v="10"/>
        <pc:sldMkLst>
          <pc:docMk/>
          <pc:sldMk cId="576443561" sldId="2147471272"/>
        </pc:sldMkLst>
      </pc:sldChg>
      <pc:sldChg chg="add">
        <pc:chgData name="Sean Gallagher" userId="S::sgallagher@mjhlifesciences.com::577446c3-45ae-4097-b8f0-9d862fa3a0df" providerId="AD" clId="Web-{6EBD26C2-EC25-2928-559C-918739D712D5}" dt="2023-09-15T16:23:10.040" v="11"/>
        <pc:sldMkLst>
          <pc:docMk/>
          <pc:sldMk cId="1208333496" sldId="2147471273"/>
        </pc:sldMkLst>
      </pc:sldChg>
      <pc:sldChg chg="add">
        <pc:chgData name="Sean Gallagher" userId="S::sgallagher@mjhlifesciences.com::577446c3-45ae-4097-b8f0-9d862fa3a0df" providerId="AD" clId="Web-{6EBD26C2-EC25-2928-559C-918739D712D5}" dt="2023-09-15T16:23:10.321" v="12"/>
        <pc:sldMkLst>
          <pc:docMk/>
          <pc:sldMk cId="2200070679" sldId="2147471274"/>
        </pc:sldMkLst>
      </pc:sldChg>
      <pc:sldChg chg="add">
        <pc:chgData name="Sean Gallagher" userId="S::sgallagher@mjhlifesciences.com::577446c3-45ae-4097-b8f0-9d862fa3a0df" providerId="AD" clId="Web-{6EBD26C2-EC25-2928-559C-918739D712D5}" dt="2023-09-15T16:23:10.712" v="13"/>
        <pc:sldMkLst>
          <pc:docMk/>
          <pc:sldMk cId="3142471510" sldId="2147471275"/>
        </pc:sldMkLst>
      </pc:sldChg>
      <pc:sldChg chg="add">
        <pc:chgData name="Sean Gallagher" userId="S::sgallagher@mjhlifesciences.com::577446c3-45ae-4097-b8f0-9d862fa3a0df" providerId="AD" clId="Web-{6EBD26C2-EC25-2928-559C-918739D712D5}" dt="2023-09-15T16:23:11.087" v="14"/>
        <pc:sldMkLst>
          <pc:docMk/>
          <pc:sldMk cId="490082276" sldId="2147471276"/>
        </pc:sldMkLst>
      </pc:sldChg>
      <pc:sldChg chg="add">
        <pc:chgData name="Sean Gallagher" userId="S::sgallagher@mjhlifesciences.com::577446c3-45ae-4097-b8f0-9d862fa3a0df" providerId="AD" clId="Web-{6EBD26C2-EC25-2928-559C-918739D712D5}" dt="2023-09-15T16:23:11.462" v="15"/>
        <pc:sldMkLst>
          <pc:docMk/>
          <pc:sldMk cId="4067548332" sldId="2147471277"/>
        </pc:sldMkLst>
      </pc:sldChg>
      <pc:sldChg chg="add">
        <pc:chgData name="Sean Gallagher" userId="S::sgallagher@mjhlifesciences.com::577446c3-45ae-4097-b8f0-9d862fa3a0df" providerId="AD" clId="Web-{6EBD26C2-EC25-2928-559C-918739D712D5}" dt="2023-09-15T16:23:11.806" v="16"/>
        <pc:sldMkLst>
          <pc:docMk/>
          <pc:sldMk cId="2143704248" sldId="2147471278"/>
        </pc:sldMkLst>
      </pc:sldChg>
      <pc:sldChg chg="add">
        <pc:chgData name="Sean Gallagher" userId="S::sgallagher@mjhlifesciences.com::577446c3-45ae-4097-b8f0-9d862fa3a0df" providerId="AD" clId="Web-{6EBD26C2-EC25-2928-559C-918739D712D5}" dt="2023-09-15T16:23:12.071" v="17"/>
        <pc:sldMkLst>
          <pc:docMk/>
          <pc:sldMk cId="5815647" sldId="2147471279"/>
        </pc:sldMkLst>
      </pc:sldChg>
      <pc:sldChg chg="add">
        <pc:chgData name="Sean Gallagher" userId="S::sgallagher@mjhlifesciences.com::577446c3-45ae-4097-b8f0-9d862fa3a0df" providerId="AD" clId="Web-{6EBD26C2-EC25-2928-559C-918739D712D5}" dt="2023-09-15T16:23:12.384" v="18"/>
        <pc:sldMkLst>
          <pc:docMk/>
          <pc:sldMk cId="3324566732" sldId="2147471280"/>
        </pc:sldMkLst>
      </pc:sldChg>
      <pc:sldChg chg="add">
        <pc:chgData name="Sean Gallagher" userId="S::sgallagher@mjhlifesciences.com::577446c3-45ae-4097-b8f0-9d862fa3a0df" providerId="AD" clId="Web-{6EBD26C2-EC25-2928-559C-918739D712D5}" dt="2023-09-15T16:23:12.712" v="19"/>
        <pc:sldMkLst>
          <pc:docMk/>
          <pc:sldMk cId="1462191688" sldId="2147471281"/>
        </pc:sldMkLst>
      </pc:sldChg>
      <pc:sldChg chg="add">
        <pc:chgData name="Sean Gallagher" userId="S::sgallagher@mjhlifesciences.com::577446c3-45ae-4097-b8f0-9d862fa3a0df" providerId="AD" clId="Web-{6EBD26C2-EC25-2928-559C-918739D712D5}" dt="2023-09-15T16:23:13.134" v="20"/>
        <pc:sldMkLst>
          <pc:docMk/>
          <pc:sldMk cId="2546946170" sldId="2147471282"/>
        </pc:sldMkLst>
      </pc:sldChg>
      <pc:sldChg chg="add">
        <pc:chgData name="Sean Gallagher" userId="S::sgallagher@mjhlifesciences.com::577446c3-45ae-4097-b8f0-9d862fa3a0df" providerId="AD" clId="Web-{6EBD26C2-EC25-2928-559C-918739D712D5}" dt="2023-09-15T16:23:13.525" v="21"/>
        <pc:sldMkLst>
          <pc:docMk/>
          <pc:sldMk cId="3818585194" sldId="2147471283"/>
        </pc:sldMkLst>
      </pc:sldChg>
      <pc:sldChg chg="add">
        <pc:chgData name="Sean Gallagher" userId="S::sgallagher@mjhlifesciences.com::577446c3-45ae-4097-b8f0-9d862fa3a0df" providerId="AD" clId="Web-{6EBD26C2-EC25-2928-559C-918739D712D5}" dt="2023-09-15T16:23:13.915" v="22"/>
        <pc:sldMkLst>
          <pc:docMk/>
          <pc:sldMk cId="2621013675" sldId="2147471284"/>
        </pc:sldMkLst>
      </pc:sldChg>
      <pc:sldChg chg="add">
        <pc:chgData name="Sean Gallagher" userId="S::sgallagher@mjhlifesciences.com::577446c3-45ae-4097-b8f0-9d862fa3a0df" providerId="AD" clId="Web-{6EBD26C2-EC25-2928-559C-918739D712D5}" dt="2023-09-15T16:23:14.243" v="23"/>
        <pc:sldMkLst>
          <pc:docMk/>
          <pc:sldMk cId="2165260969" sldId="2147471285"/>
        </pc:sldMkLst>
      </pc:sldChg>
      <pc:sldChg chg="add">
        <pc:chgData name="Sean Gallagher" userId="S::sgallagher@mjhlifesciences.com::577446c3-45ae-4097-b8f0-9d862fa3a0df" providerId="AD" clId="Web-{6EBD26C2-EC25-2928-559C-918739D712D5}" dt="2023-09-15T16:23:14.665" v="24"/>
        <pc:sldMkLst>
          <pc:docMk/>
          <pc:sldMk cId="606934057" sldId="2147471286"/>
        </pc:sldMkLst>
      </pc:sldChg>
      <pc:sldChg chg="add">
        <pc:chgData name="Sean Gallagher" userId="S::sgallagher@mjhlifesciences.com::577446c3-45ae-4097-b8f0-9d862fa3a0df" providerId="AD" clId="Web-{6EBD26C2-EC25-2928-559C-918739D712D5}" dt="2023-09-15T16:23:15.009" v="25"/>
        <pc:sldMkLst>
          <pc:docMk/>
          <pc:sldMk cId="1237689853" sldId="2147471287"/>
        </pc:sldMkLst>
      </pc:sldChg>
      <pc:sldChg chg="add">
        <pc:chgData name="Sean Gallagher" userId="S::sgallagher@mjhlifesciences.com::577446c3-45ae-4097-b8f0-9d862fa3a0df" providerId="AD" clId="Web-{6EBD26C2-EC25-2928-559C-918739D712D5}" dt="2023-09-15T16:23:15.415" v="26"/>
        <pc:sldMkLst>
          <pc:docMk/>
          <pc:sldMk cId="3545986491" sldId="2147471288"/>
        </pc:sldMkLst>
      </pc:sldChg>
      <pc:sldChg chg="add">
        <pc:chgData name="Sean Gallagher" userId="S::sgallagher@mjhlifesciences.com::577446c3-45ae-4097-b8f0-9d862fa3a0df" providerId="AD" clId="Web-{6EBD26C2-EC25-2928-559C-918739D712D5}" dt="2023-09-15T16:23:15.681" v="27"/>
        <pc:sldMkLst>
          <pc:docMk/>
          <pc:sldMk cId="431239795" sldId="2147471289"/>
        </pc:sldMkLst>
      </pc:sldChg>
      <pc:sldChg chg="add">
        <pc:chgData name="Sean Gallagher" userId="S::sgallagher@mjhlifesciences.com::577446c3-45ae-4097-b8f0-9d862fa3a0df" providerId="AD" clId="Web-{6EBD26C2-EC25-2928-559C-918739D712D5}" dt="2023-09-15T16:23:16.103" v="28"/>
        <pc:sldMkLst>
          <pc:docMk/>
          <pc:sldMk cId="4254098061" sldId="2147471290"/>
        </pc:sldMkLst>
      </pc:sldChg>
      <pc:sldChg chg="add">
        <pc:chgData name="Sean Gallagher" userId="S::sgallagher@mjhlifesciences.com::577446c3-45ae-4097-b8f0-9d862fa3a0df" providerId="AD" clId="Web-{6EBD26C2-EC25-2928-559C-918739D712D5}" dt="2023-09-15T16:23:16.478" v="29"/>
        <pc:sldMkLst>
          <pc:docMk/>
          <pc:sldMk cId="2273350026" sldId="2147471291"/>
        </pc:sldMkLst>
      </pc:sldChg>
      <pc:sldChg chg="add">
        <pc:chgData name="Sean Gallagher" userId="S::sgallagher@mjhlifesciences.com::577446c3-45ae-4097-b8f0-9d862fa3a0df" providerId="AD" clId="Web-{6EBD26C2-EC25-2928-559C-918739D712D5}" dt="2023-09-15T16:23:16.868" v="30"/>
        <pc:sldMkLst>
          <pc:docMk/>
          <pc:sldMk cId="229708414" sldId="2147471292"/>
        </pc:sldMkLst>
      </pc:sldChg>
      <pc:sldChg chg="add">
        <pc:chgData name="Sean Gallagher" userId="S::sgallagher@mjhlifesciences.com::577446c3-45ae-4097-b8f0-9d862fa3a0df" providerId="AD" clId="Web-{6EBD26C2-EC25-2928-559C-918739D712D5}" dt="2023-09-15T16:23:17.259" v="31"/>
        <pc:sldMkLst>
          <pc:docMk/>
          <pc:sldMk cId="240950435" sldId="2147471293"/>
        </pc:sldMkLst>
      </pc:sldChg>
      <pc:sldChg chg="add">
        <pc:chgData name="Sean Gallagher" userId="S::sgallagher@mjhlifesciences.com::577446c3-45ae-4097-b8f0-9d862fa3a0df" providerId="AD" clId="Web-{6EBD26C2-EC25-2928-559C-918739D712D5}" dt="2023-09-15T16:23:17.556" v="32"/>
        <pc:sldMkLst>
          <pc:docMk/>
          <pc:sldMk cId="2972141763" sldId="2147471294"/>
        </pc:sldMkLst>
      </pc:sldChg>
      <pc:sldChg chg="add">
        <pc:chgData name="Sean Gallagher" userId="S::sgallagher@mjhlifesciences.com::577446c3-45ae-4097-b8f0-9d862fa3a0df" providerId="AD" clId="Web-{6EBD26C2-EC25-2928-559C-918739D712D5}" dt="2023-09-15T16:23:17.900" v="33"/>
        <pc:sldMkLst>
          <pc:docMk/>
          <pc:sldMk cId="2718422008" sldId="2147471295"/>
        </pc:sldMkLst>
      </pc:sldChg>
      <pc:sldChg chg="add">
        <pc:chgData name="Sean Gallagher" userId="S::sgallagher@mjhlifesciences.com::577446c3-45ae-4097-b8f0-9d862fa3a0df" providerId="AD" clId="Web-{6EBD26C2-EC25-2928-559C-918739D712D5}" dt="2023-09-15T16:23:18.134" v="34"/>
        <pc:sldMkLst>
          <pc:docMk/>
          <pc:sldMk cId="3476333882" sldId="2147471296"/>
        </pc:sldMkLst>
      </pc:sldChg>
      <pc:sldChg chg="add">
        <pc:chgData name="Sean Gallagher" userId="S::sgallagher@mjhlifesciences.com::577446c3-45ae-4097-b8f0-9d862fa3a0df" providerId="AD" clId="Web-{6EBD26C2-EC25-2928-559C-918739D712D5}" dt="2023-09-15T16:23:18.509" v="35"/>
        <pc:sldMkLst>
          <pc:docMk/>
          <pc:sldMk cId="3696829552" sldId="2147471297"/>
        </pc:sldMkLst>
      </pc:sldChg>
      <pc:sldChg chg="add">
        <pc:chgData name="Sean Gallagher" userId="S::sgallagher@mjhlifesciences.com::577446c3-45ae-4097-b8f0-9d862fa3a0df" providerId="AD" clId="Web-{6EBD26C2-EC25-2928-559C-918739D712D5}" dt="2023-09-15T16:23:18.837" v="36"/>
        <pc:sldMkLst>
          <pc:docMk/>
          <pc:sldMk cId="24425849" sldId="2147471298"/>
        </pc:sldMkLst>
      </pc:sldChg>
      <pc:sldChg chg="add">
        <pc:chgData name="Sean Gallagher" userId="S::sgallagher@mjhlifesciences.com::577446c3-45ae-4097-b8f0-9d862fa3a0df" providerId="AD" clId="Web-{6EBD26C2-EC25-2928-559C-918739D712D5}" dt="2023-09-15T16:23:19.072" v="37"/>
        <pc:sldMkLst>
          <pc:docMk/>
          <pc:sldMk cId="2207815920" sldId="2147471299"/>
        </pc:sldMkLst>
      </pc:sldChg>
      <pc:sldChg chg="add">
        <pc:chgData name="Sean Gallagher" userId="S::sgallagher@mjhlifesciences.com::577446c3-45ae-4097-b8f0-9d862fa3a0df" providerId="AD" clId="Web-{6EBD26C2-EC25-2928-559C-918739D712D5}" dt="2023-09-15T16:23:19.369" v="38"/>
        <pc:sldMkLst>
          <pc:docMk/>
          <pc:sldMk cId="3622330126" sldId="2147471300"/>
        </pc:sldMkLst>
      </pc:sldChg>
      <pc:sldChg chg="add">
        <pc:chgData name="Sean Gallagher" userId="S::sgallagher@mjhlifesciences.com::577446c3-45ae-4097-b8f0-9d862fa3a0df" providerId="AD" clId="Web-{6EBD26C2-EC25-2928-559C-918739D712D5}" dt="2023-09-15T16:23:19.634" v="39"/>
        <pc:sldMkLst>
          <pc:docMk/>
          <pc:sldMk cId="3390627162" sldId="2147471301"/>
        </pc:sldMkLst>
      </pc:sldChg>
      <pc:sldChg chg="add">
        <pc:chgData name="Sean Gallagher" userId="S::sgallagher@mjhlifesciences.com::577446c3-45ae-4097-b8f0-9d862fa3a0df" providerId="AD" clId="Web-{6EBD26C2-EC25-2928-559C-918739D712D5}" dt="2023-09-15T16:23:22.009" v="40"/>
        <pc:sldMkLst>
          <pc:docMk/>
          <pc:sldMk cId="1155464355" sldId="2147471302"/>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file:///C:\Users\lhalvorson\Box\DB-03%20OS%20IA2%20APO%20Unblinded%20Access\SABCS%202022%20DB-03%20OS%20IA2%20Presentation\SP\Forest%20plot_OS.xls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9443958071377377E-2"/>
          <c:y val="0.25205127626449358"/>
          <c:w val="0.92622222222222217"/>
          <c:h val="0.70775995480792075"/>
        </c:manualLayout>
      </c:layout>
      <c:barChart>
        <c:barDir val="bar"/>
        <c:grouping val="clustered"/>
        <c:varyColors val="0"/>
        <c:ser>
          <c:idx val="0"/>
          <c:order val="0"/>
          <c:spPr>
            <a:noFill/>
            <a:ln>
              <a:noFill/>
            </a:ln>
            <a:effectLst/>
          </c:spPr>
          <c:invertIfNegative val="0"/>
          <c:cat>
            <c:strRef>
              <c:f>OS!$A$3:$A$10</c:f>
              <c:strCache>
                <c:ptCount val="8"/>
                <c:pt idx="0">
                  <c:v>Hormone Receptor Positive</c:v>
                </c:pt>
                <c:pt idx="1">
                  <c:v>Hormone Receptor Negative</c:v>
                </c:pt>
                <c:pt idx="2">
                  <c:v>Prior Pertuzumab Treatment Yes</c:v>
                </c:pt>
                <c:pt idx="3">
                  <c:v>Prior Pertuzumab Treatment No</c:v>
                </c:pt>
                <c:pt idx="4">
                  <c:v>Visceral Disease Yes</c:v>
                </c:pt>
                <c:pt idx="5">
                  <c:v>Visceral Disease No</c:v>
                </c:pt>
                <c:pt idx="6">
                  <c:v>Prior Lines of Therapy &lt; 3</c:v>
                </c:pt>
                <c:pt idx="7">
                  <c:v>Prior Lines of Therapy ≥ 3</c:v>
                </c:pt>
              </c:strCache>
            </c:strRef>
          </c:cat>
          <c:val>
            <c:numRef>
              <c:f>OS!$B$3:$B$10</c:f>
              <c:numCache>
                <c:formatCode>General</c:formatCode>
                <c:ptCount val="8"/>
                <c:pt idx="0">
                  <c:v>0.75960000000000005</c:v>
                </c:pt>
                <c:pt idx="1">
                  <c:v>0.55089999999999995</c:v>
                </c:pt>
                <c:pt idx="2">
                  <c:v>0.70199999999999996</c:v>
                </c:pt>
                <c:pt idx="3">
                  <c:v>0.59360000000000002</c:v>
                </c:pt>
                <c:pt idx="4">
                  <c:v>0.68300000000000005</c:v>
                </c:pt>
                <c:pt idx="5">
                  <c:v>0.44130000000000003</c:v>
                </c:pt>
                <c:pt idx="6">
                  <c:v>0.70157999999999998</c:v>
                </c:pt>
                <c:pt idx="7">
                  <c:v>0.54710000000000003</c:v>
                </c:pt>
              </c:numCache>
            </c:numRef>
          </c:val>
          <c:extLst>
            <c:ext xmlns:c16="http://schemas.microsoft.com/office/drawing/2014/chart" uri="{C3380CC4-5D6E-409C-BE32-E72D297353CC}">
              <c16:uniqueId val="{00000000-5CDE-494C-B387-FA6A32820D46}"/>
            </c:ext>
          </c:extLst>
        </c:ser>
        <c:dLbls>
          <c:showLegendKey val="0"/>
          <c:showVal val="0"/>
          <c:showCatName val="0"/>
          <c:showSerName val="0"/>
          <c:showPercent val="0"/>
          <c:showBubbleSize val="0"/>
        </c:dLbls>
        <c:gapWidth val="182"/>
        <c:axId val="731612008"/>
        <c:axId val="731618240"/>
      </c:barChart>
      <c:scatterChart>
        <c:scatterStyle val="lineMarker"/>
        <c:varyColors val="0"/>
        <c:ser>
          <c:idx val="1"/>
          <c:order val="1"/>
          <c:spPr>
            <a:ln w="25400" cap="rnd">
              <a:noFill/>
              <a:round/>
            </a:ln>
            <a:effectLst/>
          </c:spPr>
          <c:marker>
            <c:symbol val="circle"/>
            <c:size val="5"/>
            <c:spPr>
              <a:solidFill>
                <a:srgbClr val="742455"/>
              </a:solidFill>
              <a:ln w="9525">
                <a:noFill/>
              </a:ln>
              <a:effectLst/>
            </c:spPr>
          </c:marker>
          <c:errBars>
            <c:errDir val="x"/>
            <c:errBarType val="both"/>
            <c:errValType val="cust"/>
            <c:noEndCap val="0"/>
            <c:plus>
              <c:numRef>
                <c:f>OS!$G$2:$G$12</c:f>
                <c:numCache>
                  <c:formatCode>General</c:formatCode>
                  <c:ptCount val="11"/>
                  <c:pt idx="0">
                    <c:v>0.22909999999999997</c:v>
                  </c:pt>
                  <c:pt idx="1">
                    <c:v>0.38429999999999986</c:v>
                  </c:pt>
                  <c:pt idx="2">
                    <c:v>0.32380000000000009</c:v>
                  </c:pt>
                  <c:pt idx="3">
                    <c:v>0.35960000000000014</c:v>
                  </c:pt>
                  <c:pt idx="4">
                    <c:v>0.34119999999999995</c:v>
                  </c:pt>
                  <c:pt idx="5">
                    <c:v>0.2659999999999999</c:v>
                  </c:pt>
                  <c:pt idx="6">
                    <c:v>0.58240000000000003</c:v>
                  </c:pt>
                  <c:pt idx="7">
                    <c:v>0.33832000000000007</c:v>
                  </c:pt>
                  <c:pt idx="8">
                    <c:v>0.34079999999999999</c:v>
                  </c:pt>
                  <c:pt idx="9">
                    <c:v>0.48499999999999999</c:v>
                  </c:pt>
                  <c:pt idx="10">
                    <c:v>0.27690000000000003</c:v>
                  </c:pt>
                </c:numCache>
              </c:numRef>
            </c:plus>
            <c:minus>
              <c:numRef>
                <c:f>OS!$F$2:$F$12</c:f>
                <c:numCache>
                  <c:formatCode>General</c:formatCode>
                  <c:ptCount val="11"/>
                  <c:pt idx="0">
                    <c:v>0.16839999999999999</c:v>
                  </c:pt>
                  <c:pt idx="1">
                    <c:v>0.25520000000000009</c:v>
                  </c:pt>
                  <c:pt idx="2">
                    <c:v>0.20399999999999996</c:v>
                  </c:pt>
                  <c:pt idx="3">
                    <c:v>0.23779999999999996</c:v>
                  </c:pt>
                  <c:pt idx="4">
                    <c:v>0.21660000000000001</c:v>
                  </c:pt>
                  <c:pt idx="5">
                    <c:v>0.19140000000000007</c:v>
                  </c:pt>
                  <c:pt idx="6">
                    <c:v>0.25109999999999999</c:v>
                  </c:pt>
                  <c:pt idx="7">
                    <c:v>0.22837999999999997</c:v>
                  </c:pt>
                  <c:pt idx="8">
                    <c:v>0.21000000000000002</c:v>
                  </c:pt>
                  <c:pt idx="9">
                    <c:v>0.25620000000000004</c:v>
                  </c:pt>
                  <c:pt idx="10">
                    <c:v>0.19540000000000002</c:v>
                  </c:pt>
                </c:numCache>
              </c:numRef>
            </c:minus>
            <c:spPr>
              <a:noFill/>
              <a:ln w="19050" cap="flat" cmpd="sng" algn="ctr">
                <a:solidFill>
                  <a:srgbClr val="742455"/>
                </a:solidFill>
                <a:round/>
              </a:ln>
              <a:effectLst/>
            </c:spPr>
          </c:errBars>
          <c:xVal>
            <c:numRef>
              <c:f>OS!$B$2:$B$12</c:f>
              <c:numCache>
                <c:formatCode>General</c:formatCode>
                <c:ptCount val="11"/>
                <c:pt idx="0">
                  <c:v>0.63719999999999999</c:v>
                </c:pt>
                <c:pt idx="1">
                  <c:v>0.75960000000000005</c:v>
                </c:pt>
                <c:pt idx="2">
                  <c:v>0.55089999999999995</c:v>
                </c:pt>
                <c:pt idx="3">
                  <c:v>0.70199999999999996</c:v>
                </c:pt>
                <c:pt idx="4">
                  <c:v>0.59360000000000002</c:v>
                </c:pt>
                <c:pt idx="5">
                  <c:v>0.68300000000000005</c:v>
                </c:pt>
                <c:pt idx="6">
                  <c:v>0.44130000000000003</c:v>
                </c:pt>
                <c:pt idx="7">
                  <c:v>0.70157999999999998</c:v>
                </c:pt>
                <c:pt idx="8">
                  <c:v>0.54710000000000003</c:v>
                </c:pt>
                <c:pt idx="9">
                  <c:v>0.54310000000000003</c:v>
                </c:pt>
                <c:pt idx="10">
                  <c:v>0.6643</c:v>
                </c:pt>
              </c:numCache>
            </c:numRef>
          </c:xVal>
          <c:yVal>
            <c:numRef>
              <c:f>OS!$C$2:$C$12</c:f>
              <c:numCache>
                <c:formatCode>General</c:formatCode>
                <c:ptCount val="11"/>
                <c:pt idx="0">
                  <c:v>11</c:v>
                </c:pt>
                <c:pt idx="1">
                  <c:v>10</c:v>
                </c:pt>
                <c:pt idx="2">
                  <c:v>9</c:v>
                </c:pt>
                <c:pt idx="3">
                  <c:v>8</c:v>
                </c:pt>
                <c:pt idx="4">
                  <c:v>7</c:v>
                </c:pt>
                <c:pt idx="5">
                  <c:v>6</c:v>
                </c:pt>
                <c:pt idx="6">
                  <c:v>5</c:v>
                </c:pt>
                <c:pt idx="7">
                  <c:v>4</c:v>
                </c:pt>
                <c:pt idx="8">
                  <c:v>3</c:v>
                </c:pt>
                <c:pt idx="9">
                  <c:v>2</c:v>
                </c:pt>
                <c:pt idx="10">
                  <c:v>1</c:v>
                </c:pt>
              </c:numCache>
            </c:numRef>
          </c:yVal>
          <c:smooth val="0"/>
          <c:extLst>
            <c:ext xmlns:c16="http://schemas.microsoft.com/office/drawing/2014/chart" uri="{C3380CC4-5D6E-409C-BE32-E72D297353CC}">
              <c16:uniqueId val="{00000001-5CDE-494C-B387-FA6A32820D46}"/>
            </c:ext>
          </c:extLst>
        </c:ser>
        <c:dLbls>
          <c:showLegendKey val="0"/>
          <c:showVal val="0"/>
          <c:showCatName val="0"/>
          <c:showSerName val="0"/>
          <c:showPercent val="0"/>
          <c:showBubbleSize val="0"/>
        </c:dLbls>
        <c:axId val="331542920"/>
        <c:axId val="331543248"/>
      </c:scatterChart>
      <c:catAx>
        <c:axId val="731612008"/>
        <c:scaling>
          <c:orientation val="minMax"/>
        </c:scaling>
        <c:delete val="1"/>
        <c:axPos val="l"/>
        <c:numFmt formatCode="General" sourceLinked="1"/>
        <c:majorTickMark val="none"/>
        <c:minorTickMark val="none"/>
        <c:tickLblPos val="nextTo"/>
        <c:crossAx val="731618240"/>
        <c:crosses val="autoZero"/>
        <c:auto val="1"/>
        <c:lblAlgn val="ctr"/>
        <c:lblOffset val="100"/>
        <c:noMultiLvlLbl val="0"/>
      </c:catAx>
      <c:valAx>
        <c:axId val="731618240"/>
        <c:scaling>
          <c:logBase val="10"/>
          <c:orientation val="minMax"/>
          <c:max val="2"/>
        </c:scaling>
        <c:delete val="0"/>
        <c:axPos val="b"/>
        <c:numFmt formatCode="General" sourceLinked="1"/>
        <c:majorTickMark val="out"/>
        <c:minorTickMark val="out"/>
        <c:tickLblPos val="nextTo"/>
        <c:spPr>
          <a:noFill/>
          <a:ln>
            <a:solidFill>
              <a:schemeClr val="tx1"/>
            </a:solidFill>
          </a:ln>
          <a:effectLst/>
        </c:spPr>
        <c:txPr>
          <a:bodyPr rot="-60000000" spcFirstLastPara="1" vertOverflow="ellipsis" vert="horz" wrap="square" anchor="ctr" anchorCtr="1"/>
          <a:lstStyle/>
          <a:p>
            <a:pPr>
              <a:defRPr sz="12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731612008"/>
        <c:crosses val="autoZero"/>
        <c:crossBetween val="between"/>
        <c:majorUnit val="10"/>
      </c:valAx>
      <c:valAx>
        <c:axId val="331543248"/>
        <c:scaling>
          <c:orientation val="minMax"/>
        </c:scaling>
        <c:delete val="1"/>
        <c:axPos val="r"/>
        <c:numFmt formatCode="General" sourceLinked="1"/>
        <c:majorTickMark val="out"/>
        <c:minorTickMark val="none"/>
        <c:tickLblPos val="nextTo"/>
        <c:crossAx val="331542920"/>
        <c:crosses val="max"/>
        <c:crossBetween val="midCat"/>
      </c:valAx>
      <c:valAx>
        <c:axId val="331542920"/>
        <c:scaling>
          <c:logBase val="10"/>
          <c:orientation val="minMax"/>
        </c:scaling>
        <c:delete val="1"/>
        <c:axPos val="b"/>
        <c:numFmt formatCode="General" sourceLinked="1"/>
        <c:majorTickMark val="out"/>
        <c:minorTickMark val="none"/>
        <c:tickLblPos val="nextTo"/>
        <c:crossAx val="331543248"/>
        <c:crosses val="autoZero"/>
        <c:crossBetween val="midCat"/>
      </c:valAx>
      <c:spPr>
        <a:noFill/>
        <a:ln w="28575">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C7261D6C-14C5-3A44-8E3A-4D465321ED47}" type="datetimeFigureOut">
              <a:rPr lang="en-US" smtClean="0"/>
              <a:t>9/15/2023</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4EA34FCD-2836-494B-A704-E09BD8379176}" type="slidenum">
              <a:rPr lang="en-US" smtClean="0"/>
              <a:t>‹#›</a:t>
            </a:fld>
            <a:endParaRPr lang="en-US" dirty="0"/>
          </a:p>
        </p:txBody>
      </p:sp>
    </p:spTree>
    <p:extLst>
      <p:ext uri="{BB962C8B-B14F-4D97-AF65-F5344CB8AC3E}">
        <p14:creationId xmlns:p14="http://schemas.microsoft.com/office/powerpoint/2010/main" val="1628801401"/>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3-09-05T04:24:51.331"/>
    </inkml:context>
    <inkml:brush xml:id="br0">
      <inkml:brushProperty name="width" value="0.2" units="cm"/>
      <inkml:brushProperty name="height" value="0.4" units="cm"/>
      <inkml:brushProperty name="color" value="#00F900"/>
      <inkml:brushProperty name="tip" value="rectangle"/>
      <inkml:brushProperty name="rasterOp" value="maskPen"/>
      <inkml:brushProperty name="ignorePressure" value="1"/>
    </inkml:brush>
  </inkml:definitions>
  <inkml:trace contextRef="#ctx0" brushRef="#br0">1 1,'2872'0,"-2846"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3-09-05T04:25:05.846"/>
    </inkml:context>
    <inkml:brush xml:id="br0">
      <inkml:brushProperty name="width" value="0.2" units="cm"/>
      <inkml:brushProperty name="height" value="0.4" units="cm"/>
      <inkml:brushProperty name="color" value="#00F900"/>
      <inkml:brushProperty name="tip" value="rectangle"/>
      <inkml:brushProperty name="rasterOp" value="maskPen"/>
      <inkml:brushProperty name="ignorePressure" value="1"/>
    </inkml:brush>
  </inkml:definitions>
  <inkml:trace contextRef="#ctx0" brushRef="#br0">0 0,'1067'0,"-1042"0</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3-09-05T04:28:28.428"/>
    </inkml:context>
    <inkml:brush xml:id="br0">
      <inkml:brushProperty name="width" value="0.2" units="cm"/>
      <inkml:brushProperty name="height" value="0.4" units="cm"/>
      <inkml:brushProperty name="color" value="#00F900"/>
      <inkml:brushProperty name="tip" value="rectangle"/>
      <inkml:brushProperty name="rasterOp" value="maskPen"/>
      <inkml:brushProperty name="ignorePressure" value="1"/>
    </inkml:brush>
  </inkml:definitions>
  <inkml:trace contextRef="#ctx0" brushRef="#br0">0 1,'1273'0,"-1247"0</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3-09-05T04:29:57.222"/>
    </inkml:context>
    <inkml:brush xml:id="br0">
      <inkml:brushProperty name="width" value="0.2" units="cm"/>
      <inkml:brushProperty name="height" value="0.4" units="cm"/>
      <inkml:brushProperty name="color" value="#00F900"/>
      <inkml:brushProperty name="tip" value="rectangle"/>
      <inkml:brushProperty name="rasterOp" value="maskPen"/>
      <inkml:brushProperty name="ignorePressure" value="1"/>
    </inkml:brush>
  </inkml:definitions>
  <inkml:trace contextRef="#ctx0" brushRef="#br0">0 1,'1172'0,"-1148"0</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3-09-05T04:30:19.592"/>
    </inkml:context>
    <inkml:brush xml:id="br0">
      <inkml:brushProperty name="width" value="0.2" units="cm"/>
      <inkml:brushProperty name="height" value="0.4" units="cm"/>
      <inkml:brushProperty name="color" value="#00F900"/>
      <inkml:brushProperty name="tip" value="rectangle"/>
      <inkml:brushProperty name="rasterOp" value="maskPen"/>
      <inkml:brushProperty name="ignorePressure" value="1"/>
    </inkml:brush>
  </inkml:definitions>
  <inkml:trace contextRef="#ctx0" brushRef="#br0">0 1,'1273'0,"-1247"0</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3-09-05T04:31:50.481"/>
    </inkml:context>
    <inkml:brush xml:id="br0">
      <inkml:brushProperty name="width" value="0.2" units="cm"/>
      <inkml:brushProperty name="height" value="0.4" units="cm"/>
      <inkml:brushProperty name="color" value="#00F900"/>
      <inkml:brushProperty name="tip" value="rectangle"/>
      <inkml:brushProperty name="rasterOp" value="maskPen"/>
      <inkml:brushProperty name="ignorePressure" value="1"/>
    </inkml:brush>
  </inkml:definitions>
  <inkml:trace contextRef="#ctx0" brushRef="#br0">0 1,'1273'0,"-1247"0</inkml:trace>
</inkml:ink>
</file>

<file path=ppt/ink/ink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3-09-05T04:32:00.010"/>
    </inkml:context>
    <inkml:brush xml:id="br0">
      <inkml:brushProperty name="width" value="0.2" units="cm"/>
      <inkml:brushProperty name="height" value="0.4" units="cm"/>
      <inkml:brushProperty name="color" value="#00F900"/>
      <inkml:brushProperty name="tip" value="rectangle"/>
      <inkml:brushProperty name="rasterOp" value="maskPen"/>
      <inkml:brushProperty name="ignorePressure" value="1"/>
    </inkml:brush>
  </inkml:definitions>
  <inkml:trace contextRef="#ctx0" brushRef="#br0">0 1,'1273'0,"-1247"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1E80E03-59A3-E642-9C0D-E919381BCDC5}" type="datetimeFigureOut">
              <a:rPr lang="en-US" smtClean="0"/>
              <a:t>9/15/2023</a:t>
            </a:fld>
            <a:endParaRPr lang="en-US" dirty="0"/>
          </a:p>
        </p:txBody>
      </p:sp>
      <p:sp>
        <p:nvSpPr>
          <p:cNvPr id="4" name="Slide Image Placeholder 3"/>
          <p:cNvSpPr>
            <a:spLocks noGrp="1" noRot="1" noChangeAspect="1"/>
          </p:cNvSpPr>
          <p:nvPr>
            <p:ph type="sldImg" idx="2"/>
          </p:nvPr>
        </p:nvSpPr>
        <p:spPr>
          <a:xfrm>
            <a:off x="688975" y="1143000"/>
            <a:ext cx="548005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3A96171-A15F-AF4E-B7C5-E1453CAAF64D}" type="slidenum">
              <a:rPr lang="en-US" smtClean="0"/>
              <a:t>‹#›</a:t>
            </a:fld>
            <a:endParaRPr lang="en-US" dirty="0"/>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198.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210.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2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3A96171-A15F-AF4E-B7C5-E1453CAAF64D}" type="slidenum">
              <a:rPr lang="en-US" smtClean="0"/>
              <a:t>1</a:t>
            </a:fld>
            <a:endParaRPr lang="en-US" dirty="0"/>
          </a:p>
        </p:txBody>
      </p:sp>
    </p:spTree>
    <p:extLst>
      <p:ext uri="{BB962C8B-B14F-4D97-AF65-F5344CB8AC3E}">
        <p14:creationId xmlns:p14="http://schemas.microsoft.com/office/powerpoint/2010/main" val="168246851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3A96171-A15F-AF4E-B7C5-E1453CAAF64D}" type="slidenum">
              <a:rPr lang="en-US" smtClean="0"/>
              <a:t>12</a:t>
            </a:fld>
            <a:endParaRPr lang="en-US" dirty="0"/>
          </a:p>
        </p:txBody>
      </p:sp>
    </p:spTree>
    <p:extLst>
      <p:ext uri="{BB962C8B-B14F-4D97-AF65-F5344CB8AC3E}">
        <p14:creationId xmlns:p14="http://schemas.microsoft.com/office/powerpoint/2010/main" val="295054329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dirty="0">
                <a:solidFill>
                  <a:srgbClr val="002E51"/>
                </a:solidFill>
              </a:rPr>
              <a:t>This is a schema of the inside of an ER+ breast cancer cell.</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002E51"/>
                </a:solidFill>
              </a:rPr>
              <a:t>Common aberrations include overamplified Cyclin D and CDK 4 and CDK6.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002E51"/>
                </a:solidFill>
              </a:rPr>
              <a:t>CDK 4 and 6 partner with D type cyclins (and a third protein p21 or p27)</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002E51"/>
                </a:solidFill>
              </a:rPr>
              <a:t>This holoenzyme then </a:t>
            </a:r>
            <a:r>
              <a:rPr lang="en-US" dirty="0">
                <a:solidFill>
                  <a:srgbClr val="002E51"/>
                </a:solidFill>
                <a:sym typeface="Wingdings" panose="05000000000000000000" pitchFamily="2" charset="2"/>
              </a:rPr>
              <a:t>phosphorylates RB, inactivating it, causing the E2F transcription factor to be released and trigger replication gene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rgbClr val="002E5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002E51"/>
                </a:solidFill>
              </a:rPr>
              <a:t>CDK 4/6 inhibitors block CDK4 and CDK6 from binding to D cyclin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002E51"/>
                </a:solidFill>
              </a:rPr>
              <a:t>Also leads to increased p21 protein which binds and </a:t>
            </a:r>
            <a:r>
              <a:rPr lang="en-US" dirty="0" err="1">
                <a:solidFill>
                  <a:srgbClr val="002E51"/>
                </a:solidFill>
              </a:rPr>
              <a:t>inhbits</a:t>
            </a:r>
            <a:r>
              <a:rPr lang="en-US" dirty="0">
                <a:solidFill>
                  <a:srgbClr val="002E51"/>
                </a:solidFill>
              </a:rPr>
              <a:t> CDK2/Cyclin E, which help with late push of G1 into 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002E51"/>
                </a:solidFill>
                <a:sym typeface="Wingdings" panose="05000000000000000000" pitchFamily="2" charset="2"/>
              </a:rPr>
              <a:t>Synergism with estrogen blockade as estradiol directly activates cyclin D. </a:t>
            </a:r>
            <a:endParaRPr lang="en-US" dirty="0">
              <a:solidFill>
                <a:srgbClr val="002E51"/>
              </a:solidFill>
            </a:endParaRPr>
          </a:p>
          <a:p>
            <a:pPr algn="l"/>
            <a:endParaRPr lang="en-US" dirty="0">
              <a:solidFill>
                <a:srgbClr val="002E51"/>
              </a:solidFill>
            </a:endParaRPr>
          </a:p>
          <a:p>
            <a:pPr algn="l"/>
            <a:r>
              <a:rPr lang="en-US" dirty="0">
                <a:solidFill>
                  <a:srgbClr val="002E51"/>
                </a:solidFill>
              </a:rPr>
              <a:t>Overall these agents are cytostatic, and induce senescence though evidence for long senescence and G1 delay may induce apoptosis. </a:t>
            </a:r>
          </a:p>
          <a:p>
            <a:pPr algn="l"/>
            <a:endParaRPr lang="en-US" dirty="0">
              <a:solidFill>
                <a:srgbClr val="002E51"/>
              </a:solidFill>
            </a:endParaRPr>
          </a:p>
          <a:p>
            <a:pPr algn="l"/>
            <a:endParaRPr lang="en-US" dirty="0">
              <a:solidFill>
                <a:srgbClr val="002E51"/>
              </a:solidFill>
            </a:endParaRPr>
          </a:p>
          <a:p>
            <a:pPr algn="l"/>
            <a:endParaRPr lang="en-US" dirty="0">
              <a:solidFill>
                <a:srgbClr val="002E51"/>
              </a:solidFill>
            </a:endParaRPr>
          </a:p>
          <a:p>
            <a:pPr algn="l"/>
            <a:endParaRPr lang="en-US" dirty="0">
              <a:solidFill>
                <a:srgbClr val="002E51"/>
              </a:solidFill>
            </a:endParaRPr>
          </a:p>
          <a:p>
            <a:pPr algn="l"/>
            <a:endParaRPr lang="en-US" dirty="0">
              <a:solidFill>
                <a:srgbClr val="002E51"/>
              </a:solidFill>
            </a:endParaRPr>
          </a:p>
          <a:p>
            <a:pPr algn="l"/>
            <a:endParaRPr lang="en-US" dirty="0">
              <a:solidFill>
                <a:srgbClr val="002E51"/>
              </a:solidFill>
            </a:endParaRPr>
          </a:p>
          <a:p>
            <a:pPr algn="l"/>
            <a:endParaRPr lang="en-US" dirty="0">
              <a:solidFill>
                <a:srgbClr val="002E51"/>
              </a:solidFill>
            </a:endParaRPr>
          </a:p>
          <a:p>
            <a:pPr algn="l"/>
            <a:endParaRPr lang="en-US" dirty="0">
              <a:solidFill>
                <a:srgbClr val="002E51"/>
              </a:solidFill>
            </a:endParaRPr>
          </a:p>
          <a:p>
            <a:endParaRPr lang="en-US" dirty="0"/>
          </a:p>
        </p:txBody>
      </p:sp>
      <p:sp>
        <p:nvSpPr>
          <p:cNvPr id="4" name="Slide Number Placeholder 3"/>
          <p:cNvSpPr>
            <a:spLocks noGrp="1"/>
          </p:cNvSpPr>
          <p:nvPr>
            <p:ph type="sldNum" sz="quarter" idx="5"/>
          </p:nvPr>
        </p:nvSpPr>
        <p:spPr/>
        <p:txBody>
          <a:bodyPr/>
          <a:lstStyle/>
          <a:p>
            <a:fld id="{B3A96171-A15F-AF4E-B7C5-E1453CAAF64D}" type="slidenum">
              <a:rPr lang="en-US" smtClean="0"/>
              <a:t>13</a:t>
            </a:fld>
            <a:endParaRPr lang="en-US" dirty="0"/>
          </a:p>
        </p:txBody>
      </p:sp>
    </p:spTree>
    <p:extLst>
      <p:ext uri="{BB962C8B-B14F-4D97-AF65-F5344CB8AC3E}">
        <p14:creationId xmlns:p14="http://schemas.microsoft.com/office/powerpoint/2010/main" val="326118172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3 FDA approved CDK 4/6 inhibitors in breast cancer</a:t>
            </a:r>
          </a:p>
          <a:p>
            <a:r>
              <a:rPr lang="en-US" dirty="0"/>
              <a:t>There appear to be some pharmacokinetic differences, and as we’ll discuss some possible clinical differences in these agents.</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Looking at the IC50- concentration of drug required for 50% inhibition of cell growth. The lower the value, the more potent it i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err="1"/>
              <a:t>Abema</a:t>
            </a:r>
            <a:r>
              <a:rPr lang="en-US" dirty="0"/>
              <a:t> and </a:t>
            </a:r>
            <a:r>
              <a:rPr lang="en-US" dirty="0" err="1"/>
              <a:t>ribo</a:t>
            </a:r>
            <a:r>
              <a:rPr lang="en-US" dirty="0"/>
              <a:t> more potent at CDK4 than CDK6:</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r>
              <a:rPr lang="en-US" dirty="0" err="1"/>
              <a:t>abema</a:t>
            </a:r>
            <a:r>
              <a:rPr lang="en-US" dirty="0"/>
              <a:t> IC50 for CDK4 at 2</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r>
              <a:rPr lang="en-US" dirty="0" err="1"/>
              <a:t>Ribo</a:t>
            </a:r>
            <a:r>
              <a:rPr lang="en-US" dirty="0"/>
              <a:t> IC50 for CDK4 10</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C50 for CDK6: most potent with abemaciclib ~10</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lso, the amount of unbound free drug is highest with </a:t>
            </a:r>
            <a:r>
              <a:rPr lang="en-US" dirty="0" err="1"/>
              <a:t>ribociclib</a:t>
            </a:r>
            <a:r>
              <a:rPr lang="en-US" dirty="0"/>
              <a:t> and may speak to some of the clinical activity. </a:t>
            </a:r>
          </a:p>
          <a:p>
            <a:endParaRPr lang="en-US" dirty="0"/>
          </a:p>
          <a:p>
            <a:r>
              <a:rPr lang="en-US" dirty="0"/>
              <a:t>In terms of side effects and monitoring:</a:t>
            </a:r>
          </a:p>
          <a:p>
            <a:r>
              <a:rPr lang="en-US" dirty="0"/>
              <a:t>Palbociclib and </a:t>
            </a:r>
            <a:r>
              <a:rPr lang="en-US" dirty="0" err="1"/>
              <a:t>ribociclib</a:t>
            </a:r>
            <a:r>
              <a:rPr lang="en-US" dirty="0"/>
              <a:t> with very similar structures-  and have similar neutropenia limiting side effects, resulting in the intermittent 3 weeks on 1 week off dosing. </a:t>
            </a:r>
          </a:p>
          <a:p>
            <a:r>
              <a:rPr lang="en-US" dirty="0"/>
              <a:t>Abemaciclib is dosed continuously, less neutropenia but more fatigue and diarrhea side effects. </a:t>
            </a:r>
          </a:p>
          <a:p>
            <a:r>
              <a:rPr lang="en-US" dirty="0"/>
              <a:t>Side effects highlighted in green here. </a:t>
            </a:r>
          </a:p>
          <a:p>
            <a:endParaRPr lang="en-US" dirty="0"/>
          </a:p>
          <a:p>
            <a:endParaRPr lang="en-US" dirty="0"/>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B3A96171-A15F-AF4E-B7C5-E1453CAAF64D}" type="slidenum">
              <a:rPr lang="en-US" smtClean="0"/>
              <a:t>14</a:t>
            </a:fld>
            <a:endParaRPr lang="en-US" dirty="0"/>
          </a:p>
        </p:txBody>
      </p:sp>
    </p:spTree>
    <p:extLst>
      <p:ext uri="{BB962C8B-B14F-4D97-AF65-F5344CB8AC3E}">
        <p14:creationId xmlns:p14="http://schemas.microsoft.com/office/powerpoint/2010/main" val="45289156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3A96171-A15F-AF4E-B7C5-E1453CAAF64D}" type="slidenum">
              <a:rPr lang="en-US" smtClean="0"/>
              <a:t>15</a:t>
            </a:fld>
            <a:endParaRPr lang="en-US" dirty="0"/>
          </a:p>
        </p:txBody>
      </p:sp>
    </p:spTree>
    <p:extLst>
      <p:ext uri="{BB962C8B-B14F-4D97-AF65-F5344CB8AC3E}">
        <p14:creationId xmlns:p14="http://schemas.microsoft.com/office/powerpoint/2010/main" val="155071775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oal of adjuvant therapy is to help reduce risk of late recurrence, characteristic of ER+ breast cancer.</a:t>
            </a:r>
          </a:p>
          <a:p>
            <a:r>
              <a:rPr lang="en-US" dirty="0"/>
              <a:t>We know there is risk for decades later recurrences, even with 5 years of endocrine therapy. </a:t>
            </a:r>
          </a:p>
          <a:p>
            <a:r>
              <a:rPr lang="en-US" dirty="0"/>
              <a:t>Predicted by TNM or tumor genomics when indicated, such as oncotype RS</a:t>
            </a:r>
          </a:p>
          <a:p>
            <a:endParaRPr lang="en-US" dirty="0"/>
          </a:p>
          <a:p>
            <a:r>
              <a:rPr lang="en-US" dirty="0"/>
              <a:t>So for example, even after 5 years of ET- risk of distant recurrence at 20 years for an N0 tumor is 22%, N1 31% and N2 52%</a:t>
            </a:r>
          </a:p>
          <a:p>
            <a:r>
              <a:rPr lang="en-US" dirty="0"/>
              <a:t>And may be influenced too by tumor grade and tumor size. </a:t>
            </a:r>
          </a:p>
          <a:p>
            <a:endParaRPr lang="en-US" dirty="0"/>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B3A96171-A15F-AF4E-B7C5-E1453CAAF64D}" type="slidenum">
              <a:rPr lang="en-US" smtClean="0"/>
              <a:t>16</a:t>
            </a:fld>
            <a:endParaRPr lang="en-US" dirty="0"/>
          </a:p>
        </p:txBody>
      </p:sp>
    </p:spTree>
    <p:extLst>
      <p:ext uri="{BB962C8B-B14F-4D97-AF65-F5344CB8AC3E}">
        <p14:creationId xmlns:p14="http://schemas.microsoft.com/office/powerpoint/2010/main" val="161211350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0" i="0" dirty="0">
                <a:solidFill>
                  <a:srgbClr val="333333"/>
                </a:solidFill>
                <a:effectLst/>
                <a:latin typeface="Georgia" panose="02040502050405020303" pitchFamily="18" charset="0"/>
              </a:rPr>
              <a:t>Summary of trial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0" i="0" dirty="0" err="1">
                <a:solidFill>
                  <a:srgbClr val="333333"/>
                </a:solidFill>
                <a:effectLst/>
                <a:latin typeface="Georgia" panose="02040502050405020303" pitchFamily="18" charset="0"/>
              </a:rPr>
              <a:t>monarchE</a:t>
            </a:r>
            <a:r>
              <a:rPr lang="en-US" b="0" i="0" dirty="0">
                <a:solidFill>
                  <a:srgbClr val="333333"/>
                </a:solidFill>
                <a:effectLst/>
                <a:latin typeface="Georgia" panose="02040502050405020303" pitchFamily="18" charset="0"/>
              </a:rPr>
              <a:t> trial for </a:t>
            </a:r>
            <a:r>
              <a:rPr lang="en-US" b="0" i="0" dirty="0" err="1">
                <a:solidFill>
                  <a:srgbClr val="333333"/>
                </a:solidFill>
                <a:effectLst/>
                <a:latin typeface="Georgia" panose="02040502050405020303" pitchFamily="18" charset="0"/>
              </a:rPr>
              <a:t>abema</a:t>
            </a:r>
            <a:r>
              <a:rPr lang="en-US" b="0" i="0" dirty="0">
                <a:solidFill>
                  <a:srgbClr val="333333"/>
                </a:solidFill>
                <a:effectLst/>
                <a:latin typeface="Georgia" panose="02040502050405020303" pitchFamily="18" charset="0"/>
              </a:rPr>
              <a:t>, and FDA approved for </a:t>
            </a:r>
            <a:r>
              <a:rPr lang="en-US" b="0" i="0" dirty="0" err="1">
                <a:solidFill>
                  <a:srgbClr val="333333"/>
                </a:solidFill>
                <a:effectLst/>
                <a:latin typeface="Georgia" panose="02040502050405020303" pitchFamily="18" charset="0"/>
              </a:rPr>
              <a:t>highrisk</a:t>
            </a:r>
            <a:r>
              <a:rPr lang="en-US" b="0" i="0" dirty="0">
                <a:solidFill>
                  <a:srgbClr val="333333"/>
                </a:solidFill>
                <a:effectLst/>
                <a:latin typeface="Georgia" panose="02040502050405020303" pitchFamily="18" charset="0"/>
              </a:rPr>
              <a:t>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0" i="0" dirty="0">
                <a:solidFill>
                  <a:srgbClr val="333333"/>
                </a:solidFill>
                <a:effectLst/>
                <a:latin typeface="Georgia" panose="02040502050405020303" pitchFamily="18" charset="0"/>
              </a:rPr>
              <a:t>Natalee trial for </a:t>
            </a:r>
            <a:r>
              <a:rPr lang="en-US" b="0" i="0" dirty="0" err="1">
                <a:solidFill>
                  <a:srgbClr val="333333"/>
                </a:solidFill>
                <a:effectLst/>
                <a:latin typeface="Georgia" panose="02040502050405020303" pitchFamily="18" charset="0"/>
              </a:rPr>
              <a:t>ribo</a:t>
            </a:r>
            <a:r>
              <a:rPr lang="en-US" b="0" i="0" dirty="0">
                <a:solidFill>
                  <a:srgbClr val="333333"/>
                </a:solidFill>
                <a:effectLst/>
                <a:latin typeface="Georgia" panose="02040502050405020303" pitchFamily="18" charset="0"/>
              </a:rPr>
              <a:t>, compelling early significant findings that will be exciting to follow up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0" i="0" dirty="0">
              <a:solidFill>
                <a:srgbClr val="333333"/>
              </a:solidFill>
              <a:effectLst/>
              <a:latin typeface="Georgia" panose="02040502050405020303" pitchFamily="18"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0" i="0" dirty="0">
              <a:solidFill>
                <a:srgbClr val="333333"/>
              </a:solidFill>
              <a:effectLst/>
              <a:latin typeface="Georgia" panose="02040502050405020303" pitchFamily="18"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dirty="0">
                <a:solidFill>
                  <a:srgbClr val="333333"/>
                </a:solidFill>
                <a:effectLst/>
                <a:latin typeface="Georgia" panose="02040502050405020303" pitchFamily="18" charset="0"/>
              </a:rPr>
              <a:t>Natalee: still enrolling. adjuvant ribo for 3 years: high risk as N1+ or N0 with G2 or G3 AND ki67 &gt;20% or Oncotype &gt;26</a:t>
            </a:r>
            <a:endParaRPr lang="en-US" b="0" i="0" dirty="0">
              <a:solidFill>
                <a:srgbClr val="000000"/>
              </a:solidFill>
              <a:effectLst/>
              <a:latin typeface="Times New Roman" panose="02020603050405020304" pitchFamily="18" charset="0"/>
            </a:endParaRPr>
          </a:p>
          <a:p>
            <a:pPr marL="171450" indent="-171450">
              <a:buFont typeface="Arial" panose="020B0604020202020204" pitchFamily="34" charset="0"/>
              <a:buChar char="•"/>
            </a:pPr>
            <a:r>
              <a:rPr lang="en-US" b="0" i="0" dirty="0">
                <a:solidFill>
                  <a:srgbClr val="000000"/>
                </a:solidFill>
                <a:effectLst/>
                <a:latin typeface="Times New Roman" panose="02020603050405020304" pitchFamily="18" charset="0"/>
              </a:rPr>
              <a:t>monarchE: adjuvant abema for 2 years, Ki67 of 20%+ removed after 4 year interim f/u presented at SABCS last year finding that Ki67 was prognostic but not predictive of abemaciclib benefit, similar abema effects regardless of Ki67</a:t>
            </a:r>
          </a:p>
          <a:p>
            <a:pPr marL="171450" indent="-171450">
              <a:buFont typeface="Arial" panose="020B0604020202020204" pitchFamily="34" charset="0"/>
              <a:buChar char="•"/>
            </a:pPr>
            <a:endParaRPr lang="en-US" b="0" i="0" dirty="0">
              <a:solidFill>
                <a:srgbClr val="000000"/>
              </a:solidFill>
              <a:effectLst/>
              <a:latin typeface="Times New Roman" panose="02020603050405020304" pitchFamily="18" charset="0"/>
            </a:endParaRPr>
          </a:p>
          <a:p>
            <a:pPr marL="0" indent="0">
              <a:buFont typeface="Arial" panose="020B0604020202020204" pitchFamily="34" charset="0"/>
              <a:buNone/>
            </a:pPr>
            <a:r>
              <a:rPr lang="en-US" b="0" i="0" dirty="0">
                <a:solidFill>
                  <a:srgbClr val="000000"/>
                </a:solidFill>
                <a:effectLst/>
                <a:latin typeface="Times New Roman" panose="02020603050405020304" pitchFamily="18" charset="0"/>
              </a:rPr>
              <a:t>Negative studies in this space include:</a:t>
            </a:r>
          </a:p>
          <a:p>
            <a:pPr marL="171450" indent="-171450">
              <a:buFont typeface="Arial" panose="020B0604020202020204" pitchFamily="34" charset="0"/>
              <a:buChar char="•"/>
            </a:pPr>
            <a:r>
              <a:rPr lang="en-US" b="0" i="0" dirty="0">
                <a:solidFill>
                  <a:srgbClr val="333333"/>
                </a:solidFill>
                <a:effectLst/>
                <a:latin typeface="Georgia" panose="02040502050405020303" pitchFamily="18" charset="0"/>
              </a:rPr>
              <a:t>Pallas: adjuvant palbo for 2 years in stage II-III. 3 year IDF 88% in both ET and palbo ET arms</a:t>
            </a:r>
          </a:p>
          <a:p>
            <a:pPr marL="171450" indent="-171450">
              <a:buFont typeface="Arial" panose="020B0604020202020204" pitchFamily="34" charset="0"/>
              <a:buChar char="•"/>
            </a:pPr>
            <a:r>
              <a:rPr lang="en-US" b="0" i="0" dirty="0">
                <a:solidFill>
                  <a:srgbClr val="333333"/>
                </a:solidFill>
                <a:effectLst/>
                <a:latin typeface="Georgia" panose="02040502050405020303" pitchFamily="18" charset="0"/>
              </a:rPr>
              <a:t>Penelope: adjuvant palbo for 1 year after neoadjuvant CT for </a:t>
            </a:r>
            <a:r>
              <a:rPr lang="en-US" b="0" i="0" dirty="0" err="1">
                <a:solidFill>
                  <a:srgbClr val="333333"/>
                </a:solidFill>
                <a:effectLst/>
                <a:latin typeface="Georgia" panose="02040502050405020303" pitchFamily="18" charset="0"/>
              </a:rPr>
              <a:t>for</a:t>
            </a:r>
            <a:r>
              <a:rPr lang="en-US" b="0" i="0" dirty="0">
                <a:solidFill>
                  <a:srgbClr val="333333"/>
                </a:solidFill>
                <a:effectLst/>
                <a:latin typeface="Georgia" panose="02040502050405020303" pitchFamily="18" charset="0"/>
              </a:rPr>
              <a:t> ER+ HER2- breast cancer with CPS score of 3+ or 2 and ypN+. 4 year iDFS 73 vs 72%, no difference in any subgroup.</a:t>
            </a:r>
          </a:p>
          <a:p>
            <a:endParaRPr lang="en-US" dirty="0"/>
          </a:p>
          <a:p>
            <a:endParaRPr lang="en-US" dirty="0"/>
          </a:p>
          <a:p>
            <a:r>
              <a:rPr lang="en-US" dirty="0"/>
              <a:t> </a:t>
            </a:r>
          </a:p>
        </p:txBody>
      </p:sp>
      <p:sp>
        <p:nvSpPr>
          <p:cNvPr id="4" name="Slide Number Placeholder 3"/>
          <p:cNvSpPr>
            <a:spLocks noGrp="1"/>
          </p:cNvSpPr>
          <p:nvPr>
            <p:ph type="sldNum" sz="quarter" idx="5"/>
          </p:nvPr>
        </p:nvSpPr>
        <p:spPr/>
        <p:txBody>
          <a:bodyPr/>
          <a:lstStyle/>
          <a:p>
            <a:fld id="{B3A96171-A15F-AF4E-B7C5-E1453CAAF64D}" type="slidenum">
              <a:rPr lang="en-US" smtClean="0"/>
              <a:t>17</a:t>
            </a:fld>
            <a:endParaRPr lang="en-US" dirty="0"/>
          </a:p>
        </p:txBody>
      </p:sp>
    </p:spTree>
    <p:extLst>
      <p:ext uri="{BB962C8B-B14F-4D97-AF65-F5344CB8AC3E}">
        <p14:creationId xmlns:p14="http://schemas.microsoft.com/office/powerpoint/2010/main" val="166226167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800" b="0" i="0" u="none" strike="noStrike" baseline="0" dirty="0">
                <a:solidFill>
                  <a:srgbClr val="000000"/>
                </a:solidFill>
                <a:latin typeface="ArialMT"/>
              </a:rPr>
              <a:t>Abemaciclib is the only CDK 4/6 inhibitor approved in the adjuvant setting currently. </a:t>
            </a:r>
          </a:p>
          <a:p>
            <a:pPr algn="l"/>
            <a:r>
              <a:rPr lang="en-US" sz="1800" b="0" i="0" u="none" strike="noStrike" baseline="0" dirty="0">
                <a:solidFill>
                  <a:srgbClr val="000000"/>
                </a:solidFill>
                <a:latin typeface="ArialMT"/>
              </a:rPr>
              <a:t>It was approved in 2021 based on significant improvements in IDFS from the </a:t>
            </a:r>
            <a:r>
              <a:rPr lang="en-US" sz="1800" b="0" i="0" u="none" strike="noStrike" baseline="0" dirty="0" err="1">
                <a:solidFill>
                  <a:srgbClr val="000000"/>
                </a:solidFill>
                <a:latin typeface="ArialMT"/>
              </a:rPr>
              <a:t>MonarchE</a:t>
            </a:r>
            <a:r>
              <a:rPr lang="en-US" sz="1800" b="0" i="0" u="none" strike="noStrike" baseline="0" dirty="0">
                <a:solidFill>
                  <a:srgbClr val="000000"/>
                </a:solidFill>
                <a:latin typeface="ArialMT"/>
              </a:rPr>
              <a:t> trial</a:t>
            </a:r>
          </a:p>
          <a:p>
            <a:pPr algn="l"/>
            <a:endParaRPr lang="en-US" sz="1800" b="0" i="0" u="none" strike="noStrike" baseline="0" dirty="0">
              <a:solidFill>
                <a:srgbClr val="000000"/>
              </a:solidFill>
              <a:latin typeface="ArialMT"/>
            </a:endParaRPr>
          </a:p>
          <a:p>
            <a:r>
              <a:rPr lang="en-US" sz="1800" dirty="0"/>
              <a:t>This was the trial schema</a:t>
            </a:r>
          </a:p>
          <a:p>
            <a:r>
              <a:rPr lang="en-US" sz="1800" dirty="0"/>
              <a:t>High risk node positive disease- stratified into cohorts above</a:t>
            </a:r>
          </a:p>
          <a:p>
            <a:r>
              <a:rPr lang="en-US" sz="1800" dirty="0"/>
              <a:t>- cohort 1 based on clinicopathological features: N2 disease or N1 + G3 or N1 + T&gt;5cm</a:t>
            </a:r>
          </a:p>
          <a:p>
            <a:r>
              <a:rPr lang="en-US" sz="1800" dirty="0"/>
              <a:t>- cohort 2: N1 + Ki67 of more than 20% as a criteria</a:t>
            </a:r>
          </a:p>
          <a:p>
            <a:endParaRPr lang="en-US" sz="180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t>Randomized into </a:t>
            </a:r>
            <a:r>
              <a:rPr lang="en-US" sz="1800" dirty="0" err="1"/>
              <a:t>abema</a:t>
            </a:r>
            <a:r>
              <a:rPr lang="en-US" sz="1800" dirty="0"/>
              <a:t> + ET for 2 years or ET for 2 years, then followed by ET for an additional 3-8 years as indicate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t>Primary outcome of IDF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t>Now updated data from SABCS last year with 4 year analysis- all off </a:t>
            </a:r>
            <a:r>
              <a:rPr lang="en-US" sz="1800" dirty="0" err="1"/>
              <a:t>abema</a:t>
            </a:r>
            <a:r>
              <a:rPr lang="en-US" sz="1800" dirty="0"/>
              <a:t> for 2 year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p>
            <a:pPr algn="l"/>
            <a:r>
              <a:rPr lang="en-US" sz="1800" b="0" i="0" u="none" strike="noStrike" baseline="0" dirty="0">
                <a:solidFill>
                  <a:srgbClr val="000000"/>
                </a:solidFill>
                <a:latin typeface="ArialMT"/>
              </a:rPr>
              <a:t>Updated at SABCS last year for a pre-planned 4 year follow up- 2 years following primary outcome analysis. </a:t>
            </a:r>
          </a:p>
          <a:p>
            <a:pPr algn="l"/>
            <a:endParaRPr lang="en-US" sz="1800" b="0" i="0" u="none" strike="noStrike" baseline="0" dirty="0">
              <a:solidFill>
                <a:srgbClr val="000000"/>
              </a:solidFill>
              <a:latin typeface="ArialMT"/>
            </a:endParaRPr>
          </a:p>
        </p:txBody>
      </p:sp>
      <p:sp>
        <p:nvSpPr>
          <p:cNvPr id="4" name="Slide Number Placeholder 3"/>
          <p:cNvSpPr>
            <a:spLocks noGrp="1"/>
          </p:cNvSpPr>
          <p:nvPr>
            <p:ph type="sldNum" sz="quarter" idx="5"/>
          </p:nvPr>
        </p:nvSpPr>
        <p:spPr/>
        <p:txBody>
          <a:bodyPr/>
          <a:lstStyle/>
          <a:p>
            <a:fld id="{B3A96171-A15F-AF4E-B7C5-E1453CAAF64D}" type="slidenum">
              <a:rPr lang="en-US" smtClean="0"/>
              <a:t>18</a:t>
            </a:fld>
            <a:endParaRPr lang="en-US" dirty="0"/>
          </a:p>
        </p:txBody>
      </p:sp>
    </p:spTree>
    <p:extLst>
      <p:ext uri="{BB962C8B-B14F-4D97-AF65-F5344CB8AC3E}">
        <p14:creationId xmlns:p14="http://schemas.microsoft.com/office/powerpoint/2010/main" val="115873215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200" b="0" i="0" u="none" strike="noStrike" baseline="0" dirty="0">
                <a:solidFill>
                  <a:srgbClr val="D62B1E"/>
                </a:solidFill>
                <a:latin typeface="Wingdings-Regular"/>
              </a:rPr>
              <a:t>§ </a:t>
            </a:r>
            <a:r>
              <a:rPr lang="en-US" sz="1200" b="0" i="0" u="none" strike="noStrike" baseline="0" dirty="0">
                <a:solidFill>
                  <a:srgbClr val="000000"/>
                </a:solidFill>
                <a:latin typeface="ArialMT"/>
              </a:rPr>
              <a:t>With additional follow-up, the benefit of adjuvant abemaciclib deepened in magnitude as compared to 2- and 3-year rates.</a:t>
            </a:r>
          </a:p>
          <a:p>
            <a:pPr algn="l"/>
            <a:r>
              <a:rPr lang="en-US" sz="1200" b="0" i="0" u="none" strike="noStrike" baseline="0" dirty="0">
                <a:solidFill>
                  <a:srgbClr val="000000"/>
                </a:solidFill>
                <a:latin typeface="ArialMT"/>
              </a:rPr>
              <a:t>At 4 years:</a:t>
            </a:r>
          </a:p>
          <a:p>
            <a:pPr algn="l"/>
            <a:r>
              <a:rPr lang="en-US" sz="1200" b="0" i="0" u="none" strike="noStrike" baseline="0" dirty="0">
                <a:solidFill>
                  <a:srgbClr val="000000"/>
                </a:solidFill>
                <a:latin typeface="ArialMT"/>
              </a:rPr>
              <a:t>- Increase in absolute IDFS of 6.4%</a:t>
            </a:r>
          </a:p>
          <a:p>
            <a:pPr algn="l"/>
            <a:r>
              <a:rPr lang="en-US" sz="1200" b="0" i="0" u="none" strike="noStrike" baseline="0" dirty="0">
                <a:solidFill>
                  <a:srgbClr val="000000"/>
                </a:solidFill>
                <a:latin typeface="ArialMT"/>
              </a:rPr>
              <a:t>- Increase in absolute DRFS benefit of 5.9% at 4 years</a:t>
            </a:r>
          </a:p>
          <a:p>
            <a:endParaRPr lang="en-US" dirty="0"/>
          </a:p>
          <a:p>
            <a:r>
              <a:rPr lang="en-US" dirty="0"/>
              <a:t>Encouraging reductions in IDFS and DRFS that continued to widen after stopping abemaciclib at 2 years</a:t>
            </a:r>
          </a:p>
          <a:p>
            <a:endParaRPr lang="en-US" dirty="0"/>
          </a:p>
          <a:p>
            <a:r>
              <a:rPr lang="en-US" dirty="0"/>
              <a:t>Overall side effects well tolerated, </a:t>
            </a:r>
          </a:p>
          <a:p>
            <a:r>
              <a:rPr lang="en-US" dirty="0"/>
              <a:t>Most common with fatigue, diarrhea and </a:t>
            </a:r>
          </a:p>
          <a:p>
            <a:endParaRPr lang="en-US" dirty="0"/>
          </a:p>
        </p:txBody>
      </p:sp>
      <p:sp>
        <p:nvSpPr>
          <p:cNvPr id="4" name="Slide Number Placeholder 3"/>
          <p:cNvSpPr>
            <a:spLocks noGrp="1"/>
          </p:cNvSpPr>
          <p:nvPr>
            <p:ph type="sldNum" sz="quarter" idx="5"/>
          </p:nvPr>
        </p:nvSpPr>
        <p:spPr/>
        <p:txBody>
          <a:bodyPr/>
          <a:lstStyle/>
          <a:p>
            <a:fld id="{B3A96171-A15F-AF4E-B7C5-E1453CAAF64D}" type="slidenum">
              <a:rPr lang="en-US" smtClean="0"/>
              <a:t>19</a:t>
            </a:fld>
            <a:endParaRPr lang="en-US" dirty="0"/>
          </a:p>
        </p:txBody>
      </p:sp>
    </p:spTree>
    <p:extLst>
      <p:ext uri="{BB962C8B-B14F-4D97-AF65-F5344CB8AC3E}">
        <p14:creationId xmlns:p14="http://schemas.microsoft.com/office/powerpoint/2010/main" val="195485352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800" b="0" i="0" u="none" strike="noStrike" baseline="0" dirty="0">
                <a:solidFill>
                  <a:srgbClr val="D62B1E"/>
                </a:solidFill>
                <a:latin typeface="ArialMT"/>
              </a:rPr>
              <a:t>− </a:t>
            </a:r>
            <a:r>
              <a:rPr lang="en-US" sz="1800" b="0" i="0" u="none" strike="noStrike" baseline="0" dirty="0">
                <a:solidFill>
                  <a:srgbClr val="000000"/>
                </a:solidFill>
                <a:latin typeface="ArialMT"/>
              </a:rPr>
              <a:t>Ki-67 remains prognostic- higher scores have more invasive recurrence however, not predictive of abemaciclib as benefit in both Ki67 high and low groups seen with abemaciclib addition. </a:t>
            </a:r>
          </a:p>
          <a:p>
            <a:pPr algn="l"/>
            <a:endParaRPr lang="en-US" sz="1800" b="0" i="0" u="none" strike="noStrike" baseline="0" dirty="0">
              <a:solidFill>
                <a:srgbClr val="000000"/>
              </a:solidFill>
              <a:latin typeface="ArialMT"/>
            </a:endParaRPr>
          </a:p>
          <a:p>
            <a:pPr algn="l"/>
            <a:r>
              <a:rPr lang="en-US" sz="1800" b="0" i="0" u="none" strike="noStrike" baseline="0" dirty="0">
                <a:solidFill>
                  <a:srgbClr val="000000"/>
                </a:solidFill>
                <a:latin typeface="ArialMT"/>
              </a:rPr>
              <a:t>Ther FDA has since REMOVED the Ki67 criteria from inclusion consideration after this data was presented. </a:t>
            </a:r>
          </a:p>
          <a:p>
            <a:pPr algn="l"/>
            <a:endParaRPr lang="en-US" sz="1800" b="0" i="0" u="none" strike="noStrike" baseline="0" dirty="0">
              <a:solidFill>
                <a:srgbClr val="000000"/>
              </a:solidFill>
              <a:latin typeface="ArialMT"/>
            </a:endParaRPr>
          </a:p>
        </p:txBody>
      </p:sp>
      <p:sp>
        <p:nvSpPr>
          <p:cNvPr id="4" name="Slide Number Placeholder 3"/>
          <p:cNvSpPr>
            <a:spLocks noGrp="1"/>
          </p:cNvSpPr>
          <p:nvPr>
            <p:ph type="sldNum" sz="quarter" idx="5"/>
          </p:nvPr>
        </p:nvSpPr>
        <p:spPr/>
        <p:txBody>
          <a:bodyPr/>
          <a:lstStyle/>
          <a:p>
            <a:fld id="{B3A96171-A15F-AF4E-B7C5-E1453CAAF64D}" type="slidenum">
              <a:rPr lang="en-US" smtClean="0"/>
              <a:t>20</a:t>
            </a:fld>
            <a:endParaRPr lang="en-US" dirty="0"/>
          </a:p>
        </p:txBody>
      </p:sp>
    </p:spTree>
    <p:extLst>
      <p:ext uri="{BB962C8B-B14F-4D97-AF65-F5344CB8AC3E}">
        <p14:creationId xmlns:p14="http://schemas.microsoft.com/office/powerpoint/2010/main" val="318190109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dditional analysis from </a:t>
            </a:r>
            <a:r>
              <a:rPr lang="en-US" dirty="0" err="1"/>
              <a:t>MonarchE</a:t>
            </a:r>
            <a:r>
              <a:rPr lang="en-US" dirty="0"/>
              <a:t> presented at ASCO 2023 described safety and efficacy in those aged &gt;65 vs under 65 years. </a:t>
            </a:r>
          </a:p>
          <a:p>
            <a:r>
              <a:rPr lang="en-US" dirty="0"/>
              <a:t>There were more baseline comorbidities and less prior neo or adjuvant chemotherapy</a:t>
            </a:r>
          </a:p>
          <a:p>
            <a:r>
              <a:rPr lang="en-US" dirty="0"/>
              <a:t>There was more need for dose reductions- in the older population</a:t>
            </a:r>
          </a:p>
          <a:p>
            <a:endParaRPr lang="en-US" dirty="0"/>
          </a:p>
          <a:p>
            <a:r>
              <a:rPr lang="en-US" dirty="0"/>
              <a:t>However on Left, can still see there was similar IDFS and DRFS benefit in the older population compared with overall cohort.</a:t>
            </a:r>
          </a:p>
          <a:p>
            <a:r>
              <a:rPr lang="en-US" dirty="0"/>
              <a:t>And in graph on Right that there was no impact to IDFS when dose reductions were compared. </a:t>
            </a:r>
          </a:p>
          <a:p>
            <a:endParaRPr lang="en-US" dirty="0"/>
          </a:p>
          <a:p>
            <a:endParaRPr lang="en-US" dirty="0"/>
          </a:p>
          <a:p>
            <a:r>
              <a:rPr lang="en-US" dirty="0"/>
              <a:t>At 48 month follow up IDFS rates similar between </a:t>
            </a:r>
          </a:p>
          <a:p>
            <a:r>
              <a:rPr lang="en-US" dirty="0"/>
              <a:t>Low RDI group- 87.1%</a:t>
            </a:r>
          </a:p>
          <a:p>
            <a:r>
              <a:rPr lang="en-US" dirty="0"/>
              <a:t>Middle group- 86.4%</a:t>
            </a:r>
          </a:p>
          <a:p>
            <a:r>
              <a:rPr lang="en-US" dirty="0"/>
              <a:t>Highest RDI group- 83.7%</a:t>
            </a:r>
          </a:p>
          <a:p>
            <a:endParaRPr lang="en-US" dirty="0"/>
          </a:p>
        </p:txBody>
      </p:sp>
      <p:sp>
        <p:nvSpPr>
          <p:cNvPr id="4" name="Slide Number Placeholder 3"/>
          <p:cNvSpPr>
            <a:spLocks noGrp="1"/>
          </p:cNvSpPr>
          <p:nvPr>
            <p:ph type="sldNum" sz="quarter" idx="5"/>
          </p:nvPr>
        </p:nvSpPr>
        <p:spPr/>
        <p:txBody>
          <a:bodyPr/>
          <a:lstStyle/>
          <a:p>
            <a:fld id="{B3A96171-A15F-AF4E-B7C5-E1453CAAF64D}" type="slidenum">
              <a:rPr lang="en-US" smtClean="0"/>
              <a:t>21</a:t>
            </a:fld>
            <a:endParaRPr lang="en-US" dirty="0"/>
          </a:p>
        </p:txBody>
      </p:sp>
    </p:spTree>
    <p:extLst>
      <p:ext uri="{BB962C8B-B14F-4D97-AF65-F5344CB8AC3E}">
        <p14:creationId xmlns:p14="http://schemas.microsoft.com/office/powerpoint/2010/main" val="16733108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3A96171-A15F-AF4E-B7C5-E1453CAAF64D}" type="slidenum">
              <a:rPr lang="en-US" smtClean="0"/>
              <a:t>2</a:t>
            </a:fld>
            <a:endParaRPr lang="en-US" dirty="0"/>
          </a:p>
        </p:txBody>
      </p:sp>
    </p:spTree>
    <p:extLst>
      <p:ext uri="{BB962C8B-B14F-4D97-AF65-F5344CB8AC3E}">
        <p14:creationId xmlns:p14="http://schemas.microsoft.com/office/powerpoint/2010/main" val="265149090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enefit with abema may be more the continuous dose versus the lower dose</a:t>
            </a:r>
          </a:p>
          <a:p>
            <a:endParaRPr lang="en-US" dirty="0"/>
          </a:p>
        </p:txBody>
      </p:sp>
      <p:sp>
        <p:nvSpPr>
          <p:cNvPr id="4" name="Slide Number Placeholder 3"/>
          <p:cNvSpPr>
            <a:spLocks noGrp="1"/>
          </p:cNvSpPr>
          <p:nvPr>
            <p:ph type="sldNum" sz="quarter" idx="5"/>
          </p:nvPr>
        </p:nvSpPr>
        <p:spPr/>
        <p:txBody>
          <a:bodyPr/>
          <a:lstStyle/>
          <a:p>
            <a:fld id="{B3A96171-A15F-AF4E-B7C5-E1453CAAF64D}" type="slidenum">
              <a:rPr lang="en-US" smtClean="0"/>
              <a:t>22</a:t>
            </a:fld>
            <a:endParaRPr lang="en-US" dirty="0"/>
          </a:p>
        </p:txBody>
      </p:sp>
    </p:spTree>
    <p:extLst>
      <p:ext uri="{BB962C8B-B14F-4D97-AF65-F5344CB8AC3E}">
        <p14:creationId xmlns:p14="http://schemas.microsoft.com/office/powerpoint/2010/main" val="7651516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3A96171-A15F-AF4E-B7C5-E1453CAAF64D}" type="slidenum">
              <a:rPr lang="en-US" smtClean="0"/>
              <a:t>23</a:t>
            </a:fld>
            <a:endParaRPr lang="en-US" dirty="0"/>
          </a:p>
        </p:txBody>
      </p:sp>
    </p:spTree>
    <p:extLst>
      <p:ext uri="{BB962C8B-B14F-4D97-AF65-F5344CB8AC3E}">
        <p14:creationId xmlns:p14="http://schemas.microsoft.com/office/powerpoint/2010/main" val="66760791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nique features of study design: </a:t>
            </a:r>
          </a:p>
          <a:p>
            <a:r>
              <a:rPr lang="en-US" dirty="0"/>
              <a:t>Anatomic stage IIA, IIB, III which included a NODE negative group</a:t>
            </a:r>
          </a:p>
          <a:p>
            <a:r>
              <a:rPr lang="en-US" dirty="0"/>
              <a:t>Use of </a:t>
            </a:r>
            <a:r>
              <a:rPr lang="en-US" dirty="0" err="1"/>
              <a:t>ribociclib</a:t>
            </a:r>
            <a:r>
              <a:rPr lang="en-US" dirty="0"/>
              <a:t> 400mg per day 3 weeks on/ 1 week off for 3 year </a:t>
            </a:r>
          </a:p>
          <a:p>
            <a:r>
              <a:rPr lang="en-US" dirty="0"/>
              <a:t>3 years</a:t>
            </a:r>
            <a:r>
              <a:rPr lang="en-US" dirty="0">
                <a:sym typeface="Wingdings" panose="05000000000000000000" pitchFamily="2" charset="2"/>
              </a:rPr>
              <a:t> to </a:t>
            </a:r>
            <a:r>
              <a:rPr lang="en-US" i="1" dirty="0">
                <a:sym typeface="Wingdings" panose="05000000000000000000" pitchFamily="2" charset="2"/>
              </a:rPr>
              <a:t>drive</a:t>
            </a:r>
            <a:r>
              <a:rPr lang="en-US" dirty="0">
                <a:sym typeface="Wingdings" panose="05000000000000000000" pitchFamily="2" charset="2"/>
              </a:rPr>
              <a:t> the cells into irreversible senescence </a:t>
            </a:r>
          </a:p>
          <a:p>
            <a:endParaRPr lang="en-US" dirty="0">
              <a:sym typeface="Wingdings" panose="05000000000000000000" pitchFamily="2" charset="2"/>
            </a:endParaRPr>
          </a:p>
          <a:p>
            <a:endParaRPr lang="en-US" dirty="0"/>
          </a:p>
        </p:txBody>
      </p:sp>
      <p:sp>
        <p:nvSpPr>
          <p:cNvPr id="4" name="Slide Number Placeholder 3"/>
          <p:cNvSpPr>
            <a:spLocks noGrp="1"/>
          </p:cNvSpPr>
          <p:nvPr>
            <p:ph type="sldNum" sz="quarter" idx="5"/>
          </p:nvPr>
        </p:nvSpPr>
        <p:spPr/>
        <p:txBody>
          <a:bodyPr/>
          <a:lstStyle/>
          <a:p>
            <a:fld id="{B3A96171-A15F-AF4E-B7C5-E1453CAAF64D}" type="slidenum">
              <a:rPr lang="en-US" smtClean="0"/>
              <a:t>24</a:t>
            </a:fld>
            <a:endParaRPr lang="en-US" dirty="0"/>
          </a:p>
        </p:txBody>
      </p:sp>
    </p:spTree>
    <p:extLst>
      <p:ext uri="{BB962C8B-B14F-4D97-AF65-F5344CB8AC3E}">
        <p14:creationId xmlns:p14="http://schemas.microsoft.com/office/powerpoint/2010/main" val="231667347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Diagrms</a:t>
            </a:r>
            <a:r>
              <a:rPr lang="en-US" dirty="0"/>
              <a:t>  illustrating the eligible patients-</a:t>
            </a:r>
          </a:p>
          <a:p>
            <a:r>
              <a:rPr lang="en-US" dirty="0"/>
              <a:t>Overall N1+</a:t>
            </a:r>
          </a:p>
          <a:p>
            <a:r>
              <a:rPr lang="en-US" dirty="0"/>
              <a:t>Or N0 with at least T2  and another high risk feature</a:t>
            </a:r>
          </a:p>
        </p:txBody>
      </p:sp>
      <p:sp>
        <p:nvSpPr>
          <p:cNvPr id="4" name="Slide Number Placeholder 3"/>
          <p:cNvSpPr>
            <a:spLocks noGrp="1"/>
          </p:cNvSpPr>
          <p:nvPr>
            <p:ph type="sldNum" sz="quarter" idx="5"/>
          </p:nvPr>
        </p:nvSpPr>
        <p:spPr/>
        <p:txBody>
          <a:bodyPr/>
          <a:lstStyle/>
          <a:p>
            <a:fld id="{B3A96171-A15F-AF4E-B7C5-E1453CAAF64D}" type="slidenum">
              <a:rPr lang="en-US" smtClean="0"/>
              <a:t>25</a:t>
            </a:fld>
            <a:endParaRPr lang="en-US" dirty="0"/>
          </a:p>
        </p:txBody>
      </p:sp>
    </p:spTree>
    <p:extLst>
      <p:ext uri="{BB962C8B-B14F-4D97-AF65-F5344CB8AC3E}">
        <p14:creationId xmlns:p14="http://schemas.microsoft.com/office/powerpoint/2010/main" val="186402422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atalee has completed accrual-baseline characteristics listed here: </a:t>
            </a:r>
          </a:p>
          <a:p>
            <a:endParaRPr lang="en-US" sz="1200" dirty="0"/>
          </a:p>
          <a:p>
            <a:r>
              <a:rPr lang="en-US" sz="1200" dirty="0"/>
              <a:t>Matched between study and control arms:</a:t>
            </a:r>
          </a:p>
          <a:p>
            <a:pPr marL="171450" indent="-171450">
              <a:buFont typeface="Wingdings" panose="05000000000000000000" pitchFamily="2" charset="2"/>
              <a:buChar char="§"/>
            </a:pPr>
            <a:r>
              <a:rPr lang="en-US" sz="1200" dirty="0"/>
              <a:t>56% post-meno</a:t>
            </a:r>
          </a:p>
          <a:p>
            <a:pPr marL="171450" indent="-171450">
              <a:buFont typeface="Wingdings" panose="05000000000000000000" pitchFamily="2" charset="2"/>
              <a:buChar char="§"/>
            </a:pPr>
            <a:r>
              <a:rPr lang="en-US" sz="1200" dirty="0"/>
              <a:t>20% Stage IIA</a:t>
            </a:r>
          </a:p>
          <a:p>
            <a:pPr marL="171450" indent="-171450">
              <a:buFont typeface="Wingdings" panose="05000000000000000000" pitchFamily="2" charset="2"/>
              <a:buChar char="§"/>
            </a:pPr>
            <a:r>
              <a:rPr lang="en-US" sz="1200" dirty="0"/>
              <a:t>20% Stage IIB</a:t>
            </a:r>
          </a:p>
          <a:p>
            <a:pPr marL="171450" indent="-171450">
              <a:buFont typeface="Wingdings" panose="05000000000000000000" pitchFamily="2" charset="2"/>
              <a:buChar char="§"/>
            </a:pPr>
            <a:r>
              <a:rPr lang="en-US" sz="1200" u="sng" dirty="0"/>
              <a:t>60% Stage III</a:t>
            </a:r>
          </a:p>
          <a:p>
            <a:pPr marL="171450" indent="-171450">
              <a:buFont typeface="Wingdings" panose="05000000000000000000" pitchFamily="2" charset="2"/>
              <a:buChar char="§"/>
            </a:pPr>
            <a:r>
              <a:rPr lang="en-US" sz="1200" dirty="0"/>
              <a:t>10% Nx</a:t>
            </a:r>
          </a:p>
          <a:p>
            <a:pPr marL="171450" indent="-171450">
              <a:buFont typeface="Wingdings" panose="05000000000000000000" pitchFamily="2" charset="2"/>
              <a:buChar char="§"/>
            </a:pPr>
            <a:r>
              <a:rPr lang="en-US" sz="1200" u="sng" dirty="0"/>
              <a:t>28% N0</a:t>
            </a:r>
          </a:p>
          <a:p>
            <a:pPr marL="171450" indent="-171450">
              <a:buFont typeface="Wingdings" panose="05000000000000000000" pitchFamily="2" charset="2"/>
              <a:buChar char="§"/>
            </a:pPr>
            <a:r>
              <a:rPr lang="en-US" sz="1200" dirty="0"/>
              <a:t>41% N1</a:t>
            </a:r>
          </a:p>
          <a:p>
            <a:pPr marL="171450" indent="-171450">
              <a:buFont typeface="Wingdings" panose="05000000000000000000" pitchFamily="2" charset="2"/>
              <a:buChar char="§"/>
            </a:pPr>
            <a:r>
              <a:rPr lang="en-US" sz="1200" u="sng" dirty="0"/>
              <a:t>19% N2/N3</a:t>
            </a:r>
          </a:p>
          <a:p>
            <a:endParaRPr lang="en-US" dirty="0"/>
          </a:p>
          <a:p>
            <a:r>
              <a:rPr lang="en-US" dirty="0"/>
              <a:t>At median follow up of 34 months, </a:t>
            </a:r>
            <a:r>
              <a:rPr lang="en-US" u="sng" dirty="0"/>
              <a:t>78% remain with treatment ongoing still in </a:t>
            </a:r>
            <a:r>
              <a:rPr lang="en-US" dirty="0"/>
              <a:t>treatment arm, and 72% in the control arm.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20% have completed the 3 years of </a:t>
            </a:r>
            <a:r>
              <a:rPr lang="en-US" dirty="0" err="1"/>
              <a:t>ribociclib</a:t>
            </a:r>
            <a:endParaRPr lang="en-US" dirty="0"/>
          </a:p>
          <a:p>
            <a:r>
              <a:rPr lang="en-US" dirty="0"/>
              <a:t>Rates of dc of NSAI equal between both arms</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B3A96171-A15F-AF4E-B7C5-E1453CAAF64D}" type="slidenum">
              <a:rPr lang="en-US" smtClean="0"/>
              <a:t>26</a:t>
            </a:fld>
            <a:endParaRPr lang="en-US" dirty="0"/>
          </a:p>
        </p:txBody>
      </p:sp>
    </p:spTree>
    <p:extLst>
      <p:ext uri="{BB962C8B-B14F-4D97-AF65-F5344CB8AC3E}">
        <p14:creationId xmlns:p14="http://schemas.microsoft.com/office/powerpoint/2010/main" val="79291685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arly significant findings that are encouraging to see:</a:t>
            </a:r>
          </a:p>
          <a:p>
            <a:endParaRPr lang="en-US" dirty="0"/>
          </a:p>
          <a:p>
            <a:r>
              <a:rPr lang="en-US" dirty="0"/>
              <a:t>Left: Primary endpoint of iDFS. delta absolute iDFS benefit at 3 years 3.3%</a:t>
            </a:r>
          </a:p>
          <a:p>
            <a:r>
              <a:rPr lang="en-US" dirty="0"/>
              <a:t>Right: DDFS- delta absolute DDFS benefit at 3 years 2.2%</a:t>
            </a:r>
          </a:p>
        </p:txBody>
      </p:sp>
      <p:sp>
        <p:nvSpPr>
          <p:cNvPr id="4" name="Slide Number Placeholder 3"/>
          <p:cNvSpPr>
            <a:spLocks noGrp="1"/>
          </p:cNvSpPr>
          <p:nvPr>
            <p:ph type="sldNum" sz="quarter" idx="5"/>
          </p:nvPr>
        </p:nvSpPr>
        <p:spPr/>
        <p:txBody>
          <a:bodyPr/>
          <a:lstStyle/>
          <a:p>
            <a:fld id="{B3A96171-A15F-AF4E-B7C5-E1453CAAF64D}" type="slidenum">
              <a:rPr lang="en-US" smtClean="0"/>
              <a:t>27</a:t>
            </a:fld>
            <a:endParaRPr lang="en-US" dirty="0"/>
          </a:p>
        </p:txBody>
      </p:sp>
    </p:spTree>
    <p:extLst>
      <p:ext uri="{BB962C8B-B14F-4D97-AF65-F5344CB8AC3E}">
        <p14:creationId xmlns:p14="http://schemas.microsoft.com/office/powerpoint/2010/main" val="108296600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f interest will be the nodal status and N0 group specifically- currently wide CI but with only few results thus far</a:t>
            </a:r>
          </a:p>
        </p:txBody>
      </p:sp>
      <p:sp>
        <p:nvSpPr>
          <p:cNvPr id="4" name="Slide Number Placeholder 3"/>
          <p:cNvSpPr>
            <a:spLocks noGrp="1"/>
          </p:cNvSpPr>
          <p:nvPr>
            <p:ph type="sldNum" sz="quarter" idx="5"/>
          </p:nvPr>
        </p:nvSpPr>
        <p:spPr/>
        <p:txBody>
          <a:bodyPr/>
          <a:lstStyle/>
          <a:p>
            <a:fld id="{B3A96171-A15F-AF4E-B7C5-E1453CAAF64D}" type="slidenum">
              <a:rPr lang="en-US" smtClean="0"/>
              <a:t>28</a:t>
            </a:fld>
            <a:endParaRPr lang="en-US" dirty="0"/>
          </a:p>
        </p:txBody>
      </p:sp>
    </p:spTree>
    <p:extLst>
      <p:ext uri="{BB962C8B-B14F-4D97-AF65-F5344CB8AC3E}">
        <p14:creationId xmlns:p14="http://schemas.microsoft.com/office/powerpoint/2010/main" val="371341164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ower rates of dose dependent toxicities at 400mg dose compared to 600mg dose in advanced setting </a:t>
            </a:r>
          </a:p>
          <a:p>
            <a:r>
              <a:rPr lang="en-US" dirty="0"/>
              <a:t>Lower neutropenia, lower EKG QTc prolongation- new QTc of &gt;500ms or increase from baseline of &gt;60ms- overall rare, but lower</a:t>
            </a:r>
          </a:p>
        </p:txBody>
      </p:sp>
      <p:sp>
        <p:nvSpPr>
          <p:cNvPr id="4" name="Slide Number Placeholder 3"/>
          <p:cNvSpPr>
            <a:spLocks noGrp="1"/>
          </p:cNvSpPr>
          <p:nvPr>
            <p:ph type="sldNum" sz="quarter" idx="5"/>
          </p:nvPr>
        </p:nvSpPr>
        <p:spPr/>
        <p:txBody>
          <a:bodyPr/>
          <a:lstStyle/>
          <a:p>
            <a:fld id="{B3A96171-A15F-AF4E-B7C5-E1453CAAF64D}" type="slidenum">
              <a:rPr lang="en-US" smtClean="0"/>
              <a:t>29</a:t>
            </a:fld>
            <a:endParaRPr lang="en-US" dirty="0"/>
          </a:p>
        </p:txBody>
      </p:sp>
    </p:spTree>
    <p:extLst>
      <p:ext uri="{BB962C8B-B14F-4D97-AF65-F5344CB8AC3E}">
        <p14:creationId xmlns:p14="http://schemas.microsoft.com/office/powerpoint/2010/main" val="392468897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mparison of positive adjuvant phase 3 trials:</a:t>
            </a:r>
          </a:p>
          <a:p>
            <a:r>
              <a:rPr lang="en-US" dirty="0"/>
              <a:t>- of note, the time point at </a:t>
            </a:r>
            <a:r>
              <a:rPr lang="en-US" dirty="0" err="1"/>
              <a:t>monarchE</a:t>
            </a:r>
            <a:r>
              <a:rPr lang="en-US" dirty="0"/>
              <a:t> of at almost 2 years 3.9%</a:t>
            </a:r>
          </a:p>
          <a:p>
            <a:r>
              <a:rPr lang="en-US" dirty="0"/>
              <a:t>- compared to median fu of 34 </a:t>
            </a:r>
            <a:r>
              <a:rPr lang="en-US" dirty="0" err="1"/>
              <a:t>mo</a:t>
            </a:r>
            <a:r>
              <a:rPr lang="en-US" dirty="0"/>
              <a:t> (only 20% of whom have completed </a:t>
            </a:r>
            <a:r>
              <a:rPr lang="en-US" dirty="0" err="1"/>
              <a:t>ribo</a:t>
            </a:r>
            <a:r>
              <a:rPr lang="en-US" dirty="0"/>
              <a:t>) with 3.3% for </a:t>
            </a:r>
            <a:r>
              <a:rPr lang="en-US" dirty="0" err="1"/>
              <a:t>natalee</a:t>
            </a:r>
            <a:endParaRPr lang="en-US" dirty="0"/>
          </a:p>
          <a:p>
            <a:r>
              <a:rPr lang="en-US" dirty="0"/>
              <a:t>Compared to 3.3% at 3 years for Natalee</a:t>
            </a:r>
          </a:p>
        </p:txBody>
      </p:sp>
      <p:sp>
        <p:nvSpPr>
          <p:cNvPr id="4" name="Slide Number Placeholder 3"/>
          <p:cNvSpPr>
            <a:spLocks noGrp="1"/>
          </p:cNvSpPr>
          <p:nvPr>
            <p:ph type="sldNum" sz="quarter" idx="5"/>
          </p:nvPr>
        </p:nvSpPr>
        <p:spPr/>
        <p:txBody>
          <a:bodyPr/>
          <a:lstStyle/>
          <a:p>
            <a:fld id="{B3A96171-A15F-AF4E-B7C5-E1453CAAF64D}" type="slidenum">
              <a:rPr lang="en-US" smtClean="0"/>
              <a:t>30</a:t>
            </a:fld>
            <a:endParaRPr lang="en-US" dirty="0"/>
          </a:p>
        </p:txBody>
      </p:sp>
    </p:spTree>
    <p:extLst>
      <p:ext uri="{BB962C8B-B14F-4D97-AF65-F5344CB8AC3E}">
        <p14:creationId xmlns:p14="http://schemas.microsoft.com/office/powerpoint/2010/main" val="44330090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3A96171-A15F-AF4E-B7C5-E1453CAAF64D}" type="slidenum">
              <a:rPr lang="en-US" smtClean="0"/>
              <a:t>31</a:t>
            </a:fld>
            <a:endParaRPr lang="en-US" dirty="0"/>
          </a:p>
        </p:txBody>
      </p:sp>
    </p:spTree>
    <p:extLst>
      <p:ext uri="{BB962C8B-B14F-4D97-AF65-F5344CB8AC3E}">
        <p14:creationId xmlns:p14="http://schemas.microsoft.com/office/powerpoint/2010/main" val="5582282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3A96171-A15F-AF4E-B7C5-E1453CAAF64D}" type="slidenum">
              <a:rPr lang="en-US" smtClean="0"/>
              <a:t>3</a:t>
            </a:fld>
            <a:endParaRPr lang="en-US" dirty="0"/>
          </a:p>
        </p:txBody>
      </p:sp>
    </p:spTree>
    <p:extLst>
      <p:ext uri="{BB962C8B-B14F-4D97-AF65-F5344CB8AC3E}">
        <p14:creationId xmlns:p14="http://schemas.microsoft.com/office/powerpoint/2010/main" val="46580537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Slide Number Placeholder 3"/>
          <p:cNvSpPr>
            <a:spLocks noGrp="1"/>
          </p:cNvSpPr>
          <p:nvPr>
            <p:ph type="sldNum" sz="quarter" idx="5"/>
          </p:nvPr>
        </p:nvSpPr>
        <p:spPr/>
        <p:txBody>
          <a:bodyPr/>
          <a:lstStyle/>
          <a:p>
            <a:fld id="{B3A96171-A15F-AF4E-B7C5-E1453CAAF64D}" type="slidenum">
              <a:rPr lang="en-US" smtClean="0"/>
              <a:t>32</a:t>
            </a:fld>
            <a:endParaRPr lang="en-US" dirty="0"/>
          </a:p>
        </p:txBody>
      </p:sp>
    </p:spTree>
    <p:extLst>
      <p:ext uri="{BB962C8B-B14F-4D97-AF65-F5344CB8AC3E}">
        <p14:creationId xmlns:p14="http://schemas.microsoft.com/office/powerpoint/2010/main" val="58087743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R for PFS very similar across all the trials, all roughly ~0.5 </a:t>
            </a:r>
          </a:p>
          <a:p>
            <a:r>
              <a:rPr lang="en-US" dirty="0"/>
              <a:t>However, differences in survival</a:t>
            </a:r>
          </a:p>
          <a:p>
            <a:endParaRPr lang="en-US" dirty="0"/>
          </a:p>
          <a:p>
            <a:r>
              <a:rPr lang="en-US" dirty="0"/>
              <a:t>Paloma 1- phase 2 </a:t>
            </a:r>
          </a:p>
          <a:p>
            <a:r>
              <a:rPr lang="en-US" dirty="0"/>
              <a:t>Paloma 2- phase 3 </a:t>
            </a:r>
          </a:p>
          <a:p>
            <a:endParaRPr lang="en-US" dirty="0"/>
          </a:p>
          <a:p>
            <a:r>
              <a:rPr lang="en-US" dirty="0"/>
              <a:t>Monaleesa trials with significant OS in both post meno Monaleesa 2 trial and pre/peri menopausal Monaleesa 7 trial</a:t>
            </a:r>
          </a:p>
          <a:p>
            <a:r>
              <a:rPr lang="en-US" dirty="0"/>
              <a:t>Monaleesa 3 OS data pends</a:t>
            </a:r>
          </a:p>
          <a:p>
            <a:endParaRPr lang="en-US" dirty="0"/>
          </a:p>
          <a:p>
            <a:r>
              <a:rPr lang="en-US" dirty="0"/>
              <a:t>Monarch 3 OS data was at 2</a:t>
            </a:r>
            <a:r>
              <a:rPr lang="en-US" baseline="30000" dirty="0"/>
              <a:t>nd</a:t>
            </a:r>
            <a:r>
              <a:rPr lang="en-US" dirty="0"/>
              <a:t> interim analysis- despite HR of 0.754 and p 0.031, it did not meet the prespecified threshold for abema superiority- further follow up still ongoing currently</a:t>
            </a:r>
          </a:p>
          <a:p>
            <a:endParaRPr lang="en-US" b="0" i="0" dirty="0">
              <a:solidFill>
                <a:srgbClr val="222222"/>
              </a:solidFill>
              <a:effectLst/>
              <a:latin typeface="-apple-system"/>
            </a:endParaRPr>
          </a:p>
          <a:p>
            <a:endParaRPr lang="en-US" dirty="0"/>
          </a:p>
        </p:txBody>
      </p:sp>
      <p:sp>
        <p:nvSpPr>
          <p:cNvPr id="4" name="Slide Number Placeholder 3"/>
          <p:cNvSpPr>
            <a:spLocks noGrp="1"/>
          </p:cNvSpPr>
          <p:nvPr>
            <p:ph type="sldNum" sz="quarter" idx="5"/>
          </p:nvPr>
        </p:nvSpPr>
        <p:spPr/>
        <p:txBody>
          <a:bodyPr/>
          <a:lstStyle/>
          <a:p>
            <a:fld id="{B3A96171-A15F-AF4E-B7C5-E1453CAAF64D}" type="slidenum">
              <a:rPr lang="en-US" smtClean="0"/>
              <a:t>33</a:t>
            </a:fld>
            <a:endParaRPr lang="en-US" dirty="0"/>
          </a:p>
        </p:txBody>
      </p:sp>
    </p:spTree>
    <p:extLst>
      <p:ext uri="{BB962C8B-B14F-4D97-AF65-F5344CB8AC3E}">
        <p14:creationId xmlns:p14="http://schemas.microsoft.com/office/powerpoint/2010/main" val="91689117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lide is borrowed from  from Dr. O’regan discussion at ASCO this year, debating if all CDK 4/6 </a:t>
            </a:r>
            <a:r>
              <a:rPr lang="en-US" dirty="0" err="1"/>
              <a:t>ihibitors</a:t>
            </a:r>
            <a:r>
              <a:rPr lang="en-US" dirty="0"/>
              <a:t> are the same</a:t>
            </a:r>
          </a:p>
          <a:p>
            <a:endParaRPr lang="en-US" dirty="0"/>
          </a:p>
          <a:p>
            <a:r>
              <a:rPr lang="en-US" dirty="0"/>
              <a:t>With all the limitations in cross trial comparisons, it is interesting that in looking at overall survival, the initial PFS benefit with </a:t>
            </a:r>
            <a:r>
              <a:rPr lang="en-US" dirty="0" err="1"/>
              <a:t>palbociclib</a:t>
            </a:r>
            <a:r>
              <a:rPr lang="en-US" dirty="0"/>
              <a:t> narrowed and was not statistically significant. </a:t>
            </a:r>
          </a:p>
          <a:p>
            <a:r>
              <a:rPr lang="en-US" dirty="0"/>
              <a:t>Highlighted is the ET alone control arm, showing little variation here in outcomes- suggesting not the trial design but possibly the drug may behave differently. </a:t>
            </a:r>
          </a:p>
          <a:p>
            <a:r>
              <a:rPr lang="en-US" dirty="0"/>
              <a:t>Less CDK4 activity than </a:t>
            </a:r>
            <a:r>
              <a:rPr lang="en-US" dirty="0" err="1"/>
              <a:t>abema</a:t>
            </a:r>
            <a:r>
              <a:rPr lang="en-US" dirty="0"/>
              <a:t> or </a:t>
            </a:r>
            <a:r>
              <a:rPr lang="en-US" dirty="0" err="1"/>
              <a:t>ribo</a:t>
            </a:r>
            <a:r>
              <a:rPr lang="en-US" dirty="0"/>
              <a:t> and not as unbound in the circulation like </a:t>
            </a:r>
            <a:r>
              <a:rPr lang="en-US" dirty="0" err="1"/>
              <a:t>ribo</a:t>
            </a:r>
            <a:r>
              <a:rPr lang="en-US" dirty="0"/>
              <a:t>?</a:t>
            </a:r>
          </a:p>
          <a:p>
            <a:endParaRPr lang="en-US" dirty="0"/>
          </a:p>
          <a:p>
            <a:r>
              <a:rPr lang="en-US" dirty="0"/>
              <a:t>Trial design? Population? Drug? </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Harmonia trial: prospective phase 3 looking at </a:t>
            </a:r>
            <a:r>
              <a:rPr lang="en-US" sz="1200" dirty="0" err="1"/>
              <a:t>palbo</a:t>
            </a:r>
            <a:r>
              <a:rPr lang="en-US" sz="1200" dirty="0"/>
              <a:t> vs </a:t>
            </a:r>
            <a:r>
              <a:rPr lang="en-US" sz="1200" dirty="0" err="1"/>
              <a:t>ribo</a:t>
            </a:r>
            <a:r>
              <a:rPr lang="en-US" sz="1200" dirty="0"/>
              <a:t> in 1L ER+ HER2- that on PAM 50 has a HER2 enriched subtype</a:t>
            </a:r>
          </a:p>
          <a:p>
            <a:endParaRPr lang="en-US" dirty="0"/>
          </a:p>
          <a:p>
            <a:endParaRPr lang="en-US" dirty="0"/>
          </a:p>
          <a:p>
            <a:r>
              <a:rPr lang="en-US" dirty="0"/>
              <a:t>Much discussion about Paloma 2 trial and why OS not seen. </a:t>
            </a:r>
          </a:p>
          <a:p>
            <a:pPr marL="228600" indent="-228600">
              <a:buAutoNum type="arabicPeriod"/>
            </a:pPr>
            <a:r>
              <a:rPr lang="en-US" dirty="0"/>
              <a:t>Missing survival data: 13% in </a:t>
            </a:r>
            <a:r>
              <a:rPr lang="en-US" dirty="0" err="1"/>
              <a:t>plabo</a:t>
            </a:r>
            <a:r>
              <a:rPr lang="en-US" dirty="0"/>
              <a:t> arm and 21% in placebo arm- due to patients who were lost to fu or censored</a:t>
            </a:r>
          </a:p>
          <a:p>
            <a:pPr marL="685800" lvl="1" indent="-228600">
              <a:buAutoNum type="arabicPeriod"/>
            </a:pPr>
            <a:r>
              <a:rPr lang="en-US" dirty="0"/>
              <a:t>However even when sensitivity analysis performed to adjust for this data still not statistical significance for OS</a:t>
            </a:r>
          </a:p>
          <a:p>
            <a:pPr marL="228600" indent="-228600">
              <a:buAutoNum type="arabicPeriod"/>
            </a:pPr>
            <a:r>
              <a:rPr lang="en-US" dirty="0"/>
              <a:t>Real world analysis find PFS and OS benefits for palbo + letrozole over letrozole </a:t>
            </a:r>
          </a:p>
          <a:p>
            <a:pPr marL="228600" indent="-228600">
              <a:buAutoNum type="arabicPeriod" startAt="3"/>
            </a:pPr>
            <a:r>
              <a:rPr lang="en-US" b="0" dirty="0"/>
              <a:t>At progression in Monaleesa 2, a higher percentage received subsequent CDK 4/6 inhibitor (22% in ribo arm, and 34% in AI arm). </a:t>
            </a:r>
          </a:p>
          <a:p>
            <a:pPr marL="0" indent="0">
              <a:buNone/>
            </a:pPr>
            <a:r>
              <a:rPr lang="en-US" b="0" dirty="0"/>
              <a:t>In Paloma 2- only 12% from palbo arm and 27% from letrozole arm received subsequent CDK 4/6 inhibitor.</a:t>
            </a:r>
          </a:p>
          <a:p>
            <a:pPr marL="0" indent="0">
              <a:buNone/>
            </a:pPr>
            <a:r>
              <a:rPr lang="en-US" b="0" dirty="0"/>
              <a:t>Majority in both received subsequent Palbociclib. </a:t>
            </a:r>
          </a:p>
          <a:p>
            <a:pPr marL="0" indent="0">
              <a:buNone/>
            </a:pPr>
            <a:r>
              <a:rPr lang="en-US" b="0" dirty="0"/>
              <a:t>Learning that palbo after palbo per PACE unlikely to derive benefit</a:t>
            </a:r>
          </a:p>
          <a:p>
            <a:pPr marL="0" indent="0">
              <a:buNone/>
            </a:pPr>
            <a:r>
              <a:rPr lang="en-US" b="0" dirty="0"/>
              <a:t>Though in Maintain going from palbo to ribo did result in some benefit, and so possibly switching CDK 4/6 inhib led to better outcomes for those in Monaleesa who received subsequent line CDK 4/6 inhib (palbo). </a:t>
            </a:r>
          </a:p>
          <a:p>
            <a:pPr marL="228600" indent="-228600">
              <a:buAutoNum type="arabicPeriod" startAt="4"/>
            </a:pPr>
            <a:r>
              <a:rPr lang="en-US" b="0" dirty="0"/>
              <a:t>More Asian patients in Paloma 2 (14.3%) vs Monaleesa-2 (7.6%). Who may have increased toxicity with CDK 4/6 inhib due to slower drug clearance</a:t>
            </a:r>
          </a:p>
          <a:p>
            <a:pPr marL="228600" indent="-228600">
              <a:buAutoNum type="arabicPeriod" startAt="4"/>
            </a:pPr>
            <a:r>
              <a:rPr lang="en-US" b="0" dirty="0"/>
              <a:t>Possibly less endocrine sensitive patients in Paloma-2- where 40%had a DFI of 1 year, though in Monaleesa2 60% had a DFI longer than 2 years</a:t>
            </a:r>
          </a:p>
          <a:p>
            <a:pPr marL="228600" indent="-228600">
              <a:buAutoNum type="arabicPeriod" startAt="4"/>
            </a:pPr>
            <a:r>
              <a:rPr lang="en-US" b="0" dirty="0"/>
              <a:t>Unlikely due to different characteristics of trial populations given- same ET control arm outcomes and when use same definition of DFI &lt;12 months for both, roughly equal numbers.</a:t>
            </a:r>
          </a:p>
          <a:p>
            <a:pPr marL="0" indent="0">
              <a:buNone/>
            </a:pPr>
            <a:endParaRPr lang="en-US" b="0" dirty="0"/>
          </a:p>
          <a:p>
            <a:pPr marL="0" indent="0">
              <a:buNone/>
            </a:pPr>
            <a:endParaRPr lang="en-US" b="0" dirty="0"/>
          </a:p>
        </p:txBody>
      </p:sp>
      <p:sp>
        <p:nvSpPr>
          <p:cNvPr id="4" name="Slide Number Placeholder 3"/>
          <p:cNvSpPr>
            <a:spLocks noGrp="1"/>
          </p:cNvSpPr>
          <p:nvPr>
            <p:ph type="sldNum" sz="quarter" idx="5"/>
          </p:nvPr>
        </p:nvSpPr>
        <p:spPr/>
        <p:txBody>
          <a:bodyPr/>
          <a:lstStyle/>
          <a:p>
            <a:fld id="{B3A96171-A15F-AF4E-B7C5-E1453CAAF64D}" type="slidenum">
              <a:rPr lang="en-US" smtClean="0"/>
              <a:t>34</a:t>
            </a:fld>
            <a:endParaRPr lang="en-US" dirty="0"/>
          </a:p>
        </p:txBody>
      </p:sp>
    </p:spTree>
    <p:extLst>
      <p:ext uri="{BB962C8B-B14F-4D97-AF65-F5344CB8AC3E}">
        <p14:creationId xmlns:p14="http://schemas.microsoft.com/office/powerpoint/2010/main" val="146397286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compelling study looking at 1L with a CDK4/6 inhibitor + ET compared to chemotherapy in those with aggressive disease. </a:t>
            </a:r>
          </a:p>
          <a:p>
            <a:endParaRPr lang="en-US" dirty="0"/>
          </a:p>
          <a:p>
            <a:r>
              <a:rPr lang="en-US" dirty="0"/>
              <a:t>Inclusion criteria: </a:t>
            </a:r>
          </a:p>
          <a:p>
            <a:r>
              <a:rPr lang="en-US" dirty="0"/>
              <a:t>Pre menopausal</a:t>
            </a:r>
          </a:p>
          <a:p>
            <a:r>
              <a:rPr lang="en-US" dirty="0"/>
              <a:t>Advanced ER+ breast cancer, no prior tx in ABC setting</a:t>
            </a:r>
          </a:p>
          <a:p>
            <a:r>
              <a:rPr lang="en-US" dirty="0"/>
              <a:t>Aggressive disease</a:t>
            </a:r>
          </a:p>
          <a:p>
            <a:endParaRPr lang="en-US" dirty="0"/>
          </a:p>
          <a:p>
            <a:r>
              <a:rPr lang="en-US" dirty="0"/>
              <a:t>Primary endpoint….PFS</a:t>
            </a:r>
          </a:p>
          <a:p>
            <a:r>
              <a:rPr lang="en-US" dirty="0"/>
              <a:t>Key secondary endpoints listed here</a:t>
            </a:r>
          </a:p>
          <a:p>
            <a:endParaRPr lang="en-US" dirty="0"/>
          </a:p>
        </p:txBody>
      </p:sp>
      <p:sp>
        <p:nvSpPr>
          <p:cNvPr id="4" name="Slide Number Placeholder 3"/>
          <p:cNvSpPr>
            <a:spLocks noGrp="1"/>
          </p:cNvSpPr>
          <p:nvPr>
            <p:ph type="sldNum" sz="quarter" idx="5"/>
          </p:nvPr>
        </p:nvSpPr>
        <p:spPr/>
        <p:txBody>
          <a:bodyPr/>
          <a:lstStyle/>
          <a:p>
            <a:fld id="{B3A96171-A15F-AF4E-B7C5-E1453CAAF64D}" type="slidenum">
              <a:rPr lang="en-US" smtClean="0"/>
              <a:t>35</a:t>
            </a:fld>
            <a:endParaRPr lang="en-US" dirty="0"/>
          </a:p>
        </p:txBody>
      </p:sp>
    </p:spTree>
    <p:extLst>
      <p:ext uri="{BB962C8B-B14F-4D97-AF65-F5344CB8AC3E}">
        <p14:creationId xmlns:p14="http://schemas.microsoft.com/office/powerpoint/2010/main" val="398365781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4708" indent="-174708">
              <a:buFontTx/>
              <a:buChar char="-"/>
            </a:pPr>
            <a:r>
              <a:rPr lang="en-US" dirty="0"/>
              <a:t>Majority are over 40 years old</a:t>
            </a:r>
          </a:p>
          <a:p>
            <a:pPr marL="174708" indent="-174708">
              <a:buFontTx/>
              <a:buChar char="-"/>
            </a:pPr>
            <a:r>
              <a:rPr lang="en-US" dirty="0"/>
              <a:t>With G2/3 histology</a:t>
            </a:r>
          </a:p>
          <a:p>
            <a:pPr marL="174708" indent="-174708">
              <a:buFontTx/>
              <a:buChar char="-"/>
            </a:pPr>
            <a:r>
              <a:rPr lang="en-US" dirty="0"/>
              <a:t>ER over 50% in the majority of cases</a:t>
            </a:r>
          </a:p>
          <a:p>
            <a:pPr marL="174708" indent="-174708">
              <a:buFontTx/>
              <a:buChar char="-"/>
            </a:pPr>
            <a:r>
              <a:rPr lang="en-US" dirty="0" err="1"/>
              <a:t>Denovo</a:t>
            </a:r>
            <a:r>
              <a:rPr lang="en-US" dirty="0"/>
              <a:t> MBC in ~70% of cases</a:t>
            </a:r>
          </a:p>
          <a:p>
            <a:pPr marL="0" indent="0">
              <a:buFontTx/>
              <a:buNone/>
            </a:pPr>
            <a:r>
              <a:rPr lang="en-US" dirty="0"/>
              <a:t>Aggressive disease characteristics:</a:t>
            </a:r>
          </a:p>
          <a:p>
            <a:pPr marL="0" indent="0">
              <a:buFontTx/>
              <a:buNone/>
            </a:pPr>
            <a:endParaRPr lang="en-US" dirty="0"/>
          </a:p>
          <a:p>
            <a:pPr marL="174708" indent="-174708">
              <a:buFontTx/>
              <a:buChar char="-"/>
            </a:pPr>
            <a:r>
              <a:rPr lang="en-US" dirty="0"/>
              <a:t>Also that 66-69% had symptomatic visceral metastases and </a:t>
            </a:r>
          </a:p>
          <a:p>
            <a:pPr marL="174708" indent="-174708">
              <a:buFontTx/>
              <a:buChar char="-"/>
            </a:pPr>
            <a:r>
              <a:rPr lang="en-US" dirty="0"/>
              <a:t>54-55% had visceral crisis</a:t>
            </a:r>
          </a:p>
          <a:p>
            <a:endParaRPr lang="en-US" dirty="0"/>
          </a:p>
          <a:p>
            <a:r>
              <a:rPr lang="en-US" dirty="0"/>
              <a:t>Certainly h </a:t>
            </a:r>
            <a:r>
              <a:rPr lang="en-US" dirty="0" err="1"/>
              <a:t>igh</a:t>
            </a:r>
            <a:r>
              <a:rPr lang="en-US" dirty="0"/>
              <a:t> risk where traditionally consideration for CT had</a:t>
            </a:r>
          </a:p>
        </p:txBody>
      </p:sp>
      <p:sp>
        <p:nvSpPr>
          <p:cNvPr id="4" name="Slide Number Placeholder 3"/>
          <p:cNvSpPr>
            <a:spLocks noGrp="1"/>
          </p:cNvSpPr>
          <p:nvPr>
            <p:ph type="sldNum" sz="quarter" idx="5"/>
          </p:nvPr>
        </p:nvSpPr>
        <p:spPr/>
        <p:txBody>
          <a:bodyPr/>
          <a:lstStyle/>
          <a:p>
            <a:fld id="{B3A96171-A15F-AF4E-B7C5-E1453CAAF64D}" type="slidenum">
              <a:rPr lang="en-US" smtClean="0"/>
              <a:t>36</a:t>
            </a:fld>
            <a:endParaRPr lang="en-US" dirty="0"/>
          </a:p>
        </p:txBody>
      </p:sp>
    </p:spTree>
    <p:extLst>
      <p:ext uri="{BB962C8B-B14F-4D97-AF65-F5344CB8AC3E}">
        <p14:creationId xmlns:p14="http://schemas.microsoft.com/office/powerpoint/2010/main" val="372638842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rimary endpoint of PFS:</a:t>
            </a:r>
          </a:p>
          <a:p>
            <a:r>
              <a:rPr lang="en-US" dirty="0"/>
              <a:t>Ribociclib + AI + goserelin mPFS 24.0 months</a:t>
            </a:r>
          </a:p>
          <a:p>
            <a:r>
              <a:rPr lang="en-US" dirty="0"/>
              <a:t>Doublet CT: 12.3 months</a:t>
            </a:r>
          </a:p>
          <a:p>
            <a:endParaRPr lang="en-US" dirty="0"/>
          </a:p>
          <a:p>
            <a:r>
              <a:rPr lang="en-US" dirty="0"/>
              <a:t>HR of 0.54</a:t>
            </a:r>
          </a:p>
          <a:p>
            <a:endParaRPr lang="en-US" dirty="0"/>
          </a:p>
        </p:txBody>
      </p:sp>
      <p:sp>
        <p:nvSpPr>
          <p:cNvPr id="4" name="Slide Number Placeholder 3"/>
          <p:cNvSpPr>
            <a:spLocks noGrp="1"/>
          </p:cNvSpPr>
          <p:nvPr>
            <p:ph type="sldNum" sz="quarter" idx="5"/>
          </p:nvPr>
        </p:nvSpPr>
        <p:spPr/>
        <p:txBody>
          <a:bodyPr/>
          <a:lstStyle/>
          <a:p>
            <a:fld id="{B3A96171-A15F-AF4E-B7C5-E1453CAAF64D}" type="slidenum">
              <a:rPr lang="en-US" smtClean="0"/>
              <a:t>37</a:t>
            </a:fld>
            <a:endParaRPr lang="en-US" dirty="0"/>
          </a:p>
        </p:txBody>
      </p:sp>
    </p:spTree>
    <p:extLst>
      <p:ext uri="{BB962C8B-B14F-4D97-AF65-F5344CB8AC3E}">
        <p14:creationId xmlns:p14="http://schemas.microsoft.com/office/powerpoint/2010/main" val="102581487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verall with promising responses on secondary endpoints:</a:t>
            </a:r>
          </a:p>
          <a:p>
            <a:endParaRPr lang="en-US" dirty="0"/>
          </a:p>
          <a:p>
            <a:r>
              <a:rPr lang="en-US" dirty="0"/>
              <a:t>LEFT: Longer time to treatment failure. 18.6 mo with ribo + ET vs 8.5 mo with combination CT for about a 10 month longer duration </a:t>
            </a:r>
          </a:p>
          <a:p>
            <a:endParaRPr lang="en-US" dirty="0"/>
          </a:p>
          <a:p>
            <a:r>
              <a:rPr lang="en-US" dirty="0"/>
              <a:t>RIGHT: Time to treatment response:  Overall similar</a:t>
            </a:r>
          </a:p>
          <a:p>
            <a:endParaRPr lang="en-US" dirty="0"/>
          </a:p>
          <a:p>
            <a:endParaRPr lang="en-US" dirty="0"/>
          </a:p>
          <a:p>
            <a:r>
              <a:rPr lang="en-US" dirty="0"/>
              <a:t>Benefit with </a:t>
            </a:r>
            <a:r>
              <a:rPr lang="en-US" dirty="0" err="1"/>
              <a:t>ribociclib</a:t>
            </a:r>
            <a:r>
              <a:rPr lang="en-US" dirty="0"/>
              <a:t> and ET was also seen with ORR and clinical benefit rate: </a:t>
            </a:r>
          </a:p>
          <a:p>
            <a:r>
              <a:rPr lang="en-US" dirty="0"/>
              <a:t>Lastly, TRAE were overall lower in the ribo + ET over chemotherapy groups. </a:t>
            </a:r>
          </a:p>
          <a:p>
            <a:endParaRPr lang="en-US" dirty="0"/>
          </a:p>
        </p:txBody>
      </p:sp>
      <p:sp>
        <p:nvSpPr>
          <p:cNvPr id="4" name="Slide Number Placeholder 3"/>
          <p:cNvSpPr>
            <a:spLocks noGrp="1"/>
          </p:cNvSpPr>
          <p:nvPr>
            <p:ph type="sldNum" sz="quarter" idx="5"/>
          </p:nvPr>
        </p:nvSpPr>
        <p:spPr/>
        <p:txBody>
          <a:bodyPr/>
          <a:lstStyle/>
          <a:p>
            <a:fld id="{B3A96171-A15F-AF4E-B7C5-E1453CAAF64D}" type="slidenum">
              <a:rPr lang="en-US" smtClean="0"/>
              <a:t>38</a:t>
            </a:fld>
            <a:endParaRPr lang="en-US" dirty="0"/>
          </a:p>
        </p:txBody>
      </p:sp>
    </p:spTree>
    <p:extLst>
      <p:ext uri="{BB962C8B-B14F-4D97-AF65-F5344CB8AC3E}">
        <p14:creationId xmlns:p14="http://schemas.microsoft.com/office/powerpoint/2010/main" val="167151908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Debate ongoing in terms of differences amongst CDK 4/6 inhibitors</a:t>
            </a:r>
          </a:p>
          <a:p>
            <a:endParaRPr lang="en-US" dirty="0"/>
          </a:p>
        </p:txBody>
      </p:sp>
      <p:sp>
        <p:nvSpPr>
          <p:cNvPr id="4" name="Slide Number Placeholder 3"/>
          <p:cNvSpPr>
            <a:spLocks noGrp="1"/>
          </p:cNvSpPr>
          <p:nvPr>
            <p:ph type="sldNum" sz="quarter" idx="5"/>
          </p:nvPr>
        </p:nvSpPr>
        <p:spPr/>
        <p:txBody>
          <a:bodyPr/>
          <a:lstStyle/>
          <a:p>
            <a:fld id="{B3A96171-A15F-AF4E-B7C5-E1453CAAF64D}" type="slidenum">
              <a:rPr lang="en-US" smtClean="0"/>
              <a:t>39</a:t>
            </a:fld>
            <a:endParaRPr lang="en-US" dirty="0"/>
          </a:p>
        </p:txBody>
      </p:sp>
    </p:spTree>
    <p:extLst>
      <p:ext uri="{BB962C8B-B14F-4D97-AF65-F5344CB8AC3E}">
        <p14:creationId xmlns:p14="http://schemas.microsoft.com/office/powerpoint/2010/main" val="101803690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Slide Number Placeholder 3"/>
          <p:cNvSpPr>
            <a:spLocks noGrp="1"/>
          </p:cNvSpPr>
          <p:nvPr>
            <p:ph type="sldNum" sz="quarter" idx="5"/>
          </p:nvPr>
        </p:nvSpPr>
        <p:spPr/>
        <p:txBody>
          <a:bodyPr/>
          <a:lstStyle/>
          <a:p>
            <a:fld id="{B3A96171-A15F-AF4E-B7C5-E1453CAAF64D}" type="slidenum">
              <a:rPr lang="en-US" smtClean="0"/>
              <a:t>40</a:t>
            </a:fld>
            <a:endParaRPr lang="en-US" dirty="0"/>
          </a:p>
        </p:txBody>
      </p:sp>
    </p:spTree>
    <p:extLst>
      <p:ext uri="{BB962C8B-B14F-4D97-AF65-F5344CB8AC3E}">
        <p14:creationId xmlns:p14="http://schemas.microsoft.com/office/powerpoint/2010/main" val="423233735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almira trial aims to determine if maintaining Palbociclib with an alternative ET improves the antitumor activity of 2L ET in </a:t>
            </a:r>
            <a:r>
              <a:rPr lang="en-US" dirty="0" err="1"/>
              <a:t>patietns</a:t>
            </a:r>
            <a:r>
              <a:rPr lang="en-US" dirty="0"/>
              <a:t> with HR+ HER2- ABC progressing on a 1L palbo regimen</a:t>
            </a:r>
          </a:p>
          <a:p>
            <a:endParaRPr lang="en-US" dirty="0"/>
          </a:p>
        </p:txBody>
      </p:sp>
      <p:sp>
        <p:nvSpPr>
          <p:cNvPr id="4" name="Slide Number Placeholder 3"/>
          <p:cNvSpPr>
            <a:spLocks noGrp="1"/>
          </p:cNvSpPr>
          <p:nvPr>
            <p:ph type="sldNum" sz="quarter" idx="5"/>
          </p:nvPr>
        </p:nvSpPr>
        <p:spPr/>
        <p:txBody>
          <a:bodyPr/>
          <a:lstStyle/>
          <a:p>
            <a:fld id="{B3A96171-A15F-AF4E-B7C5-E1453CAAF64D}" type="slidenum">
              <a:rPr lang="en-US" smtClean="0"/>
              <a:t>41</a:t>
            </a:fld>
            <a:endParaRPr lang="en-US" dirty="0"/>
          </a:p>
        </p:txBody>
      </p:sp>
    </p:spTree>
    <p:extLst>
      <p:ext uri="{BB962C8B-B14F-4D97-AF65-F5344CB8AC3E}">
        <p14:creationId xmlns:p14="http://schemas.microsoft.com/office/powerpoint/2010/main" val="21243016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3A96171-A15F-AF4E-B7C5-E1453CAAF64D}" type="slidenum">
              <a:rPr lang="en-US" smtClean="0"/>
              <a:t>4</a:t>
            </a:fld>
            <a:endParaRPr lang="en-US" dirty="0"/>
          </a:p>
        </p:txBody>
      </p:sp>
    </p:spTree>
    <p:extLst>
      <p:ext uri="{BB962C8B-B14F-4D97-AF65-F5344CB8AC3E}">
        <p14:creationId xmlns:p14="http://schemas.microsoft.com/office/powerpoint/2010/main" val="312573044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3A96171-A15F-AF4E-B7C5-E1453CAAF64D}" type="slidenum">
              <a:rPr lang="en-US" smtClean="0"/>
              <a:t>42</a:t>
            </a:fld>
            <a:endParaRPr lang="en-US" dirty="0"/>
          </a:p>
        </p:txBody>
      </p:sp>
    </p:spTree>
    <p:extLst>
      <p:ext uri="{BB962C8B-B14F-4D97-AF65-F5344CB8AC3E}">
        <p14:creationId xmlns:p14="http://schemas.microsoft.com/office/powerpoint/2010/main" val="230125188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ting pre and post menopausal populations are balanced</a:t>
            </a:r>
          </a:p>
          <a:p>
            <a:endParaRPr lang="en-US" dirty="0"/>
          </a:p>
        </p:txBody>
      </p:sp>
      <p:sp>
        <p:nvSpPr>
          <p:cNvPr id="4" name="Slide Number Placeholder 3"/>
          <p:cNvSpPr>
            <a:spLocks noGrp="1"/>
          </p:cNvSpPr>
          <p:nvPr>
            <p:ph type="sldNum" sz="quarter" idx="5"/>
          </p:nvPr>
        </p:nvSpPr>
        <p:spPr/>
        <p:txBody>
          <a:bodyPr/>
          <a:lstStyle/>
          <a:p>
            <a:fld id="{B3A96171-A15F-AF4E-B7C5-E1453CAAF64D}" type="slidenum">
              <a:rPr lang="en-US" smtClean="0"/>
              <a:t>43</a:t>
            </a:fld>
            <a:endParaRPr lang="en-US" dirty="0"/>
          </a:p>
        </p:txBody>
      </p:sp>
    </p:spTree>
    <p:extLst>
      <p:ext uri="{BB962C8B-B14F-4D97-AF65-F5344CB8AC3E}">
        <p14:creationId xmlns:p14="http://schemas.microsoft.com/office/powerpoint/2010/main" val="172754100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lso well matched between prior ET combined with </a:t>
            </a:r>
            <a:r>
              <a:rPr lang="en-US" dirty="0" err="1"/>
              <a:t>palbo</a:t>
            </a:r>
            <a:r>
              <a:rPr lang="en-US" dirty="0"/>
              <a:t>: -  those with AI as the prior ET in combination with </a:t>
            </a:r>
            <a:r>
              <a:rPr lang="en-US" dirty="0" err="1"/>
              <a:t>palbo</a:t>
            </a:r>
            <a:r>
              <a:rPr lang="en-US" dirty="0"/>
              <a:t> as the majority in both. </a:t>
            </a:r>
          </a:p>
          <a:p>
            <a:r>
              <a:rPr lang="en-US" dirty="0"/>
              <a:t>And with duration of 1L </a:t>
            </a:r>
            <a:r>
              <a:rPr lang="en-US" dirty="0" err="1"/>
              <a:t>palbo</a:t>
            </a:r>
            <a:r>
              <a:rPr lang="en-US" dirty="0"/>
              <a:t> 12+ months or more in around 85% in both groups</a:t>
            </a:r>
          </a:p>
          <a:p>
            <a:endParaRPr lang="en-US" dirty="0"/>
          </a:p>
        </p:txBody>
      </p:sp>
      <p:sp>
        <p:nvSpPr>
          <p:cNvPr id="4" name="Slide Number Placeholder 3"/>
          <p:cNvSpPr>
            <a:spLocks noGrp="1"/>
          </p:cNvSpPr>
          <p:nvPr>
            <p:ph type="sldNum" sz="quarter" idx="5"/>
          </p:nvPr>
        </p:nvSpPr>
        <p:spPr/>
        <p:txBody>
          <a:bodyPr/>
          <a:lstStyle/>
          <a:p>
            <a:fld id="{B3A96171-A15F-AF4E-B7C5-E1453CAAF64D}" type="slidenum">
              <a:rPr lang="en-US" smtClean="0"/>
              <a:t>44</a:t>
            </a:fld>
            <a:endParaRPr lang="en-US" dirty="0"/>
          </a:p>
        </p:txBody>
      </p:sp>
    </p:spTree>
    <p:extLst>
      <p:ext uri="{BB962C8B-B14F-4D97-AF65-F5344CB8AC3E}">
        <p14:creationId xmlns:p14="http://schemas.microsoft.com/office/powerpoint/2010/main" val="249138286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Palbo</a:t>
            </a:r>
            <a:r>
              <a:rPr lang="en-US" dirty="0"/>
              <a:t> maintenance with switched ET shown in the red line had 6 month widening initially though at 12 months had no difference compared to PFS with switched ET alone</a:t>
            </a:r>
          </a:p>
          <a:p>
            <a:endParaRPr lang="en-US" dirty="0"/>
          </a:p>
        </p:txBody>
      </p:sp>
      <p:sp>
        <p:nvSpPr>
          <p:cNvPr id="4" name="Slide Number Placeholder 3"/>
          <p:cNvSpPr>
            <a:spLocks noGrp="1"/>
          </p:cNvSpPr>
          <p:nvPr>
            <p:ph type="sldNum" sz="quarter" idx="5"/>
          </p:nvPr>
        </p:nvSpPr>
        <p:spPr/>
        <p:txBody>
          <a:bodyPr/>
          <a:lstStyle/>
          <a:p>
            <a:fld id="{B3A96171-A15F-AF4E-B7C5-E1453CAAF64D}" type="slidenum">
              <a:rPr lang="en-US" smtClean="0"/>
              <a:t>45</a:t>
            </a:fld>
            <a:endParaRPr lang="en-US" dirty="0"/>
          </a:p>
        </p:txBody>
      </p:sp>
    </p:spTree>
    <p:extLst>
      <p:ext uri="{BB962C8B-B14F-4D97-AF65-F5344CB8AC3E}">
        <p14:creationId xmlns:p14="http://schemas.microsoft.com/office/powerpoint/2010/main" val="10645442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 with OS, the lines are completely superimposed showing no difference in between the two arms. </a:t>
            </a:r>
          </a:p>
          <a:p>
            <a:endParaRPr lang="en-US" dirty="0"/>
          </a:p>
          <a:p>
            <a:r>
              <a:rPr lang="en-US" dirty="0"/>
              <a:t>Continuing </a:t>
            </a:r>
            <a:r>
              <a:rPr lang="en-US" dirty="0" err="1"/>
              <a:t>palbo</a:t>
            </a:r>
            <a:r>
              <a:rPr lang="en-US" dirty="0"/>
              <a:t> at progression with little benefit. </a:t>
            </a:r>
          </a:p>
          <a:p>
            <a:endParaRPr lang="en-US" dirty="0"/>
          </a:p>
        </p:txBody>
      </p:sp>
      <p:sp>
        <p:nvSpPr>
          <p:cNvPr id="4" name="Slide Number Placeholder 3"/>
          <p:cNvSpPr>
            <a:spLocks noGrp="1"/>
          </p:cNvSpPr>
          <p:nvPr>
            <p:ph type="sldNum" sz="quarter" idx="5"/>
          </p:nvPr>
        </p:nvSpPr>
        <p:spPr/>
        <p:txBody>
          <a:bodyPr/>
          <a:lstStyle/>
          <a:p>
            <a:fld id="{B3A96171-A15F-AF4E-B7C5-E1453CAAF64D}" type="slidenum">
              <a:rPr lang="en-US" smtClean="0"/>
              <a:t>46</a:t>
            </a:fld>
            <a:endParaRPr lang="en-US" dirty="0"/>
          </a:p>
        </p:txBody>
      </p:sp>
    </p:spTree>
    <p:extLst>
      <p:ext uri="{BB962C8B-B14F-4D97-AF65-F5344CB8AC3E}">
        <p14:creationId xmlns:p14="http://schemas.microsoft.com/office/powerpoint/2010/main" val="29348481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ace trial was phase II-again looked at continuing Palbociclib with </a:t>
            </a:r>
            <a:r>
              <a:rPr lang="en-US" dirty="0" err="1"/>
              <a:t>fulvestrant</a:t>
            </a:r>
            <a:r>
              <a:rPr lang="en-US" dirty="0"/>
              <a:t> after progression on prior CDK 4/6 </a:t>
            </a:r>
            <a:r>
              <a:rPr lang="en-US" dirty="0" err="1"/>
              <a:t>inhib</a:t>
            </a:r>
            <a:r>
              <a:rPr lang="en-US" dirty="0"/>
              <a:t> (majority </a:t>
            </a:r>
            <a:r>
              <a:rPr lang="en-US" dirty="0" err="1"/>
              <a:t>palbo</a:t>
            </a:r>
            <a:r>
              <a:rPr lang="en-US" dirty="0"/>
              <a:t>) and AI. And did not find a PFS benefit. </a:t>
            </a:r>
          </a:p>
          <a:p>
            <a:endParaRPr lang="en-US" dirty="0"/>
          </a:p>
          <a:p>
            <a:endParaRPr lang="en-US" dirty="0"/>
          </a:p>
          <a:p>
            <a:r>
              <a:rPr lang="en-US" dirty="0"/>
              <a:t>Maintain trial phase II- 119 patients on CDK 4/6 </a:t>
            </a:r>
            <a:r>
              <a:rPr lang="en-US" dirty="0" err="1"/>
              <a:t>inhib</a:t>
            </a:r>
            <a:r>
              <a:rPr lang="en-US" dirty="0"/>
              <a:t> + ET who progressed, then randomized to </a:t>
            </a:r>
            <a:r>
              <a:rPr lang="en-US" dirty="0" err="1"/>
              <a:t>fulvestrant</a:t>
            </a:r>
            <a:r>
              <a:rPr lang="en-US" dirty="0"/>
              <a:t> or exemestane with or without </a:t>
            </a:r>
            <a:r>
              <a:rPr lang="en-US" dirty="0" err="1"/>
              <a:t>ribo</a:t>
            </a:r>
            <a:r>
              <a:rPr lang="en-US" dirty="0"/>
              <a:t>. This majority of the cohort in the Maintain trial CDK 4/6 </a:t>
            </a:r>
            <a:r>
              <a:rPr lang="en-US" dirty="0" err="1"/>
              <a:t>inhib</a:t>
            </a:r>
            <a:r>
              <a:rPr lang="en-US" dirty="0"/>
              <a:t> was Palbociclib so was interesting to see what happens when switch the CDK 4/6 </a:t>
            </a:r>
            <a:r>
              <a:rPr lang="en-US" dirty="0" err="1"/>
              <a:t>inhbi</a:t>
            </a:r>
            <a:r>
              <a:rPr lang="en-US" dirty="0"/>
              <a:t> at progression. Median PFS was significantly longer in </a:t>
            </a:r>
            <a:r>
              <a:rPr lang="en-US" dirty="0" err="1"/>
              <a:t>ribo</a:t>
            </a:r>
            <a:r>
              <a:rPr lang="en-US" dirty="0"/>
              <a:t> + ET arm 5.20 vs 2.76 p = 0.006</a:t>
            </a:r>
          </a:p>
        </p:txBody>
      </p:sp>
      <p:sp>
        <p:nvSpPr>
          <p:cNvPr id="4" name="Slide Number Placeholder 3"/>
          <p:cNvSpPr>
            <a:spLocks noGrp="1"/>
          </p:cNvSpPr>
          <p:nvPr>
            <p:ph type="sldNum" sz="quarter" idx="5"/>
          </p:nvPr>
        </p:nvSpPr>
        <p:spPr/>
        <p:txBody>
          <a:bodyPr/>
          <a:lstStyle/>
          <a:p>
            <a:fld id="{B3A96171-A15F-AF4E-B7C5-E1453CAAF64D}" type="slidenum">
              <a:rPr lang="en-US" smtClean="0"/>
              <a:t>47</a:t>
            </a:fld>
            <a:endParaRPr lang="en-US" dirty="0"/>
          </a:p>
        </p:txBody>
      </p:sp>
    </p:spTree>
    <p:extLst>
      <p:ext uri="{BB962C8B-B14F-4D97-AF65-F5344CB8AC3E}">
        <p14:creationId xmlns:p14="http://schemas.microsoft.com/office/powerpoint/2010/main" val="337136079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3A96171-A15F-AF4E-B7C5-E1453CAAF64D}" type="slidenum">
              <a:rPr lang="en-US" smtClean="0"/>
              <a:t>48</a:t>
            </a:fld>
            <a:endParaRPr lang="en-US" dirty="0"/>
          </a:p>
        </p:txBody>
      </p:sp>
    </p:spTree>
    <p:extLst>
      <p:ext uri="{BB962C8B-B14F-4D97-AF65-F5344CB8AC3E}">
        <p14:creationId xmlns:p14="http://schemas.microsoft.com/office/powerpoint/2010/main" val="363948504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3A96171-A15F-AF4E-B7C5-E1453CAAF64D}" type="slidenum">
              <a:rPr lang="en-US" smtClean="0"/>
              <a:t>49</a:t>
            </a:fld>
            <a:endParaRPr lang="en-US" dirty="0"/>
          </a:p>
        </p:txBody>
      </p:sp>
    </p:spTree>
    <p:extLst>
      <p:ext uri="{BB962C8B-B14F-4D97-AF65-F5344CB8AC3E}">
        <p14:creationId xmlns:p14="http://schemas.microsoft.com/office/powerpoint/2010/main" val="301668336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3A96171-A15F-AF4E-B7C5-E1453CAAF64D}" type="slidenum">
              <a:rPr lang="en-US" smtClean="0"/>
              <a:t>50</a:t>
            </a:fld>
            <a:endParaRPr lang="en-US" dirty="0"/>
          </a:p>
        </p:txBody>
      </p:sp>
    </p:spTree>
    <p:extLst>
      <p:ext uri="{BB962C8B-B14F-4D97-AF65-F5344CB8AC3E}">
        <p14:creationId xmlns:p14="http://schemas.microsoft.com/office/powerpoint/2010/main" val="168246851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3A96171-A15F-AF4E-B7C5-E1453CAAF64D}" type="slidenum">
              <a:rPr lang="en-US" smtClean="0"/>
              <a:t>50</a:t>
            </a:fld>
            <a:endParaRPr lang="en-US" dirty="0"/>
          </a:p>
        </p:txBody>
      </p:sp>
    </p:spTree>
    <p:extLst>
      <p:ext uri="{BB962C8B-B14F-4D97-AF65-F5344CB8AC3E}">
        <p14:creationId xmlns:p14="http://schemas.microsoft.com/office/powerpoint/2010/main" val="265149090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3A96171-A15F-AF4E-B7C5-E1453CAAF64D}" type="slidenum">
              <a:rPr lang="en-US" smtClean="0"/>
              <a:t>5</a:t>
            </a:fld>
            <a:endParaRPr lang="en-US" dirty="0"/>
          </a:p>
        </p:txBody>
      </p:sp>
    </p:spTree>
    <p:extLst>
      <p:ext uri="{BB962C8B-B14F-4D97-AF65-F5344CB8AC3E}">
        <p14:creationId xmlns:p14="http://schemas.microsoft.com/office/powerpoint/2010/main" val="25268440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heck where this slide came from – SABCS?</a:t>
            </a:r>
          </a:p>
        </p:txBody>
      </p:sp>
      <p:sp>
        <p:nvSpPr>
          <p:cNvPr id="4" name="Slide Number Placeholder 3"/>
          <p:cNvSpPr>
            <a:spLocks noGrp="1"/>
          </p:cNvSpPr>
          <p:nvPr>
            <p:ph type="sldNum" sz="quarter" idx="5"/>
          </p:nvPr>
        </p:nvSpPr>
        <p:spPr/>
        <p:txBody>
          <a:bodyPr/>
          <a:lstStyle/>
          <a:p>
            <a:fld id="{B3A96171-A15F-AF4E-B7C5-E1453CAAF64D}" type="slidenum">
              <a:rPr lang="en-US" smtClean="0"/>
              <a:t>50</a:t>
            </a:fld>
            <a:endParaRPr lang="en-US" dirty="0"/>
          </a:p>
        </p:txBody>
      </p:sp>
    </p:spTree>
    <p:extLst>
      <p:ext uri="{BB962C8B-B14F-4D97-AF65-F5344CB8AC3E}">
        <p14:creationId xmlns:p14="http://schemas.microsoft.com/office/powerpoint/2010/main" val="213158218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3A96171-A15F-AF4E-B7C5-E1453CAAF64D}" type="slidenum">
              <a:rPr lang="en-US" smtClean="0"/>
              <a:t>85</a:t>
            </a:fld>
            <a:endParaRPr lang="en-US" dirty="0"/>
          </a:p>
        </p:txBody>
      </p:sp>
    </p:spTree>
    <p:extLst>
      <p:ext uri="{BB962C8B-B14F-4D97-AF65-F5344CB8AC3E}">
        <p14:creationId xmlns:p14="http://schemas.microsoft.com/office/powerpoint/2010/main" val="168246851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3A96171-A15F-AF4E-B7C5-E1453CAAF64D}" type="slidenum">
              <a:rPr lang="en-US" smtClean="0"/>
              <a:t>85</a:t>
            </a:fld>
            <a:endParaRPr lang="en-US" dirty="0"/>
          </a:p>
        </p:txBody>
      </p:sp>
    </p:spTree>
    <p:extLst>
      <p:ext uri="{BB962C8B-B14F-4D97-AF65-F5344CB8AC3E}">
        <p14:creationId xmlns:p14="http://schemas.microsoft.com/office/powerpoint/2010/main" val="265149090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3A96171-A15F-AF4E-B7C5-E1453CAAF64D}" type="slidenum">
              <a:rPr lang="en-US" smtClean="0"/>
              <a:t>85</a:t>
            </a:fld>
            <a:endParaRPr lang="en-US" dirty="0"/>
          </a:p>
        </p:txBody>
      </p:sp>
    </p:spTree>
    <p:extLst>
      <p:ext uri="{BB962C8B-B14F-4D97-AF65-F5344CB8AC3E}">
        <p14:creationId xmlns:p14="http://schemas.microsoft.com/office/powerpoint/2010/main" val="276395365"/>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3A96171-A15F-AF4E-B7C5-E1453CAAF64D}" type="slidenum">
              <a:rPr lang="en-US" smtClean="0"/>
              <a:t>85</a:t>
            </a:fld>
            <a:endParaRPr lang="en-US" dirty="0"/>
          </a:p>
        </p:txBody>
      </p:sp>
    </p:spTree>
    <p:extLst>
      <p:ext uri="{BB962C8B-B14F-4D97-AF65-F5344CB8AC3E}">
        <p14:creationId xmlns:p14="http://schemas.microsoft.com/office/powerpoint/2010/main" val="290442805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3A96171-A15F-AF4E-B7C5-E1453CAAF64D}" type="slidenum">
              <a:rPr lang="en-US" smtClean="0"/>
              <a:t>120</a:t>
            </a:fld>
            <a:endParaRPr lang="en-US" dirty="0"/>
          </a:p>
        </p:txBody>
      </p:sp>
    </p:spTree>
    <p:extLst>
      <p:ext uri="{BB962C8B-B14F-4D97-AF65-F5344CB8AC3E}">
        <p14:creationId xmlns:p14="http://schemas.microsoft.com/office/powerpoint/2010/main" val="1682468513"/>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3A96171-A15F-AF4E-B7C5-E1453CAAF64D}" type="slidenum">
              <a:rPr lang="en-US" smtClean="0"/>
              <a:t>120</a:t>
            </a:fld>
            <a:endParaRPr lang="en-US" dirty="0"/>
          </a:p>
        </p:txBody>
      </p:sp>
    </p:spTree>
    <p:extLst>
      <p:ext uri="{BB962C8B-B14F-4D97-AF65-F5344CB8AC3E}">
        <p14:creationId xmlns:p14="http://schemas.microsoft.com/office/powerpoint/2010/main" val="2651490900"/>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 typeface="Arial" panose="020B0604020202020204" pitchFamily="34" charset="0"/>
              <a:buNone/>
            </a:pPr>
            <a:endParaRPr lang="en-US" i="0" baseline="0"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smtClean="0">
                <a:solidFill>
                  <a:schemeClr val="dk1"/>
                </a:solidFill>
                <a:latin typeface="Calibri"/>
                <a:ea typeface="Calibri"/>
                <a:cs typeface="Calibri"/>
                <a:sym typeface="Calibri"/>
              </a:rPr>
              <a:t>120</a:t>
            </a:fld>
            <a:endParaRPr lang="en-US" sz="1200" b="0" i="0" u="none" strike="noStrike" cap="none" dirty="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444557308"/>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Tx/>
              <a:buNone/>
            </a:pPr>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smtClean="0">
                <a:solidFill>
                  <a:schemeClr val="dk1"/>
                </a:solidFill>
                <a:latin typeface="Calibri"/>
                <a:ea typeface="Calibri"/>
                <a:cs typeface="Calibri"/>
                <a:sym typeface="Calibri"/>
              </a:rPr>
              <a:t>120</a:t>
            </a:fld>
            <a:endParaRPr lang="en-US" sz="1200" b="0" i="0" u="none" strike="noStrike" cap="none" dirty="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433670541"/>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 typeface="Arial" panose="020B0604020202020204" pitchFamily="34" charset="0"/>
              <a:buNone/>
            </a:pPr>
            <a:endParaRPr lang="en-US" i="0" baseline="0"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smtClean="0">
                <a:solidFill>
                  <a:schemeClr val="dk1"/>
                </a:solidFill>
                <a:latin typeface="Calibri"/>
                <a:ea typeface="Calibri"/>
                <a:cs typeface="Calibri"/>
                <a:sym typeface="Calibri"/>
              </a:rPr>
              <a:t>120</a:t>
            </a:fld>
            <a:endParaRPr lang="en-US" sz="1200" b="0" i="0" u="none" strike="noStrike" cap="none" dirty="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1121634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3A96171-A15F-AF4E-B7C5-E1453CAAF64D}" type="slidenum">
              <a:rPr lang="en-US" smtClean="0"/>
              <a:t>6</a:t>
            </a:fld>
            <a:endParaRPr lang="en-US" dirty="0"/>
          </a:p>
        </p:txBody>
      </p:sp>
    </p:spTree>
    <p:extLst>
      <p:ext uri="{BB962C8B-B14F-4D97-AF65-F5344CB8AC3E}">
        <p14:creationId xmlns:p14="http://schemas.microsoft.com/office/powerpoint/2010/main" val="2356074027"/>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 typeface="Arial" panose="020B0604020202020204" pitchFamily="34" charset="0"/>
              <a:buNone/>
            </a:pPr>
            <a:endParaRPr lang="en-US" i="0" baseline="0"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smtClean="0">
                <a:solidFill>
                  <a:schemeClr val="dk1"/>
                </a:solidFill>
                <a:latin typeface="Calibri"/>
                <a:ea typeface="Calibri"/>
                <a:cs typeface="Calibri"/>
                <a:sym typeface="Calibri"/>
              </a:rPr>
              <a:t>120</a:t>
            </a:fld>
            <a:endParaRPr lang="en-US" sz="1200" b="0" i="0" u="none" strike="noStrike" cap="none" dirty="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571403212"/>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smtClean="0">
                <a:solidFill>
                  <a:schemeClr val="dk1"/>
                </a:solidFill>
                <a:latin typeface="Calibri"/>
                <a:ea typeface="Calibri"/>
                <a:cs typeface="Calibri"/>
                <a:sym typeface="Calibri"/>
              </a:rPr>
              <a:t>120</a:t>
            </a:fld>
            <a:endParaRPr lang="en-US" sz="1200" b="0" i="0" u="none" strike="noStrike" cap="none" dirty="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342757855"/>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572726454"/>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lvl="0" indent="0">
              <a:buFont typeface="Arial" panose="020B0604020202020204" pitchFamily="34" charset="0"/>
              <a:buNone/>
            </a:pPr>
            <a:r>
              <a:rPr lang="en-US" sz="1800" dirty="0">
                <a:effectLst/>
                <a:latin typeface="Calibri" panose="020F0502020204030204" pitchFamily="34" charset="0"/>
                <a:ea typeface="Calibri" panose="020F0502020204030204" pitchFamily="34" charset="0"/>
              </a:rPr>
              <a:t> </a:t>
            </a:r>
            <a:endParaRPr lang="en-US" i="1"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smtClean="0">
                <a:solidFill>
                  <a:schemeClr val="dk1"/>
                </a:solidFill>
                <a:latin typeface="Calibri"/>
                <a:ea typeface="Calibri"/>
                <a:cs typeface="Calibri"/>
                <a:sym typeface="Calibri"/>
              </a:rPr>
              <a:t>120</a:t>
            </a:fld>
            <a:endParaRPr lang="en-US" sz="1200" b="0" i="0" u="none" strike="noStrike" cap="none" dirty="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553440583"/>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0">
              <a:buFontTx/>
              <a:buNone/>
            </a:pPr>
            <a:endParaRPr lang="en-US" b="1"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smtClean="0">
                <a:solidFill>
                  <a:schemeClr val="dk1"/>
                </a:solidFill>
                <a:latin typeface="Calibri"/>
                <a:ea typeface="Calibri"/>
                <a:cs typeface="Calibri"/>
                <a:sym typeface="Calibri"/>
              </a:rPr>
              <a:t>120</a:t>
            </a:fld>
            <a:endParaRPr lang="en-US" sz="1200" b="0" i="0" u="none" strike="noStrike" cap="none" dirty="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814058635"/>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0">
              <a:buFontTx/>
              <a:buNone/>
            </a:pPr>
            <a:endParaRPr lang="en-US" b="1"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smtClean="0">
                <a:solidFill>
                  <a:schemeClr val="dk1"/>
                </a:solidFill>
                <a:latin typeface="Calibri"/>
                <a:ea typeface="Calibri"/>
                <a:cs typeface="Calibri"/>
                <a:sym typeface="Calibri"/>
              </a:rPr>
              <a:t>120</a:t>
            </a:fld>
            <a:endParaRPr lang="en-US" sz="1200" b="0" i="0" u="none" strike="noStrike" cap="none" dirty="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36071893"/>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 typeface="Arial" panose="020B0604020202020204" pitchFamily="34" charset="0"/>
              <a:buChar char="•"/>
            </a:pPr>
            <a:endParaRPr lang="en-US" i="0" baseline="0"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smtClean="0">
                <a:solidFill>
                  <a:schemeClr val="dk1"/>
                </a:solidFill>
                <a:latin typeface="Calibri"/>
                <a:ea typeface="Calibri"/>
                <a:cs typeface="Calibri"/>
                <a:sym typeface="Calibri"/>
              </a:rPr>
              <a:t>120</a:t>
            </a:fld>
            <a:endParaRPr lang="en-US" sz="1200" b="0" i="0" u="none" strike="noStrike" cap="none" dirty="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020367621"/>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 typeface="Arial" panose="020B0604020202020204" pitchFamily="34" charset="0"/>
              <a:buChar char="•"/>
            </a:pPr>
            <a:endParaRPr lang="en-US" i="0" baseline="0"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smtClean="0">
                <a:solidFill>
                  <a:schemeClr val="dk1"/>
                </a:solidFill>
                <a:latin typeface="Calibri"/>
                <a:ea typeface="Calibri"/>
                <a:cs typeface="Calibri"/>
                <a:sym typeface="Calibri"/>
              </a:rPr>
              <a:t>120</a:t>
            </a:fld>
            <a:endParaRPr lang="en-US" sz="1200" b="0" i="0" u="none" strike="noStrike" cap="none" dirty="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524799133"/>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0" algn="l" defTabSz="914400" rtl="0" eaLnBrk="1" fontAlgn="auto" latinLnBrk="0" hangingPunct="1">
              <a:lnSpc>
                <a:spcPct val="100000"/>
              </a:lnSpc>
              <a:spcBef>
                <a:spcPts val="360"/>
              </a:spcBef>
              <a:spcAft>
                <a:spcPts val="0"/>
              </a:spcAft>
              <a:buClr>
                <a:srgbClr val="000000"/>
              </a:buClr>
              <a:buSzPts val="1400"/>
              <a:buFont typeface="Arial" panose="020B0604020202020204" pitchFamily="34" charset="0"/>
              <a:buNone/>
              <a:tabLst/>
              <a:defRPr/>
            </a:pPr>
            <a:endParaRPr lang="en-US" i="1" dirty="0"/>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1200" b="0" i="0" u="none" strike="noStrike" kern="0" cap="none" spc="0" normalizeH="0" baseline="0" noProof="0" smtClean="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120</a:t>
            </a:fld>
            <a:endParaRPr kumimoji="0" lang="en-US" sz="12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1416157403"/>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693736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3A96171-A15F-AF4E-B7C5-E1453CAAF64D}" type="slidenum">
              <a:rPr lang="en-US" smtClean="0"/>
              <a:t>9</a:t>
            </a:fld>
            <a:endParaRPr lang="en-US" dirty="0"/>
          </a:p>
        </p:txBody>
      </p:sp>
    </p:spTree>
    <p:extLst>
      <p:ext uri="{BB962C8B-B14F-4D97-AF65-F5344CB8AC3E}">
        <p14:creationId xmlns:p14="http://schemas.microsoft.com/office/powerpoint/2010/main" val="1682468513"/>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defTabSz="456789">
              <a:buFont typeface="Arial" panose="020B0604020202020204" pitchFamily="34" charset="0"/>
              <a:buNone/>
              <a:defRPr/>
            </a:pPr>
            <a:endParaRPr lang="en-US" i="1" dirty="0">
              <a:solidFill>
                <a:prstClr val="black"/>
              </a:solidFill>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smtClean="0">
                <a:solidFill>
                  <a:schemeClr val="dk1"/>
                </a:solidFill>
                <a:latin typeface="Calibri"/>
                <a:ea typeface="Calibri"/>
                <a:cs typeface="Calibri"/>
                <a:sym typeface="Calibri"/>
              </a:rPr>
              <a:t>120</a:t>
            </a:fld>
            <a:endParaRPr lang="en-US" sz="1200" b="0" i="0" u="none" strike="noStrike" cap="none" dirty="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138267344"/>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 typeface="Arial" panose="020B0604020202020204" pitchFamily="34" charset="0"/>
              <a:buChar char="•"/>
            </a:pPr>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smtClean="0">
                <a:solidFill>
                  <a:schemeClr val="dk1"/>
                </a:solidFill>
                <a:latin typeface="Calibri"/>
                <a:ea typeface="Calibri"/>
                <a:cs typeface="Calibri"/>
                <a:sym typeface="Calibri"/>
              </a:rPr>
              <a:t>120</a:t>
            </a:fld>
            <a:endParaRPr lang="en-US" sz="1200" b="0" i="0" u="none" strike="noStrike" cap="none" dirty="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342757855"/>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ea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6AA8BF2A-3D00-4F40-BF17-6C41EFB173AC}" type="slidenum">
              <a:rPr lang="en-US" smtClean="0"/>
              <a:t>120</a:t>
            </a:fld>
            <a:endParaRPr lang="en-US"/>
          </a:p>
        </p:txBody>
      </p:sp>
    </p:spTree>
    <p:extLst>
      <p:ext uri="{BB962C8B-B14F-4D97-AF65-F5344CB8AC3E}">
        <p14:creationId xmlns:p14="http://schemas.microsoft.com/office/powerpoint/2010/main" val="672445779"/>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ea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6AA8BF2A-3D00-4F40-BF17-6C41EFB173AC}" type="slidenum">
              <a:rPr lang="en-US" smtClean="0"/>
              <a:t>120</a:t>
            </a:fld>
            <a:endParaRPr lang="en-US"/>
          </a:p>
        </p:txBody>
      </p:sp>
    </p:spTree>
    <p:extLst>
      <p:ext uri="{BB962C8B-B14F-4D97-AF65-F5344CB8AC3E}">
        <p14:creationId xmlns:p14="http://schemas.microsoft.com/office/powerpoint/2010/main" val="370861965"/>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ea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6AA8BF2A-3D00-4F40-BF17-6C41EFB173AC}" type="slidenum">
              <a:rPr lang="en-US" smtClean="0"/>
              <a:t>120</a:t>
            </a:fld>
            <a:endParaRPr lang="en-US"/>
          </a:p>
        </p:txBody>
      </p:sp>
    </p:spTree>
    <p:extLst>
      <p:ext uri="{BB962C8B-B14F-4D97-AF65-F5344CB8AC3E}">
        <p14:creationId xmlns:p14="http://schemas.microsoft.com/office/powerpoint/2010/main" val="2620698888"/>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ea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6AA8BF2A-3D00-4F40-BF17-6C41EFB173AC}" type="slidenum">
              <a:rPr lang="en-US" smtClean="0"/>
              <a:t>120</a:t>
            </a:fld>
            <a:endParaRPr lang="en-US"/>
          </a:p>
        </p:txBody>
      </p:sp>
    </p:spTree>
    <p:extLst>
      <p:ext uri="{BB962C8B-B14F-4D97-AF65-F5344CB8AC3E}">
        <p14:creationId xmlns:p14="http://schemas.microsoft.com/office/powerpoint/2010/main" val="1732418908"/>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3A96171-A15F-AF4E-B7C5-E1453CAAF64D}" type="slidenum">
              <a:rPr lang="en-US" smtClean="0"/>
              <a:t>153</a:t>
            </a:fld>
            <a:endParaRPr lang="en-US" dirty="0"/>
          </a:p>
        </p:txBody>
      </p:sp>
    </p:spTree>
    <p:extLst>
      <p:ext uri="{BB962C8B-B14F-4D97-AF65-F5344CB8AC3E}">
        <p14:creationId xmlns:p14="http://schemas.microsoft.com/office/powerpoint/2010/main" val="1682468513"/>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3A96171-A15F-AF4E-B7C5-E1453CAAF64D}" type="slidenum">
              <a:rPr lang="en-US" smtClean="0"/>
              <a:t>153</a:t>
            </a:fld>
            <a:endParaRPr lang="en-US" dirty="0"/>
          </a:p>
        </p:txBody>
      </p:sp>
    </p:spTree>
    <p:extLst>
      <p:ext uri="{BB962C8B-B14F-4D97-AF65-F5344CB8AC3E}">
        <p14:creationId xmlns:p14="http://schemas.microsoft.com/office/powerpoint/2010/main" val="2651490900"/>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3A96171-A15F-AF4E-B7C5-E1453CAAF64D}" type="slidenum">
              <a:rPr lang="en-US" smtClean="0"/>
              <a:t>177</a:t>
            </a:fld>
            <a:endParaRPr lang="en-US" dirty="0"/>
          </a:p>
        </p:txBody>
      </p:sp>
    </p:spTree>
    <p:extLst>
      <p:ext uri="{BB962C8B-B14F-4D97-AF65-F5344CB8AC3E}">
        <p14:creationId xmlns:p14="http://schemas.microsoft.com/office/powerpoint/2010/main" val="1682468513"/>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3A96171-A15F-AF4E-B7C5-E1453CAAF64D}" type="slidenum">
              <a:rPr lang="en-US" smtClean="0"/>
              <a:t>177</a:t>
            </a:fld>
            <a:endParaRPr lang="en-US" dirty="0"/>
          </a:p>
        </p:txBody>
      </p:sp>
    </p:spTree>
    <p:extLst>
      <p:ext uri="{BB962C8B-B14F-4D97-AF65-F5344CB8AC3E}">
        <p14:creationId xmlns:p14="http://schemas.microsoft.com/office/powerpoint/2010/main" val="265149090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dirty="0"/>
              <a:t>Today I’ll be talking about endocrine based therapy in HER2- breast cancer</a:t>
            </a:r>
          </a:p>
          <a:p>
            <a:r>
              <a:rPr lang="en-US" dirty="0"/>
              <a:t>With a focus on the application of CDK 4/6 inhibitors</a:t>
            </a:r>
          </a:p>
        </p:txBody>
      </p:sp>
      <p:sp>
        <p:nvSpPr>
          <p:cNvPr id="4" name="Slide Number Placeholder 3"/>
          <p:cNvSpPr>
            <a:spLocks noGrp="1"/>
          </p:cNvSpPr>
          <p:nvPr>
            <p:ph type="sldNum" sz="quarter" idx="5"/>
          </p:nvPr>
        </p:nvSpPr>
        <p:spPr/>
        <p:txBody>
          <a:bodyPr/>
          <a:lstStyle/>
          <a:p>
            <a:fld id="{B3A96171-A15F-AF4E-B7C5-E1453CAAF64D}" type="slidenum">
              <a:rPr lang="en-US" smtClean="0"/>
              <a:t>10</a:t>
            </a:fld>
            <a:endParaRPr lang="en-US" dirty="0"/>
          </a:p>
        </p:txBody>
      </p:sp>
    </p:spTree>
    <p:extLst>
      <p:ext uri="{BB962C8B-B14F-4D97-AF65-F5344CB8AC3E}">
        <p14:creationId xmlns:p14="http://schemas.microsoft.com/office/powerpoint/2010/main" val="2651490900"/>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solidFill>
                  <a:srgbClr val="303030"/>
                </a:solidFill>
                <a:effectLst/>
                <a:latin typeface="Calibri" panose="020F0502020204030204" pitchFamily="34" charset="0"/>
              </a:rPr>
              <a:t>Higher sensitivity (49%) for relapses within 12 months </a:t>
            </a:r>
            <a:endParaRPr lang="en-US" dirty="0">
              <a:effectLst/>
            </a:endParaRPr>
          </a:p>
          <a:p>
            <a:r>
              <a:rPr lang="en-US" sz="1200" dirty="0">
                <a:solidFill>
                  <a:srgbClr val="303030"/>
                </a:solidFill>
                <a:effectLst/>
                <a:latin typeface="Calibri" panose="020F0502020204030204" pitchFamily="34" charset="0"/>
              </a:rPr>
              <a:t>Low/Moderate sensitivity for early relapses within 24 months (36% of currently observed) </a:t>
            </a:r>
            <a:endParaRPr lang="en-US" dirty="0">
              <a:effectLst/>
            </a:endParaRPr>
          </a:p>
          <a:p>
            <a:r>
              <a:rPr lang="en-US" sz="1200" dirty="0">
                <a:solidFill>
                  <a:srgbClr val="303030"/>
                </a:solidFill>
                <a:effectLst/>
                <a:latin typeface="Calibri" panose="020F0502020204030204" pitchFamily="34" charset="0"/>
              </a:rPr>
              <a:t>Very low sensitivity for relapses &gt;48 months (relapses not yet observed, but will occur with longer follow-up) </a:t>
            </a:r>
            <a:endParaRPr lang="en-US" dirty="0">
              <a:effectLst/>
            </a:endParaRPr>
          </a:p>
          <a:p>
            <a:endParaRPr lang="en-US" dirty="0"/>
          </a:p>
          <a:p>
            <a:endParaRPr lang="en-US" dirty="0"/>
          </a:p>
        </p:txBody>
      </p:sp>
      <p:sp>
        <p:nvSpPr>
          <p:cNvPr id="4" name="Slide Number Placeholder 3"/>
          <p:cNvSpPr>
            <a:spLocks noGrp="1"/>
          </p:cNvSpPr>
          <p:nvPr>
            <p:ph type="sldNum" sz="quarter" idx="5"/>
          </p:nvPr>
        </p:nvSpPr>
        <p:spPr/>
        <p:txBody>
          <a:bodyPr/>
          <a:lstStyle/>
          <a:p>
            <a:fld id="{B3A96171-A15F-AF4E-B7C5-E1453CAAF64D}" type="slidenum">
              <a:rPr lang="en-US" smtClean="0"/>
              <a:t>177</a:t>
            </a:fld>
            <a:endParaRPr lang="en-US" dirty="0"/>
          </a:p>
        </p:txBody>
      </p:sp>
    </p:spTree>
    <p:extLst>
      <p:ext uri="{BB962C8B-B14F-4D97-AF65-F5344CB8AC3E}">
        <p14:creationId xmlns:p14="http://schemas.microsoft.com/office/powerpoint/2010/main" val="861842045"/>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3A96171-A15F-AF4E-B7C5-E1453CAAF64D}" type="slidenum">
              <a:rPr lang="en-US" smtClean="0"/>
              <a:t>210</a:t>
            </a:fld>
            <a:endParaRPr lang="en-US" dirty="0"/>
          </a:p>
        </p:txBody>
      </p:sp>
    </p:spTree>
    <p:extLst>
      <p:ext uri="{BB962C8B-B14F-4D97-AF65-F5344CB8AC3E}">
        <p14:creationId xmlns:p14="http://schemas.microsoft.com/office/powerpoint/2010/main" val="1682468513"/>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3A96171-A15F-AF4E-B7C5-E1453CAAF64D}" type="slidenum">
              <a:rPr lang="en-US" smtClean="0"/>
              <a:t>210</a:t>
            </a:fld>
            <a:endParaRPr lang="en-US" dirty="0"/>
          </a:p>
        </p:txBody>
      </p:sp>
    </p:spTree>
    <p:extLst>
      <p:ext uri="{BB962C8B-B14F-4D97-AF65-F5344CB8AC3E}">
        <p14:creationId xmlns:p14="http://schemas.microsoft.com/office/powerpoint/2010/main" val="46580537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3A96171-A15F-AF4E-B7C5-E1453CAAF64D}" type="slidenum">
              <a:rPr lang="en-US" smtClean="0"/>
              <a:t>11</a:t>
            </a:fld>
            <a:endParaRPr lang="en-US" dirty="0"/>
          </a:p>
        </p:txBody>
      </p:sp>
    </p:spTree>
    <p:extLst>
      <p:ext uri="{BB962C8B-B14F-4D97-AF65-F5344CB8AC3E}">
        <p14:creationId xmlns:p14="http://schemas.microsoft.com/office/powerpoint/2010/main" val="240779409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371600" y="1249681"/>
            <a:ext cx="6400800" cy="2651759"/>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dirty="0"/>
              <a:t>Click to edit Master subtitle style</a:t>
            </a:r>
          </a:p>
        </p:txBody>
      </p:sp>
      <p:sp>
        <p:nvSpPr>
          <p:cNvPr id="6" name="Title 1"/>
          <p:cNvSpPr>
            <a:spLocks noGrp="1"/>
          </p:cNvSpPr>
          <p:nvPr>
            <p:ph type="title"/>
          </p:nvPr>
        </p:nvSpPr>
        <p:spPr>
          <a:xfrm>
            <a:off x="0" y="132080"/>
            <a:ext cx="9144000" cy="1006507"/>
          </a:xfrm>
          <a:prstGeom prst="rect">
            <a:avLst/>
          </a:prstGeom>
          <a:noFill/>
        </p:spPr>
        <p:txBody>
          <a:bodyPr/>
          <a:lstStyle>
            <a:lvl1pPr>
              <a:defRPr>
                <a:solidFill>
                  <a:srgbClr val="002450"/>
                </a:solidFill>
              </a:defRPr>
            </a:lvl1pPr>
          </a:lstStyle>
          <a:p>
            <a:r>
              <a:rPr lang="en-US" dirty="0"/>
              <a:t>Click to edit Master title style</a:t>
            </a:r>
          </a:p>
        </p:txBody>
      </p:sp>
    </p:spTree>
    <p:extLst>
      <p:ext uri="{BB962C8B-B14F-4D97-AF65-F5344CB8AC3E}">
        <p14:creationId xmlns:p14="http://schemas.microsoft.com/office/powerpoint/2010/main" val="255832848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152895-7446-4918-8CD4-0300EB512025}"/>
              </a:ext>
            </a:extLst>
          </p:cNvPr>
          <p:cNvSpPr>
            <a:spLocks noGrp="1"/>
          </p:cNvSpPr>
          <p:nvPr>
            <p:ph type="title" hasCustomPrompt="1"/>
          </p:nvPr>
        </p:nvSpPr>
        <p:spPr>
          <a:xfrm>
            <a:off x="567776" y="809227"/>
            <a:ext cx="7886700" cy="2141534"/>
          </a:xfrm>
        </p:spPr>
        <p:txBody>
          <a:bodyPr anchor="b"/>
          <a:lstStyle>
            <a:lvl1pPr>
              <a:defRPr sz="4500">
                <a:solidFill>
                  <a:schemeClr val="tx1"/>
                </a:solidFill>
              </a:defRPr>
            </a:lvl1pPr>
          </a:lstStyle>
          <a:p>
            <a:r>
              <a:rPr lang="en-US" dirty="0"/>
              <a:t>Section Title</a:t>
            </a:r>
          </a:p>
        </p:txBody>
      </p:sp>
      <p:sp>
        <p:nvSpPr>
          <p:cNvPr id="3" name="Text Placeholder 2">
            <a:extLst>
              <a:ext uri="{FF2B5EF4-FFF2-40B4-BE49-F238E27FC236}">
                <a16:creationId xmlns:a16="http://schemas.microsoft.com/office/drawing/2014/main" id="{7D2A405A-62E6-42E4-8282-78FEE43B6F0D}"/>
              </a:ext>
            </a:extLst>
          </p:cNvPr>
          <p:cNvSpPr>
            <a:spLocks noGrp="1"/>
          </p:cNvSpPr>
          <p:nvPr>
            <p:ph type="body" idx="1" hasCustomPrompt="1"/>
          </p:nvPr>
        </p:nvSpPr>
        <p:spPr>
          <a:xfrm>
            <a:off x="567776" y="3212855"/>
            <a:ext cx="7886700" cy="1126182"/>
          </a:xfrm>
        </p:spPr>
        <p:txBody>
          <a:bodyPr/>
          <a:lstStyle>
            <a:lvl1pPr marL="0" indent="0">
              <a:buNone/>
              <a:defRPr sz="18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dirty="0"/>
              <a:t>Subsection text</a:t>
            </a:r>
          </a:p>
        </p:txBody>
      </p:sp>
    </p:spTree>
    <p:extLst>
      <p:ext uri="{BB962C8B-B14F-4D97-AF65-F5344CB8AC3E}">
        <p14:creationId xmlns:p14="http://schemas.microsoft.com/office/powerpoint/2010/main" val="211337495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5"/>
          <p:cNvSpPr>
            <a:spLocks noGrp="1" noChangeArrowheads="1"/>
          </p:cNvSpPr>
          <p:nvPr>
            <p:ph type="ftr" sz="quarter" idx="10"/>
          </p:nvPr>
        </p:nvSpPr>
        <p:spPr>
          <a:ln/>
        </p:spPr>
        <p:txBody>
          <a:bodyPr/>
          <a:lstStyle>
            <a:lvl1pPr>
              <a:defRPr/>
            </a:lvl1pPr>
          </a:lstStyle>
          <a:p>
            <a:endParaRPr lang="en-US" altLang="en-US"/>
          </a:p>
        </p:txBody>
      </p:sp>
      <p:sp>
        <p:nvSpPr>
          <p:cNvPr id="5" name="Rectangle 12"/>
          <p:cNvSpPr>
            <a:spLocks noGrp="1" noChangeArrowheads="1"/>
          </p:cNvSpPr>
          <p:nvPr>
            <p:ph type="sldNum" sz="quarter" idx="11"/>
          </p:nvPr>
        </p:nvSpPr>
        <p:spPr>
          <a:ln/>
        </p:spPr>
        <p:txBody>
          <a:bodyPr/>
          <a:lstStyle>
            <a:lvl1pPr>
              <a:defRPr/>
            </a:lvl1pPr>
          </a:lstStyle>
          <a:p>
            <a:fld id="{E15C11B4-91A0-4173-AA63-6D25579CD001}" type="slidenum">
              <a:rPr lang="en-US" altLang="en-US"/>
              <a:pPr/>
              <a:t>‹#›</a:t>
            </a:fld>
            <a:endParaRPr lang="en-US" altLang="en-US"/>
          </a:p>
        </p:txBody>
      </p:sp>
    </p:spTree>
    <p:extLst>
      <p:ext uri="{BB962C8B-B14F-4D97-AF65-F5344CB8AC3E}">
        <p14:creationId xmlns:p14="http://schemas.microsoft.com/office/powerpoint/2010/main" val="288271293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ontent -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300">
                <a:latin typeface="Arial" panose="020B0604020202020204" pitchFamily="34" charset="0"/>
                <a:cs typeface="Arial" panose="020B0604020202020204" pitchFamily="34" charset="0"/>
              </a:defRPr>
            </a:lvl1pPr>
          </a:lstStyle>
          <a:p>
            <a:r>
              <a:rPr lang="en-US" dirty="0"/>
              <a:t>Click to edit Master title style</a:t>
            </a:r>
          </a:p>
        </p:txBody>
      </p:sp>
      <p:sp>
        <p:nvSpPr>
          <p:cNvPr id="4" name="Text Placeholder 5"/>
          <p:cNvSpPr>
            <a:spLocks noGrp="1"/>
          </p:cNvSpPr>
          <p:nvPr>
            <p:ph type="body" sz="quarter" idx="11"/>
          </p:nvPr>
        </p:nvSpPr>
        <p:spPr bwMode="blackWhite">
          <a:xfrm>
            <a:off x="328614" y="1002413"/>
            <a:ext cx="8493268" cy="3645325"/>
          </a:xfrm>
          <a:prstGeom prst="rect">
            <a:avLst/>
          </a:prstGeom>
        </p:spPr>
        <p:txBody>
          <a:bodyPr vert="horz">
            <a:normAutofit/>
          </a:bodyPr>
          <a:lstStyle>
            <a:lvl1pPr marL="467916" indent="-467916">
              <a:lnSpc>
                <a:spcPct val="110000"/>
              </a:lnSpc>
              <a:spcBef>
                <a:spcPts val="0"/>
              </a:spcBef>
              <a:spcAft>
                <a:spcPts val="900"/>
              </a:spcAft>
              <a:buClrTx/>
              <a:buSzPct val="100000"/>
              <a:buFont typeface="Arial" panose="020B0604020202020204" pitchFamily="34" charset="0"/>
              <a:buChar char="•"/>
              <a:defRPr sz="2700" baseline="0">
                <a:solidFill>
                  <a:schemeClr val="tx1"/>
                </a:solidFill>
                <a:latin typeface="Arial" panose="020B0604020202020204" pitchFamily="34" charset="0"/>
                <a:cs typeface="Arial" panose="020B0604020202020204" pitchFamily="34" charset="0"/>
              </a:defRPr>
            </a:lvl1pPr>
            <a:lvl2pPr marL="1028700" indent="-469106">
              <a:lnSpc>
                <a:spcPct val="110000"/>
              </a:lnSpc>
              <a:spcBef>
                <a:spcPts val="0"/>
              </a:spcBef>
              <a:spcAft>
                <a:spcPts val="900"/>
              </a:spcAft>
              <a:buClrTx/>
              <a:buFont typeface="Calibri" panose="020F0502020204030204" pitchFamily="34" charset="0"/>
              <a:buChar char="–"/>
              <a:defRPr sz="2700" baseline="0">
                <a:solidFill>
                  <a:schemeClr val="tx1"/>
                </a:solidFill>
                <a:latin typeface="Arial" panose="020B0604020202020204" pitchFamily="34" charset="0"/>
                <a:cs typeface="Arial" panose="020B0604020202020204" pitchFamily="34" charset="0"/>
              </a:defRPr>
            </a:lvl2pPr>
            <a:lvl3pPr marL="1590675" indent="-472679">
              <a:lnSpc>
                <a:spcPct val="110000"/>
              </a:lnSpc>
              <a:spcBef>
                <a:spcPts val="0"/>
              </a:spcBef>
              <a:spcAft>
                <a:spcPts val="900"/>
              </a:spcAft>
              <a:buClrTx/>
              <a:buFont typeface="Arial" panose="020B0604020202020204" pitchFamily="34" charset="0"/>
              <a:buChar char="•"/>
              <a:tabLst/>
              <a:defRPr sz="2700" baseline="0">
                <a:solidFill>
                  <a:schemeClr val="tx1"/>
                </a:solidFill>
                <a:latin typeface="Arial" panose="020B0604020202020204" pitchFamily="34" charset="0"/>
                <a:cs typeface="Arial" panose="020B0604020202020204" pitchFamily="34" charset="0"/>
              </a:defRPr>
            </a:lvl3pPr>
            <a:lvl4pPr>
              <a:defRPr sz="2400" baseline="0">
                <a:solidFill>
                  <a:schemeClr val="tx1">
                    <a:lumMod val="65000"/>
                    <a:lumOff val="35000"/>
                  </a:schemeClr>
                </a:solidFill>
                <a:latin typeface="Arial" panose="020B0604020202020204" pitchFamily="34" charset="0"/>
                <a:cs typeface="Arial" panose="020B0604020202020204" pitchFamily="34" charset="0"/>
              </a:defRPr>
            </a:lvl4pPr>
            <a:lvl5pPr>
              <a:defRPr sz="2400" baseline="0">
                <a:solidFill>
                  <a:schemeClr val="tx1">
                    <a:lumMod val="65000"/>
                    <a:lumOff val="35000"/>
                  </a:schemeClr>
                </a:solidFill>
              </a:defRPr>
            </a:lvl5pPr>
          </a:lstStyle>
          <a:p>
            <a:pPr lvl="0"/>
            <a:r>
              <a:rPr lang="en-US" dirty="0"/>
              <a:t>Click to edit Master text styles</a:t>
            </a:r>
          </a:p>
          <a:p>
            <a:pPr lvl="1"/>
            <a:r>
              <a:rPr lang="en-US" dirty="0"/>
              <a:t>Second level</a:t>
            </a:r>
          </a:p>
          <a:p>
            <a:pPr lvl="2"/>
            <a:r>
              <a:rPr lang="en-US" dirty="0"/>
              <a:t>Third level</a:t>
            </a:r>
          </a:p>
          <a:p>
            <a:pPr lvl="3"/>
            <a:endParaRPr lang="en-US" dirty="0"/>
          </a:p>
        </p:txBody>
      </p:sp>
    </p:spTree>
    <p:extLst>
      <p:ext uri="{BB962C8B-B14F-4D97-AF65-F5344CB8AC3E}">
        <p14:creationId xmlns:p14="http://schemas.microsoft.com/office/powerpoint/2010/main" val="275206340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85800" y="844550"/>
            <a:ext cx="7772400" cy="314727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1"/>
          <p:cNvSpPr>
            <a:spLocks noGrp="1"/>
          </p:cNvSpPr>
          <p:nvPr>
            <p:ph type="ftr" sz="quarter" idx="3"/>
          </p:nvPr>
        </p:nvSpPr>
        <p:spPr>
          <a:xfrm>
            <a:off x="5076056" y="4628260"/>
            <a:ext cx="3903712" cy="417515"/>
          </a:xfrm>
          <a:prstGeom prst="rect">
            <a:avLst/>
          </a:prstGeom>
        </p:spPr>
        <p:txBody>
          <a:bodyPr vert="horz" lIns="91440" tIns="45720" rIns="91440" bIns="45720" rtlCol="0" anchor="ctr"/>
          <a:lstStyle>
            <a:lvl1pPr algn="ctr">
              <a:defRPr sz="1200">
                <a:solidFill>
                  <a:srgbClr val="800000"/>
                </a:solidFill>
              </a:defRPr>
            </a:lvl1pPr>
          </a:lstStyle>
          <a:p>
            <a:endParaRPr lang="en-US" dirty="0"/>
          </a:p>
        </p:txBody>
      </p:sp>
    </p:spTree>
    <p:extLst>
      <p:ext uri="{BB962C8B-B14F-4D97-AF65-F5344CB8AC3E}">
        <p14:creationId xmlns:p14="http://schemas.microsoft.com/office/powerpoint/2010/main" val="2613736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5800" y="1117600"/>
            <a:ext cx="3810000" cy="293624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117600"/>
            <a:ext cx="3810000" cy="293624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1"/>
          <p:cNvSpPr>
            <a:spLocks noGrp="1"/>
          </p:cNvSpPr>
          <p:nvPr>
            <p:ph type="ftr" sz="quarter" idx="3"/>
          </p:nvPr>
        </p:nvSpPr>
        <p:spPr>
          <a:xfrm>
            <a:off x="5076056" y="4628260"/>
            <a:ext cx="3903712" cy="417515"/>
          </a:xfrm>
          <a:prstGeom prst="rect">
            <a:avLst/>
          </a:prstGeom>
        </p:spPr>
        <p:txBody>
          <a:bodyPr vert="horz" lIns="91440" tIns="45720" rIns="91440" bIns="45720" rtlCol="0" anchor="ctr"/>
          <a:lstStyle>
            <a:lvl1pPr algn="ctr">
              <a:defRPr sz="1200">
                <a:solidFill>
                  <a:srgbClr val="800000"/>
                </a:solidFill>
              </a:defRPr>
            </a:lvl1pPr>
          </a:lstStyle>
          <a:p>
            <a:endParaRPr lang="en-US" dirty="0"/>
          </a:p>
        </p:txBody>
      </p:sp>
      <p:sp>
        <p:nvSpPr>
          <p:cNvPr id="6" name="Title 1"/>
          <p:cNvSpPr>
            <a:spLocks noGrp="1"/>
          </p:cNvSpPr>
          <p:nvPr>
            <p:ph type="title"/>
          </p:nvPr>
        </p:nvSpPr>
        <p:spPr>
          <a:xfrm>
            <a:off x="0" y="127465"/>
            <a:ext cx="9144000" cy="695496"/>
          </a:xfrm>
          <a:prstGeom prst="rect">
            <a:avLst/>
          </a:prstGeom>
          <a:noFill/>
        </p:spPr>
        <p:txBody>
          <a:bodyPr/>
          <a:lstStyle>
            <a:lvl1pPr>
              <a:defRPr>
                <a:solidFill>
                  <a:srgbClr val="003465"/>
                </a:solidFill>
              </a:defRPr>
            </a:lvl1pPr>
          </a:lstStyle>
          <a:p>
            <a:r>
              <a:rPr lang="en-US" dirty="0"/>
              <a:t>Click to edit Master title style</a:t>
            </a:r>
          </a:p>
        </p:txBody>
      </p:sp>
    </p:spTree>
    <p:extLst>
      <p:ext uri="{BB962C8B-B14F-4D97-AF65-F5344CB8AC3E}">
        <p14:creationId xmlns:p14="http://schemas.microsoft.com/office/powerpoint/2010/main" val="407790966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0" y="127464"/>
            <a:ext cx="9144000" cy="1006507"/>
          </a:xfrm>
          <a:prstGeom prst="rect">
            <a:avLst/>
          </a:prstGeom>
          <a:noFill/>
        </p:spPr>
        <p:txBody>
          <a:bodyPr/>
          <a:lstStyle>
            <a:lvl1pPr>
              <a:defRPr>
                <a:solidFill>
                  <a:srgbClr val="002450"/>
                </a:solidFill>
              </a:defRPr>
            </a:lvl1pPr>
          </a:lstStyle>
          <a:p>
            <a:r>
              <a:rPr lang="en-US" dirty="0"/>
              <a:t>Click to edit Master title style</a:t>
            </a:r>
          </a:p>
        </p:txBody>
      </p:sp>
      <p:sp>
        <p:nvSpPr>
          <p:cNvPr id="3" name="Footer Placeholder 1"/>
          <p:cNvSpPr>
            <a:spLocks noGrp="1"/>
          </p:cNvSpPr>
          <p:nvPr>
            <p:ph type="ftr" sz="quarter" idx="3"/>
          </p:nvPr>
        </p:nvSpPr>
        <p:spPr>
          <a:xfrm>
            <a:off x="5076056" y="4628260"/>
            <a:ext cx="3903712" cy="417515"/>
          </a:xfrm>
          <a:prstGeom prst="rect">
            <a:avLst/>
          </a:prstGeom>
        </p:spPr>
        <p:txBody>
          <a:bodyPr vert="horz" lIns="91440" tIns="45720" rIns="91440" bIns="45720" rtlCol="0" anchor="ctr"/>
          <a:lstStyle>
            <a:lvl1pPr algn="ctr">
              <a:defRPr sz="1200">
                <a:solidFill>
                  <a:srgbClr val="800000"/>
                </a:solidFill>
              </a:defRPr>
            </a:lvl1pPr>
          </a:lstStyle>
          <a:p>
            <a:endParaRPr lang="en-US" dirty="0"/>
          </a:p>
        </p:txBody>
      </p:sp>
    </p:spTree>
    <p:extLst>
      <p:ext uri="{BB962C8B-B14F-4D97-AF65-F5344CB8AC3E}">
        <p14:creationId xmlns:p14="http://schemas.microsoft.com/office/powerpoint/2010/main" val="204301828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48563799"/>
      </p:ext>
    </p:extLst>
  </p:cSld>
  <p:clrMapOvr>
    <a:masterClrMapping/>
  </p:clrMapOvr>
  <p:extLst>
    <p:ext uri="{DCECCB84-F9BA-43D5-87BE-67443E8EF086}">
      <p15:sldGuideLst xmlns:p15="http://schemas.microsoft.com/office/powerpoint/2012/main">
        <p15:guide id="1" orient="horz" pos="1621" userDrawn="1">
          <p15:clr>
            <a:srgbClr val="FBAE40"/>
          </p15:clr>
        </p15:guide>
        <p15:guide id="2" pos="288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3784"/>
            <a:ext cx="5486400" cy="425447"/>
          </a:xfrm>
          <a:prstGeom prst="rect">
            <a:avLst/>
          </a:prstGeom>
        </p:spPr>
        <p:txBody>
          <a:bodyPr anchor="b"/>
          <a:lstStyle>
            <a:lvl1pPr algn="l">
              <a:defRPr sz="2000" b="0" i="1"/>
            </a:lvl1pPr>
          </a:lstStyle>
          <a:p>
            <a:r>
              <a:rPr lang="en-US"/>
              <a:t>Click to edit Master title style</a:t>
            </a:r>
            <a:endParaRPr lang="en-US" dirty="0"/>
          </a:p>
        </p:txBody>
      </p:sp>
      <p:sp>
        <p:nvSpPr>
          <p:cNvPr id="3" name="Picture Placeholder 2"/>
          <p:cNvSpPr>
            <a:spLocks noGrp="1"/>
          </p:cNvSpPr>
          <p:nvPr>
            <p:ph type="pic" idx="1"/>
          </p:nvPr>
        </p:nvSpPr>
        <p:spPr>
          <a:xfrm>
            <a:off x="1792288" y="460007"/>
            <a:ext cx="5486400" cy="3088958"/>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Drag picture to placeholder or click icon to add</a:t>
            </a:r>
          </a:p>
        </p:txBody>
      </p:sp>
      <p:sp>
        <p:nvSpPr>
          <p:cNvPr id="4" name="Text Placeholder 3"/>
          <p:cNvSpPr>
            <a:spLocks noGrp="1"/>
          </p:cNvSpPr>
          <p:nvPr>
            <p:ph type="body" sz="half" idx="2"/>
          </p:nvPr>
        </p:nvSpPr>
        <p:spPr>
          <a:xfrm>
            <a:off x="1792288" y="4029231"/>
            <a:ext cx="5486400" cy="54497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Footer Placeholder 1"/>
          <p:cNvSpPr>
            <a:spLocks noGrp="1"/>
          </p:cNvSpPr>
          <p:nvPr>
            <p:ph type="ftr" sz="quarter" idx="3"/>
          </p:nvPr>
        </p:nvSpPr>
        <p:spPr>
          <a:xfrm>
            <a:off x="5076056" y="4628260"/>
            <a:ext cx="3903712" cy="417515"/>
          </a:xfrm>
          <a:prstGeom prst="rect">
            <a:avLst/>
          </a:prstGeom>
        </p:spPr>
        <p:txBody>
          <a:bodyPr vert="horz" lIns="91440" tIns="45720" rIns="91440" bIns="45720" rtlCol="0" anchor="ctr"/>
          <a:lstStyle>
            <a:lvl1pPr algn="ctr">
              <a:defRPr sz="1200">
                <a:solidFill>
                  <a:srgbClr val="800000"/>
                </a:solidFill>
              </a:defRPr>
            </a:lvl1pPr>
          </a:lstStyle>
          <a:p>
            <a:endParaRPr lang="en-US" dirty="0"/>
          </a:p>
        </p:txBody>
      </p:sp>
    </p:spTree>
    <p:extLst>
      <p:ext uri="{BB962C8B-B14F-4D97-AF65-F5344CB8AC3E}">
        <p14:creationId xmlns:p14="http://schemas.microsoft.com/office/powerpoint/2010/main" val="264347959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4000" cy="1006507"/>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1"/>
          <p:cNvSpPr>
            <a:spLocks noGrp="1"/>
          </p:cNvSpPr>
          <p:nvPr>
            <p:ph type="ftr" sz="quarter" idx="3"/>
          </p:nvPr>
        </p:nvSpPr>
        <p:spPr>
          <a:xfrm>
            <a:off x="5076056" y="4628260"/>
            <a:ext cx="3903712" cy="417515"/>
          </a:xfrm>
          <a:prstGeom prst="rect">
            <a:avLst/>
          </a:prstGeom>
        </p:spPr>
        <p:txBody>
          <a:bodyPr vert="horz" lIns="91440" tIns="45720" rIns="91440" bIns="45720" rtlCol="0" anchor="ctr"/>
          <a:lstStyle>
            <a:lvl1pPr algn="ctr">
              <a:defRPr sz="1200">
                <a:solidFill>
                  <a:srgbClr val="800000"/>
                </a:solidFill>
              </a:defRPr>
            </a:lvl1pPr>
          </a:lstStyle>
          <a:p>
            <a:endParaRPr lang="en-US" dirty="0"/>
          </a:p>
        </p:txBody>
      </p:sp>
    </p:spTree>
    <p:extLst>
      <p:ext uri="{BB962C8B-B14F-4D97-AF65-F5344CB8AC3E}">
        <p14:creationId xmlns:p14="http://schemas.microsoft.com/office/powerpoint/2010/main" val="121236512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628650" y="274638"/>
            <a:ext cx="7886700" cy="993775"/>
          </a:xfrm>
          <a:prstGeom prst="rect">
            <a:avLst/>
          </a:prstGeom>
        </p:spPr>
        <p:txBody>
          <a:bodyPr/>
          <a:lstStyle/>
          <a:p>
            <a:r>
              <a:rPr lang="en-US"/>
              <a:t>Click to edit Master title style</a:t>
            </a:r>
          </a:p>
        </p:txBody>
      </p:sp>
      <p:sp>
        <p:nvSpPr>
          <p:cNvPr id="3" name="Footer Placeholder 2"/>
          <p:cNvSpPr>
            <a:spLocks noGrp="1"/>
          </p:cNvSpPr>
          <p:nvPr>
            <p:ph type="ftr" sz="quarter" idx="10"/>
          </p:nvPr>
        </p:nvSpPr>
        <p:spPr>
          <a:xfrm>
            <a:off x="2897632" y="4593882"/>
            <a:ext cx="3903712" cy="417515"/>
          </a:xfrm>
          <a:prstGeom prst="rect">
            <a:avLst/>
          </a:prstGeom>
        </p:spPr>
        <p:txBody>
          <a:bodyPr/>
          <a:lstStyle/>
          <a:p>
            <a:endParaRPr lang="en-US" dirty="0"/>
          </a:p>
        </p:txBody>
      </p:sp>
    </p:spTree>
    <p:extLst>
      <p:ext uri="{BB962C8B-B14F-4D97-AF65-F5344CB8AC3E}">
        <p14:creationId xmlns:p14="http://schemas.microsoft.com/office/powerpoint/2010/main" val="53987106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3_Title and Text">
  <p:cSld name="3_Title and Text">
    <p:bg>
      <p:bgRef idx="1001">
        <a:schemeClr val="bg1"/>
      </p:bgRef>
    </p:bg>
    <p:spTree>
      <p:nvGrpSpPr>
        <p:cNvPr id="1" name="Shape 16"/>
        <p:cNvGrpSpPr/>
        <p:nvPr/>
      </p:nvGrpSpPr>
      <p:grpSpPr>
        <a:xfrm>
          <a:off x="0" y="0"/>
          <a:ext cx="0" cy="0"/>
          <a:chOff x="0" y="0"/>
          <a:chExt cx="0" cy="0"/>
        </a:xfrm>
      </p:grpSpPr>
      <p:sp>
        <p:nvSpPr>
          <p:cNvPr id="17" name="Google Shape;17;p14"/>
          <p:cNvSpPr txBox="1">
            <a:spLocks noGrp="1"/>
          </p:cNvSpPr>
          <p:nvPr>
            <p:ph type="body" idx="1"/>
          </p:nvPr>
        </p:nvSpPr>
        <p:spPr>
          <a:xfrm>
            <a:off x="367250" y="1407770"/>
            <a:ext cx="8409900" cy="2910551"/>
          </a:xfrm>
          <a:prstGeom prst="rect">
            <a:avLst/>
          </a:prstGeom>
          <a:noFill/>
          <a:ln>
            <a:noFill/>
          </a:ln>
        </p:spPr>
        <p:txBody>
          <a:bodyPr spcFirstLastPara="1" wrap="square" lIns="91425" tIns="45700" rIns="91425" bIns="45700" anchor="t" anchorCtr="0">
            <a:noAutofit/>
          </a:bodyPr>
          <a:lstStyle>
            <a:lvl1pPr marL="457189" marR="0" lvl="0" indent="-228594" algn="l" rtl="0">
              <a:lnSpc>
                <a:spcPct val="100000"/>
              </a:lnSpc>
              <a:spcBef>
                <a:spcPts val="320"/>
              </a:spcBef>
              <a:spcAft>
                <a:spcPts val="0"/>
              </a:spcAft>
              <a:buClr>
                <a:srgbClr val="05416B"/>
              </a:buClr>
              <a:buSzPts val="1600"/>
              <a:buFont typeface="Noto Sans Symbols"/>
              <a:buNone/>
              <a:defRPr sz="1600" b="0" i="0" u="none" strike="noStrike" cap="none">
                <a:solidFill>
                  <a:srgbClr val="05416B"/>
                </a:solidFill>
                <a:latin typeface="Arial" panose="020B0604020202020204" pitchFamily="34" charset="0"/>
                <a:ea typeface="Arial" panose="020B0604020202020204" pitchFamily="34" charset="0"/>
                <a:cs typeface="Arial" panose="020B0604020202020204" pitchFamily="34" charset="0"/>
                <a:sym typeface="Arial Narrow"/>
              </a:defRPr>
            </a:lvl1pPr>
            <a:lvl2pPr marL="914378" marR="0" lvl="1" indent="-330192"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566" marR="0" lvl="2" indent="-330192"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754" marR="0" lvl="3" indent="-330192"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5943" marR="0" lvl="4" indent="-330192"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132" marR="0" lvl="5" indent="-330192"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320" marR="0" lvl="6" indent="-330192"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509" marR="0" lvl="7" indent="-330192"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697" marR="0" lvl="8" indent="-330192"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endParaRPr dirty="0"/>
          </a:p>
        </p:txBody>
      </p:sp>
      <p:sp>
        <p:nvSpPr>
          <p:cNvPr id="18" name="Google Shape;18;p14"/>
          <p:cNvSpPr txBox="1">
            <a:spLocks noGrp="1"/>
          </p:cNvSpPr>
          <p:nvPr>
            <p:ph type="ctrTitle"/>
          </p:nvPr>
        </p:nvSpPr>
        <p:spPr>
          <a:xfrm>
            <a:off x="359999" y="342436"/>
            <a:ext cx="8409765" cy="432400"/>
          </a:xfrm>
          <a:prstGeom prst="rect">
            <a:avLst/>
          </a:prstGeom>
          <a:noFill/>
          <a:ln>
            <a:noFill/>
          </a:ln>
        </p:spPr>
        <p:txBody>
          <a:bodyPr spcFirstLastPara="1" wrap="square" lIns="91425" tIns="45700" rIns="91425" bIns="45700" anchor="t" anchorCtr="0">
            <a:noAutofit/>
          </a:bodyPr>
          <a:lstStyle>
            <a:lvl1pPr marR="0" lvl="0" algn="l" rtl="0">
              <a:lnSpc>
                <a:spcPct val="80000"/>
              </a:lnSpc>
              <a:spcBef>
                <a:spcPts val="0"/>
              </a:spcBef>
              <a:spcAft>
                <a:spcPts val="0"/>
              </a:spcAft>
              <a:buClr>
                <a:srgbClr val="05416B"/>
              </a:buClr>
              <a:buSzPts val="1400"/>
              <a:buFont typeface="Arial"/>
              <a:buNone/>
              <a:defRPr sz="2800" b="1" i="0" u="none" strike="noStrike" cap="none">
                <a:solidFill>
                  <a:srgbClr val="05416B"/>
                </a:solidFill>
                <a:latin typeface="Arial" panose="020B0604020202020204" pitchFamily="34" charset="0"/>
                <a:ea typeface="Arial" panose="020B0604020202020204" pitchFamily="34" charset="0"/>
                <a:cs typeface="Arial" panose="020B0604020202020204" pitchFamily="34" charset="0"/>
                <a:sym typeface="Arial Narrow"/>
              </a:defRPr>
            </a:lvl1pPr>
            <a:lvl2pPr marR="0" lvl="1"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2pPr>
            <a:lvl3pPr marR="0" lvl="2"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3pPr>
            <a:lvl4pPr marR="0" lvl="3"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4pPr>
            <a:lvl5pPr marR="0" lvl="4"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5pPr>
            <a:lvl6pPr marR="0" lvl="5"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6pPr>
            <a:lvl7pPr marR="0" lvl="6"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7pPr>
            <a:lvl8pPr marR="0" lvl="7"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8pPr>
            <a:lvl9pPr marR="0" lvl="8"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9pPr>
          </a:lstStyle>
          <a:p>
            <a:endParaRPr dirty="0"/>
          </a:p>
        </p:txBody>
      </p:sp>
      <p:sp>
        <p:nvSpPr>
          <p:cNvPr id="19" name="Google Shape;19;p14"/>
          <p:cNvSpPr txBox="1">
            <a:spLocks noGrp="1"/>
          </p:cNvSpPr>
          <p:nvPr>
            <p:ph type="subTitle" idx="2"/>
          </p:nvPr>
        </p:nvSpPr>
        <p:spPr>
          <a:xfrm>
            <a:off x="359999" y="774836"/>
            <a:ext cx="8409900" cy="450417"/>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400"/>
              </a:spcBef>
              <a:spcAft>
                <a:spcPts val="0"/>
              </a:spcAft>
              <a:buClr>
                <a:srgbClr val="05416B"/>
              </a:buClr>
              <a:buSzPts val="700"/>
              <a:buFont typeface="Noto Sans Symbols"/>
              <a:buNone/>
              <a:defRPr sz="2000" b="0" i="0" u="none" strike="noStrike" cap="none">
                <a:solidFill>
                  <a:srgbClr val="05416B"/>
                </a:solidFill>
                <a:latin typeface="Arial" panose="020B0604020202020204" pitchFamily="34" charset="0"/>
                <a:ea typeface="Arial" panose="020B0604020202020204" pitchFamily="34" charset="0"/>
                <a:cs typeface="Arial" panose="020B0604020202020204" pitchFamily="34" charset="0"/>
                <a:sym typeface="Arial Narrow"/>
              </a:defRPr>
            </a:lvl1pPr>
            <a:lvl2pPr marR="0" lvl="1" algn="l" rtl="0">
              <a:lnSpc>
                <a:spcPct val="100000"/>
              </a:lnSpc>
              <a:spcBef>
                <a:spcPts val="320"/>
              </a:spcBef>
              <a:spcAft>
                <a:spcPts val="0"/>
              </a:spcAft>
              <a:buClr>
                <a:schemeClr val="dk1"/>
              </a:buClr>
              <a:buSzPts val="560"/>
              <a:buFont typeface="Noto Sans Symbols"/>
              <a:buNone/>
              <a:defRPr sz="1600" b="0" i="0" u="none" strike="noStrike" cap="none">
                <a:solidFill>
                  <a:srgbClr val="888888"/>
                </a:solidFill>
                <a:latin typeface="Arial Narrow"/>
                <a:ea typeface="Arial Narrow"/>
                <a:cs typeface="Arial Narrow"/>
                <a:sym typeface="Arial Narrow"/>
              </a:defRPr>
            </a:lvl2pPr>
            <a:lvl3pPr marR="0" lvl="2" algn="l" rtl="0">
              <a:lnSpc>
                <a:spcPct val="100000"/>
              </a:lnSpc>
              <a:spcBef>
                <a:spcPts val="320"/>
              </a:spcBef>
              <a:spcAft>
                <a:spcPts val="0"/>
              </a:spcAft>
              <a:buClr>
                <a:schemeClr val="dk1"/>
              </a:buClr>
              <a:buSzPts val="560"/>
              <a:buFont typeface="Noto Sans Symbols"/>
              <a:buNone/>
              <a:defRPr sz="1600" b="0" i="0" u="none" strike="noStrike" cap="none">
                <a:solidFill>
                  <a:srgbClr val="888888"/>
                </a:solidFill>
                <a:latin typeface="Arial Narrow"/>
                <a:ea typeface="Arial Narrow"/>
                <a:cs typeface="Arial Narrow"/>
                <a:sym typeface="Arial Narrow"/>
              </a:defRPr>
            </a:lvl3pPr>
            <a:lvl4pPr marR="0" lvl="3"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4pPr>
            <a:lvl5pPr marR="0" lvl="4"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5pPr>
            <a:lvl6pPr marR="0" lvl="5"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6pPr>
            <a:lvl7pPr marR="0" lvl="6"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7pPr>
            <a:lvl8pPr marR="0" lvl="7"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8pPr>
            <a:lvl9pPr marR="0" lvl="8"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9pPr>
          </a:lstStyle>
          <a:p>
            <a:endParaRPr dirty="0"/>
          </a:p>
        </p:txBody>
      </p:sp>
      <p:pic>
        <p:nvPicPr>
          <p:cNvPr id="5" name="Picture 4" descr="A picture containing plate&#10;&#10;Description automatically generated">
            <a:extLst>
              <a:ext uri="{FF2B5EF4-FFF2-40B4-BE49-F238E27FC236}">
                <a16:creationId xmlns:a16="http://schemas.microsoft.com/office/drawing/2014/main" id="{648758F5-4587-4BB6-8A6E-D95774C23A9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52386" b="44228"/>
          <a:stretch/>
        </p:blipFill>
        <p:spPr>
          <a:xfrm>
            <a:off x="1" y="15412"/>
            <a:ext cx="481628" cy="298432"/>
          </a:xfrm>
          <a:prstGeom prst="rect">
            <a:avLst/>
          </a:prstGeom>
        </p:spPr>
      </p:pic>
      <p:sp>
        <p:nvSpPr>
          <p:cNvPr id="6" name="TextBox 5">
            <a:extLst>
              <a:ext uri="{FF2B5EF4-FFF2-40B4-BE49-F238E27FC236}">
                <a16:creationId xmlns:a16="http://schemas.microsoft.com/office/drawing/2014/main" id="{4F40FDC4-81E9-4826-873C-EBFAAE7BDF00}"/>
              </a:ext>
            </a:extLst>
          </p:cNvPr>
          <p:cNvSpPr txBox="1"/>
          <p:nvPr userDrawn="1"/>
        </p:nvSpPr>
        <p:spPr>
          <a:xfrm>
            <a:off x="467341" y="56351"/>
            <a:ext cx="1507331" cy="253916"/>
          </a:xfrm>
          <a:prstGeom prst="rect">
            <a:avLst/>
          </a:prstGeom>
          <a:noFill/>
        </p:spPr>
        <p:txBody>
          <a:bodyPr wrap="square" rtlCol="0">
            <a:spAutoFit/>
          </a:bodyPr>
          <a:lstStyle/>
          <a:p>
            <a:r>
              <a:rPr lang="en-US" sz="1050" i="1" dirty="0">
                <a:solidFill>
                  <a:srgbClr val="1E4195"/>
                </a:solidFill>
                <a:latin typeface="Arial" panose="020B0604020202020204" pitchFamily="34" charset="0"/>
                <a:cs typeface="Arial" panose="020B0604020202020204" pitchFamily="34" charset="0"/>
              </a:rPr>
              <a:t>DESTINY-Breast02</a:t>
            </a:r>
          </a:p>
        </p:txBody>
      </p:sp>
      <p:cxnSp>
        <p:nvCxnSpPr>
          <p:cNvPr id="7" name="Straight Connector 6">
            <a:extLst>
              <a:ext uri="{FF2B5EF4-FFF2-40B4-BE49-F238E27FC236}">
                <a16:creationId xmlns:a16="http://schemas.microsoft.com/office/drawing/2014/main" id="{3008EA26-C1BF-4C3D-9AD3-B6678323585F}"/>
              </a:ext>
            </a:extLst>
          </p:cNvPr>
          <p:cNvCxnSpPr>
            <a:cxnSpLocks/>
          </p:cNvCxnSpPr>
          <p:nvPr userDrawn="1"/>
        </p:nvCxnSpPr>
        <p:spPr>
          <a:xfrm>
            <a:off x="518698" y="274820"/>
            <a:ext cx="8258453" cy="0"/>
          </a:xfrm>
          <a:prstGeom prst="line">
            <a:avLst/>
          </a:prstGeom>
          <a:ln>
            <a:solidFill>
              <a:srgbClr val="1E4195"/>
            </a:solidFill>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CFCC21FC-3032-43DE-86A4-E4DFF50880EB}"/>
              </a:ext>
            </a:extLst>
          </p:cNvPr>
          <p:cNvSpPr/>
          <p:nvPr userDrawn="1"/>
        </p:nvSpPr>
        <p:spPr>
          <a:xfrm flipV="1">
            <a:off x="518698" y="276718"/>
            <a:ext cx="8499572" cy="34321"/>
          </a:xfrm>
          <a:prstGeom prst="rect">
            <a:avLst/>
          </a:prstGeom>
          <a:solidFill>
            <a:srgbClr val="0029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Tree>
    <p:extLst>
      <p:ext uri="{BB962C8B-B14F-4D97-AF65-F5344CB8AC3E}">
        <p14:creationId xmlns:p14="http://schemas.microsoft.com/office/powerpoint/2010/main" val="3873533070"/>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jp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6" name="Picture 5" descr="Graphical user interface, application&#10;&#10;Description automatically generated with medium confidence">
            <a:extLst>
              <a:ext uri="{FF2B5EF4-FFF2-40B4-BE49-F238E27FC236}">
                <a16:creationId xmlns:a16="http://schemas.microsoft.com/office/drawing/2014/main" id="{4E353A3F-6669-74D7-5DD1-78C6CF0FCD19}"/>
              </a:ext>
            </a:extLst>
          </p:cNvPr>
          <p:cNvPicPr>
            <a:picLocks noChangeAspect="1"/>
          </p:cNvPicPr>
          <p:nvPr userDrawn="1"/>
        </p:nvPicPr>
        <p:blipFill>
          <a:blip r:embed="rId14"/>
          <a:stretch>
            <a:fillRect/>
          </a:stretch>
        </p:blipFill>
        <p:spPr>
          <a:xfrm>
            <a:off x="-71692" y="0"/>
            <a:ext cx="9215692" cy="5196626"/>
          </a:xfrm>
          <a:prstGeom prst="rect">
            <a:avLst/>
          </a:prstGeom>
        </p:spPr>
      </p:pic>
      <p:sp>
        <p:nvSpPr>
          <p:cNvPr id="1028" name="Rectangle 3"/>
          <p:cNvSpPr>
            <a:spLocks noGrp="1" noChangeArrowheads="1"/>
          </p:cNvSpPr>
          <p:nvPr>
            <p:ph type="body" idx="1"/>
          </p:nvPr>
        </p:nvSpPr>
        <p:spPr bwMode="auto">
          <a:xfrm>
            <a:off x="685800" y="1372870"/>
            <a:ext cx="7772400" cy="2742388"/>
          </a:xfrm>
          <a:prstGeom prst="rect">
            <a:avLst/>
          </a:prstGeom>
          <a:noFill/>
          <a:ln>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p:cNvSpPr txBox="1"/>
          <p:nvPr userDrawn="1"/>
        </p:nvSpPr>
        <p:spPr>
          <a:xfrm>
            <a:off x="6872288" y="5943600"/>
            <a:ext cx="269626" cy="461665"/>
          </a:xfrm>
          <a:prstGeom prst="rect">
            <a:avLst/>
          </a:prstGeom>
          <a:noFill/>
        </p:spPr>
        <p:txBody>
          <a:bodyPr wrap="none" rtlCol="0">
            <a:spAutoFit/>
          </a:bodyPr>
          <a:lstStyle/>
          <a:p>
            <a:r>
              <a:rPr lang="en-US" dirty="0"/>
              <a:t> </a:t>
            </a:r>
          </a:p>
        </p:txBody>
      </p:sp>
      <p:pic>
        <p:nvPicPr>
          <p:cNvPr id="4" name="Picture 3" descr="A close-up of a sign&#10;&#10;Description automatically generated">
            <a:extLst>
              <a:ext uri="{FF2B5EF4-FFF2-40B4-BE49-F238E27FC236}">
                <a16:creationId xmlns:a16="http://schemas.microsoft.com/office/drawing/2014/main" id="{11FA06A4-3B21-E840-85AC-5030B795A4BB}"/>
              </a:ext>
            </a:extLst>
          </p:cNvPr>
          <p:cNvPicPr>
            <a:picLocks noChangeAspect="1"/>
          </p:cNvPicPr>
          <p:nvPr userDrawn="1"/>
        </p:nvPicPr>
        <p:blipFill>
          <a:blip r:embed="rId15"/>
          <a:stretch>
            <a:fillRect/>
          </a:stretch>
        </p:blipFill>
        <p:spPr>
          <a:xfrm>
            <a:off x="7007101" y="4577498"/>
            <a:ext cx="1790699" cy="444928"/>
          </a:xfrm>
          <a:prstGeom prst="rect">
            <a:avLst/>
          </a:prstGeom>
        </p:spPr>
      </p:pic>
    </p:spTree>
    <p:extLst>
      <p:ext uri="{BB962C8B-B14F-4D97-AF65-F5344CB8AC3E}">
        <p14:creationId xmlns:p14="http://schemas.microsoft.com/office/powerpoint/2010/main" val="1070809925"/>
      </p:ext>
    </p:extLst>
  </p:cSld>
  <p:clrMap bg1="lt1" tx1="dk1" bg2="lt2" tx2="dk2" accent1="accent1" accent2="accent2" accent3="accent3" accent4="accent4" accent5="accent5" accent6="accent6" hlink="hlink" folHlink="folHlink"/>
  <p:sldLayoutIdLst>
    <p:sldLayoutId id="2147483660" r:id="rId1"/>
    <p:sldLayoutId id="2147483661" r:id="rId2"/>
    <p:sldLayoutId id="2147483662" r:id="rId3"/>
    <p:sldLayoutId id="2147483663" r:id="rId4"/>
    <p:sldLayoutId id="2147483664" r:id="rId5"/>
    <p:sldLayoutId id="2147483665" r:id="rId6"/>
    <p:sldLayoutId id="2147483666" r:id="rId7"/>
    <p:sldLayoutId id="2147483667" r:id="rId8"/>
    <p:sldLayoutId id="2147483668" r:id="rId9"/>
    <p:sldLayoutId id="2147483669" r:id="rId10"/>
    <p:sldLayoutId id="2147483670" r:id="rId11"/>
    <p:sldLayoutId id="2147483671" r:id="rId12"/>
  </p:sldLayoutIdLst>
  <p:txStyles>
    <p:titleStyle>
      <a:lvl1pPr algn="ctr" rtl="0" eaLnBrk="1" fontAlgn="base" hangingPunct="1">
        <a:spcBef>
          <a:spcPct val="0"/>
        </a:spcBef>
        <a:spcAft>
          <a:spcPct val="0"/>
        </a:spcAft>
        <a:defRPr sz="3600" i="0">
          <a:solidFill>
            <a:schemeClr val="bg1"/>
          </a:solidFill>
          <a:latin typeface="+mn-lt"/>
          <a:ea typeface="+mj-ea"/>
          <a:cs typeface="+mj-cs"/>
        </a:defRPr>
      </a:lvl1pPr>
      <a:lvl2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2pPr>
      <a:lvl3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3pPr>
      <a:lvl4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4pPr>
      <a:lvl5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5pPr>
      <a:lvl6pPr marL="4572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6pPr>
      <a:lvl7pPr marL="9144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7pPr>
      <a:lvl8pPr marL="13716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8pPr>
      <a:lvl9pPr marL="18288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9pPr>
    </p:titleStyle>
    <p:bodyStyle>
      <a:lvl1pPr marL="342900" indent="-342900" algn="l" rtl="0" eaLnBrk="1" fontAlgn="base" hangingPunct="1">
        <a:spcBef>
          <a:spcPct val="20000"/>
        </a:spcBef>
        <a:spcAft>
          <a:spcPct val="0"/>
        </a:spcAft>
        <a:buChar char="•"/>
        <a:defRPr sz="2400">
          <a:solidFill>
            <a:schemeClr val="tx1"/>
          </a:solidFill>
          <a:latin typeface="+mn-lt"/>
          <a:ea typeface="+mn-ea"/>
          <a:cs typeface="+mn-cs"/>
        </a:defRPr>
      </a:lvl1pPr>
      <a:lvl2pPr marL="742950" indent="-285750" algn="l" rtl="0" eaLnBrk="1" fontAlgn="base" hangingPunct="1">
        <a:spcBef>
          <a:spcPct val="20000"/>
        </a:spcBef>
        <a:spcAft>
          <a:spcPct val="0"/>
        </a:spcAft>
        <a:buChar char="–"/>
        <a:defRPr sz="2000">
          <a:solidFill>
            <a:schemeClr val="tx1"/>
          </a:solidFill>
          <a:latin typeface="+mn-lt"/>
          <a:ea typeface="+mn-ea"/>
        </a:defRPr>
      </a:lvl2pPr>
      <a:lvl3pPr marL="1143000" indent="-228600" algn="l" rtl="0" eaLnBrk="1" fontAlgn="base" hangingPunct="1">
        <a:spcBef>
          <a:spcPct val="20000"/>
        </a:spcBef>
        <a:spcAft>
          <a:spcPct val="0"/>
        </a:spcAft>
        <a:buChar char="•"/>
        <a:defRPr>
          <a:solidFill>
            <a:schemeClr val="tx1"/>
          </a:solidFill>
          <a:latin typeface="+mn-lt"/>
          <a:ea typeface="+mn-ea"/>
        </a:defRPr>
      </a:lvl3pPr>
      <a:lvl4pPr marL="1600200" indent="-228600" algn="l" rtl="0" eaLnBrk="1" fontAlgn="base" hangingPunct="1">
        <a:spcBef>
          <a:spcPct val="20000"/>
        </a:spcBef>
        <a:spcAft>
          <a:spcPct val="0"/>
        </a:spcAft>
        <a:defRPr sz="2000">
          <a:solidFill>
            <a:schemeClr val="tx1"/>
          </a:solidFill>
          <a:latin typeface="+mn-lt"/>
          <a:ea typeface="+mn-ea"/>
        </a:defRPr>
      </a:lvl4pPr>
      <a:lvl5pPr marL="2057400" indent="-228600" algn="l" rtl="0" eaLnBrk="1" fontAlgn="base" hangingPunct="1">
        <a:spcBef>
          <a:spcPct val="20000"/>
        </a:spcBef>
        <a:spcAft>
          <a:spcPct val="0"/>
        </a:spcAft>
        <a:buChar char="»"/>
        <a:defRPr sz="2000">
          <a:solidFill>
            <a:schemeClr val="tx1"/>
          </a:solidFill>
          <a:latin typeface="+mn-lt"/>
          <a:ea typeface="+mn-ea"/>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9.jpg"/><Relationship Id="rId3" Type="http://schemas.openxmlformats.org/officeDocument/2006/relationships/image" Target="../media/image4.jpg"/><Relationship Id="rId7" Type="http://schemas.openxmlformats.org/officeDocument/2006/relationships/image" Target="../media/image8.jpg"/><Relationship Id="rId12"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5.xml"/><Relationship Id="rId6" Type="http://schemas.openxmlformats.org/officeDocument/2006/relationships/image" Target="../media/image7.jpg"/><Relationship Id="rId11" Type="http://schemas.openxmlformats.org/officeDocument/2006/relationships/image" Target="../media/image12.jpg"/><Relationship Id="rId5" Type="http://schemas.openxmlformats.org/officeDocument/2006/relationships/image" Target="../media/image6.jpg"/><Relationship Id="rId10" Type="http://schemas.openxmlformats.org/officeDocument/2006/relationships/image" Target="../media/image11.jpg"/><Relationship Id="rId4" Type="http://schemas.openxmlformats.org/officeDocument/2006/relationships/image" Target="../media/image5.jpg"/><Relationship Id="rId9" Type="http://schemas.openxmlformats.org/officeDocument/2006/relationships/image" Target="../media/image10.jp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100.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1.xml"/></Relationships>
</file>

<file path=ppt/slides/_rels/slide101.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Layout" Target="../slideLayouts/slideLayout1.xml"/></Relationships>
</file>

<file path=ppt/slides/_rels/slide102.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Layout" Target="../slideLayouts/slideLayout1.xml"/></Relationships>
</file>

<file path=ppt/slides/_rels/slide103.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Layout" Target="../slideLayouts/slideLayout1.xml"/></Relationships>
</file>

<file path=ppt/slides/_rels/slide104.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Layout" Target="../slideLayouts/slideLayout1.xml"/></Relationships>
</file>

<file path=ppt/slides/_rels/slide105.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Layout" Target="../slideLayouts/slideLayout1.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7.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Layout" Target="../slideLayouts/slideLayout1.xml"/></Relationships>
</file>

<file path=ppt/slides/_rels/slide108.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Layout" Target="../slideLayouts/slideLayout1.xml"/></Relationships>
</file>

<file path=ppt/slides/_rels/slide109.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2.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3.xm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4.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Layout" Target="../slideLayouts/slideLayout3.xml"/></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6.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Layout" Target="../slideLayouts/slideLayout3.xml"/></Relationships>
</file>

<file path=ppt/slides/_rels/slide117.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54.xml"/><Relationship Id="rId1" Type="http://schemas.openxmlformats.org/officeDocument/2006/relationships/slideLayout" Target="../slideLayouts/slideLayout3.xml"/></Relationships>
</file>

<file path=ppt/slides/_rels/slide11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9.xml.rels><?xml version="1.0" encoding="UTF-8" standalone="yes"?>
<Relationships xmlns="http://schemas.openxmlformats.org/package/2006/relationships"><Relationship Id="rId2" Type="http://schemas.openxmlformats.org/officeDocument/2006/relationships/image" Target="../media/image106.jpe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20.xml.rels><?xml version="1.0" encoding="UTF-8" standalone="yes"?>
<Relationships xmlns="http://schemas.openxmlformats.org/package/2006/relationships"><Relationship Id="rId8" Type="http://schemas.openxmlformats.org/officeDocument/2006/relationships/image" Target="../media/image9.jpg"/><Relationship Id="rId3" Type="http://schemas.openxmlformats.org/officeDocument/2006/relationships/image" Target="../media/image4.jpg"/><Relationship Id="rId7" Type="http://schemas.openxmlformats.org/officeDocument/2006/relationships/image" Target="../media/image8.jpg"/><Relationship Id="rId12" Type="http://schemas.openxmlformats.org/officeDocument/2006/relationships/image" Target="../media/image2.png"/><Relationship Id="rId2" Type="http://schemas.openxmlformats.org/officeDocument/2006/relationships/notesSlide" Target="../notesSlides/notesSlide55.xml"/><Relationship Id="rId1" Type="http://schemas.openxmlformats.org/officeDocument/2006/relationships/slideLayout" Target="../slideLayouts/slideLayout5.xml"/><Relationship Id="rId6" Type="http://schemas.openxmlformats.org/officeDocument/2006/relationships/image" Target="../media/image7.jpg"/><Relationship Id="rId11" Type="http://schemas.openxmlformats.org/officeDocument/2006/relationships/image" Target="../media/image12.jpg"/><Relationship Id="rId5" Type="http://schemas.openxmlformats.org/officeDocument/2006/relationships/image" Target="../media/image6.jpg"/><Relationship Id="rId10" Type="http://schemas.openxmlformats.org/officeDocument/2006/relationships/image" Target="../media/image11.jpg"/><Relationship Id="rId4" Type="http://schemas.openxmlformats.org/officeDocument/2006/relationships/image" Target="../media/image5.jpg"/><Relationship Id="rId9" Type="http://schemas.openxmlformats.org/officeDocument/2006/relationships/image" Target="../media/image10.jpg"/></Relationships>
</file>

<file path=ppt/slides/_rels/slide121.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1.xml"/></Relationships>
</file>

<file path=ppt/slides/_rels/slide12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2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24.xml.rels><?xml version="1.0" encoding="UTF-8" standalone="yes"?>
<Relationships xmlns="http://schemas.openxmlformats.org/package/2006/relationships"><Relationship Id="rId2" Type="http://schemas.openxmlformats.org/officeDocument/2006/relationships/image" Target="../media/image107.png"/><Relationship Id="rId1" Type="http://schemas.openxmlformats.org/officeDocument/2006/relationships/slideLayout" Target="../slideLayouts/slideLayout2.xml"/></Relationships>
</file>

<file path=ppt/slides/_rels/slide125.xml.rels><?xml version="1.0" encoding="UTF-8" standalone="yes"?>
<Relationships xmlns="http://schemas.openxmlformats.org/package/2006/relationships"><Relationship Id="rId2" Type="http://schemas.openxmlformats.org/officeDocument/2006/relationships/image" Target="../media/image108.png"/><Relationship Id="rId1" Type="http://schemas.openxmlformats.org/officeDocument/2006/relationships/slideLayout" Target="../slideLayouts/slideLayout2.xml"/></Relationships>
</file>

<file path=ppt/slides/_rels/slide126.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9.xml"/></Relationships>
</file>

<file path=ppt/slides/_rels/slide127.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9.xml"/></Relationships>
</file>

<file path=ppt/slides/_rels/slide128.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9.xml"/></Relationships>
</file>

<file path=ppt/slides/_rels/slide129.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60.xml"/><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30.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9.xml"/></Relationships>
</file>

<file path=ppt/slides/_rels/slide131.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9.xml"/></Relationships>
</file>

<file path=ppt/slides/_rels/slide132.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9.xml"/></Relationships>
</file>

<file path=ppt/slides/_rels/slide133.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9.xml"/></Relationships>
</file>

<file path=ppt/slides/_rels/slide134.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9.xml"/></Relationships>
</file>

<file path=ppt/slides/_rels/slide135.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9.xml"/></Relationships>
</file>

<file path=ppt/slides/_rels/slide136.xml.rels><?xml version="1.0" encoding="UTF-8" standalone="yes"?>
<Relationships xmlns="http://schemas.openxmlformats.org/package/2006/relationships"><Relationship Id="rId2" Type="http://schemas.openxmlformats.org/officeDocument/2006/relationships/image" Target="../media/image109.png"/><Relationship Id="rId1" Type="http://schemas.openxmlformats.org/officeDocument/2006/relationships/slideLayout" Target="../slideLayouts/slideLayout9.xml"/></Relationships>
</file>

<file path=ppt/slides/_rels/slide137.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9.xml"/></Relationships>
</file>

<file path=ppt/slides/_rels/slide138.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9.xml"/></Relationships>
</file>

<file path=ppt/slides/_rels/slide139.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69.xml"/><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8" Type="http://schemas.openxmlformats.org/officeDocument/2006/relationships/customXml" Target="../ink/ink3.xml"/><Relationship Id="rId13" Type="http://schemas.openxmlformats.org/officeDocument/2006/relationships/customXml" Target="../ink/ink6.xml"/><Relationship Id="rId3" Type="http://schemas.openxmlformats.org/officeDocument/2006/relationships/image" Target="../media/image22.png"/><Relationship Id="rId7" Type="http://schemas.openxmlformats.org/officeDocument/2006/relationships/image" Target="../media/image23.png"/><Relationship Id="rId12" Type="http://schemas.openxmlformats.org/officeDocument/2006/relationships/customXml" Target="../ink/ink5.xml"/><Relationship Id="rId2" Type="http://schemas.openxmlformats.org/officeDocument/2006/relationships/notesSlide" Target="../notesSlides/notesSlide12.xml"/><Relationship Id="rId1" Type="http://schemas.openxmlformats.org/officeDocument/2006/relationships/slideLayout" Target="../slideLayouts/slideLayout1.xml"/><Relationship Id="rId6" Type="http://schemas.openxmlformats.org/officeDocument/2006/relationships/customXml" Target="../ink/ink2.xml"/><Relationship Id="rId11" Type="http://schemas.openxmlformats.org/officeDocument/2006/relationships/image" Target="../media/image25.png"/><Relationship Id="rId5" Type="http://schemas.openxmlformats.org/officeDocument/2006/relationships/image" Target="../media/image220.png"/><Relationship Id="rId10" Type="http://schemas.openxmlformats.org/officeDocument/2006/relationships/customXml" Target="../ink/ink4.xml"/><Relationship Id="rId4" Type="http://schemas.openxmlformats.org/officeDocument/2006/relationships/customXml" Target="../ink/ink1.xml"/><Relationship Id="rId9" Type="http://schemas.openxmlformats.org/officeDocument/2006/relationships/image" Target="../media/image24.png"/><Relationship Id="rId14" Type="http://schemas.openxmlformats.org/officeDocument/2006/relationships/customXml" Target="../ink/ink7.xml"/></Relationships>
</file>

<file path=ppt/slides/_rels/slide140.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9.xml"/></Relationships>
</file>

<file path=ppt/slides/_rels/slide141.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9.xml"/></Relationships>
</file>

<file path=ppt/slides/_rels/slide14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3.xml.rels><?xml version="1.0" encoding="UTF-8" standalone="yes"?>
<Relationships xmlns="http://schemas.openxmlformats.org/package/2006/relationships"><Relationship Id="rId8" Type="http://schemas.openxmlformats.org/officeDocument/2006/relationships/image" Target="../media/image115.jpeg"/><Relationship Id="rId3" Type="http://schemas.openxmlformats.org/officeDocument/2006/relationships/oleObject" Target="../embeddings/oleObject1.bin"/><Relationship Id="rId7" Type="http://schemas.openxmlformats.org/officeDocument/2006/relationships/image" Target="../media/image114.jpeg"/><Relationship Id="rId2" Type="http://schemas.openxmlformats.org/officeDocument/2006/relationships/slideLayout" Target="../slideLayouts/slideLayout4.xml"/><Relationship Id="rId1" Type="http://schemas.openxmlformats.org/officeDocument/2006/relationships/tags" Target="../tags/tag1.xml"/><Relationship Id="rId6" Type="http://schemas.openxmlformats.org/officeDocument/2006/relationships/image" Target="../media/image113.jpeg"/><Relationship Id="rId5" Type="http://schemas.openxmlformats.org/officeDocument/2006/relationships/image" Target="../media/image112.jpeg"/><Relationship Id="rId4" Type="http://schemas.openxmlformats.org/officeDocument/2006/relationships/image" Target="../media/image111.emf"/></Relationships>
</file>

<file path=ppt/slides/_rels/slide144.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72.xml"/><Relationship Id="rId1" Type="http://schemas.openxmlformats.org/officeDocument/2006/relationships/slideLayout" Target="../slideLayouts/slideLayout10.xml"/></Relationships>
</file>

<file path=ppt/slides/_rels/slide145.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73.xml"/><Relationship Id="rId1" Type="http://schemas.openxmlformats.org/officeDocument/2006/relationships/slideLayout" Target="../slideLayouts/slideLayout10.xml"/></Relationships>
</file>

<file path=ppt/slides/_rels/slide146.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74.xml"/><Relationship Id="rId1" Type="http://schemas.openxmlformats.org/officeDocument/2006/relationships/slideLayout" Target="../slideLayouts/slideLayout10.xml"/></Relationships>
</file>

<file path=ppt/slides/_rels/slide147.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75.xml"/><Relationship Id="rId1" Type="http://schemas.openxmlformats.org/officeDocument/2006/relationships/slideLayout" Target="../slideLayouts/slideLayout10.xml"/></Relationships>
</file>

<file path=ppt/slides/_rels/slide148.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image" Target="../media/image120.png"/><Relationship Id="rId1" Type="http://schemas.openxmlformats.org/officeDocument/2006/relationships/slideLayout" Target="../slideLayouts/slideLayout10.xml"/><Relationship Id="rId4" Type="http://schemas.openxmlformats.org/officeDocument/2006/relationships/image" Target="../media/image122.png"/></Relationships>
</file>

<file path=ppt/slides/_rels/slide1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5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53.xml.rels><?xml version="1.0" encoding="UTF-8" standalone="yes"?>
<Relationships xmlns="http://schemas.openxmlformats.org/package/2006/relationships"><Relationship Id="rId8" Type="http://schemas.openxmlformats.org/officeDocument/2006/relationships/image" Target="../media/image9.jpg"/><Relationship Id="rId3" Type="http://schemas.openxmlformats.org/officeDocument/2006/relationships/image" Target="../media/image4.jpg"/><Relationship Id="rId7" Type="http://schemas.openxmlformats.org/officeDocument/2006/relationships/image" Target="../media/image8.jpg"/><Relationship Id="rId12" Type="http://schemas.openxmlformats.org/officeDocument/2006/relationships/image" Target="../media/image2.png"/><Relationship Id="rId2" Type="http://schemas.openxmlformats.org/officeDocument/2006/relationships/notesSlide" Target="../notesSlides/notesSlide76.xml"/><Relationship Id="rId1" Type="http://schemas.openxmlformats.org/officeDocument/2006/relationships/slideLayout" Target="../slideLayouts/slideLayout5.xml"/><Relationship Id="rId6" Type="http://schemas.openxmlformats.org/officeDocument/2006/relationships/image" Target="../media/image7.jpg"/><Relationship Id="rId11" Type="http://schemas.openxmlformats.org/officeDocument/2006/relationships/image" Target="../media/image12.jpg"/><Relationship Id="rId5" Type="http://schemas.openxmlformats.org/officeDocument/2006/relationships/image" Target="../media/image6.jpg"/><Relationship Id="rId10" Type="http://schemas.openxmlformats.org/officeDocument/2006/relationships/image" Target="../media/image11.jpg"/><Relationship Id="rId4" Type="http://schemas.openxmlformats.org/officeDocument/2006/relationships/image" Target="../media/image5.jpg"/><Relationship Id="rId9" Type="http://schemas.openxmlformats.org/officeDocument/2006/relationships/image" Target="../media/image10.jpg"/></Relationships>
</file>

<file path=ppt/slides/_rels/slide154.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1.xml"/></Relationships>
</file>

<file path=ppt/slides/_rels/slide15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4.xml"/><Relationship Id="rId1" Type="http://schemas.openxmlformats.org/officeDocument/2006/relationships/slideLayout" Target="../slideLayouts/slideLayout1.xml"/><Relationship Id="rId4" Type="http://schemas.openxmlformats.org/officeDocument/2006/relationships/image" Target="../media/image27.png"/></Relationships>
</file>

<file path=ppt/slides/_rels/slide160.xml.rels><?xml version="1.0" encoding="UTF-8" standalone="yes"?>
<Relationships xmlns="http://schemas.openxmlformats.org/package/2006/relationships"><Relationship Id="rId2" Type="http://schemas.openxmlformats.org/officeDocument/2006/relationships/image" Target="../media/image123.png"/><Relationship Id="rId1" Type="http://schemas.openxmlformats.org/officeDocument/2006/relationships/slideLayout" Target="../slideLayouts/slideLayout3.xml"/></Relationships>
</file>

<file path=ppt/slides/_rels/slide16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2.xml.rels><?xml version="1.0" encoding="UTF-8" standalone="yes"?>
<Relationships xmlns="http://schemas.openxmlformats.org/package/2006/relationships"><Relationship Id="rId2" Type="http://schemas.openxmlformats.org/officeDocument/2006/relationships/image" Target="../media/image124.png"/><Relationship Id="rId1" Type="http://schemas.openxmlformats.org/officeDocument/2006/relationships/slideLayout" Target="../slideLayouts/slideLayout3.xml"/></Relationships>
</file>

<file path=ppt/slides/_rels/slide16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5.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image" Target="../media/image125.png"/><Relationship Id="rId1" Type="http://schemas.openxmlformats.org/officeDocument/2006/relationships/slideLayout" Target="../slideLayouts/slideLayout3.xml"/></Relationships>
</file>

<file path=ppt/slides/_rels/slide16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8.xml.rels><?xml version="1.0" encoding="UTF-8" standalone="yes"?>
<Relationships xmlns="http://schemas.openxmlformats.org/package/2006/relationships"><Relationship Id="rId2" Type="http://schemas.openxmlformats.org/officeDocument/2006/relationships/image" Target="../media/image127.png"/><Relationship Id="rId1" Type="http://schemas.openxmlformats.org/officeDocument/2006/relationships/slideLayout" Target="../slideLayouts/slideLayout3.xml"/></Relationships>
</file>

<file path=ppt/slides/_rels/slide16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170.xml.rels><?xml version="1.0" encoding="UTF-8" standalone="yes"?>
<Relationships xmlns="http://schemas.openxmlformats.org/package/2006/relationships"><Relationship Id="rId2" Type="http://schemas.openxmlformats.org/officeDocument/2006/relationships/image" Target="../media/image128.png"/><Relationship Id="rId1" Type="http://schemas.openxmlformats.org/officeDocument/2006/relationships/slideLayout" Target="../slideLayouts/slideLayout3.xml"/></Relationships>
</file>

<file path=ppt/slides/_rels/slide17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7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5.xml.rels><?xml version="1.0" encoding="UTF-8" standalone="yes"?>
<Relationships xmlns="http://schemas.openxmlformats.org/package/2006/relationships"><Relationship Id="rId2" Type="http://schemas.openxmlformats.org/officeDocument/2006/relationships/image" Target="../media/image129.png"/><Relationship Id="rId1" Type="http://schemas.openxmlformats.org/officeDocument/2006/relationships/slideLayout" Target="../slideLayouts/slideLayout3.xml"/></Relationships>
</file>

<file path=ppt/slides/_rels/slide17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77.xml.rels><?xml version="1.0" encoding="UTF-8" standalone="yes"?>
<Relationships xmlns="http://schemas.openxmlformats.org/package/2006/relationships"><Relationship Id="rId8" Type="http://schemas.openxmlformats.org/officeDocument/2006/relationships/image" Target="../media/image9.jpg"/><Relationship Id="rId3" Type="http://schemas.openxmlformats.org/officeDocument/2006/relationships/image" Target="../media/image4.jpg"/><Relationship Id="rId7" Type="http://schemas.openxmlformats.org/officeDocument/2006/relationships/image" Target="../media/image8.jpg"/><Relationship Id="rId12" Type="http://schemas.openxmlformats.org/officeDocument/2006/relationships/image" Target="../media/image2.png"/><Relationship Id="rId2" Type="http://schemas.openxmlformats.org/officeDocument/2006/relationships/notesSlide" Target="../notesSlides/notesSlide78.xml"/><Relationship Id="rId1" Type="http://schemas.openxmlformats.org/officeDocument/2006/relationships/slideLayout" Target="../slideLayouts/slideLayout5.xml"/><Relationship Id="rId6" Type="http://schemas.openxmlformats.org/officeDocument/2006/relationships/image" Target="../media/image7.jpg"/><Relationship Id="rId11" Type="http://schemas.openxmlformats.org/officeDocument/2006/relationships/image" Target="../media/image12.jpg"/><Relationship Id="rId5" Type="http://schemas.openxmlformats.org/officeDocument/2006/relationships/image" Target="../media/image6.jpg"/><Relationship Id="rId10" Type="http://schemas.openxmlformats.org/officeDocument/2006/relationships/image" Target="../media/image11.jpg"/><Relationship Id="rId4" Type="http://schemas.openxmlformats.org/officeDocument/2006/relationships/image" Target="../media/image5.jpg"/><Relationship Id="rId9" Type="http://schemas.openxmlformats.org/officeDocument/2006/relationships/image" Target="../media/image10.jpg"/></Relationships>
</file>

<file path=ppt/slides/_rels/slide178.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1.xml"/></Relationships>
</file>

<file path=ppt/slides/_rels/slide17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180.xml.rels><?xml version="1.0" encoding="UTF-8" standalone="yes"?>
<Relationships xmlns="http://schemas.openxmlformats.org/package/2006/relationships"><Relationship Id="rId2" Type="http://schemas.openxmlformats.org/officeDocument/2006/relationships/image" Target="../media/image130.png"/><Relationship Id="rId1" Type="http://schemas.openxmlformats.org/officeDocument/2006/relationships/slideLayout" Target="../slideLayouts/slideLayout4.xml"/></Relationships>
</file>

<file path=ppt/slides/_rels/slide181.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image" Target="../media/image131.png"/><Relationship Id="rId1" Type="http://schemas.openxmlformats.org/officeDocument/2006/relationships/slideLayout" Target="../slideLayouts/slideLayout4.xml"/></Relationships>
</file>

<file path=ppt/slides/_rels/slide182.xml.rels><?xml version="1.0" encoding="UTF-8" standalone="yes"?>
<Relationships xmlns="http://schemas.openxmlformats.org/package/2006/relationships"><Relationship Id="rId2" Type="http://schemas.openxmlformats.org/officeDocument/2006/relationships/image" Target="../media/image130.png"/><Relationship Id="rId1" Type="http://schemas.openxmlformats.org/officeDocument/2006/relationships/slideLayout" Target="../slideLayouts/slideLayout4.xml"/></Relationships>
</file>

<file path=ppt/slides/_rels/slide18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5.xml.rels><?xml version="1.0" encoding="UTF-8" standalone="yes"?>
<Relationships xmlns="http://schemas.openxmlformats.org/package/2006/relationships"><Relationship Id="rId2" Type="http://schemas.openxmlformats.org/officeDocument/2006/relationships/image" Target="../media/image132.jpeg"/><Relationship Id="rId1" Type="http://schemas.openxmlformats.org/officeDocument/2006/relationships/slideLayout" Target="../slideLayouts/slideLayout2.xml"/></Relationships>
</file>

<file path=ppt/slides/_rels/slide186.xml.rels><?xml version="1.0" encoding="UTF-8" standalone="yes"?>
<Relationships xmlns="http://schemas.openxmlformats.org/package/2006/relationships"><Relationship Id="rId2" Type="http://schemas.openxmlformats.org/officeDocument/2006/relationships/image" Target="../media/image133.jpeg"/><Relationship Id="rId1" Type="http://schemas.openxmlformats.org/officeDocument/2006/relationships/slideLayout" Target="../slideLayouts/slideLayout2.xml"/></Relationships>
</file>

<file path=ppt/slides/_rels/slide187.xml.rels><?xml version="1.0" encoding="UTF-8" standalone="yes"?>
<Relationships xmlns="http://schemas.openxmlformats.org/package/2006/relationships"><Relationship Id="rId2" Type="http://schemas.openxmlformats.org/officeDocument/2006/relationships/image" Target="../media/image134.jpeg"/><Relationship Id="rId1" Type="http://schemas.openxmlformats.org/officeDocument/2006/relationships/slideLayout" Target="../slideLayouts/slideLayout4.xml"/></Relationships>
</file>

<file path=ppt/slides/_rels/slide188.xml.rels><?xml version="1.0" encoding="UTF-8" standalone="yes"?>
<Relationships xmlns="http://schemas.openxmlformats.org/package/2006/relationships"><Relationship Id="rId2" Type="http://schemas.openxmlformats.org/officeDocument/2006/relationships/image" Target="../media/image134.jpeg"/><Relationship Id="rId1" Type="http://schemas.openxmlformats.org/officeDocument/2006/relationships/slideLayout" Target="../slideLayouts/slideLayout2.xml"/></Relationships>
</file>

<file path=ppt/slides/_rels/slide189.xml.rels><?xml version="1.0" encoding="UTF-8" standalone="yes"?>
<Relationships xmlns="http://schemas.openxmlformats.org/package/2006/relationships"><Relationship Id="rId2" Type="http://schemas.openxmlformats.org/officeDocument/2006/relationships/image" Target="../media/image134.jpe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7.xml"/><Relationship Id="rId1" Type="http://schemas.openxmlformats.org/officeDocument/2006/relationships/slideLayout" Target="../slideLayouts/slideLayout3.xml"/><Relationship Id="rId4" Type="http://schemas.openxmlformats.org/officeDocument/2006/relationships/image" Target="../media/image30.png"/></Relationships>
</file>

<file path=ppt/slides/_rels/slide19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1.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136.jpeg"/><Relationship Id="rId5" Type="http://schemas.openxmlformats.org/officeDocument/2006/relationships/image" Target="../media/image135.jpeg"/><Relationship Id="rId4" Type="http://schemas.openxmlformats.org/officeDocument/2006/relationships/slideLayout" Target="../slideLayouts/slideLayout2.xml"/></Relationships>
</file>

<file path=ppt/slides/_rels/slide192.xml.rels><?xml version="1.0" encoding="UTF-8" standalone="yes"?>
<Relationships xmlns="http://schemas.openxmlformats.org/package/2006/relationships"><Relationship Id="rId2" Type="http://schemas.openxmlformats.org/officeDocument/2006/relationships/image" Target="../media/image137.png"/><Relationship Id="rId1" Type="http://schemas.openxmlformats.org/officeDocument/2006/relationships/slideLayout" Target="../slideLayouts/slideLayout2.xml"/></Relationships>
</file>

<file path=ppt/slides/_rels/slide193.xml.rels><?xml version="1.0" encoding="UTF-8" standalone="yes"?>
<Relationships xmlns="http://schemas.openxmlformats.org/package/2006/relationships"><Relationship Id="rId2" Type="http://schemas.openxmlformats.org/officeDocument/2006/relationships/image" Target="../media/image137.png"/><Relationship Id="rId1" Type="http://schemas.openxmlformats.org/officeDocument/2006/relationships/slideLayout" Target="../slideLayouts/slideLayout2.xml"/></Relationships>
</file>

<file path=ppt/slides/_rels/slide194.xml.rels><?xml version="1.0" encoding="UTF-8" standalone="yes"?>
<Relationships xmlns="http://schemas.openxmlformats.org/package/2006/relationships"><Relationship Id="rId2" Type="http://schemas.openxmlformats.org/officeDocument/2006/relationships/image" Target="../media/image138.png"/><Relationship Id="rId1" Type="http://schemas.openxmlformats.org/officeDocument/2006/relationships/slideLayout" Target="../slideLayouts/slideLayout2.xml"/></Relationships>
</file>

<file path=ppt/slides/_rels/slide195.xml.rels><?xml version="1.0" encoding="UTF-8" standalone="yes"?>
<Relationships xmlns="http://schemas.openxmlformats.org/package/2006/relationships"><Relationship Id="rId2" Type="http://schemas.openxmlformats.org/officeDocument/2006/relationships/image" Target="../media/image139.png"/><Relationship Id="rId1" Type="http://schemas.openxmlformats.org/officeDocument/2006/relationships/slideLayout" Target="../slideLayouts/slideLayout2.xml"/></Relationships>
</file>

<file path=ppt/slides/_rels/slide19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7.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image" Target="../media/image140.png"/><Relationship Id="rId1" Type="http://schemas.openxmlformats.org/officeDocument/2006/relationships/slideLayout" Target="../slideLayouts/slideLayout2.xml"/></Relationships>
</file>

<file path=ppt/slides/_rels/slide198.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80.xml"/><Relationship Id="rId1" Type="http://schemas.openxmlformats.org/officeDocument/2006/relationships/slideLayout" Target="../slideLayouts/slideLayout2.xml"/></Relationships>
</file>

<file path=ppt/slides/_rels/slide199.xml.rels><?xml version="1.0" encoding="UTF-8" standalone="yes"?>
<Relationships xmlns="http://schemas.openxmlformats.org/package/2006/relationships"><Relationship Id="rId2" Type="http://schemas.openxmlformats.org/officeDocument/2006/relationships/image" Target="../media/image143.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200.xml.rels><?xml version="1.0" encoding="UTF-8" standalone="yes"?>
<Relationships xmlns="http://schemas.openxmlformats.org/package/2006/relationships"><Relationship Id="rId2" Type="http://schemas.openxmlformats.org/officeDocument/2006/relationships/image" Target="../media/image144.png"/><Relationship Id="rId1" Type="http://schemas.openxmlformats.org/officeDocument/2006/relationships/slideLayout" Target="../slideLayouts/slideLayout2.xml"/></Relationships>
</file>

<file path=ppt/slides/_rels/slide201.xml.rels><?xml version="1.0" encoding="UTF-8" standalone="yes"?>
<Relationships xmlns="http://schemas.openxmlformats.org/package/2006/relationships"><Relationship Id="rId2" Type="http://schemas.openxmlformats.org/officeDocument/2006/relationships/image" Target="../media/image145.png"/><Relationship Id="rId1" Type="http://schemas.openxmlformats.org/officeDocument/2006/relationships/slideLayout" Target="../slideLayouts/slideLayout2.xml"/></Relationships>
</file>

<file path=ppt/slides/_rels/slide202.xml.rels><?xml version="1.0" encoding="UTF-8" standalone="yes"?>
<Relationships xmlns="http://schemas.openxmlformats.org/package/2006/relationships"><Relationship Id="rId2" Type="http://schemas.openxmlformats.org/officeDocument/2006/relationships/image" Target="../media/image146.jpeg"/><Relationship Id="rId1" Type="http://schemas.openxmlformats.org/officeDocument/2006/relationships/slideLayout" Target="../slideLayouts/slideLayout2.xml"/></Relationships>
</file>

<file path=ppt/slides/_rels/slide20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8.xml.rels><?xml version="1.0" encoding="UTF-8" standalone="yes"?>
<Relationships xmlns="http://schemas.openxmlformats.org/package/2006/relationships"><Relationship Id="rId2" Type="http://schemas.openxmlformats.org/officeDocument/2006/relationships/image" Target="../media/image147.png"/><Relationship Id="rId1" Type="http://schemas.openxmlformats.org/officeDocument/2006/relationships/slideLayout" Target="../slideLayouts/slideLayout2.xml"/></Relationships>
</file>

<file path=ppt/slides/_rels/slide209.xml.rels><?xml version="1.0" encoding="UTF-8" standalone="yes"?>
<Relationships xmlns="http://schemas.openxmlformats.org/package/2006/relationships"><Relationship Id="rId2" Type="http://schemas.openxmlformats.org/officeDocument/2006/relationships/image" Target="../media/image148.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9.xml"/><Relationship Id="rId1" Type="http://schemas.openxmlformats.org/officeDocument/2006/relationships/slideLayout" Target="../slideLayouts/slideLayout3.xml"/><Relationship Id="rId4" Type="http://schemas.openxmlformats.org/officeDocument/2006/relationships/image" Target="../media/image33.png"/></Relationships>
</file>

<file path=ppt/slides/_rels/slide210.xml.rels><?xml version="1.0" encoding="UTF-8" standalone="yes"?>
<Relationships xmlns="http://schemas.openxmlformats.org/package/2006/relationships"><Relationship Id="rId8" Type="http://schemas.openxmlformats.org/officeDocument/2006/relationships/image" Target="../media/image9.jpg"/><Relationship Id="rId3" Type="http://schemas.openxmlformats.org/officeDocument/2006/relationships/image" Target="../media/image4.jpg"/><Relationship Id="rId7" Type="http://schemas.openxmlformats.org/officeDocument/2006/relationships/image" Target="../media/image8.jpg"/><Relationship Id="rId12" Type="http://schemas.openxmlformats.org/officeDocument/2006/relationships/image" Target="../media/image2.png"/><Relationship Id="rId2" Type="http://schemas.openxmlformats.org/officeDocument/2006/relationships/notesSlide" Target="../notesSlides/notesSlide81.xml"/><Relationship Id="rId1" Type="http://schemas.openxmlformats.org/officeDocument/2006/relationships/slideLayout" Target="../slideLayouts/slideLayout5.xml"/><Relationship Id="rId6" Type="http://schemas.openxmlformats.org/officeDocument/2006/relationships/image" Target="../media/image7.jpg"/><Relationship Id="rId11" Type="http://schemas.openxmlformats.org/officeDocument/2006/relationships/image" Target="../media/image12.jpg"/><Relationship Id="rId5" Type="http://schemas.openxmlformats.org/officeDocument/2006/relationships/image" Target="../media/image6.jpg"/><Relationship Id="rId10" Type="http://schemas.openxmlformats.org/officeDocument/2006/relationships/image" Target="../media/image11.jpg"/><Relationship Id="rId4" Type="http://schemas.openxmlformats.org/officeDocument/2006/relationships/image" Target="../media/image5.jpg"/><Relationship Id="rId9" Type="http://schemas.openxmlformats.org/officeDocument/2006/relationships/image" Target="../media/image10.jpg"/></Relationships>
</file>

<file path=ppt/slides/_rels/slide2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82.xml"/><Relationship Id="rId1" Type="http://schemas.openxmlformats.org/officeDocument/2006/relationships/slideLayout" Target="../slideLayouts/slideLayout1.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_rels/slide21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4.xml"/></Relationships>
</file>

<file path=ppt/slides/_rels/slide214.xml.rels><?xml version="1.0" encoding="UTF-8" standalone="yes"?>
<Relationships xmlns="http://schemas.openxmlformats.org/package/2006/relationships"><Relationship Id="rId2" Type="http://schemas.openxmlformats.org/officeDocument/2006/relationships/image" Target="../media/image149.png"/><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1.xml"/><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2.xml"/><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3.xml"/><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3" Type="http://schemas.openxmlformats.org/officeDocument/2006/relationships/image" Target="../media/image37.jp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5.xml"/><Relationship Id="rId1" Type="http://schemas.openxmlformats.org/officeDocument/2006/relationships/slideLayout" Target="../slideLayouts/slideLayout3.xml"/><Relationship Id="rId4" Type="http://schemas.openxmlformats.org/officeDocument/2006/relationships/image" Target="../media/image39.png"/></Relationships>
</file>

<file path=ppt/slides/_rels/slide2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6.xml"/><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27.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32.xml"/><Relationship Id="rId1" Type="http://schemas.openxmlformats.org/officeDocument/2006/relationships/slideLayout" Target="../slideLayouts/slideLayout1.xml"/><Relationship Id="rId5" Type="http://schemas.openxmlformats.org/officeDocument/2006/relationships/image" Target="../media/image44.png"/><Relationship Id="rId4" Type="http://schemas.openxmlformats.org/officeDocument/2006/relationships/image" Target="../media/image43.png"/></Relationships>
</file>

<file path=ppt/slides/_rels/slide35.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33.xml"/><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34.xml"/><Relationship Id="rId1" Type="http://schemas.openxmlformats.org/officeDocument/2006/relationships/slideLayout" Target="../slideLayouts/slideLayout3.xml"/><Relationship Id="rId4" Type="http://schemas.openxmlformats.org/officeDocument/2006/relationships/image" Target="../media/image47.png"/></Relationships>
</file>

<file path=ppt/slides/_rels/slide37.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35.xml"/><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36.xml"/><Relationship Id="rId1" Type="http://schemas.openxmlformats.org/officeDocument/2006/relationships/slideLayout" Target="../slideLayouts/slideLayout1.xml"/><Relationship Id="rId4" Type="http://schemas.openxmlformats.org/officeDocument/2006/relationships/image" Target="../media/image50.png"/></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xml"/></Relationships>
</file>

<file path=ppt/slides/_rels/slide4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39.xml"/><Relationship Id="rId1" Type="http://schemas.openxmlformats.org/officeDocument/2006/relationships/slideLayout" Target="../slideLayouts/slideLayout1.xml"/></Relationships>
</file>

<file path=ppt/slides/_rels/slide42.xml.rels><?xml version="1.0" encoding="UTF-8" standalone="yes"?>
<Relationships xmlns="http://schemas.openxmlformats.org/package/2006/relationships"><Relationship Id="rId3" Type="http://schemas.openxmlformats.org/officeDocument/2006/relationships/image" Target="../media/image52.jpg"/><Relationship Id="rId2" Type="http://schemas.openxmlformats.org/officeDocument/2006/relationships/notesSlide" Target="../notesSlides/notesSlide40.xml"/><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41.xml"/><Relationship Id="rId1" Type="http://schemas.openxmlformats.org/officeDocument/2006/relationships/slideLayout" Target="../slideLayouts/slideLayout1.xml"/></Relationships>
</file>

<file path=ppt/slides/_rels/slide44.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42.xml"/><Relationship Id="rId1" Type="http://schemas.openxmlformats.org/officeDocument/2006/relationships/slideLayout" Target="../slideLayouts/slideLayout1.xml"/></Relationships>
</file>

<file path=ppt/slides/_rels/slide45.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43.xml"/><Relationship Id="rId1" Type="http://schemas.openxmlformats.org/officeDocument/2006/relationships/slideLayout" Target="../slideLayouts/slideLayout1.xml"/></Relationships>
</file>

<file path=ppt/slides/_rels/slide46.xml.rels><?xml version="1.0" encoding="UTF-8" standalone="yes"?>
<Relationships xmlns="http://schemas.openxmlformats.org/package/2006/relationships"><Relationship Id="rId3" Type="http://schemas.openxmlformats.org/officeDocument/2006/relationships/image" Target="../media/image56.jpg"/><Relationship Id="rId2" Type="http://schemas.openxmlformats.org/officeDocument/2006/relationships/notesSlide" Target="../notesSlides/notesSlide44.xml"/><Relationship Id="rId1" Type="http://schemas.openxmlformats.org/officeDocument/2006/relationships/slideLayout" Target="../slideLayouts/slideLayout1.xml"/></Relationships>
</file>

<file path=ppt/slides/_rels/slide47.xml.rels><?xml version="1.0" encoding="UTF-8" standalone="yes"?>
<Relationships xmlns="http://schemas.openxmlformats.org/package/2006/relationships"><Relationship Id="rId3" Type="http://schemas.openxmlformats.org/officeDocument/2006/relationships/image" Target="../media/image57.emf"/><Relationship Id="rId2" Type="http://schemas.openxmlformats.org/officeDocument/2006/relationships/notesSlide" Target="../notesSlides/notesSlide45.xml"/><Relationship Id="rId1" Type="http://schemas.openxmlformats.org/officeDocument/2006/relationships/slideLayout" Target="../slideLayouts/slideLayout3.xml"/><Relationship Id="rId4" Type="http://schemas.openxmlformats.org/officeDocument/2006/relationships/image" Target="../media/image58.jpg"/></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50.xml.rels><?xml version="1.0" encoding="UTF-8" standalone="yes"?>
<Relationships xmlns="http://schemas.openxmlformats.org/package/2006/relationships"><Relationship Id="rId8" Type="http://schemas.openxmlformats.org/officeDocument/2006/relationships/image" Target="../media/image9.jpg"/><Relationship Id="rId3" Type="http://schemas.openxmlformats.org/officeDocument/2006/relationships/image" Target="../media/image4.jpg"/><Relationship Id="rId7" Type="http://schemas.openxmlformats.org/officeDocument/2006/relationships/image" Target="../media/image8.jpg"/><Relationship Id="rId12" Type="http://schemas.openxmlformats.org/officeDocument/2006/relationships/image" Target="../media/image2.png"/><Relationship Id="rId2" Type="http://schemas.openxmlformats.org/officeDocument/2006/relationships/notesSlide" Target="../notesSlides/notesSlide48.xml"/><Relationship Id="rId1" Type="http://schemas.openxmlformats.org/officeDocument/2006/relationships/slideLayout" Target="../slideLayouts/slideLayout5.xml"/><Relationship Id="rId6" Type="http://schemas.openxmlformats.org/officeDocument/2006/relationships/image" Target="../media/image7.jpg"/><Relationship Id="rId11" Type="http://schemas.openxmlformats.org/officeDocument/2006/relationships/image" Target="../media/image12.jpg"/><Relationship Id="rId5" Type="http://schemas.openxmlformats.org/officeDocument/2006/relationships/image" Target="../media/image6.jpg"/><Relationship Id="rId10" Type="http://schemas.openxmlformats.org/officeDocument/2006/relationships/image" Target="../media/image11.jpg"/><Relationship Id="rId4" Type="http://schemas.openxmlformats.org/officeDocument/2006/relationships/image" Target="../media/image5.jpg"/><Relationship Id="rId9" Type="http://schemas.openxmlformats.org/officeDocument/2006/relationships/image" Target="../media/image10.jpg"/></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1.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4.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Layout" Target="../slideLayouts/slideLayout12.xml"/><Relationship Id="rId4" Type="http://schemas.openxmlformats.org/officeDocument/2006/relationships/image" Target="../media/image61.png"/></Relationships>
</file>

<file path=ppt/slides/_rels/slide55.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4.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7.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4.xml"/></Relationships>
</file>

<file path=ppt/slides/_rels/slide58.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4.xml"/></Relationships>
</file>

<file path=ppt/slides/_rels/slide59.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50.xml"/><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60.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11.xml"/></Relationships>
</file>

<file path=ppt/slides/_rels/slide61.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4.xml"/></Relationships>
</file>

<file path=ppt/slides/_rels/slide62.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4.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6.xml.rels><?xml version="1.0" encoding="UTF-8" standalone="yes"?>
<Relationships xmlns="http://schemas.openxmlformats.org/package/2006/relationships"><Relationship Id="rId2" Type="http://schemas.openxmlformats.org/officeDocument/2006/relationships/image" Target="../media/image68.jpeg"/><Relationship Id="rId1" Type="http://schemas.openxmlformats.org/officeDocument/2006/relationships/slideLayout" Target="../slideLayouts/slideLayout4.xml"/></Relationships>
</file>

<file path=ppt/slides/_rels/slide67.xml.rels><?xml version="1.0" encoding="UTF-8" standalone="yes"?>
<Relationships xmlns="http://schemas.openxmlformats.org/package/2006/relationships"><Relationship Id="rId2" Type="http://schemas.openxmlformats.org/officeDocument/2006/relationships/image" Target="../media/image69.tiff"/><Relationship Id="rId1" Type="http://schemas.openxmlformats.org/officeDocument/2006/relationships/slideLayout" Target="../slideLayouts/slideLayout4.xml"/></Relationships>
</file>

<file path=ppt/slides/_rels/slide68.xml.rels><?xml version="1.0" encoding="UTF-8" standalone="yes"?>
<Relationships xmlns="http://schemas.openxmlformats.org/package/2006/relationships"><Relationship Id="rId2" Type="http://schemas.openxmlformats.org/officeDocument/2006/relationships/image" Target="../media/image70.jpeg"/><Relationship Id="rId1" Type="http://schemas.openxmlformats.org/officeDocument/2006/relationships/slideLayout" Target="../slideLayouts/slideLayout4.xml"/></Relationships>
</file>

<file path=ppt/slides/_rels/slide69.xml.rels><?xml version="1.0" encoding="UTF-8" standalone="yes"?>
<Relationships xmlns="http://schemas.openxmlformats.org/package/2006/relationships"><Relationship Id="rId2" Type="http://schemas.openxmlformats.org/officeDocument/2006/relationships/image" Target="../media/image71.jpg"/><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4.xml"/></Relationships>
</file>

<file path=ppt/slides/_rels/slide70.xml.rels><?xml version="1.0" encoding="UTF-8" standalone="yes"?>
<Relationships xmlns="http://schemas.openxmlformats.org/package/2006/relationships"><Relationship Id="rId2" Type="http://schemas.openxmlformats.org/officeDocument/2006/relationships/image" Target="../media/image72.jpg"/><Relationship Id="rId1" Type="http://schemas.openxmlformats.org/officeDocument/2006/relationships/slideLayout" Target="../slideLayouts/slideLayout4.xml"/></Relationships>
</file>

<file path=ppt/slides/_rels/slide71.xml.rels><?xml version="1.0" encoding="UTF-8" standalone="yes"?>
<Relationships xmlns="http://schemas.openxmlformats.org/package/2006/relationships"><Relationship Id="rId2" Type="http://schemas.openxmlformats.org/officeDocument/2006/relationships/image" Target="../media/image73.jpg"/><Relationship Id="rId1" Type="http://schemas.openxmlformats.org/officeDocument/2006/relationships/slideLayout" Target="../slideLayouts/slideLayout4.xml"/></Relationships>
</file>

<file path=ppt/slides/_rels/slide72.xml.rels><?xml version="1.0" encoding="UTF-8" standalone="yes"?>
<Relationships xmlns="http://schemas.openxmlformats.org/package/2006/relationships"><Relationship Id="rId3" Type="http://schemas.openxmlformats.org/officeDocument/2006/relationships/image" Target="../media/image75.jpg"/><Relationship Id="rId2" Type="http://schemas.openxmlformats.org/officeDocument/2006/relationships/image" Target="../media/image74.jpg"/><Relationship Id="rId1" Type="http://schemas.openxmlformats.org/officeDocument/2006/relationships/slideLayout" Target="../slideLayouts/slideLayout4.xml"/></Relationships>
</file>

<file path=ppt/slides/_rels/slide73.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4.xml"/></Relationships>
</file>

<file path=ppt/slides/_rels/slide74.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png"/><Relationship Id="rId1" Type="http://schemas.openxmlformats.org/officeDocument/2006/relationships/slideLayout" Target="../slideLayouts/slideLayout4.xml"/></Relationships>
</file>

<file path=ppt/slides/_rels/slide75.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4.xml"/></Relationships>
</file>

<file path=ppt/slides/_rels/slide76.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4.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9.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0.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4.xml"/></Relationships>
</file>

<file path=ppt/slides/_rels/slide81.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4.xml"/></Relationships>
</file>

<file path=ppt/slides/_rels/slide82.xml.rels><?xml version="1.0" encoding="UTF-8" standalone="yes"?>
<Relationships xmlns="http://schemas.openxmlformats.org/package/2006/relationships"><Relationship Id="rId2" Type="http://schemas.openxmlformats.org/officeDocument/2006/relationships/image" Target="../media/image85.jpeg"/><Relationship Id="rId1" Type="http://schemas.openxmlformats.org/officeDocument/2006/relationships/slideLayout" Target="../slideLayouts/slideLayout12.xml"/></Relationships>
</file>

<file path=ppt/slides/_rels/slide83.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png"/><Relationship Id="rId1" Type="http://schemas.openxmlformats.org/officeDocument/2006/relationships/slideLayout" Target="../slideLayouts/slideLayout12.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5.xml.rels><?xml version="1.0" encoding="UTF-8" standalone="yes"?>
<Relationships xmlns="http://schemas.openxmlformats.org/package/2006/relationships"><Relationship Id="rId8" Type="http://schemas.openxmlformats.org/officeDocument/2006/relationships/image" Target="../media/image9.jpg"/><Relationship Id="rId3" Type="http://schemas.openxmlformats.org/officeDocument/2006/relationships/image" Target="../media/image4.jpg"/><Relationship Id="rId7" Type="http://schemas.openxmlformats.org/officeDocument/2006/relationships/image" Target="../media/image8.jpg"/><Relationship Id="rId12" Type="http://schemas.openxmlformats.org/officeDocument/2006/relationships/image" Target="../media/image2.png"/><Relationship Id="rId2" Type="http://schemas.openxmlformats.org/officeDocument/2006/relationships/notesSlide" Target="../notesSlides/notesSlide51.xml"/><Relationship Id="rId1" Type="http://schemas.openxmlformats.org/officeDocument/2006/relationships/slideLayout" Target="../slideLayouts/slideLayout5.xml"/><Relationship Id="rId6" Type="http://schemas.openxmlformats.org/officeDocument/2006/relationships/image" Target="../media/image7.jpg"/><Relationship Id="rId11" Type="http://schemas.openxmlformats.org/officeDocument/2006/relationships/image" Target="../media/image12.jpg"/><Relationship Id="rId5" Type="http://schemas.openxmlformats.org/officeDocument/2006/relationships/image" Target="../media/image6.jpg"/><Relationship Id="rId10" Type="http://schemas.openxmlformats.org/officeDocument/2006/relationships/image" Target="../media/image11.jpg"/><Relationship Id="rId4" Type="http://schemas.openxmlformats.org/officeDocument/2006/relationships/image" Target="../media/image5.jpg"/><Relationship Id="rId9" Type="http://schemas.openxmlformats.org/officeDocument/2006/relationships/image" Target="../media/image10.jpg"/></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1.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9.xml.rels><?xml version="1.0" encoding="UTF-8" standalone="yes"?>
<Relationships xmlns="http://schemas.openxmlformats.org/package/2006/relationships"><Relationship Id="rId2" Type="http://schemas.openxmlformats.org/officeDocument/2006/relationships/image" Target="../media/image88.jpeg"/><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8" Type="http://schemas.openxmlformats.org/officeDocument/2006/relationships/image" Target="../media/image9.jpg"/><Relationship Id="rId3" Type="http://schemas.openxmlformats.org/officeDocument/2006/relationships/image" Target="../media/image4.jpg"/><Relationship Id="rId7" Type="http://schemas.openxmlformats.org/officeDocument/2006/relationships/image" Target="../media/image8.jpg"/><Relationship Id="rId12" Type="http://schemas.openxmlformats.org/officeDocument/2006/relationships/image" Target="../media/image2.png"/><Relationship Id="rId2" Type="http://schemas.openxmlformats.org/officeDocument/2006/relationships/notesSlide" Target="../notesSlides/notesSlide7.xml"/><Relationship Id="rId1" Type="http://schemas.openxmlformats.org/officeDocument/2006/relationships/slideLayout" Target="../slideLayouts/slideLayout5.xml"/><Relationship Id="rId6" Type="http://schemas.openxmlformats.org/officeDocument/2006/relationships/image" Target="../media/image7.jpg"/><Relationship Id="rId11" Type="http://schemas.openxmlformats.org/officeDocument/2006/relationships/image" Target="../media/image12.jpg"/><Relationship Id="rId5" Type="http://schemas.openxmlformats.org/officeDocument/2006/relationships/image" Target="../media/image6.jpg"/><Relationship Id="rId10" Type="http://schemas.openxmlformats.org/officeDocument/2006/relationships/image" Target="../media/image11.jpg"/><Relationship Id="rId4" Type="http://schemas.openxmlformats.org/officeDocument/2006/relationships/image" Target="../media/image5.jpg"/><Relationship Id="rId9" Type="http://schemas.openxmlformats.org/officeDocument/2006/relationships/image" Target="../media/image10.jpg"/></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4.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1.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6.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Layout" Target="../slideLayouts/slideLayout1.xml"/></Relationships>
</file>

<file path=ppt/slides/_rels/slide97.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1.xml"/></Relationships>
</file>

<file path=ppt/slides/_rels/slide98.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1.xml"/></Relationships>
</file>

<file path=ppt/slides/_rels/slide99.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Calendar&#10;&#10;Description automatically generated">
            <a:extLst>
              <a:ext uri="{FF2B5EF4-FFF2-40B4-BE49-F238E27FC236}">
                <a16:creationId xmlns:a16="http://schemas.microsoft.com/office/drawing/2014/main" id="{13805364-3E24-344F-95DA-43DA6B97ACDC}"/>
              </a:ext>
            </a:extLst>
          </p:cNvPr>
          <p:cNvPicPr>
            <a:picLocks noChangeAspect="1"/>
          </p:cNvPicPr>
          <p:nvPr/>
        </p:nvPicPr>
        <p:blipFill>
          <a:blip r:embed="rId3"/>
          <a:stretch>
            <a:fillRect/>
          </a:stretch>
        </p:blipFill>
        <p:spPr>
          <a:xfrm>
            <a:off x="7037" y="0"/>
            <a:ext cx="9129925" cy="5148263"/>
          </a:xfrm>
          <a:prstGeom prst="rect">
            <a:avLst/>
          </a:prstGeom>
        </p:spPr>
      </p:pic>
      <p:pic>
        <p:nvPicPr>
          <p:cNvPr id="15" name="Picture 14" descr="Graphical user interface, website&#10;&#10;Description automatically generated">
            <a:extLst>
              <a:ext uri="{FF2B5EF4-FFF2-40B4-BE49-F238E27FC236}">
                <a16:creationId xmlns:a16="http://schemas.microsoft.com/office/drawing/2014/main" id="{80727F13-6791-5B49-9F46-3BF36290A24F}"/>
              </a:ext>
            </a:extLst>
          </p:cNvPr>
          <p:cNvPicPr>
            <a:picLocks noChangeAspect="1"/>
          </p:cNvPicPr>
          <p:nvPr/>
        </p:nvPicPr>
        <p:blipFill>
          <a:blip r:embed="rId4"/>
          <a:stretch>
            <a:fillRect/>
          </a:stretch>
        </p:blipFill>
        <p:spPr>
          <a:xfrm>
            <a:off x="7037" y="0"/>
            <a:ext cx="9129925" cy="5148263"/>
          </a:xfrm>
          <a:prstGeom prst="rect">
            <a:avLst/>
          </a:prstGeom>
        </p:spPr>
      </p:pic>
      <p:pic>
        <p:nvPicPr>
          <p:cNvPr id="17" name="Picture 16" descr="Graphical user interface&#10;&#10;Description automatically generated">
            <a:extLst>
              <a:ext uri="{FF2B5EF4-FFF2-40B4-BE49-F238E27FC236}">
                <a16:creationId xmlns:a16="http://schemas.microsoft.com/office/drawing/2014/main" id="{F0D5927F-FD5E-F648-9B5E-758022183824}"/>
              </a:ext>
            </a:extLst>
          </p:cNvPr>
          <p:cNvPicPr>
            <a:picLocks noChangeAspect="1"/>
          </p:cNvPicPr>
          <p:nvPr/>
        </p:nvPicPr>
        <p:blipFill>
          <a:blip r:embed="rId5"/>
          <a:stretch>
            <a:fillRect/>
          </a:stretch>
        </p:blipFill>
        <p:spPr>
          <a:xfrm>
            <a:off x="7037" y="0"/>
            <a:ext cx="9129925" cy="5148263"/>
          </a:xfrm>
          <a:prstGeom prst="rect">
            <a:avLst/>
          </a:prstGeom>
        </p:spPr>
      </p:pic>
      <p:pic>
        <p:nvPicPr>
          <p:cNvPr id="10" name="Picture 9" descr="A picture containing text&#10;&#10;Description automatically generated">
            <a:extLst>
              <a:ext uri="{FF2B5EF4-FFF2-40B4-BE49-F238E27FC236}">
                <a16:creationId xmlns:a16="http://schemas.microsoft.com/office/drawing/2014/main" id="{9661F0C6-188E-94BA-269D-24C866E23D00}"/>
              </a:ext>
            </a:extLst>
          </p:cNvPr>
          <p:cNvPicPr>
            <a:picLocks noChangeAspect="1"/>
          </p:cNvPicPr>
          <p:nvPr/>
        </p:nvPicPr>
        <p:blipFill>
          <a:blip r:embed="rId6"/>
          <a:stretch>
            <a:fillRect/>
          </a:stretch>
        </p:blipFill>
        <p:spPr>
          <a:xfrm>
            <a:off x="-1" y="-12701"/>
            <a:ext cx="9129925" cy="5148263"/>
          </a:xfrm>
          <a:prstGeom prst="rect">
            <a:avLst/>
          </a:prstGeom>
        </p:spPr>
      </p:pic>
      <p:pic>
        <p:nvPicPr>
          <p:cNvPr id="5" name="Picture 4" descr="A picture containing graphical user interface&#10;&#10;Description automatically generated">
            <a:extLst>
              <a:ext uri="{FF2B5EF4-FFF2-40B4-BE49-F238E27FC236}">
                <a16:creationId xmlns:a16="http://schemas.microsoft.com/office/drawing/2014/main" id="{AE206FA8-1ADF-6743-B3FD-1CA6C6C63ADB}"/>
              </a:ext>
            </a:extLst>
          </p:cNvPr>
          <p:cNvPicPr>
            <a:picLocks noChangeAspect="1"/>
          </p:cNvPicPr>
          <p:nvPr/>
        </p:nvPicPr>
        <p:blipFill>
          <a:blip r:embed="rId7"/>
          <a:stretch>
            <a:fillRect/>
          </a:stretch>
        </p:blipFill>
        <p:spPr>
          <a:xfrm>
            <a:off x="-1" y="0"/>
            <a:ext cx="9144001" cy="5148263"/>
          </a:xfrm>
          <a:prstGeom prst="rect">
            <a:avLst/>
          </a:prstGeom>
        </p:spPr>
      </p:pic>
      <p:pic>
        <p:nvPicPr>
          <p:cNvPr id="3" name="Picture 2" descr="Graphical user interface&#10;&#10;Description automatically generated with medium confidence">
            <a:extLst>
              <a:ext uri="{FF2B5EF4-FFF2-40B4-BE49-F238E27FC236}">
                <a16:creationId xmlns:a16="http://schemas.microsoft.com/office/drawing/2014/main" id="{427AC361-97E5-DB4A-97F9-E64F0D38923A}"/>
              </a:ext>
            </a:extLst>
          </p:cNvPr>
          <p:cNvPicPr>
            <a:picLocks noChangeAspect="1"/>
          </p:cNvPicPr>
          <p:nvPr/>
        </p:nvPicPr>
        <p:blipFill>
          <a:blip r:embed="rId8"/>
          <a:stretch>
            <a:fillRect/>
          </a:stretch>
        </p:blipFill>
        <p:spPr>
          <a:xfrm>
            <a:off x="-1276" y="0"/>
            <a:ext cx="9129925" cy="5148263"/>
          </a:xfrm>
          <a:prstGeom prst="rect">
            <a:avLst/>
          </a:prstGeom>
        </p:spPr>
      </p:pic>
      <p:pic>
        <p:nvPicPr>
          <p:cNvPr id="13" name="Picture 12" descr="Graphical user interface&#10;&#10;Description automatically generated with medium confidence">
            <a:extLst>
              <a:ext uri="{FF2B5EF4-FFF2-40B4-BE49-F238E27FC236}">
                <a16:creationId xmlns:a16="http://schemas.microsoft.com/office/drawing/2014/main" id="{74C209DA-DD76-F140-A409-CC2B6FB9E380}"/>
              </a:ext>
            </a:extLst>
          </p:cNvPr>
          <p:cNvPicPr>
            <a:picLocks noChangeAspect="1"/>
          </p:cNvPicPr>
          <p:nvPr/>
        </p:nvPicPr>
        <p:blipFill>
          <a:blip r:embed="rId9"/>
          <a:stretch>
            <a:fillRect/>
          </a:stretch>
        </p:blipFill>
        <p:spPr>
          <a:xfrm>
            <a:off x="7037" y="91440"/>
            <a:ext cx="9129925" cy="5148263"/>
          </a:xfrm>
          <a:prstGeom prst="rect">
            <a:avLst/>
          </a:prstGeom>
        </p:spPr>
      </p:pic>
      <p:pic>
        <p:nvPicPr>
          <p:cNvPr id="11" name="Picture 10" descr="Graphical user interface&#10;&#10;Description automatically generated">
            <a:extLst>
              <a:ext uri="{FF2B5EF4-FFF2-40B4-BE49-F238E27FC236}">
                <a16:creationId xmlns:a16="http://schemas.microsoft.com/office/drawing/2014/main" id="{39E371F3-F698-6E43-9AF5-D6112EDA06B4}"/>
              </a:ext>
            </a:extLst>
          </p:cNvPr>
          <p:cNvPicPr>
            <a:picLocks noChangeAspect="1"/>
          </p:cNvPicPr>
          <p:nvPr/>
        </p:nvPicPr>
        <p:blipFill>
          <a:blip r:embed="rId10"/>
          <a:stretch>
            <a:fillRect/>
          </a:stretch>
        </p:blipFill>
        <p:spPr>
          <a:xfrm>
            <a:off x="7037" y="0"/>
            <a:ext cx="9129925" cy="5148263"/>
          </a:xfrm>
          <a:prstGeom prst="rect">
            <a:avLst/>
          </a:prstGeom>
        </p:spPr>
      </p:pic>
      <p:pic>
        <p:nvPicPr>
          <p:cNvPr id="7" name="Picture 6" descr="Graphical user interface&#10;&#10;Description automatically generated">
            <a:extLst>
              <a:ext uri="{FF2B5EF4-FFF2-40B4-BE49-F238E27FC236}">
                <a16:creationId xmlns:a16="http://schemas.microsoft.com/office/drawing/2014/main" id="{7ECE685F-3E0A-4645-A5C2-F8F5499F2E26}"/>
              </a:ext>
            </a:extLst>
          </p:cNvPr>
          <p:cNvPicPr>
            <a:picLocks noChangeAspect="1"/>
          </p:cNvPicPr>
          <p:nvPr/>
        </p:nvPicPr>
        <p:blipFill>
          <a:blip r:embed="rId11"/>
          <a:stretch>
            <a:fillRect/>
          </a:stretch>
        </p:blipFill>
        <p:spPr>
          <a:xfrm>
            <a:off x="14075" y="12699"/>
            <a:ext cx="9129925" cy="5148263"/>
          </a:xfrm>
          <a:prstGeom prst="rect">
            <a:avLst/>
          </a:prstGeom>
        </p:spPr>
      </p:pic>
      <p:sp>
        <p:nvSpPr>
          <p:cNvPr id="36" name="Rectangle 35">
            <a:extLst>
              <a:ext uri="{FF2B5EF4-FFF2-40B4-BE49-F238E27FC236}">
                <a16:creationId xmlns:a16="http://schemas.microsoft.com/office/drawing/2014/main" id="{A1B4A22D-3BE1-6C4A-812D-C1E98E8E0076}"/>
              </a:ext>
            </a:extLst>
          </p:cNvPr>
          <p:cNvSpPr/>
          <p:nvPr/>
        </p:nvSpPr>
        <p:spPr>
          <a:xfrm>
            <a:off x="0" y="2586831"/>
            <a:ext cx="9129925" cy="461665"/>
          </a:xfrm>
          <a:prstGeom prst="rect">
            <a:avLst/>
          </a:prstGeom>
        </p:spPr>
        <p:txBody>
          <a:bodyPr wrap="square">
            <a:spAutoFit/>
          </a:bodyPr>
          <a:lstStyle/>
          <a:p>
            <a:pPr algn="ctr"/>
            <a:r>
              <a:rPr lang="en-US" spc="600" dirty="0">
                <a:solidFill>
                  <a:srgbClr val="FFC82C"/>
                </a:solidFill>
                <a:latin typeface="Corporate A Medium" panose="02000503080000020004" pitchFamily="2" charset="0"/>
              </a:rPr>
              <a:t>BREAST CANCER</a:t>
            </a:r>
          </a:p>
        </p:txBody>
      </p:sp>
      <p:sp>
        <p:nvSpPr>
          <p:cNvPr id="37" name="Rectangle 36">
            <a:extLst>
              <a:ext uri="{FF2B5EF4-FFF2-40B4-BE49-F238E27FC236}">
                <a16:creationId xmlns:a16="http://schemas.microsoft.com/office/drawing/2014/main" id="{136DD176-7412-694A-BED9-E7F8655CA44E}"/>
              </a:ext>
            </a:extLst>
          </p:cNvPr>
          <p:cNvSpPr/>
          <p:nvPr/>
        </p:nvSpPr>
        <p:spPr>
          <a:xfrm>
            <a:off x="14075" y="3073896"/>
            <a:ext cx="9129925" cy="338554"/>
          </a:xfrm>
          <a:prstGeom prst="rect">
            <a:avLst/>
          </a:prstGeom>
        </p:spPr>
        <p:txBody>
          <a:bodyPr wrap="square">
            <a:spAutoFit/>
          </a:bodyPr>
          <a:lstStyle/>
          <a:p>
            <a:pPr algn="ctr"/>
            <a:r>
              <a:rPr lang="en-US" sz="1600" dirty="0">
                <a:solidFill>
                  <a:schemeClr val="bg1"/>
                </a:solidFill>
                <a:latin typeface="Corporate S Demi" panose="02020500000000000000" pitchFamily="18" charset="0"/>
              </a:rPr>
              <a:t>Wednesday, September 6, 2023</a:t>
            </a:r>
          </a:p>
        </p:txBody>
      </p:sp>
      <p:pic>
        <p:nvPicPr>
          <p:cNvPr id="12" name="Picture 11" descr="A close-up of a sign&#10;&#10;Description automatically generated">
            <a:extLst>
              <a:ext uri="{FF2B5EF4-FFF2-40B4-BE49-F238E27FC236}">
                <a16:creationId xmlns:a16="http://schemas.microsoft.com/office/drawing/2014/main" id="{77D2A35E-AD54-5045-1134-B3EC9C729BA1}"/>
              </a:ext>
            </a:extLst>
          </p:cNvPr>
          <p:cNvPicPr>
            <a:picLocks noChangeAspect="1"/>
          </p:cNvPicPr>
          <p:nvPr/>
        </p:nvPicPr>
        <p:blipFill>
          <a:blip r:embed="rId12"/>
          <a:stretch>
            <a:fillRect/>
          </a:stretch>
        </p:blipFill>
        <p:spPr>
          <a:xfrm>
            <a:off x="7044266" y="4416631"/>
            <a:ext cx="1790699" cy="444928"/>
          </a:xfrm>
          <a:prstGeom prst="rect">
            <a:avLst/>
          </a:prstGeom>
        </p:spPr>
      </p:pic>
    </p:spTree>
    <p:extLst>
      <p:ext uri="{BB962C8B-B14F-4D97-AF65-F5344CB8AC3E}">
        <p14:creationId xmlns:p14="http://schemas.microsoft.com/office/powerpoint/2010/main" val="177090508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a:xfrm>
            <a:off x="1116419" y="1798064"/>
            <a:ext cx="6868632" cy="2204975"/>
          </a:xfrm>
        </p:spPr>
        <p:txBody>
          <a:bodyPr/>
          <a:lstStyle/>
          <a:p>
            <a:r>
              <a:rPr lang="en-US" b="1" dirty="0">
                <a:solidFill>
                  <a:srgbClr val="002E51"/>
                </a:solidFill>
              </a:rPr>
              <a:t>Malinda West, MD, MS</a:t>
            </a:r>
          </a:p>
          <a:p>
            <a:r>
              <a:rPr lang="en-US" dirty="0">
                <a:solidFill>
                  <a:srgbClr val="002E51"/>
                </a:solidFill>
              </a:rPr>
              <a:t>Assistant Professor of Medicine</a:t>
            </a:r>
          </a:p>
          <a:p>
            <a:r>
              <a:rPr lang="en-US" dirty="0">
                <a:solidFill>
                  <a:srgbClr val="002E51"/>
                </a:solidFill>
              </a:rPr>
              <a:t>Division of Hematology, Medical Oncology and Palliative Care</a:t>
            </a:r>
          </a:p>
          <a:p>
            <a:r>
              <a:rPr lang="en-US" dirty="0">
                <a:solidFill>
                  <a:srgbClr val="002E51"/>
                </a:solidFill>
              </a:rPr>
              <a:t>University of Wisconsin Carbone Cancer Center</a:t>
            </a:r>
          </a:p>
          <a:p>
            <a:r>
              <a:rPr lang="en-US" dirty="0">
                <a:solidFill>
                  <a:srgbClr val="002E51"/>
                </a:solidFill>
              </a:rPr>
              <a:t>September 6, 2023</a:t>
            </a:r>
          </a:p>
        </p:txBody>
      </p:sp>
      <p:sp>
        <p:nvSpPr>
          <p:cNvPr id="4" name="Title 3"/>
          <p:cNvSpPr>
            <a:spLocks noGrp="1"/>
          </p:cNvSpPr>
          <p:nvPr>
            <p:ph type="title"/>
          </p:nvPr>
        </p:nvSpPr>
        <p:spPr>
          <a:xfrm>
            <a:off x="0" y="127465"/>
            <a:ext cx="9144000" cy="786936"/>
          </a:xfrm>
        </p:spPr>
        <p:txBody>
          <a:bodyPr/>
          <a:lstStyle/>
          <a:p>
            <a:r>
              <a:rPr lang="en-US" b="1" dirty="0">
                <a:solidFill>
                  <a:srgbClr val="002E51"/>
                </a:solidFill>
              </a:rPr>
              <a:t>Endocrine Based Therapy in HER2- Breast Cancer</a:t>
            </a:r>
          </a:p>
        </p:txBody>
      </p:sp>
    </p:spTree>
    <p:extLst>
      <p:ext uri="{BB962C8B-B14F-4D97-AF65-F5344CB8AC3E}">
        <p14:creationId xmlns:p14="http://schemas.microsoft.com/office/powerpoint/2010/main" val="3390627162"/>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3BC5AB6-1C66-D0B9-E7FE-BE03ACCAF04E}"/>
              </a:ext>
            </a:extLst>
          </p:cNvPr>
          <p:cNvPicPr>
            <a:picLocks noChangeAspect="1"/>
          </p:cNvPicPr>
          <p:nvPr/>
        </p:nvPicPr>
        <p:blipFill>
          <a:blip r:embed="rId2"/>
          <a:stretch>
            <a:fillRect/>
          </a:stretch>
        </p:blipFill>
        <p:spPr>
          <a:xfrm>
            <a:off x="-35280" y="76443"/>
            <a:ext cx="9173526" cy="4277980"/>
          </a:xfrm>
          <a:prstGeom prst="rect">
            <a:avLst/>
          </a:prstGeom>
        </p:spPr>
      </p:pic>
    </p:spTree>
    <p:extLst>
      <p:ext uri="{BB962C8B-B14F-4D97-AF65-F5344CB8AC3E}">
        <p14:creationId xmlns:p14="http://schemas.microsoft.com/office/powerpoint/2010/main" val="1542193141"/>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3E46AB3-8DB7-07B0-4016-AE0618F67ADD}"/>
              </a:ext>
            </a:extLst>
          </p:cNvPr>
          <p:cNvPicPr>
            <a:picLocks noChangeAspect="1"/>
          </p:cNvPicPr>
          <p:nvPr/>
        </p:nvPicPr>
        <p:blipFill>
          <a:blip r:embed="rId2"/>
          <a:stretch>
            <a:fillRect/>
          </a:stretch>
        </p:blipFill>
        <p:spPr>
          <a:xfrm>
            <a:off x="-70565" y="-21750"/>
            <a:ext cx="9214565" cy="4367355"/>
          </a:xfrm>
          <a:prstGeom prst="rect">
            <a:avLst/>
          </a:prstGeom>
        </p:spPr>
      </p:pic>
    </p:spTree>
    <p:extLst>
      <p:ext uri="{BB962C8B-B14F-4D97-AF65-F5344CB8AC3E}">
        <p14:creationId xmlns:p14="http://schemas.microsoft.com/office/powerpoint/2010/main" val="3872466864"/>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F213447-C329-34CE-D4BD-3A8CD75241DF}"/>
              </a:ext>
            </a:extLst>
          </p:cNvPr>
          <p:cNvPicPr>
            <a:picLocks noChangeAspect="1"/>
          </p:cNvPicPr>
          <p:nvPr/>
        </p:nvPicPr>
        <p:blipFill>
          <a:blip r:embed="rId2"/>
          <a:stretch>
            <a:fillRect/>
          </a:stretch>
        </p:blipFill>
        <p:spPr>
          <a:xfrm>
            <a:off x="-55864" y="1"/>
            <a:ext cx="9199864" cy="4336784"/>
          </a:xfrm>
          <a:prstGeom prst="rect">
            <a:avLst/>
          </a:prstGeom>
        </p:spPr>
      </p:pic>
    </p:spTree>
    <p:extLst>
      <p:ext uri="{BB962C8B-B14F-4D97-AF65-F5344CB8AC3E}">
        <p14:creationId xmlns:p14="http://schemas.microsoft.com/office/powerpoint/2010/main" val="1248470935"/>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C5F6ABB-323B-05EE-9250-7E25A4D73580}"/>
              </a:ext>
            </a:extLst>
          </p:cNvPr>
          <p:cNvPicPr>
            <a:picLocks noChangeAspect="1"/>
          </p:cNvPicPr>
          <p:nvPr/>
        </p:nvPicPr>
        <p:blipFill>
          <a:blip r:embed="rId2"/>
          <a:stretch>
            <a:fillRect/>
          </a:stretch>
        </p:blipFill>
        <p:spPr>
          <a:xfrm>
            <a:off x="0" y="-27355"/>
            <a:ext cx="9144000" cy="4364140"/>
          </a:xfrm>
          <a:prstGeom prst="rect">
            <a:avLst/>
          </a:prstGeom>
        </p:spPr>
      </p:pic>
    </p:spTree>
    <p:extLst>
      <p:ext uri="{BB962C8B-B14F-4D97-AF65-F5344CB8AC3E}">
        <p14:creationId xmlns:p14="http://schemas.microsoft.com/office/powerpoint/2010/main" val="528913993"/>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DE04FED-22B2-1064-380E-B9DF94B4F16D}"/>
              </a:ext>
            </a:extLst>
          </p:cNvPr>
          <p:cNvPicPr>
            <a:picLocks noChangeAspect="1"/>
          </p:cNvPicPr>
          <p:nvPr/>
        </p:nvPicPr>
        <p:blipFill>
          <a:blip r:embed="rId2"/>
          <a:stretch>
            <a:fillRect/>
          </a:stretch>
        </p:blipFill>
        <p:spPr>
          <a:xfrm>
            <a:off x="17640" y="-13948"/>
            <a:ext cx="9117538" cy="4398042"/>
          </a:xfrm>
          <a:prstGeom prst="rect">
            <a:avLst/>
          </a:prstGeom>
        </p:spPr>
      </p:pic>
    </p:spTree>
    <p:extLst>
      <p:ext uri="{BB962C8B-B14F-4D97-AF65-F5344CB8AC3E}">
        <p14:creationId xmlns:p14="http://schemas.microsoft.com/office/powerpoint/2010/main" val="1911556719"/>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EAB1264-401D-3D62-9B9B-E98F817859AF}"/>
              </a:ext>
            </a:extLst>
          </p:cNvPr>
          <p:cNvPicPr>
            <a:picLocks noChangeAspect="1"/>
          </p:cNvPicPr>
          <p:nvPr/>
        </p:nvPicPr>
        <p:blipFill>
          <a:blip r:embed="rId2"/>
          <a:stretch>
            <a:fillRect/>
          </a:stretch>
        </p:blipFill>
        <p:spPr>
          <a:xfrm>
            <a:off x="0" y="-1"/>
            <a:ext cx="9144000" cy="4369127"/>
          </a:xfrm>
          <a:prstGeom prst="rect">
            <a:avLst/>
          </a:prstGeom>
        </p:spPr>
      </p:pic>
      <p:sp>
        <p:nvSpPr>
          <p:cNvPr id="2" name="Rectangle: Rounded Corners 1">
            <a:extLst>
              <a:ext uri="{FF2B5EF4-FFF2-40B4-BE49-F238E27FC236}">
                <a16:creationId xmlns:a16="http://schemas.microsoft.com/office/drawing/2014/main" id="{1902681B-DE9A-E00B-59E0-7BF4BB9AF1C3}"/>
              </a:ext>
            </a:extLst>
          </p:cNvPr>
          <p:cNvSpPr/>
          <p:nvPr/>
        </p:nvSpPr>
        <p:spPr bwMode="auto">
          <a:xfrm>
            <a:off x="3797831" y="2664324"/>
            <a:ext cx="4995600" cy="268767"/>
          </a:xfrm>
          <a:prstGeom prst="roundRect">
            <a:avLst/>
          </a:prstGeom>
          <a:noFill/>
          <a:ln w="3810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
        <p:nvSpPr>
          <p:cNvPr id="4" name="Rectangle: Rounded Corners 3">
            <a:extLst>
              <a:ext uri="{FF2B5EF4-FFF2-40B4-BE49-F238E27FC236}">
                <a16:creationId xmlns:a16="http://schemas.microsoft.com/office/drawing/2014/main" id="{A148AF59-A422-FC40-6046-5C968E538FB3}"/>
              </a:ext>
            </a:extLst>
          </p:cNvPr>
          <p:cNvSpPr/>
          <p:nvPr/>
        </p:nvSpPr>
        <p:spPr bwMode="auto">
          <a:xfrm>
            <a:off x="3797831" y="3690224"/>
            <a:ext cx="4995600" cy="268767"/>
          </a:xfrm>
          <a:prstGeom prst="roundRect">
            <a:avLst/>
          </a:prstGeom>
          <a:noFill/>
          <a:ln w="3810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Tree>
    <p:extLst>
      <p:ext uri="{BB962C8B-B14F-4D97-AF65-F5344CB8AC3E}">
        <p14:creationId xmlns:p14="http://schemas.microsoft.com/office/powerpoint/2010/main" val="2417642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4" grpId="0" animBg="1"/>
    </p:bld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a:xfrm>
            <a:off x="708586" y="1411293"/>
            <a:ext cx="7618040" cy="2673028"/>
          </a:xfrm>
        </p:spPr>
        <p:txBody>
          <a:bodyPr/>
          <a:lstStyle/>
          <a:p>
            <a:pPr algn="l"/>
            <a:r>
              <a:rPr lang="en-US" b="1" dirty="0"/>
              <a:t>Longer treatment exposure may lead to a higher incidence of AEs so when treatment duration differs significantly between treatment groups, absolute incidence rates may need adjustment to account for exposure</a:t>
            </a:r>
          </a:p>
          <a:p>
            <a:endParaRPr lang="en-US" dirty="0">
              <a:solidFill>
                <a:srgbClr val="002E51"/>
              </a:solidFill>
            </a:endParaRPr>
          </a:p>
        </p:txBody>
      </p:sp>
      <p:sp>
        <p:nvSpPr>
          <p:cNvPr id="4" name="Title 3"/>
          <p:cNvSpPr>
            <a:spLocks noGrp="1"/>
          </p:cNvSpPr>
          <p:nvPr>
            <p:ph type="title"/>
          </p:nvPr>
        </p:nvSpPr>
        <p:spPr>
          <a:xfrm>
            <a:off x="655663" y="127465"/>
            <a:ext cx="7953221" cy="807256"/>
          </a:xfrm>
        </p:spPr>
        <p:txBody>
          <a:bodyPr/>
          <a:lstStyle/>
          <a:p>
            <a:pPr algn="l"/>
            <a:r>
              <a:rPr lang="en-US" b="1" dirty="0"/>
              <a:t>Exposure-Adjusted Incidence Rates (EAIRs)</a:t>
            </a:r>
          </a:p>
        </p:txBody>
      </p:sp>
      <p:sp>
        <p:nvSpPr>
          <p:cNvPr id="3" name="Text Box 15">
            <a:extLst>
              <a:ext uri="{FF2B5EF4-FFF2-40B4-BE49-F238E27FC236}">
                <a16:creationId xmlns:a16="http://schemas.microsoft.com/office/drawing/2014/main" id="{D5F28CE3-1F63-6912-DEFF-913C96CC21B5}"/>
              </a:ext>
            </a:extLst>
          </p:cNvPr>
          <p:cNvSpPr txBox="1">
            <a:spLocks noChangeArrowheads="1"/>
          </p:cNvSpPr>
          <p:nvPr/>
        </p:nvSpPr>
        <p:spPr bwMode="auto">
          <a:xfrm>
            <a:off x="7233401" y="4102827"/>
            <a:ext cx="1761608" cy="215444"/>
          </a:xfrm>
          <a:prstGeom prst="rect">
            <a:avLst/>
          </a:prstGeom>
          <a:noFill/>
          <a:ln>
            <a:noFill/>
          </a:ln>
        </p:spPr>
        <p:txBody>
          <a:bodyPr wrap="square" anchor="b">
            <a:spAutoFit/>
          </a:bodyPr>
          <a:lstStyle>
            <a:lvl1pPr>
              <a:defRPr b="1">
                <a:solidFill>
                  <a:schemeClr val="tx1"/>
                </a:solidFill>
                <a:latin typeface="Arial" charset="0"/>
              </a:defRPr>
            </a:lvl1pPr>
            <a:lvl2pPr marL="742950" indent="-285750">
              <a:defRPr b="1">
                <a:solidFill>
                  <a:schemeClr val="tx1"/>
                </a:solidFill>
                <a:latin typeface="Arial" charset="0"/>
              </a:defRPr>
            </a:lvl2pPr>
            <a:lvl3pPr marL="1143000" indent="-228600">
              <a:defRPr b="1">
                <a:solidFill>
                  <a:schemeClr val="tx1"/>
                </a:solidFill>
                <a:latin typeface="Arial" charset="0"/>
              </a:defRPr>
            </a:lvl3pPr>
            <a:lvl4pPr marL="1600200" indent="-228600">
              <a:defRPr b="1">
                <a:solidFill>
                  <a:schemeClr val="tx1"/>
                </a:solidFill>
                <a:latin typeface="Arial" charset="0"/>
              </a:defRPr>
            </a:lvl4pPr>
            <a:lvl5pPr marL="2057400" indent="-228600">
              <a:defRPr b="1">
                <a:solidFill>
                  <a:schemeClr val="tx1"/>
                </a:solidFill>
                <a:latin typeface="Arial" charset="0"/>
              </a:defRPr>
            </a:lvl5pPr>
            <a:lvl6pPr marL="2514600" indent="-228600" eaLnBrk="0" fontAlgn="base" hangingPunct="0">
              <a:spcBef>
                <a:spcPct val="0"/>
              </a:spcBef>
              <a:spcAft>
                <a:spcPct val="0"/>
              </a:spcAft>
              <a:defRPr b="1">
                <a:solidFill>
                  <a:schemeClr val="tx1"/>
                </a:solidFill>
                <a:latin typeface="Arial" charset="0"/>
              </a:defRPr>
            </a:lvl6pPr>
            <a:lvl7pPr marL="2971800" indent="-228600" eaLnBrk="0" fontAlgn="base" hangingPunct="0">
              <a:spcBef>
                <a:spcPct val="0"/>
              </a:spcBef>
              <a:spcAft>
                <a:spcPct val="0"/>
              </a:spcAft>
              <a:defRPr b="1">
                <a:solidFill>
                  <a:schemeClr val="tx1"/>
                </a:solidFill>
                <a:latin typeface="Arial" charset="0"/>
              </a:defRPr>
            </a:lvl7pPr>
            <a:lvl8pPr marL="3429000" indent="-228600" eaLnBrk="0" fontAlgn="base" hangingPunct="0">
              <a:spcBef>
                <a:spcPct val="0"/>
              </a:spcBef>
              <a:spcAft>
                <a:spcPct val="0"/>
              </a:spcAft>
              <a:defRPr b="1">
                <a:solidFill>
                  <a:schemeClr val="tx1"/>
                </a:solidFill>
                <a:latin typeface="Arial" charset="0"/>
              </a:defRPr>
            </a:lvl8pPr>
            <a:lvl9pPr marL="3886200" indent="-228600" eaLnBrk="0" fontAlgn="base" hangingPunct="0">
              <a:spcBef>
                <a:spcPct val="0"/>
              </a:spcBef>
              <a:spcAft>
                <a:spcPct val="0"/>
              </a:spcAft>
              <a:defRPr b="1">
                <a:solidFill>
                  <a:schemeClr val="tx1"/>
                </a:solidFill>
                <a:latin typeface="Arial" charset="0"/>
              </a:defRPr>
            </a:lvl9pPr>
          </a:lstStyle>
          <a:p>
            <a:pPr>
              <a:defRPr/>
            </a:pPr>
            <a:r>
              <a:rPr lang="en-US" altLang="en-US" sz="800" b="0" spc="-10" dirty="0" err="1">
                <a:solidFill>
                  <a:srgbClr val="455560"/>
                </a:solidFill>
                <a:latin typeface="Calibri" panose="020F0502020204030204" pitchFamily="34" charset="0"/>
                <a:ea typeface="+mn-ea"/>
                <a:cs typeface="Arial" panose="020B0604020202020204" pitchFamily="34" charset="0"/>
              </a:rPr>
              <a:t>Tolaney</a:t>
            </a:r>
            <a:r>
              <a:rPr lang="en-US" altLang="en-US" sz="800" b="0" spc="-10" dirty="0">
                <a:solidFill>
                  <a:srgbClr val="455560"/>
                </a:solidFill>
                <a:latin typeface="Calibri" panose="020F0502020204030204" pitchFamily="34" charset="0"/>
                <a:ea typeface="+mn-ea"/>
                <a:cs typeface="Arial" panose="020B0604020202020204" pitchFamily="34" charset="0"/>
              </a:rPr>
              <a:t>. SABCS P3-07-08, Dec 2022 </a:t>
            </a:r>
            <a:endParaRPr lang="en-US" altLang="en-US" sz="800" b="0" dirty="0">
              <a:solidFill>
                <a:srgbClr val="455560"/>
              </a:solidFill>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4126087532"/>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55663" y="127465"/>
            <a:ext cx="7953221" cy="807256"/>
          </a:xfrm>
        </p:spPr>
        <p:txBody>
          <a:bodyPr/>
          <a:lstStyle/>
          <a:p>
            <a:pPr algn="l"/>
            <a:r>
              <a:rPr lang="en-US" b="1" dirty="0"/>
              <a:t>Exposure-Adjusted Incidence Rates (EAIRs)</a:t>
            </a:r>
          </a:p>
        </p:txBody>
      </p:sp>
      <p:pic>
        <p:nvPicPr>
          <p:cNvPr id="7" name="Picture 6">
            <a:extLst>
              <a:ext uri="{FF2B5EF4-FFF2-40B4-BE49-F238E27FC236}">
                <a16:creationId xmlns:a16="http://schemas.microsoft.com/office/drawing/2014/main" id="{58557A47-2312-7FA6-48A9-171F507D95E2}"/>
              </a:ext>
            </a:extLst>
          </p:cNvPr>
          <p:cNvPicPr>
            <a:picLocks noChangeAspect="1"/>
          </p:cNvPicPr>
          <p:nvPr/>
        </p:nvPicPr>
        <p:blipFill>
          <a:blip r:embed="rId2"/>
          <a:stretch>
            <a:fillRect/>
          </a:stretch>
        </p:blipFill>
        <p:spPr>
          <a:xfrm>
            <a:off x="-47043" y="1627846"/>
            <a:ext cx="9144000" cy="1892571"/>
          </a:xfrm>
          <a:prstGeom prst="rect">
            <a:avLst/>
          </a:prstGeom>
        </p:spPr>
      </p:pic>
      <p:sp>
        <p:nvSpPr>
          <p:cNvPr id="2" name="Text Box 15">
            <a:extLst>
              <a:ext uri="{FF2B5EF4-FFF2-40B4-BE49-F238E27FC236}">
                <a16:creationId xmlns:a16="http://schemas.microsoft.com/office/drawing/2014/main" id="{C9276698-CF50-6197-0542-1FD39697439D}"/>
              </a:ext>
            </a:extLst>
          </p:cNvPr>
          <p:cNvSpPr txBox="1">
            <a:spLocks noChangeArrowheads="1"/>
          </p:cNvSpPr>
          <p:nvPr/>
        </p:nvSpPr>
        <p:spPr bwMode="auto">
          <a:xfrm>
            <a:off x="7233401" y="4102827"/>
            <a:ext cx="1761608" cy="215444"/>
          </a:xfrm>
          <a:prstGeom prst="rect">
            <a:avLst/>
          </a:prstGeom>
          <a:noFill/>
          <a:ln>
            <a:noFill/>
          </a:ln>
        </p:spPr>
        <p:txBody>
          <a:bodyPr wrap="square" anchor="b">
            <a:spAutoFit/>
          </a:bodyPr>
          <a:lstStyle>
            <a:lvl1pPr>
              <a:defRPr b="1">
                <a:solidFill>
                  <a:schemeClr val="tx1"/>
                </a:solidFill>
                <a:latin typeface="Arial" charset="0"/>
              </a:defRPr>
            </a:lvl1pPr>
            <a:lvl2pPr marL="742950" indent="-285750">
              <a:defRPr b="1">
                <a:solidFill>
                  <a:schemeClr val="tx1"/>
                </a:solidFill>
                <a:latin typeface="Arial" charset="0"/>
              </a:defRPr>
            </a:lvl2pPr>
            <a:lvl3pPr marL="1143000" indent="-228600">
              <a:defRPr b="1">
                <a:solidFill>
                  <a:schemeClr val="tx1"/>
                </a:solidFill>
                <a:latin typeface="Arial" charset="0"/>
              </a:defRPr>
            </a:lvl3pPr>
            <a:lvl4pPr marL="1600200" indent="-228600">
              <a:defRPr b="1">
                <a:solidFill>
                  <a:schemeClr val="tx1"/>
                </a:solidFill>
                <a:latin typeface="Arial" charset="0"/>
              </a:defRPr>
            </a:lvl4pPr>
            <a:lvl5pPr marL="2057400" indent="-228600">
              <a:defRPr b="1">
                <a:solidFill>
                  <a:schemeClr val="tx1"/>
                </a:solidFill>
                <a:latin typeface="Arial" charset="0"/>
              </a:defRPr>
            </a:lvl5pPr>
            <a:lvl6pPr marL="2514600" indent="-228600" eaLnBrk="0" fontAlgn="base" hangingPunct="0">
              <a:spcBef>
                <a:spcPct val="0"/>
              </a:spcBef>
              <a:spcAft>
                <a:spcPct val="0"/>
              </a:spcAft>
              <a:defRPr b="1">
                <a:solidFill>
                  <a:schemeClr val="tx1"/>
                </a:solidFill>
                <a:latin typeface="Arial" charset="0"/>
              </a:defRPr>
            </a:lvl6pPr>
            <a:lvl7pPr marL="2971800" indent="-228600" eaLnBrk="0" fontAlgn="base" hangingPunct="0">
              <a:spcBef>
                <a:spcPct val="0"/>
              </a:spcBef>
              <a:spcAft>
                <a:spcPct val="0"/>
              </a:spcAft>
              <a:defRPr b="1">
                <a:solidFill>
                  <a:schemeClr val="tx1"/>
                </a:solidFill>
                <a:latin typeface="Arial" charset="0"/>
              </a:defRPr>
            </a:lvl7pPr>
            <a:lvl8pPr marL="3429000" indent="-228600" eaLnBrk="0" fontAlgn="base" hangingPunct="0">
              <a:spcBef>
                <a:spcPct val="0"/>
              </a:spcBef>
              <a:spcAft>
                <a:spcPct val="0"/>
              </a:spcAft>
              <a:defRPr b="1">
                <a:solidFill>
                  <a:schemeClr val="tx1"/>
                </a:solidFill>
                <a:latin typeface="Arial" charset="0"/>
              </a:defRPr>
            </a:lvl8pPr>
            <a:lvl9pPr marL="3886200" indent="-228600" eaLnBrk="0" fontAlgn="base" hangingPunct="0">
              <a:spcBef>
                <a:spcPct val="0"/>
              </a:spcBef>
              <a:spcAft>
                <a:spcPct val="0"/>
              </a:spcAft>
              <a:defRPr b="1">
                <a:solidFill>
                  <a:schemeClr val="tx1"/>
                </a:solidFill>
                <a:latin typeface="Arial" charset="0"/>
              </a:defRPr>
            </a:lvl9pPr>
          </a:lstStyle>
          <a:p>
            <a:pPr>
              <a:defRPr/>
            </a:pPr>
            <a:r>
              <a:rPr lang="en-US" altLang="en-US" sz="800" b="0" spc="-10" dirty="0" err="1">
                <a:solidFill>
                  <a:srgbClr val="455560"/>
                </a:solidFill>
                <a:latin typeface="Calibri" panose="020F0502020204030204" pitchFamily="34" charset="0"/>
                <a:ea typeface="+mn-ea"/>
                <a:cs typeface="Arial" panose="020B0604020202020204" pitchFamily="34" charset="0"/>
              </a:rPr>
              <a:t>Tolaney</a:t>
            </a:r>
            <a:r>
              <a:rPr lang="en-US" altLang="en-US" sz="800" b="0" spc="-10" dirty="0">
                <a:solidFill>
                  <a:srgbClr val="455560"/>
                </a:solidFill>
                <a:latin typeface="Calibri" panose="020F0502020204030204" pitchFamily="34" charset="0"/>
                <a:ea typeface="+mn-ea"/>
                <a:cs typeface="Arial" panose="020B0604020202020204" pitchFamily="34" charset="0"/>
              </a:rPr>
              <a:t>. SABCS P3-07-08, Dec 2022 </a:t>
            </a:r>
            <a:endParaRPr lang="en-US" altLang="en-US" sz="800" b="0" dirty="0">
              <a:solidFill>
                <a:srgbClr val="455560"/>
              </a:solidFill>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3255610239"/>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BEEB784-965B-1531-C979-98F1EDD116EA}"/>
              </a:ext>
            </a:extLst>
          </p:cNvPr>
          <p:cNvPicPr>
            <a:picLocks noChangeAspect="1"/>
          </p:cNvPicPr>
          <p:nvPr/>
        </p:nvPicPr>
        <p:blipFill>
          <a:blip r:embed="rId2"/>
          <a:stretch>
            <a:fillRect/>
          </a:stretch>
        </p:blipFill>
        <p:spPr>
          <a:xfrm>
            <a:off x="1442156" y="0"/>
            <a:ext cx="5302648" cy="4361147"/>
          </a:xfrm>
          <a:prstGeom prst="rect">
            <a:avLst/>
          </a:prstGeom>
        </p:spPr>
      </p:pic>
      <p:sp>
        <p:nvSpPr>
          <p:cNvPr id="2" name="Text Box 15">
            <a:extLst>
              <a:ext uri="{FF2B5EF4-FFF2-40B4-BE49-F238E27FC236}">
                <a16:creationId xmlns:a16="http://schemas.microsoft.com/office/drawing/2014/main" id="{F39BF5F8-7D7F-FEB9-BFA1-2E83DE7FE46F}"/>
              </a:ext>
            </a:extLst>
          </p:cNvPr>
          <p:cNvSpPr txBox="1">
            <a:spLocks noChangeArrowheads="1"/>
          </p:cNvSpPr>
          <p:nvPr/>
        </p:nvSpPr>
        <p:spPr bwMode="auto">
          <a:xfrm>
            <a:off x="7233401" y="4102827"/>
            <a:ext cx="1761608" cy="215444"/>
          </a:xfrm>
          <a:prstGeom prst="rect">
            <a:avLst/>
          </a:prstGeom>
          <a:noFill/>
          <a:ln>
            <a:noFill/>
          </a:ln>
        </p:spPr>
        <p:txBody>
          <a:bodyPr wrap="square" anchor="b">
            <a:spAutoFit/>
          </a:bodyPr>
          <a:lstStyle>
            <a:lvl1pPr>
              <a:defRPr b="1">
                <a:solidFill>
                  <a:schemeClr val="tx1"/>
                </a:solidFill>
                <a:latin typeface="Arial" charset="0"/>
              </a:defRPr>
            </a:lvl1pPr>
            <a:lvl2pPr marL="742950" indent="-285750">
              <a:defRPr b="1">
                <a:solidFill>
                  <a:schemeClr val="tx1"/>
                </a:solidFill>
                <a:latin typeface="Arial" charset="0"/>
              </a:defRPr>
            </a:lvl2pPr>
            <a:lvl3pPr marL="1143000" indent="-228600">
              <a:defRPr b="1">
                <a:solidFill>
                  <a:schemeClr val="tx1"/>
                </a:solidFill>
                <a:latin typeface="Arial" charset="0"/>
              </a:defRPr>
            </a:lvl3pPr>
            <a:lvl4pPr marL="1600200" indent="-228600">
              <a:defRPr b="1">
                <a:solidFill>
                  <a:schemeClr val="tx1"/>
                </a:solidFill>
                <a:latin typeface="Arial" charset="0"/>
              </a:defRPr>
            </a:lvl4pPr>
            <a:lvl5pPr marL="2057400" indent="-228600">
              <a:defRPr b="1">
                <a:solidFill>
                  <a:schemeClr val="tx1"/>
                </a:solidFill>
                <a:latin typeface="Arial" charset="0"/>
              </a:defRPr>
            </a:lvl5pPr>
            <a:lvl6pPr marL="2514600" indent="-228600" eaLnBrk="0" fontAlgn="base" hangingPunct="0">
              <a:spcBef>
                <a:spcPct val="0"/>
              </a:spcBef>
              <a:spcAft>
                <a:spcPct val="0"/>
              </a:spcAft>
              <a:defRPr b="1">
                <a:solidFill>
                  <a:schemeClr val="tx1"/>
                </a:solidFill>
                <a:latin typeface="Arial" charset="0"/>
              </a:defRPr>
            </a:lvl6pPr>
            <a:lvl7pPr marL="2971800" indent="-228600" eaLnBrk="0" fontAlgn="base" hangingPunct="0">
              <a:spcBef>
                <a:spcPct val="0"/>
              </a:spcBef>
              <a:spcAft>
                <a:spcPct val="0"/>
              </a:spcAft>
              <a:defRPr b="1">
                <a:solidFill>
                  <a:schemeClr val="tx1"/>
                </a:solidFill>
                <a:latin typeface="Arial" charset="0"/>
              </a:defRPr>
            </a:lvl7pPr>
            <a:lvl8pPr marL="3429000" indent="-228600" eaLnBrk="0" fontAlgn="base" hangingPunct="0">
              <a:spcBef>
                <a:spcPct val="0"/>
              </a:spcBef>
              <a:spcAft>
                <a:spcPct val="0"/>
              </a:spcAft>
              <a:defRPr b="1">
                <a:solidFill>
                  <a:schemeClr val="tx1"/>
                </a:solidFill>
                <a:latin typeface="Arial" charset="0"/>
              </a:defRPr>
            </a:lvl8pPr>
            <a:lvl9pPr marL="3886200" indent="-228600" eaLnBrk="0" fontAlgn="base" hangingPunct="0">
              <a:spcBef>
                <a:spcPct val="0"/>
              </a:spcBef>
              <a:spcAft>
                <a:spcPct val="0"/>
              </a:spcAft>
              <a:defRPr b="1">
                <a:solidFill>
                  <a:schemeClr val="tx1"/>
                </a:solidFill>
                <a:latin typeface="Arial" charset="0"/>
              </a:defRPr>
            </a:lvl9pPr>
          </a:lstStyle>
          <a:p>
            <a:pPr>
              <a:defRPr/>
            </a:pPr>
            <a:r>
              <a:rPr lang="en-US" altLang="en-US" sz="800" b="0" spc="-10" dirty="0" err="1">
                <a:solidFill>
                  <a:srgbClr val="455560"/>
                </a:solidFill>
                <a:latin typeface="Calibri" panose="020F0502020204030204" pitchFamily="34" charset="0"/>
                <a:ea typeface="+mn-ea"/>
                <a:cs typeface="Arial" panose="020B0604020202020204" pitchFamily="34" charset="0"/>
              </a:rPr>
              <a:t>Tolaney</a:t>
            </a:r>
            <a:r>
              <a:rPr lang="en-US" altLang="en-US" sz="800" b="0" spc="-10" dirty="0">
                <a:solidFill>
                  <a:srgbClr val="455560"/>
                </a:solidFill>
                <a:latin typeface="Calibri" panose="020F0502020204030204" pitchFamily="34" charset="0"/>
                <a:ea typeface="+mn-ea"/>
                <a:cs typeface="Arial" panose="020B0604020202020204" pitchFamily="34" charset="0"/>
              </a:rPr>
              <a:t>. SABCS P3-07-08, Dec 2022 </a:t>
            </a:r>
            <a:endParaRPr lang="en-US" altLang="en-US" sz="800" b="0" dirty="0">
              <a:solidFill>
                <a:srgbClr val="455560"/>
              </a:solidFill>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2543386298"/>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EDC89FA-37DA-7066-C737-A776725A308C}"/>
              </a:ext>
            </a:extLst>
          </p:cNvPr>
          <p:cNvPicPr>
            <a:picLocks noChangeAspect="1"/>
          </p:cNvPicPr>
          <p:nvPr/>
        </p:nvPicPr>
        <p:blipFill>
          <a:blip r:embed="rId2"/>
          <a:stretch>
            <a:fillRect/>
          </a:stretch>
        </p:blipFill>
        <p:spPr>
          <a:xfrm>
            <a:off x="1446579" y="1"/>
            <a:ext cx="5265881" cy="4337038"/>
          </a:xfrm>
          <a:prstGeom prst="rect">
            <a:avLst/>
          </a:prstGeom>
        </p:spPr>
      </p:pic>
      <p:sp>
        <p:nvSpPr>
          <p:cNvPr id="2" name="Text Box 15">
            <a:extLst>
              <a:ext uri="{FF2B5EF4-FFF2-40B4-BE49-F238E27FC236}">
                <a16:creationId xmlns:a16="http://schemas.microsoft.com/office/drawing/2014/main" id="{69FDE894-15D8-AFD8-F790-76B4D52DAC29}"/>
              </a:ext>
            </a:extLst>
          </p:cNvPr>
          <p:cNvSpPr txBox="1">
            <a:spLocks noChangeArrowheads="1"/>
          </p:cNvSpPr>
          <p:nvPr/>
        </p:nvSpPr>
        <p:spPr bwMode="auto">
          <a:xfrm>
            <a:off x="7233401" y="4102827"/>
            <a:ext cx="1761608" cy="215444"/>
          </a:xfrm>
          <a:prstGeom prst="rect">
            <a:avLst/>
          </a:prstGeom>
          <a:noFill/>
          <a:ln>
            <a:noFill/>
          </a:ln>
        </p:spPr>
        <p:txBody>
          <a:bodyPr wrap="square" anchor="b">
            <a:spAutoFit/>
          </a:bodyPr>
          <a:lstStyle>
            <a:lvl1pPr>
              <a:defRPr b="1">
                <a:solidFill>
                  <a:schemeClr val="tx1"/>
                </a:solidFill>
                <a:latin typeface="Arial" charset="0"/>
              </a:defRPr>
            </a:lvl1pPr>
            <a:lvl2pPr marL="742950" indent="-285750">
              <a:defRPr b="1">
                <a:solidFill>
                  <a:schemeClr val="tx1"/>
                </a:solidFill>
                <a:latin typeface="Arial" charset="0"/>
              </a:defRPr>
            </a:lvl2pPr>
            <a:lvl3pPr marL="1143000" indent="-228600">
              <a:defRPr b="1">
                <a:solidFill>
                  <a:schemeClr val="tx1"/>
                </a:solidFill>
                <a:latin typeface="Arial" charset="0"/>
              </a:defRPr>
            </a:lvl3pPr>
            <a:lvl4pPr marL="1600200" indent="-228600">
              <a:defRPr b="1">
                <a:solidFill>
                  <a:schemeClr val="tx1"/>
                </a:solidFill>
                <a:latin typeface="Arial" charset="0"/>
              </a:defRPr>
            </a:lvl4pPr>
            <a:lvl5pPr marL="2057400" indent="-228600">
              <a:defRPr b="1">
                <a:solidFill>
                  <a:schemeClr val="tx1"/>
                </a:solidFill>
                <a:latin typeface="Arial" charset="0"/>
              </a:defRPr>
            </a:lvl5pPr>
            <a:lvl6pPr marL="2514600" indent="-228600" eaLnBrk="0" fontAlgn="base" hangingPunct="0">
              <a:spcBef>
                <a:spcPct val="0"/>
              </a:spcBef>
              <a:spcAft>
                <a:spcPct val="0"/>
              </a:spcAft>
              <a:defRPr b="1">
                <a:solidFill>
                  <a:schemeClr val="tx1"/>
                </a:solidFill>
                <a:latin typeface="Arial" charset="0"/>
              </a:defRPr>
            </a:lvl6pPr>
            <a:lvl7pPr marL="2971800" indent="-228600" eaLnBrk="0" fontAlgn="base" hangingPunct="0">
              <a:spcBef>
                <a:spcPct val="0"/>
              </a:spcBef>
              <a:spcAft>
                <a:spcPct val="0"/>
              </a:spcAft>
              <a:defRPr b="1">
                <a:solidFill>
                  <a:schemeClr val="tx1"/>
                </a:solidFill>
                <a:latin typeface="Arial" charset="0"/>
              </a:defRPr>
            </a:lvl7pPr>
            <a:lvl8pPr marL="3429000" indent="-228600" eaLnBrk="0" fontAlgn="base" hangingPunct="0">
              <a:spcBef>
                <a:spcPct val="0"/>
              </a:spcBef>
              <a:spcAft>
                <a:spcPct val="0"/>
              </a:spcAft>
              <a:defRPr b="1">
                <a:solidFill>
                  <a:schemeClr val="tx1"/>
                </a:solidFill>
                <a:latin typeface="Arial" charset="0"/>
              </a:defRPr>
            </a:lvl8pPr>
            <a:lvl9pPr marL="3886200" indent="-228600" eaLnBrk="0" fontAlgn="base" hangingPunct="0">
              <a:spcBef>
                <a:spcPct val="0"/>
              </a:spcBef>
              <a:spcAft>
                <a:spcPct val="0"/>
              </a:spcAft>
              <a:defRPr b="1">
                <a:solidFill>
                  <a:schemeClr val="tx1"/>
                </a:solidFill>
                <a:latin typeface="Arial" charset="0"/>
              </a:defRPr>
            </a:lvl9pPr>
          </a:lstStyle>
          <a:p>
            <a:pPr>
              <a:defRPr/>
            </a:pPr>
            <a:r>
              <a:rPr lang="en-US" altLang="en-US" sz="800" b="0" spc="-10" dirty="0" err="1">
                <a:solidFill>
                  <a:srgbClr val="455560"/>
                </a:solidFill>
                <a:latin typeface="Calibri" panose="020F0502020204030204" pitchFamily="34" charset="0"/>
                <a:ea typeface="+mn-ea"/>
                <a:cs typeface="Arial" panose="020B0604020202020204" pitchFamily="34" charset="0"/>
              </a:rPr>
              <a:t>Tolaney</a:t>
            </a:r>
            <a:r>
              <a:rPr lang="en-US" altLang="en-US" sz="800" b="0" spc="-10" dirty="0">
                <a:solidFill>
                  <a:srgbClr val="455560"/>
                </a:solidFill>
                <a:latin typeface="Calibri" panose="020F0502020204030204" pitchFamily="34" charset="0"/>
                <a:ea typeface="+mn-ea"/>
                <a:cs typeface="Arial" panose="020B0604020202020204" pitchFamily="34" charset="0"/>
              </a:rPr>
              <a:t>. SABCS P3-07-08, Dec 2022 </a:t>
            </a:r>
            <a:endParaRPr lang="en-US" altLang="en-US" sz="800" b="0" dirty="0">
              <a:solidFill>
                <a:srgbClr val="455560"/>
              </a:solidFill>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74539143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a:xfrm>
            <a:off x="1212112" y="1274726"/>
            <a:ext cx="3104707" cy="2915920"/>
          </a:xfrm>
        </p:spPr>
        <p:txBody>
          <a:bodyPr/>
          <a:lstStyle/>
          <a:p>
            <a:pPr algn="l"/>
            <a:r>
              <a:rPr lang="en-US" sz="1800" u="sng" dirty="0">
                <a:solidFill>
                  <a:srgbClr val="002E51"/>
                </a:solidFill>
              </a:rPr>
              <a:t>Adjuvant CDK 4/6 inhibitors:</a:t>
            </a:r>
          </a:p>
          <a:p>
            <a:pPr algn="l">
              <a:buFont typeface="+mj-lt"/>
              <a:buAutoNum type="arabicPeriod"/>
            </a:pPr>
            <a:r>
              <a:rPr lang="en-US" sz="1800" dirty="0">
                <a:solidFill>
                  <a:srgbClr val="002E51"/>
                </a:solidFill>
              </a:rPr>
              <a:t> MonarchE</a:t>
            </a:r>
          </a:p>
          <a:p>
            <a:pPr algn="l">
              <a:buFont typeface="+mj-lt"/>
              <a:buAutoNum type="arabicPeriod"/>
            </a:pPr>
            <a:r>
              <a:rPr lang="en-US" sz="1800" dirty="0">
                <a:solidFill>
                  <a:srgbClr val="002E51"/>
                </a:solidFill>
              </a:rPr>
              <a:t> Natalee </a:t>
            </a:r>
          </a:p>
          <a:p>
            <a:pPr algn="l"/>
            <a:endParaRPr lang="en-US" sz="1800" dirty="0">
              <a:solidFill>
                <a:srgbClr val="002E51"/>
              </a:solidFill>
            </a:endParaRPr>
          </a:p>
          <a:p>
            <a:pPr algn="l"/>
            <a:r>
              <a:rPr lang="en-US" sz="1800" u="sng" dirty="0">
                <a:solidFill>
                  <a:srgbClr val="002E51"/>
                </a:solidFill>
              </a:rPr>
              <a:t>MBC: 1L CDK 4/6 inhibitors:</a:t>
            </a:r>
          </a:p>
          <a:p>
            <a:pPr algn="l"/>
            <a:r>
              <a:rPr lang="en-US" sz="1800" dirty="0">
                <a:solidFill>
                  <a:srgbClr val="002E51"/>
                </a:solidFill>
              </a:rPr>
              <a:t>3. Survival discussion</a:t>
            </a:r>
          </a:p>
          <a:p>
            <a:pPr algn="l"/>
            <a:r>
              <a:rPr lang="en-US" sz="1800" dirty="0">
                <a:solidFill>
                  <a:srgbClr val="002E51"/>
                </a:solidFill>
              </a:rPr>
              <a:t>4. Right choice</a:t>
            </a:r>
          </a:p>
          <a:p>
            <a:pPr algn="l"/>
            <a:endParaRPr lang="en-US" sz="1800" dirty="0">
              <a:solidFill>
                <a:srgbClr val="002E51"/>
              </a:solidFill>
            </a:endParaRPr>
          </a:p>
        </p:txBody>
      </p:sp>
      <p:sp>
        <p:nvSpPr>
          <p:cNvPr id="4" name="Title 3"/>
          <p:cNvSpPr>
            <a:spLocks noGrp="1"/>
          </p:cNvSpPr>
          <p:nvPr>
            <p:ph type="title"/>
          </p:nvPr>
        </p:nvSpPr>
        <p:spPr>
          <a:xfrm>
            <a:off x="0" y="127465"/>
            <a:ext cx="9144000" cy="807256"/>
          </a:xfrm>
        </p:spPr>
        <p:txBody>
          <a:bodyPr/>
          <a:lstStyle/>
          <a:p>
            <a:r>
              <a:rPr lang="en-US" b="1" dirty="0"/>
              <a:t>Objectives</a:t>
            </a:r>
          </a:p>
        </p:txBody>
      </p:sp>
      <p:sp>
        <p:nvSpPr>
          <p:cNvPr id="3" name="Subtitle 1">
            <a:extLst>
              <a:ext uri="{FF2B5EF4-FFF2-40B4-BE49-F238E27FC236}">
                <a16:creationId xmlns:a16="http://schemas.microsoft.com/office/drawing/2014/main" id="{AB78DD71-46EC-173C-A031-1C253C7AFB1C}"/>
              </a:ext>
            </a:extLst>
          </p:cNvPr>
          <p:cNvSpPr txBox="1">
            <a:spLocks/>
          </p:cNvSpPr>
          <p:nvPr/>
        </p:nvSpPr>
        <p:spPr bwMode="auto">
          <a:xfrm>
            <a:off x="4720856" y="1274726"/>
            <a:ext cx="3104707" cy="2915920"/>
          </a:xfrm>
          <a:prstGeom prst="rect">
            <a:avLst/>
          </a:prstGeom>
          <a:noFill/>
          <a:ln>
            <a:noFill/>
          </a:ln>
          <a:extLst>
            <a:ext uri="{FAA26D3D-D897-4be2-8F04-BA451C77F1D7}">
              <ma14:placeholderFlag xmlns=""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0" indent="0" algn="ctr" rtl="0" eaLnBrk="1" fontAlgn="base" hangingPunct="1">
              <a:spcBef>
                <a:spcPct val="20000"/>
              </a:spcBef>
              <a:spcAft>
                <a:spcPct val="0"/>
              </a:spcAft>
              <a:buNone/>
              <a:defRPr sz="2400">
                <a:solidFill>
                  <a:schemeClr val="tx1"/>
                </a:solidFill>
                <a:latin typeface="+mn-lt"/>
                <a:ea typeface="+mn-ea"/>
                <a:cs typeface="+mn-cs"/>
              </a:defRPr>
            </a:lvl1pPr>
            <a:lvl2pPr marL="457200" indent="0" algn="ctr" rtl="0" eaLnBrk="1" fontAlgn="base" hangingPunct="1">
              <a:spcBef>
                <a:spcPct val="20000"/>
              </a:spcBef>
              <a:spcAft>
                <a:spcPct val="0"/>
              </a:spcAft>
              <a:buNone/>
              <a:defRPr sz="2000">
                <a:solidFill>
                  <a:schemeClr val="tx1"/>
                </a:solidFill>
                <a:latin typeface="+mn-lt"/>
                <a:ea typeface="+mn-ea"/>
              </a:defRPr>
            </a:lvl2pPr>
            <a:lvl3pPr marL="914400" indent="0" algn="ctr" rtl="0" eaLnBrk="1" fontAlgn="base" hangingPunct="1">
              <a:spcBef>
                <a:spcPct val="20000"/>
              </a:spcBef>
              <a:spcAft>
                <a:spcPct val="0"/>
              </a:spcAft>
              <a:buNone/>
              <a:defRPr>
                <a:solidFill>
                  <a:schemeClr val="tx1"/>
                </a:solidFill>
                <a:latin typeface="+mn-lt"/>
                <a:ea typeface="+mn-ea"/>
              </a:defRPr>
            </a:lvl3pPr>
            <a:lvl4pPr marL="1371600" indent="0" algn="ctr" rtl="0" eaLnBrk="1" fontAlgn="base" hangingPunct="1">
              <a:spcBef>
                <a:spcPct val="20000"/>
              </a:spcBef>
              <a:spcAft>
                <a:spcPct val="0"/>
              </a:spcAft>
              <a:buNone/>
              <a:defRPr sz="2000">
                <a:solidFill>
                  <a:schemeClr val="tx1"/>
                </a:solidFill>
                <a:latin typeface="+mn-lt"/>
                <a:ea typeface="+mn-ea"/>
              </a:defRPr>
            </a:lvl4pPr>
            <a:lvl5pPr marL="1828800" indent="0" algn="ctr" rtl="0" eaLnBrk="1" fontAlgn="base" hangingPunct="1">
              <a:spcBef>
                <a:spcPct val="20000"/>
              </a:spcBef>
              <a:spcAft>
                <a:spcPct val="0"/>
              </a:spcAft>
              <a:buNone/>
              <a:defRPr sz="2000">
                <a:solidFill>
                  <a:schemeClr val="tx1"/>
                </a:solidFill>
                <a:latin typeface="+mn-lt"/>
                <a:ea typeface="+mn-ea"/>
              </a:defRPr>
            </a:lvl5pPr>
            <a:lvl6pPr marL="2286000" indent="0" algn="ctr" rtl="0" eaLnBrk="1" fontAlgn="base" hangingPunct="1">
              <a:spcBef>
                <a:spcPct val="20000"/>
              </a:spcBef>
              <a:spcAft>
                <a:spcPct val="0"/>
              </a:spcAft>
              <a:buNone/>
              <a:defRPr sz="2000">
                <a:solidFill>
                  <a:schemeClr val="tx1"/>
                </a:solidFill>
                <a:latin typeface="+mn-lt"/>
                <a:ea typeface="+mn-ea"/>
              </a:defRPr>
            </a:lvl6pPr>
            <a:lvl7pPr marL="2743200" indent="0" algn="ctr" rtl="0" eaLnBrk="1" fontAlgn="base" hangingPunct="1">
              <a:spcBef>
                <a:spcPct val="20000"/>
              </a:spcBef>
              <a:spcAft>
                <a:spcPct val="0"/>
              </a:spcAft>
              <a:buNone/>
              <a:defRPr sz="2000">
                <a:solidFill>
                  <a:schemeClr val="tx1"/>
                </a:solidFill>
                <a:latin typeface="+mn-lt"/>
                <a:ea typeface="+mn-ea"/>
              </a:defRPr>
            </a:lvl7pPr>
            <a:lvl8pPr marL="3200400" indent="0" algn="ctr" rtl="0" eaLnBrk="1" fontAlgn="base" hangingPunct="1">
              <a:spcBef>
                <a:spcPct val="20000"/>
              </a:spcBef>
              <a:spcAft>
                <a:spcPct val="0"/>
              </a:spcAft>
              <a:buNone/>
              <a:defRPr sz="2000">
                <a:solidFill>
                  <a:schemeClr val="tx1"/>
                </a:solidFill>
                <a:latin typeface="+mn-lt"/>
                <a:ea typeface="+mn-ea"/>
              </a:defRPr>
            </a:lvl8pPr>
            <a:lvl9pPr marL="3657600" indent="0" algn="ctr" rtl="0" eaLnBrk="1" fontAlgn="base" hangingPunct="1">
              <a:spcBef>
                <a:spcPct val="20000"/>
              </a:spcBef>
              <a:spcAft>
                <a:spcPct val="0"/>
              </a:spcAft>
              <a:buNone/>
              <a:defRPr sz="2000">
                <a:solidFill>
                  <a:schemeClr val="tx1"/>
                </a:solidFill>
                <a:latin typeface="+mn-lt"/>
                <a:ea typeface="+mn-ea"/>
              </a:defRPr>
            </a:lvl9pPr>
          </a:lstStyle>
          <a:p>
            <a:pPr algn="l"/>
            <a:r>
              <a:rPr lang="en-US" sz="1800" u="sng" kern="0" dirty="0">
                <a:solidFill>
                  <a:srgbClr val="002E51"/>
                </a:solidFill>
              </a:rPr>
              <a:t>CDK 4/6 inhibitor after CDK4/6 inhibitor:</a:t>
            </a:r>
          </a:p>
          <a:p>
            <a:pPr marL="342900" indent="-342900" algn="l">
              <a:buFont typeface="+mj-lt"/>
              <a:buAutoNum type="arabicPeriod" startAt="5"/>
            </a:pPr>
            <a:r>
              <a:rPr lang="en-US" sz="1800" kern="0" dirty="0">
                <a:solidFill>
                  <a:srgbClr val="002E51"/>
                </a:solidFill>
              </a:rPr>
              <a:t>Maintain</a:t>
            </a:r>
          </a:p>
          <a:p>
            <a:pPr marL="342900" indent="-342900" algn="l">
              <a:buFont typeface="+mj-lt"/>
              <a:buAutoNum type="arabicPeriod" startAt="5"/>
            </a:pPr>
            <a:r>
              <a:rPr lang="en-US" sz="1800" kern="0" dirty="0">
                <a:solidFill>
                  <a:srgbClr val="002E51"/>
                </a:solidFill>
              </a:rPr>
              <a:t>Pace</a:t>
            </a:r>
          </a:p>
          <a:p>
            <a:pPr marL="342900" indent="-342900" algn="l">
              <a:buFont typeface="+mj-lt"/>
              <a:buAutoNum type="arabicPeriod" startAt="5"/>
            </a:pPr>
            <a:r>
              <a:rPr lang="en-US" sz="1800" kern="0" dirty="0">
                <a:solidFill>
                  <a:srgbClr val="002E51"/>
                </a:solidFill>
              </a:rPr>
              <a:t>Palmira</a:t>
            </a:r>
          </a:p>
          <a:p>
            <a:pPr algn="l"/>
            <a:endParaRPr lang="en-US" sz="1800" kern="0" dirty="0">
              <a:solidFill>
                <a:srgbClr val="002E51"/>
              </a:solidFill>
            </a:endParaRPr>
          </a:p>
        </p:txBody>
      </p:sp>
    </p:spTree>
    <p:extLst>
      <p:ext uri="{BB962C8B-B14F-4D97-AF65-F5344CB8AC3E}">
        <p14:creationId xmlns:p14="http://schemas.microsoft.com/office/powerpoint/2010/main" val="3622330126"/>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a:xfrm>
            <a:off x="708586" y="1399531"/>
            <a:ext cx="7618040" cy="2684789"/>
          </a:xfrm>
        </p:spPr>
        <p:txBody>
          <a:bodyPr/>
          <a:lstStyle/>
          <a:p>
            <a:pPr marL="342900" indent="-342900" algn="l">
              <a:buFont typeface="Arial" panose="020B0604020202020204" pitchFamily="34" charset="0"/>
              <a:buChar char="•"/>
            </a:pPr>
            <a:r>
              <a:rPr lang="en-US" sz="2000" b="1" dirty="0"/>
              <a:t>Advanced/metastatic triple-negative breast cancer after </a:t>
            </a:r>
            <a:r>
              <a:rPr lang="en-US" sz="2000" b="1" u="sng" dirty="0"/>
              <a:t>&gt;</a:t>
            </a:r>
            <a:r>
              <a:rPr lang="en-US" sz="2000" b="1" dirty="0"/>
              <a:t> 2 prior therapies (at least one in the metastatic setting)</a:t>
            </a:r>
          </a:p>
          <a:p>
            <a:pPr marL="342900" indent="-342900" algn="l">
              <a:buFont typeface="Arial" panose="020B0604020202020204" pitchFamily="34" charset="0"/>
              <a:buChar char="•"/>
            </a:pPr>
            <a:r>
              <a:rPr lang="en-US" sz="2000" b="1" dirty="0">
                <a:cs typeface="Calibri" panose="020F0502020204030204" pitchFamily="34" charset="0"/>
              </a:rPr>
              <a:t>A</a:t>
            </a:r>
            <a:r>
              <a:rPr lang="en-US" sz="2000" b="1" i="0" dirty="0">
                <a:effectLst/>
                <a:cs typeface="Calibri" panose="020F0502020204030204" pitchFamily="34" charset="0"/>
              </a:rPr>
              <a:t>dvanced/metastatic hormone receptor </a:t>
            </a:r>
            <a:r>
              <a:rPr lang="en-US" sz="2000" b="1" dirty="0">
                <a:cs typeface="Calibri" panose="020F0502020204030204" pitchFamily="34" charset="0"/>
              </a:rPr>
              <a:t>positive</a:t>
            </a:r>
            <a:r>
              <a:rPr lang="en-US" sz="2000" b="1" i="0" dirty="0">
                <a:effectLst/>
                <a:cs typeface="Calibri" panose="020F0502020204030204" pitchFamily="34" charset="0"/>
              </a:rPr>
              <a:t>, HER2-negative breast cancer who have received endocrine-based therapy and at least two additional systemic therapies in the metastatic setting</a:t>
            </a:r>
            <a:endParaRPr lang="en-US" sz="2000" b="1" u="sng" dirty="0">
              <a:cs typeface="Calibri" panose="020F0502020204030204" pitchFamily="34" charset="0"/>
            </a:endParaRPr>
          </a:p>
        </p:txBody>
      </p:sp>
      <p:sp>
        <p:nvSpPr>
          <p:cNvPr id="4" name="Title 3"/>
          <p:cNvSpPr>
            <a:spLocks noGrp="1"/>
          </p:cNvSpPr>
          <p:nvPr>
            <p:ph type="title"/>
          </p:nvPr>
        </p:nvSpPr>
        <p:spPr>
          <a:xfrm>
            <a:off x="655664" y="127465"/>
            <a:ext cx="7750348" cy="807256"/>
          </a:xfrm>
        </p:spPr>
        <p:txBody>
          <a:bodyPr/>
          <a:lstStyle/>
          <a:p>
            <a:pPr algn="l"/>
            <a:r>
              <a:rPr lang="en-US" b="1" dirty="0"/>
              <a:t>Sacituzumab </a:t>
            </a:r>
            <a:r>
              <a:rPr lang="en-US" b="1" dirty="0" err="1"/>
              <a:t>govitecan</a:t>
            </a:r>
            <a:r>
              <a:rPr lang="en-US" b="1" dirty="0"/>
              <a:t> FDA </a:t>
            </a:r>
            <a:r>
              <a:rPr lang="en-US" b="1" dirty="0">
                <a:solidFill>
                  <a:schemeClr val="tx1"/>
                </a:solidFill>
              </a:rPr>
              <a:t>indications</a:t>
            </a:r>
          </a:p>
        </p:txBody>
      </p:sp>
    </p:spTree>
    <p:extLst>
      <p:ext uri="{BB962C8B-B14F-4D97-AF65-F5344CB8AC3E}">
        <p14:creationId xmlns:p14="http://schemas.microsoft.com/office/powerpoint/2010/main" val="1782707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5">
            <a:extLst>
              <a:ext uri="{FF2B5EF4-FFF2-40B4-BE49-F238E27FC236}">
                <a16:creationId xmlns:a16="http://schemas.microsoft.com/office/drawing/2014/main" id="{10557233-6776-D657-F210-90F459AE4C22}"/>
              </a:ext>
            </a:extLst>
          </p:cNvPr>
          <p:cNvGraphicFramePr>
            <a:graphicFrameLocks noGrp="1"/>
          </p:cNvGraphicFramePr>
          <p:nvPr>
            <p:ph sz="half" idx="1"/>
            <p:extLst>
              <p:ext uri="{D42A27DB-BD31-4B8C-83A1-F6EECF244321}">
                <p14:modId xmlns:p14="http://schemas.microsoft.com/office/powerpoint/2010/main" val="3599605543"/>
              </p:ext>
            </p:extLst>
          </p:nvPr>
        </p:nvGraphicFramePr>
        <p:xfrm>
          <a:off x="676244" y="961442"/>
          <a:ext cx="7873835" cy="2723669"/>
        </p:xfrm>
        <a:graphic>
          <a:graphicData uri="http://schemas.openxmlformats.org/drawingml/2006/table">
            <a:tbl>
              <a:tblPr firstRow="1" bandRow="1">
                <a:tableStyleId>{5C22544A-7EE6-4342-B048-85BDC9FD1C3A}</a:tableStyleId>
              </a:tblPr>
              <a:tblGrid>
                <a:gridCol w="1364250">
                  <a:extLst>
                    <a:ext uri="{9D8B030D-6E8A-4147-A177-3AD203B41FA5}">
                      <a16:colId xmlns:a16="http://schemas.microsoft.com/office/drawing/2014/main" val="1063083398"/>
                    </a:ext>
                  </a:extLst>
                </a:gridCol>
                <a:gridCol w="767390">
                  <a:extLst>
                    <a:ext uri="{9D8B030D-6E8A-4147-A177-3AD203B41FA5}">
                      <a16:colId xmlns:a16="http://schemas.microsoft.com/office/drawing/2014/main" val="3564729659"/>
                    </a:ext>
                  </a:extLst>
                </a:gridCol>
                <a:gridCol w="2863748">
                  <a:extLst>
                    <a:ext uri="{9D8B030D-6E8A-4147-A177-3AD203B41FA5}">
                      <a16:colId xmlns:a16="http://schemas.microsoft.com/office/drawing/2014/main" val="2112948681"/>
                    </a:ext>
                  </a:extLst>
                </a:gridCol>
                <a:gridCol w="2878447">
                  <a:extLst>
                    <a:ext uri="{9D8B030D-6E8A-4147-A177-3AD203B41FA5}">
                      <a16:colId xmlns:a16="http://schemas.microsoft.com/office/drawing/2014/main" val="364033887"/>
                    </a:ext>
                  </a:extLst>
                </a:gridCol>
              </a:tblGrid>
              <a:tr h="437669">
                <a:tc>
                  <a:txBody>
                    <a:bodyPr/>
                    <a:lstStyle/>
                    <a:p>
                      <a:r>
                        <a:rPr lang="en-US" sz="1200" b="1" dirty="0">
                          <a:solidFill>
                            <a:srgbClr val="FF0000"/>
                          </a:solidFill>
                        </a:rPr>
                        <a:t>Stud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200" b="1" dirty="0">
                          <a:solidFill>
                            <a:srgbClr val="FF0000"/>
                          </a:solidFill>
                        </a:rPr>
                        <a:t>Phas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200" b="1" dirty="0">
                          <a:solidFill>
                            <a:srgbClr val="FF0000"/>
                          </a:solidFill>
                        </a:rPr>
                        <a:t>Popul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200" b="1" dirty="0">
                          <a:solidFill>
                            <a:srgbClr val="FF0000"/>
                          </a:solidFill>
                        </a:rPr>
                        <a:t>Treatmen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78378526"/>
                  </a:ext>
                </a:extLst>
              </a:tr>
              <a:tr h="437669">
                <a:tc>
                  <a:txBody>
                    <a:bodyPr/>
                    <a:lstStyle/>
                    <a:p>
                      <a:r>
                        <a:rPr lang="en-US" sz="1200" b="1" dirty="0"/>
                        <a:t>SASCIA</a:t>
                      </a:r>
                    </a:p>
                    <a:p>
                      <a:r>
                        <a:rPr lang="en-US" sz="1200" b="1" dirty="0"/>
                        <a:t>NCT0459556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200" b="1" dirty="0"/>
                        <a:t>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200" b="1" dirty="0"/>
                        <a:t>HER2- post-neoadjuvan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200" b="1" dirty="0"/>
                        <a:t>SG vs TCP</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827129509"/>
                  </a:ext>
                </a:extLst>
              </a:tr>
              <a:tr h="437669">
                <a:tc>
                  <a:txBody>
                    <a:bodyPr/>
                    <a:lstStyle/>
                    <a:p>
                      <a:r>
                        <a:rPr lang="en-US" sz="1200" b="1" dirty="0"/>
                        <a:t>ASCENT-03</a:t>
                      </a:r>
                    </a:p>
                    <a:p>
                      <a:r>
                        <a:rPr lang="en-US" sz="1200" b="1" dirty="0"/>
                        <a:t>NCT0538229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200" b="1" dirty="0"/>
                        <a:t>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200" b="1" dirty="0"/>
                        <a:t>Met TN PDL1 negative 1</a:t>
                      </a:r>
                      <a:r>
                        <a:rPr lang="en-US" sz="1200" b="1" baseline="30000" dirty="0"/>
                        <a:t>st</a:t>
                      </a:r>
                      <a:r>
                        <a:rPr lang="en-US" sz="1200" b="1" dirty="0"/>
                        <a:t> lin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200" b="1" dirty="0"/>
                        <a:t>SG vs TCP</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79804761"/>
                  </a:ext>
                </a:extLst>
              </a:tr>
              <a:tr h="437669">
                <a:tc>
                  <a:txBody>
                    <a:bodyPr/>
                    <a:lstStyle/>
                    <a:p>
                      <a:r>
                        <a:rPr lang="en-US" sz="1200" b="1" dirty="0"/>
                        <a:t>ASCENT-04</a:t>
                      </a:r>
                    </a:p>
                    <a:p>
                      <a:r>
                        <a:rPr lang="en-US" sz="1200" b="1" dirty="0"/>
                        <a:t>NCT0538228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200" b="1" dirty="0"/>
                        <a:t>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200" b="1" dirty="0"/>
                        <a:t>Met TN PDL1 positive 1</a:t>
                      </a:r>
                      <a:r>
                        <a:rPr lang="en-US" sz="1200" b="1" baseline="30000" dirty="0"/>
                        <a:t>st</a:t>
                      </a:r>
                      <a:r>
                        <a:rPr lang="en-US" sz="1200" b="1" dirty="0"/>
                        <a:t> lin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200" b="1" dirty="0"/>
                        <a:t>SG + Pembrolizumab vs TCP + Pembrolizumab</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74073198"/>
                  </a:ext>
                </a:extLst>
              </a:tr>
              <a:tr h="437669">
                <a:tc>
                  <a:txBody>
                    <a:bodyPr/>
                    <a:lstStyle/>
                    <a:p>
                      <a:r>
                        <a:rPr lang="en-US" sz="1200" b="1" dirty="0"/>
                        <a:t>ASCENT-05</a:t>
                      </a:r>
                    </a:p>
                    <a:p>
                      <a:r>
                        <a:rPr lang="en-US" sz="1200" b="1" dirty="0"/>
                        <a:t>NCT0563365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200" b="1" dirty="0"/>
                        <a:t>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200" b="1" dirty="0"/>
                        <a:t>TN post-neoadjuvan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200" b="1" dirty="0"/>
                        <a:t>SG + Pembrolizumab vs TCP</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72043211"/>
                  </a:ext>
                </a:extLst>
              </a:tr>
              <a:tr h="437669">
                <a:tc>
                  <a:txBody>
                    <a:bodyPr/>
                    <a:lstStyle/>
                    <a:p>
                      <a:r>
                        <a:rPr lang="en-US" sz="1200" b="1" dirty="0"/>
                        <a:t>ASCENT-07</a:t>
                      </a:r>
                    </a:p>
                    <a:p>
                      <a:r>
                        <a:rPr lang="en-US" sz="1200" b="1" dirty="0"/>
                        <a:t>NCT0584021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200" b="1" dirty="0"/>
                        <a:t>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200" b="1" dirty="0"/>
                        <a:t>Met HR+HER2- after endocrine Tx</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200" b="1" dirty="0"/>
                        <a:t>SG vs TCP</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57922172"/>
                  </a:ext>
                </a:extLst>
              </a:tr>
            </a:tbl>
          </a:graphicData>
        </a:graphic>
      </p:graphicFrame>
      <p:sp>
        <p:nvSpPr>
          <p:cNvPr id="4" name="Title 3"/>
          <p:cNvSpPr>
            <a:spLocks noGrp="1"/>
          </p:cNvSpPr>
          <p:nvPr>
            <p:ph type="title"/>
          </p:nvPr>
        </p:nvSpPr>
        <p:spPr>
          <a:xfrm>
            <a:off x="585098" y="127465"/>
            <a:ext cx="7964981" cy="695496"/>
          </a:xfrm>
        </p:spPr>
        <p:txBody>
          <a:bodyPr/>
          <a:lstStyle/>
          <a:p>
            <a:pPr algn="l"/>
            <a:r>
              <a:rPr lang="en-US" b="1" dirty="0">
                <a:solidFill>
                  <a:srgbClr val="002E51"/>
                </a:solidFill>
              </a:rPr>
              <a:t>Sacituzumab </a:t>
            </a:r>
            <a:r>
              <a:rPr lang="en-US" b="1" dirty="0" err="1">
                <a:solidFill>
                  <a:srgbClr val="002E51"/>
                </a:solidFill>
              </a:rPr>
              <a:t>govitecan</a:t>
            </a:r>
            <a:r>
              <a:rPr lang="en-US" b="1" dirty="0">
                <a:solidFill>
                  <a:srgbClr val="002E51"/>
                </a:solidFill>
              </a:rPr>
              <a:t> trials</a:t>
            </a:r>
          </a:p>
        </p:txBody>
      </p:sp>
    </p:spTree>
    <p:extLst>
      <p:ext uri="{BB962C8B-B14F-4D97-AF65-F5344CB8AC3E}">
        <p14:creationId xmlns:p14="http://schemas.microsoft.com/office/powerpoint/2010/main" val="2611955822"/>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6">
            <a:extLst>
              <a:ext uri="{FF2B5EF4-FFF2-40B4-BE49-F238E27FC236}">
                <a16:creationId xmlns:a16="http://schemas.microsoft.com/office/drawing/2014/main" id="{33755B25-CC34-70CA-69DB-628D7B2AC28F}"/>
              </a:ext>
            </a:extLst>
          </p:cNvPr>
          <p:cNvGraphicFramePr>
            <a:graphicFrameLocks noGrp="1"/>
          </p:cNvGraphicFramePr>
          <p:nvPr>
            <p:ph sz="half" idx="1"/>
            <p:extLst>
              <p:ext uri="{D42A27DB-BD31-4B8C-83A1-F6EECF244321}">
                <p14:modId xmlns:p14="http://schemas.microsoft.com/office/powerpoint/2010/main" val="4249699135"/>
              </p:ext>
            </p:extLst>
          </p:nvPr>
        </p:nvGraphicFramePr>
        <p:xfrm>
          <a:off x="585098" y="67323"/>
          <a:ext cx="7830837" cy="4236720"/>
        </p:xfrm>
        <a:graphic>
          <a:graphicData uri="http://schemas.openxmlformats.org/drawingml/2006/table">
            <a:tbl>
              <a:tblPr firstRow="1" bandRow="1">
                <a:tableStyleId>{5C22544A-7EE6-4342-B048-85BDC9FD1C3A}</a:tableStyleId>
              </a:tblPr>
              <a:tblGrid>
                <a:gridCol w="2072836">
                  <a:extLst>
                    <a:ext uri="{9D8B030D-6E8A-4147-A177-3AD203B41FA5}">
                      <a16:colId xmlns:a16="http://schemas.microsoft.com/office/drawing/2014/main" val="1312908157"/>
                    </a:ext>
                  </a:extLst>
                </a:gridCol>
                <a:gridCol w="735049">
                  <a:extLst>
                    <a:ext uri="{9D8B030D-6E8A-4147-A177-3AD203B41FA5}">
                      <a16:colId xmlns:a16="http://schemas.microsoft.com/office/drawing/2014/main" val="543217243"/>
                    </a:ext>
                  </a:extLst>
                </a:gridCol>
                <a:gridCol w="2434479">
                  <a:extLst>
                    <a:ext uri="{9D8B030D-6E8A-4147-A177-3AD203B41FA5}">
                      <a16:colId xmlns:a16="http://schemas.microsoft.com/office/drawing/2014/main" val="1499916969"/>
                    </a:ext>
                  </a:extLst>
                </a:gridCol>
                <a:gridCol w="2588473">
                  <a:extLst>
                    <a:ext uri="{9D8B030D-6E8A-4147-A177-3AD203B41FA5}">
                      <a16:colId xmlns:a16="http://schemas.microsoft.com/office/drawing/2014/main" val="1780782553"/>
                    </a:ext>
                  </a:extLst>
                </a:gridCol>
              </a:tblGrid>
              <a:tr h="239261">
                <a:tc>
                  <a:txBody>
                    <a:bodyPr/>
                    <a:lstStyle/>
                    <a:p>
                      <a:r>
                        <a:rPr lang="en-US" sz="1000" b="1" dirty="0">
                          <a:solidFill>
                            <a:srgbClr val="FF0000"/>
                          </a:solidFill>
                        </a:rPr>
                        <a:t>Stud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000" b="1" dirty="0">
                          <a:solidFill>
                            <a:srgbClr val="FF0000"/>
                          </a:solidFill>
                        </a:rPr>
                        <a:t>Phas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000" b="1" dirty="0">
                          <a:solidFill>
                            <a:srgbClr val="FF0000"/>
                          </a:solidFill>
                        </a:rPr>
                        <a:t>Popul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000" b="1" dirty="0">
                          <a:solidFill>
                            <a:srgbClr val="FF0000"/>
                          </a:solidFill>
                        </a:rPr>
                        <a:t>Treatmen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973573500"/>
                  </a:ext>
                </a:extLst>
              </a:tr>
              <a:tr h="239261">
                <a:tc>
                  <a:txBody>
                    <a:bodyPr/>
                    <a:lstStyle/>
                    <a:p>
                      <a:r>
                        <a:rPr lang="en-US" sz="1000" b="1" dirty="0"/>
                        <a:t>S2007 </a:t>
                      </a:r>
                    </a:p>
                    <a:p>
                      <a:r>
                        <a:rPr lang="en-US" sz="1000" b="1" dirty="0"/>
                        <a:t>NCT0464791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000" b="1" dirty="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000" b="1" dirty="0"/>
                        <a:t>Met HER2- brain metastasi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000" b="1" dirty="0"/>
                        <a:t>S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01996561"/>
                  </a:ext>
                </a:extLst>
              </a:tr>
              <a:tr h="239261">
                <a:tc>
                  <a:txBody>
                    <a:bodyPr/>
                    <a:lstStyle/>
                    <a:p>
                      <a:r>
                        <a:rPr lang="en-US" sz="1000" b="1" dirty="0"/>
                        <a:t>NCT0567557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000" b="1" dirty="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000" b="1" dirty="0"/>
                        <a:t>neoadjuvant T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000" b="1" dirty="0"/>
                        <a:t>SG + Pembrolizumab</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11549248"/>
                  </a:ext>
                </a:extLst>
              </a:tr>
              <a:tr h="239261">
                <a:tc>
                  <a:txBody>
                    <a:bodyPr/>
                    <a:lstStyle/>
                    <a:p>
                      <a:r>
                        <a:rPr lang="en-US" sz="1000" b="1" dirty="0"/>
                        <a:t>ASPRIA </a:t>
                      </a:r>
                    </a:p>
                    <a:p>
                      <a:r>
                        <a:rPr lang="en-US" sz="1000" b="1" dirty="0"/>
                        <a:t>NCT04434040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000" b="1" dirty="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000" b="1" dirty="0"/>
                        <a:t>T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000" b="1" dirty="0"/>
                        <a:t>SG + Atezolizumab</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53011520"/>
                  </a:ext>
                </a:extLst>
              </a:tr>
              <a:tr h="239261">
                <a:tc>
                  <a:txBody>
                    <a:bodyPr/>
                    <a:lstStyle/>
                    <a:p>
                      <a:r>
                        <a:rPr lang="en-US" sz="1000" b="1" dirty="0"/>
                        <a:t>NCT0511396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000" b="1" dirty="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000" b="1" dirty="0"/>
                        <a:t>T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000" b="1" dirty="0"/>
                        <a:t>SG + Trilaciclib</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993702424"/>
                  </a:ext>
                </a:extLst>
              </a:tr>
              <a:tr h="239261">
                <a:tc>
                  <a:txBody>
                    <a:bodyPr/>
                    <a:lstStyle/>
                    <a:p>
                      <a:r>
                        <a:rPr lang="en-US" sz="1000" b="1" dirty="0"/>
                        <a:t>ELEVATE TNBC</a:t>
                      </a:r>
                    </a:p>
                    <a:p>
                      <a:r>
                        <a:rPr lang="en-US" sz="1000" b="1" dirty="0"/>
                        <a:t>NCT0495878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000" b="1" dirty="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000" b="1" dirty="0"/>
                        <a:t>T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000" b="1" dirty="0"/>
                        <a:t>SG + </a:t>
                      </a:r>
                      <a:r>
                        <a:rPr lang="en-US" sz="1000" b="1" dirty="0" err="1"/>
                        <a:t>Magrolimab</a:t>
                      </a:r>
                      <a:endParaRPr lang="en-US" sz="10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833639499"/>
                  </a:ext>
                </a:extLst>
              </a:tr>
              <a:tr h="239261">
                <a:tc>
                  <a:txBody>
                    <a:bodyPr/>
                    <a:lstStyle/>
                    <a:p>
                      <a:r>
                        <a:rPr lang="en-US" sz="1000" b="1" dirty="0" err="1"/>
                        <a:t>InCITe</a:t>
                      </a:r>
                      <a:r>
                        <a:rPr lang="en-US" sz="1000" b="1" dirty="0"/>
                        <a:t> </a:t>
                      </a:r>
                    </a:p>
                    <a:p>
                      <a:r>
                        <a:rPr lang="en-US" sz="1000" b="1" dirty="0"/>
                        <a:t>NCT0397140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000" b="1" dirty="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000" b="1" dirty="0"/>
                        <a:t>T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000" b="1" dirty="0"/>
                        <a:t>SG + </a:t>
                      </a:r>
                      <a:r>
                        <a:rPr lang="en-US" sz="1000" b="1" dirty="0" err="1"/>
                        <a:t>Avelimab</a:t>
                      </a:r>
                      <a:endParaRPr lang="en-US" sz="10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67800712"/>
                  </a:ext>
                </a:extLst>
              </a:tr>
              <a:tr h="239261">
                <a:tc>
                  <a:txBody>
                    <a:bodyPr/>
                    <a:lstStyle/>
                    <a:p>
                      <a:r>
                        <a:rPr lang="en-US" sz="1000" b="1" dirty="0"/>
                        <a:t>NCT0446806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000" b="1" dirty="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000" b="1" dirty="0"/>
                        <a:t>TN PDL1 negativ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000" b="1" dirty="0"/>
                        <a:t>SG +/- Pembrolizumab</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35384162"/>
                  </a:ext>
                </a:extLst>
              </a:tr>
              <a:tr h="239261">
                <a:tc>
                  <a:txBody>
                    <a:bodyPr/>
                    <a:lstStyle/>
                    <a:p>
                      <a:r>
                        <a:rPr lang="en-US" sz="1000" b="1" dirty="0"/>
                        <a:t>NCT0444888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000" b="1" dirty="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000" b="1" dirty="0"/>
                        <a:t>HR+ met BC</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000" b="1" dirty="0"/>
                        <a:t>SG +/- Pembrolizumab</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40916292"/>
                  </a:ext>
                </a:extLst>
              </a:tr>
              <a:tr h="239261">
                <a:tc>
                  <a:txBody>
                    <a:bodyPr/>
                    <a:lstStyle/>
                    <a:p>
                      <a:r>
                        <a:rPr lang="en-US" sz="1000" b="1" dirty="0"/>
                        <a:t>NCT0403923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000" b="1" dirty="0"/>
                        <a:t>1/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000" b="1" dirty="0"/>
                        <a:t>Met T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000" b="1" dirty="0"/>
                        <a:t>SG + </a:t>
                      </a:r>
                      <a:r>
                        <a:rPr lang="en-US" sz="1000" b="1" dirty="0" err="1"/>
                        <a:t>Talazoparib</a:t>
                      </a:r>
                      <a:endParaRPr lang="en-US" sz="10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67243524"/>
                  </a:ext>
                </a:extLst>
              </a:tr>
              <a:tr h="239261">
                <a:tc>
                  <a:txBody>
                    <a:bodyPr/>
                    <a:lstStyle/>
                    <a:p>
                      <a:r>
                        <a:rPr lang="en-US" sz="1000" b="1" dirty="0" err="1"/>
                        <a:t>NeoSTAR</a:t>
                      </a:r>
                      <a:endParaRPr lang="en-US" sz="1000" b="1" dirty="0"/>
                    </a:p>
                    <a:p>
                      <a:r>
                        <a:rPr lang="en-US" sz="1000" b="1" dirty="0"/>
                        <a:t>NCT0423010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000" b="1" dirty="0"/>
                        <a:t>1b/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000" b="1" dirty="0"/>
                        <a:t>Neoadjuvant T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000" b="1" dirty="0"/>
                        <a:t>S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77761213"/>
                  </a:ext>
                </a:extLst>
              </a:tr>
              <a:tr h="239261">
                <a:tc>
                  <a:txBody>
                    <a:bodyPr/>
                    <a:lstStyle/>
                    <a:p>
                      <a:r>
                        <a:rPr lang="en-US" sz="1000" b="1" dirty="0"/>
                        <a:t>SEASTAR</a:t>
                      </a:r>
                    </a:p>
                    <a:p>
                      <a:r>
                        <a:rPr lang="en-US" sz="1000" b="1" dirty="0"/>
                        <a:t>NCT0399213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000" b="1" dirty="0"/>
                        <a:t>1b/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000" b="1" dirty="0"/>
                        <a:t>Met T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000" b="1" dirty="0"/>
                        <a:t>SG + Rucaparib</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95430720"/>
                  </a:ext>
                </a:extLst>
              </a:tr>
              <a:tr h="239261">
                <a:tc>
                  <a:txBody>
                    <a:bodyPr/>
                    <a:lstStyle/>
                    <a:p>
                      <a:r>
                        <a:rPr lang="en-US" sz="1000" b="1" dirty="0"/>
                        <a:t>Morpheus-TNBC</a:t>
                      </a:r>
                    </a:p>
                    <a:p>
                      <a:r>
                        <a:rPr lang="en-US" sz="1000" b="1" dirty="0"/>
                        <a:t>NCT0342400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000" b="1" dirty="0"/>
                        <a:t>1b/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000" b="1" dirty="0"/>
                        <a:t>Met TN PDL1 positiv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000" b="1" dirty="0"/>
                        <a:t>SG + Atezolizumab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62977867"/>
                  </a:ext>
                </a:extLst>
              </a:tr>
            </a:tbl>
          </a:graphicData>
        </a:graphic>
      </p:graphicFrame>
    </p:spTree>
    <p:extLst>
      <p:ext uri="{BB962C8B-B14F-4D97-AF65-F5344CB8AC3E}">
        <p14:creationId xmlns:p14="http://schemas.microsoft.com/office/powerpoint/2010/main" val="3092401022"/>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6">
            <a:extLst>
              <a:ext uri="{FF2B5EF4-FFF2-40B4-BE49-F238E27FC236}">
                <a16:creationId xmlns:a16="http://schemas.microsoft.com/office/drawing/2014/main" id="{7E025F4E-FFCE-0762-FB10-068A41ED7D66}"/>
              </a:ext>
            </a:extLst>
          </p:cNvPr>
          <p:cNvGraphicFramePr>
            <a:graphicFrameLocks noGrp="1"/>
          </p:cNvGraphicFramePr>
          <p:nvPr>
            <p:ph sz="half" idx="1"/>
            <p:extLst>
              <p:ext uri="{D42A27DB-BD31-4B8C-83A1-F6EECF244321}">
                <p14:modId xmlns:p14="http://schemas.microsoft.com/office/powerpoint/2010/main" val="4251993774"/>
              </p:ext>
            </p:extLst>
          </p:nvPr>
        </p:nvGraphicFramePr>
        <p:xfrm>
          <a:off x="685800" y="1275348"/>
          <a:ext cx="7555488" cy="2967792"/>
        </p:xfrm>
        <a:graphic>
          <a:graphicData uri="http://schemas.openxmlformats.org/drawingml/2006/table">
            <a:tbl>
              <a:tblPr firstRow="1" bandRow="1">
                <a:tableStyleId>{5C22544A-7EE6-4342-B048-85BDC9FD1C3A}</a:tableStyleId>
              </a:tblPr>
              <a:tblGrid>
                <a:gridCol w="1888872">
                  <a:extLst>
                    <a:ext uri="{9D8B030D-6E8A-4147-A177-3AD203B41FA5}">
                      <a16:colId xmlns:a16="http://schemas.microsoft.com/office/drawing/2014/main" val="1523188835"/>
                    </a:ext>
                  </a:extLst>
                </a:gridCol>
                <a:gridCol w="1888872">
                  <a:extLst>
                    <a:ext uri="{9D8B030D-6E8A-4147-A177-3AD203B41FA5}">
                      <a16:colId xmlns:a16="http://schemas.microsoft.com/office/drawing/2014/main" val="1651299313"/>
                    </a:ext>
                  </a:extLst>
                </a:gridCol>
                <a:gridCol w="1888872">
                  <a:extLst>
                    <a:ext uri="{9D8B030D-6E8A-4147-A177-3AD203B41FA5}">
                      <a16:colId xmlns:a16="http://schemas.microsoft.com/office/drawing/2014/main" val="2008029818"/>
                    </a:ext>
                  </a:extLst>
                </a:gridCol>
                <a:gridCol w="1888872">
                  <a:extLst>
                    <a:ext uri="{9D8B030D-6E8A-4147-A177-3AD203B41FA5}">
                      <a16:colId xmlns:a16="http://schemas.microsoft.com/office/drawing/2014/main" val="934625633"/>
                    </a:ext>
                  </a:extLst>
                </a:gridCol>
              </a:tblGrid>
              <a:tr h="523776">
                <a:tc>
                  <a:txBody>
                    <a:bodyPr/>
                    <a:lstStyle/>
                    <a:p>
                      <a:r>
                        <a:rPr lang="en-US" b="1" dirty="0">
                          <a:solidFill>
                            <a:srgbClr val="FF0000"/>
                          </a:solidFill>
                        </a:rPr>
                        <a:t>ADC</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b="1" dirty="0">
                          <a:solidFill>
                            <a:srgbClr val="FF0000"/>
                          </a:solidFill>
                        </a:rPr>
                        <a:t>Targe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b="1" dirty="0">
                          <a:solidFill>
                            <a:srgbClr val="FF0000"/>
                          </a:solidFill>
                        </a:rPr>
                        <a:t>Antibod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b="1" dirty="0">
                          <a:solidFill>
                            <a:srgbClr val="FF0000"/>
                          </a:solidFill>
                        </a:rPr>
                        <a:t>Payloa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98314549"/>
                  </a:ext>
                </a:extLst>
              </a:tr>
              <a:tr h="523776">
                <a:tc>
                  <a:txBody>
                    <a:bodyPr/>
                    <a:lstStyle/>
                    <a:p>
                      <a:r>
                        <a:rPr lang="en-US" b="1" dirty="0" err="1"/>
                        <a:t>Datopotamab</a:t>
                      </a:r>
                      <a:r>
                        <a:rPr lang="en-US" b="1" dirty="0"/>
                        <a:t> </a:t>
                      </a:r>
                      <a:r>
                        <a:rPr lang="en-US" b="1" dirty="0" err="1"/>
                        <a:t>deruxtecan</a:t>
                      </a:r>
                      <a:endParaRPr lang="en-US"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b="1" dirty="0"/>
                        <a:t>TROP-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b="1" dirty="0" err="1"/>
                        <a:t>Datopotamab</a:t>
                      </a:r>
                      <a:endParaRPr lang="en-US"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b="1" dirty="0" err="1"/>
                        <a:t>DXd</a:t>
                      </a:r>
                      <a:endParaRPr lang="en-US"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33161091"/>
                  </a:ext>
                </a:extLst>
              </a:tr>
              <a:tr h="523776">
                <a:tc>
                  <a:txBody>
                    <a:bodyPr/>
                    <a:lstStyle/>
                    <a:p>
                      <a:r>
                        <a:rPr lang="en-US" b="1" dirty="0"/>
                        <a:t>SKB26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b="1" dirty="0"/>
                        <a:t>TROP-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b="1" dirty="0"/>
                        <a:t>Anti-Trop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b="1" dirty="0"/>
                        <a:t>Topoisomerase I inhibito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835696160"/>
                  </a:ext>
                </a:extLst>
              </a:tr>
              <a:tr h="523776">
                <a:tc>
                  <a:txBody>
                    <a:bodyPr/>
                    <a:lstStyle/>
                    <a:p>
                      <a:r>
                        <a:rPr lang="en-US" b="1" dirty="0"/>
                        <a:t>BAT800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b="1" dirty="0"/>
                        <a:t>TROP-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b="1" dirty="0"/>
                        <a:t>Anti-Trop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b="1" dirty="0" err="1"/>
                        <a:t>Maytansine</a:t>
                      </a:r>
                      <a:endParaRPr lang="en-US"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83482255"/>
                  </a:ext>
                </a:extLst>
              </a:tr>
              <a:tr h="523776">
                <a:tc>
                  <a:txBody>
                    <a:bodyPr/>
                    <a:lstStyle/>
                    <a:p>
                      <a:r>
                        <a:rPr lang="en-US" b="1" dirty="0"/>
                        <a:t>DAC-00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b="1" dirty="0"/>
                        <a:t>TROP-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b="1" dirty="0"/>
                        <a:t>Anti-Trop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b="1" dirty="0" err="1"/>
                        <a:t>Tubulysin</a:t>
                      </a:r>
                      <a:r>
                        <a:rPr lang="en-US" b="1" dirty="0"/>
                        <a:t> B analo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00055969"/>
                  </a:ext>
                </a:extLst>
              </a:tr>
            </a:tbl>
          </a:graphicData>
        </a:graphic>
      </p:graphicFrame>
      <p:sp>
        <p:nvSpPr>
          <p:cNvPr id="5" name="Title 3">
            <a:extLst>
              <a:ext uri="{FF2B5EF4-FFF2-40B4-BE49-F238E27FC236}">
                <a16:creationId xmlns:a16="http://schemas.microsoft.com/office/drawing/2014/main" id="{D53054B1-CD58-4384-8BA4-A1D99DB19318}"/>
              </a:ext>
            </a:extLst>
          </p:cNvPr>
          <p:cNvSpPr>
            <a:spLocks noGrp="1"/>
          </p:cNvSpPr>
          <p:nvPr>
            <p:ph type="title"/>
          </p:nvPr>
        </p:nvSpPr>
        <p:spPr>
          <a:xfrm>
            <a:off x="585098" y="127465"/>
            <a:ext cx="7964981" cy="695496"/>
          </a:xfrm>
        </p:spPr>
        <p:txBody>
          <a:bodyPr/>
          <a:lstStyle/>
          <a:p>
            <a:pPr algn="l"/>
            <a:r>
              <a:rPr lang="en-US" b="1" dirty="0">
                <a:solidFill>
                  <a:srgbClr val="002E51"/>
                </a:solidFill>
              </a:rPr>
              <a:t>New Anti-TROP2 ADCs in Breast Cancer</a:t>
            </a:r>
          </a:p>
        </p:txBody>
      </p:sp>
      <p:sp>
        <p:nvSpPr>
          <p:cNvPr id="2" name="Rectangle: Rounded Corners 1">
            <a:extLst>
              <a:ext uri="{FF2B5EF4-FFF2-40B4-BE49-F238E27FC236}">
                <a16:creationId xmlns:a16="http://schemas.microsoft.com/office/drawing/2014/main" id="{9EF699B4-246E-9861-1399-027EB940A5F0}"/>
              </a:ext>
            </a:extLst>
          </p:cNvPr>
          <p:cNvSpPr/>
          <p:nvPr/>
        </p:nvSpPr>
        <p:spPr bwMode="auto">
          <a:xfrm>
            <a:off x="651476" y="1828802"/>
            <a:ext cx="7555487" cy="578436"/>
          </a:xfrm>
          <a:prstGeom prst="roundRect">
            <a:avLst/>
          </a:prstGeom>
          <a:noFill/>
          <a:ln w="3810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Tree>
    <p:extLst>
      <p:ext uri="{BB962C8B-B14F-4D97-AF65-F5344CB8AC3E}">
        <p14:creationId xmlns:p14="http://schemas.microsoft.com/office/powerpoint/2010/main" val="22260184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81E4DB3E-B53F-7615-68E2-A93DB27D1865}"/>
              </a:ext>
            </a:extLst>
          </p:cNvPr>
          <p:cNvPicPr>
            <a:picLocks noChangeAspect="1"/>
          </p:cNvPicPr>
          <p:nvPr/>
        </p:nvPicPr>
        <p:blipFill>
          <a:blip r:embed="rId2"/>
          <a:stretch>
            <a:fillRect/>
          </a:stretch>
        </p:blipFill>
        <p:spPr>
          <a:xfrm>
            <a:off x="143148" y="29214"/>
            <a:ext cx="8594776" cy="4331745"/>
          </a:xfrm>
          <a:prstGeom prst="rect">
            <a:avLst/>
          </a:prstGeom>
        </p:spPr>
      </p:pic>
      <p:sp>
        <p:nvSpPr>
          <p:cNvPr id="10" name="Text Box 15">
            <a:extLst>
              <a:ext uri="{FF2B5EF4-FFF2-40B4-BE49-F238E27FC236}">
                <a16:creationId xmlns:a16="http://schemas.microsoft.com/office/drawing/2014/main" id="{0B6F92C1-2F8A-453A-658D-A107FABD8FFD}"/>
              </a:ext>
            </a:extLst>
          </p:cNvPr>
          <p:cNvSpPr txBox="1">
            <a:spLocks noChangeArrowheads="1"/>
          </p:cNvSpPr>
          <p:nvPr/>
        </p:nvSpPr>
        <p:spPr bwMode="auto">
          <a:xfrm>
            <a:off x="7233401" y="4102827"/>
            <a:ext cx="1761608" cy="215444"/>
          </a:xfrm>
          <a:prstGeom prst="rect">
            <a:avLst/>
          </a:prstGeom>
          <a:noFill/>
          <a:ln>
            <a:noFill/>
          </a:ln>
        </p:spPr>
        <p:txBody>
          <a:bodyPr wrap="square" anchor="b">
            <a:spAutoFit/>
          </a:bodyPr>
          <a:lstStyle>
            <a:lvl1pPr>
              <a:defRPr b="1">
                <a:solidFill>
                  <a:schemeClr val="tx1"/>
                </a:solidFill>
                <a:latin typeface="Arial" charset="0"/>
              </a:defRPr>
            </a:lvl1pPr>
            <a:lvl2pPr marL="742950" indent="-285750">
              <a:defRPr b="1">
                <a:solidFill>
                  <a:schemeClr val="tx1"/>
                </a:solidFill>
                <a:latin typeface="Arial" charset="0"/>
              </a:defRPr>
            </a:lvl2pPr>
            <a:lvl3pPr marL="1143000" indent="-228600">
              <a:defRPr b="1">
                <a:solidFill>
                  <a:schemeClr val="tx1"/>
                </a:solidFill>
                <a:latin typeface="Arial" charset="0"/>
              </a:defRPr>
            </a:lvl3pPr>
            <a:lvl4pPr marL="1600200" indent="-228600">
              <a:defRPr b="1">
                <a:solidFill>
                  <a:schemeClr val="tx1"/>
                </a:solidFill>
                <a:latin typeface="Arial" charset="0"/>
              </a:defRPr>
            </a:lvl4pPr>
            <a:lvl5pPr marL="2057400" indent="-228600">
              <a:defRPr b="1">
                <a:solidFill>
                  <a:schemeClr val="tx1"/>
                </a:solidFill>
                <a:latin typeface="Arial" charset="0"/>
              </a:defRPr>
            </a:lvl5pPr>
            <a:lvl6pPr marL="2514600" indent="-228600" eaLnBrk="0" fontAlgn="base" hangingPunct="0">
              <a:spcBef>
                <a:spcPct val="0"/>
              </a:spcBef>
              <a:spcAft>
                <a:spcPct val="0"/>
              </a:spcAft>
              <a:defRPr b="1">
                <a:solidFill>
                  <a:schemeClr val="tx1"/>
                </a:solidFill>
                <a:latin typeface="Arial" charset="0"/>
              </a:defRPr>
            </a:lvl6pPr>
            <a:lvl7pPr marL="2971800" indent="-228600" eaLnBrk="0" fontAlgn="base" hangingPunct="0">
              <a:spcBef>
                <a:spcPct val="0"/>
              </a:spcBef>
              <a:spcAft>
                <a:spcPct val="0"/>
              </a:spcAft>
              <a:defRPr b="1">
                <a:solidFill>
                  <a:schemeClr val="tx1"/>
                </a:solidFill>
                <a:latin typeface="Arial" charset="0"/>
              </a:defRPr>
            </a:lvl7pPr>
            <a:lvl8pPr marL="3429000" indent="-228600" eaLnBrk="0" fontAlgn="base" hangingPunct="0">
              <a:spcBef>
                <a:spcPct val="0"/>
              </a:spcBef>
              <a:spcAft>
                <a:spcPct val="0"/>
              </a:spcAft>
              <a:defRPr b="1">
                <a:solidFill>
                  <a:schemeClr val="tx1"/>
                </a:solidFill>
                <a:latin typeface="Arial" charset="0"/>
              </a:defRPr>
            </a:lvl8pPr>
            <a:lvl9pPr marL="3886200" indent="-228600" eaLnBrk="0" fontAlgn="base" hangingPunct="0">
              <a:spcBef>
                <a:spcPct val="0"/>
              </a:spcBef>
              <a:spcAft>
                <a:spcPct val="0"/>
              </a:spcAft>
              <a:defRPr b="1">
                <a:solidFill>
                  <a:schemeClr val="tx1"/>
                </a:solidFill>
                <a:latin typeface="Arial" charset="0"/>
              </a:defRPr>
            </a:lvl9pPr>
          </a:lstStyle>
          <a:p>
            <a:pPr>
              <a:defRPr/>
            </a:pPr>
            <a:r>
              <a:rPr lang="en-US" altLang="en-US" sz="800" b="0" spc="-10" dirty="0" err="1">
                <a:solidFill>
                  <a:srgbClr val="455560"/>
                </a:solidFill>
                <a:latin typeface="Calibri" panose="020F0502020204030204" pitchFamily="34" charset="0"/>
                <a:ea typeface="+mn-ea"/>
                <a:cs typeface="Arial" panose="020B0604020202020204" pitchFamily="34" charset="0"/>
              </a:rPr>
              <a:t>Krop</a:t>
            </a:r>
            <a:r>
              <a:rPr lang="en-US" altLang="en-US" sz="800" b="0" spc="-10" dirty="0">
                <a:solidFill>
                  <a:srgbClr val="455560"/>
                </a:solidFill>
                <a:latin typeface="Calibri" panose="020F0502020204030204" pitchFamily="34" charset="0"/>
                <a:ea typeface="+mn-ea"/>
                <a:cs typeface="Arial" panose="020B0604020202020204" pitchFamily="34" charset="0"/>
              </a:rPr>
              <a:t>. SABCS GS1-05, Dec 2021 </a:t>
            </a:r>
            <a:endParaRPr lang="en-US" altLang="en-US" sz="800" b="0" dirty="0">
              <a:solidFill>
                <a:srgbClr val="455560"/>
              </a:solidFill>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330151404"/>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6">
            <a:extLst>
              <a:ext uri="{FF2B5EF4-FFF2-40B4-BE49-F238E27FC236}">
                <a16:creationId xmlns:a16="http://schemas.microsoft.com/office/drawing/2014/main" id="{D31066D3-259B-16B5-D098-70078E48AF71}"/>
              </a:ext>
            </a:extLst>
          </p:cNvPr>
          <p:cNvGraphicFramePr>
            <a:graphicFrameLocks noGrp="1"/>
          </p:cNvGraphicFramePr>
          <p:nvPr>
            <p:ph sz="half" idx="1"/>
            <p:extLst>
              <p:ext uri="{D42A27DB-BD31-4B8C-83A1-F6EECF244321}">
                <p14:modId xmlns:p14="http://schemas.microsoft.com/office/powerpoint/2010/main" val="2044417033"/>
              </p:ext>
            </p:extLst>
          </p:nvPr>
        </p:nvGraphicFramePr>
        <p:xfrm>
          <a:off x="579818" y="619631"/>
          <a:ext cx="7944032" cy="3838889"/>
        </p:xfrm>
        <a:graphic>
          <a:graphicData uri="http://schemas.openxmlformats.org/drawingml/2006/table">
            <a:tbl>
              <a:tblPr firstRow="1" bandRow="1">
                <a:tableStyleId>{5C22544A-7EE6-4342-B048-85BDC9FD1C3A}</a:tableStyleId>
              </a:tblPr>
              <a:tblGrid>
                <a:gridCol w="2744746">
                  <a:extLst>
                    <a:ext uri="{9D8B030D-6E8A-4147-A177-3AD203B41FA5}">
                      <a16:colId xmlns:a16="http://schemas.microsoft.com/office/drawing/2014/main" val="1671650586"/>
                    </a:ext>
                  </a:extLst>
                </a:gridCol>
                <a:gridCol w="1227270">
                  <a:extLst>
                    <a:ext uri="{9D8B030D-6E8A-4147-A177-3AD203B41FA5}">
                      <a16:colId xmlns:a16="http://schemas.microsoft.com/office/drawing/2014/main" val="599997738"/>
                    </a:ext>
                  </a:extLst>
                </a:gridCol>
                <a:gridCol w="1986008">
                  <a:extLst>
                    <a:ext uri="{9D8B030D-6E8A-4147-A177-3AD203B41FA5}">
                      <a16:colId xmlns:a16="http://schemas.microsoft.com/office/drawing/2014/main" val="2861374617"/>
                    </a:ext>
                  </a:extLst>
                </a:gridCol>
                <a:gridCol w="1986008">
                  <a:extLst>
                    <a:ext uri="{9D8B030D-6E8A-4147-A177-3AD203B41FA5}">
                      <a16:colId xmlns:a16="http://schemas.microsoft.com/office/drawing/2014/main" val="4092156181"/>
                    </a:ext>
                  </a:extLst>
                </a:gridCol>
              </a:tblGrid>
              <a:tr h="225817">
                <a:tc>
                  <a:txBody>
                    <a:bodyPr/>
                    <a:lstStyle/>
                    <a:p>
                      <a:r>
                        <a:rPr lang="en-US" sz="800" b="1" dirty="0">
                          <a:solidFill>
                            <a:srgbClr val="FF0000"/>
                          </a:solidFill>
                          <a:latin typeface="+mn-lt"/>
                        </a:rPr>
                        <a:t>ADC</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800" b="1" dirty="0">
                          <a:solidFill>
                            <a:srgbClr val="FF0000"/>
                          </a:solidFill>
                          <a:latin typeface="+mn-lt"/>
                        </a:rPr>
                        <a:t>Targe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800" b="1" dirty="0">
                          <a:solidFill>
                            <a:srgbClr val="FF0000"/>
                          </a:solidFill>
                          <a:latin typeface="+mn-lt"/>
                        </a:rPr>
                        <a:t>Antibod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800" b="1" dirty="0">
                          <a:solidFill>
                            <a:srgbClr val="FF0000"/>
                          </a:solidFill>
                          <a:latin typeface="+mn-lt"/>
                        </a:rPr>
                        <a:t>Payloa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26710707"/>
                  </a:ext>
                </a:extLst>
              </a:tr>
              <a:tr h="225817">
                <a:tc>
                  <a:txBody>
                    <a:bodyPr/>
                    <a:lstStyle/>
                    <a:p>
                      <a:r>
                        <a:rPr lang="en-US" sz="800" b="1" dirty="0" err="1">
                          <a:latin typeface="+mn-lt"/>
                        </a:rPr>
                        <a:t>Patritumab</a:t>
                      </a:r>
                      <a:r>
                        <a:rPr lang="en-US" sz="800" b="1" dirty="0">
                          <a:latin typeface="+mn-lt"/>
                        </a:rPr>
                        <a:t> </a:t>
                      </a:r>
                      <a:r>
                        <a:rPr lang="en-US" sz="800" b="1" dirty="0" err="1">
                          <a:latin typeface="+mn-lt"/>
                        </a:rPr>
                        <a:t>deruxtecan</a:t>
                      </a:r>
                      <a:endParaRPr lang="en-US" sz="800" b="1" dirty="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800" b="1" dirty="0">
                          <a:latin typeface="+mn-lt"/>
                        </a:rPr>
                        <a:t>HER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800" b="1" dirty="0" err="1">
                          <a:latin typeface="+mn-lt"/>
                        </a:rPr>
                        <a:t>Patritumab</a:t>
                      </a:r>
                      <a:endParaRPr lang="en-US" sz="800" b="1" dirty="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800" b="1" dirty="0" err="1">
                          <a:latin typeface="+mn-lt"/>
                        </a:rPr>
                        <a:t>DXd</a:t>
                      </a:r>
                      <a:endParaRPr lang="en-US" sz="800" b="1" dirty="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53729321"/>
                  </a:ext>
                </a:extLst>
              </a:tr>
              <a:tr h="225817">
                <a:tc>
                  <a:txBody>
                    <a:bodyPr/>
                    <a:lstStyle/>
                    <a:p>
                      <a:r>
                        <a:rPr lang="en-US" sz="800" b="1" dirty="0" err="1">
                          <a:latin typeface="+mn-lt"/>
                        </a:rPr>
                        <a:t>Ladiratuzumab</a:t>
                      </a:r>
                      <a:r>
                        <a:rPr lang="en-US" sz="800" b="1" dirty="0">
                          <a:latin typeface="+mn-lt"/>
                        </a:rPr>
                        <a:t> </a:t>
                      </a:r>
                      <a:r>
                        <a:rPr lang="en-US" sz="800" b="1" dirty="0" err="1">
                          <a:latin typeface="+mn-lt"/>
                        </a:rPr>
                        <a:t>vedotin</a:t>
                      </a:r>
                      <a:endParaRPr lang="en-US" sz="800" b="1" dirty="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800" b="1" dirty="0">
                          <a:latin typeface="+mn-lt"/>
                        </a:rPr>
                        <a:t>LIV-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800" b="1" dirty="0" err="1">
                          <a:latin typeface="+mn-lt"/>
                        </a:rPr>
                        <a:t>Ladiratuzumab</a:t>
                      </a:r>
                      <a:endParaRPr lang="en-US" sz="800" b="1" dirty="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800" b="1" dirty="0">
                          <a:latin typeface="+mn-lt"/>
                        </a:rPr>
                        <a:t>MMA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2746749"/>
                  </a:ext>
                </a:extLst>
              </a:tr>
              <a:tr h="225817">
                <a:tc>
                  <a:txBody>
                    <a:bodyPr/>
                    <a:lstStyle/>
                    <a:p>
                      <a:r>
                        <a:rPr lang="en-US" sz="800" b="1" dirty="0" err="1">
                          <a:latin typeface="+mn-lt"/>
                        </a:rPr>
                        <a:t>Enfortumab</a:t>
                      </a:r>
                      <a:r>
                        <a:rPr lang="en-US" sz="800" b="1" dirty="0">
                          <a:latin typeface="+mn-lt"/>
                        </a:rPr>
                        <a:t> </a:t>
                      </a:r>
                      <a:r>
                        <a:rPr lang="en-US" sz="800" b="1" dirty="0" err="1">
                          <a:latin typeface="+mn-lt"/>
                        </a:rPr>
                        <a:t>vedotin</a:t>
                      </a:r>
                      <a:endParaRPr lang="en-US" sz="800" b="1" dirty="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800" b="1" dirty="0">
                          <a:latin typeface="+mn-lt"/>
                        </a:rPr>
                        <a:t>Nectin-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800" b="1" dirty="0" err="1">
                          <a:latin typeface="+mn-lt"/>
                        </a:rPr>
                        <a:t>Enfortumab</a:t>
                      </a:r>
                      <a:endParaRPr lang="en-US" sz="800" b="1" dirty="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800" b="1" dirty="0">
                          <a:latin typeface="+mn-lt"/>
                        </a:rPr>
                        <a:t>MMA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65873354"/>
                  </a:ext>
                </a:extLst>
              </a:tr>
              <a:tr h="225817">
                <a:tc>
                  <a:txBody>
                    <a:bodyPr/>
                    <a:lstStyle/>
                    <a:p>
                      <a:r>
                        <a:rPr lang="en-US" sz="800" b="1" dirty="0">
                          <a:latin typeface="+mn-lt"/>
                        </a:rPr>
                        <a:t>NBE-00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800" b="1" dirty="0">
                          <a:latin typeface="+mn-lt"/>
                        </a:rPr>
                        <a:t>ROR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800" b="1" dirty="0">
                          <a:latin typeface="+mn-lt"/>
                        </a:rPr>
                        <a:t>Anti-ROR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800" b="1" dirty="0">
                          <a:latin typeface="+mn-lt"/>
                        </a:rPr>
                        <a:t>PNU-15968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3357697"/>
                  </a:ext>
                </a:extLst>
              </a:tr>
              <a:tr h="225817">
                <a:tc>
                  <a:txBody>
                    <a:bodyPr/>
                    <a:lstStyle/>
                    <a:p>
                      <a:r>
                        <a:rPr lang="en-US" sz="800" b="1" dirty="0" err="1">
                          <a:latin typeface="+mn-lt"/>
                        </a:rPr>
                        <a:t>Zilovertamab</a:t>
                      </a:r>
                      <a:r>
                        <a:rPr lang="en-US" sz="800" b="1" dirty="0">
                          <a:latin typeface="+mn-lt"/>
                        </a:rPr>
                        <a:t> </a:t>
                      </a:r>
                      <a:r>
                        <a:rPr lang="en-US" sz="800" b="1" dirty="0" err="1">
                          <a:latin typeface="+mn-lt"/>
                        </a:rPr>
                        <a:t>vedotin</a:t>
                      </a:r>
                      <a:r>
                        <a:rPr lang="en-US" sz="800" b="1" dirty="0">
                          <a:latin typeface="+mn-lt"/>
                        </a:rPr>
                        <a:t>/MK-2140/VLS-10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800" b="1" dirty="0">
                          <a:latin typeface="+mn-lt"/>
                        </a:rPr>
                        <a:t>ROR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800" b="1" dirty="0">
                          <a:latin typeface="+mn-lt"/>
                        </a:rPr>
                        <a:t>Anti-ROR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800" b="1" dirty="0">
                          <a:latin typeface="+mn-lt"/>
                        </a:rPr>
                        <a:t>MMA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23368190"/>
                  </a:ext>
                </a:extLst>
              </a:tr>
              <a:tr h="225817">
                <a:tc>
                  <a:txBody>
                    <a:bodyPr/>
                    <a:lstStyle/>
                    <a:p>
                      <a:r>
                        <a:rPr lang="en-US" sz="800" b="1" i="0" kern="1200" dirty="0" err="1">
                          <a:solidFill>
                            <a:schemeClr val="dk1"/>
                          </a:solidFill>
                          <a:effectLst/>
                          <a:latin typeface="+mn-lt"/>
                          <a:ea typeface="+mn-ea"/>
                          <a:cs typeface="+mn-cs"/>
                        </a:rPr>
                        <a:t>Ozuriftamab</a:t>
                      </a:r>
                      <a:r>
                        <a:rPr lang="en-US" sz="800" b="1" i="0" kern="1200" dirty="0">
                          <a:solidFill>
                            <a:schemeClr val="dk1"/>
                          </a:solidFill>
                          <a:effectLst/>
                          <a:latin typeface="+mn-lt"/>
                          <a:ea typeface="+mn-ea"/>
                          <a:cs typeface="+mn-cs"/>
                        </a:rPr>
                        <a:t> </a:t>
                      </a:r>
                      <a:r>
                        <a:rPr lang="en-US" sz="800" b="1" i="0" kern="1200" dirty="0" err="1">
                          <a:solidFill>
                            <a:schemeClr val="dk1"/>
                          </a:solidFill>
                          <a:effectLst/>
                          <a:latin typeface="+mn-lt"/>
                          <a:ea typeface="+mn-ea"/>
                          <a:cs typeface="+mn-cs"/>
                        </a:rPr>
                        <a:t>vedotin</a:t>
                      </a:r>
                      <a:r>
                        <a:rPr lang="en-US" sz="800" b="1" i="0" kern="1200" dirty="0">
                          <a:solidFill>
                            <a:schemeClr val="dk1"/>
                          </a:solidFill>
                          <a:effectLst/>
                          <a:latin typeface="+mn-lt"/>
                          <a:ea typeface="+mn-ea"/>
                          <a:cs typeface="+mn-cs"/>
                        </a:rPr>
                        <a:t>/BA3021</a:t>
                      </a:r>
                      <a:endParaRPr lang="en-US" sz="800" b="1" dirty="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800" b="1" dirty="0">
                          <a:latin typeface="+mn-lt"/>
                        </a:rPr>
                        <a:t>ROR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800" b="1" dirty="0">
                          <a:latin typeface="+mn-lt"/>
                        </a:rPr>
                        <a:t>Anti-ROR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800" b="1" dirty="0">
                          <a:latin typeface="+mn-lt"/>
                        </a:rPr>
                        <a:t>MMA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978947679"/>
                  </a:ext>
                </a:extLst>
              </a:tr>
              <a:tr h="225817">
                <a:tc>
                  <a:txBody>
                    <a:bodyPr/>
                    <a:lstStyle/>
                    <a:p>
                      <a:r>
                        <a:rPr lang="en-US" sz="800" b="1" i="0" kern="1200" dirty="0" err="1">
                          <a:solidFill>
                            <a:schemeClr val="dk1"/>
                          </a:solidFill>
                          <a:effectLst/>
                          <a:latin typeface="+mn-lt"/>
                          <a:ea typeface="+mn-ea"/>
                          <a:cs typeface="+mn-cs"/>
                        </a:rPr>
                        <a:t>Tusamitamab</a:t>
                      </a:r>
                      <a:r>
                        <a:rPr lang="en-US" sz="800" b="1" i="0" kern="1200" dirty="0">
                          <a:solidFill>
                            <a:schemeClr val="dk1"/>
                          </a:solidFill>
                          <a:effectLst/>
                          <a:latin typeface="+mn-lt"/>
                          <a:ea typeface="+mn-ea"/>
                          <a:cs typeface="+mn-cs"/>
                        </a:rPr>
                        <a:t> </a:t>
                      </a:r>
                      <a:r>
                        <a:rPr lang="en-US" sz="800" b="1" i="0" kern="1200" dirty="0" err="1">
                          <a:solidFill>
                            <a:schemeClr val="dk1"/>
                          </a:solidFill>
                          <a:effectLst/>
                          <a:latin typeface="+mn-lt"/>
                          <a:ea typeface="+mn-ea"/>
                          <a:cs typeface="+mn-cs"/>
                        </a:rPr>
                        <a:t>ravtansine</a:t>
                      </a:r>
                      <a:r>
                        <a:rPr lang="en-US" sz="800" b="1" i="0" kern="1200" dirty="0">
                          <a:solidFill>
                            <a:schemeClr val="dk1"/>
                          </a:solidFill>
                          <a:effectLst/>
                          <a:latin typeface="+mn-lt"/>
                          <a:ea typeface="+mn-ea"/>
                          <a:cs typeface="+mn-cs"/>
                        </a:rPr>
                        <a:t>/SAR40870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800" b="1" dirty="0">
                          <a:latin typeface="+mn-lt"/>
                        </a:rPr>
                        <a:t>CEA-CAM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800" b="1" dirty="0" err="1">
                          <a:latin typeface="+mn-lt"/>
                        </a:rPr>
                        <a:t>Tusamitamab</a:t>
                      </a:r>
                      <a:endParaRPr lang="en-US" sz="800" b="1" dirty="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800" b="1" dirty="0" err="1">
                          <a:latin typeface="+mn-lt"/>
                        </a:rPr>
                        <a:t>Maytansinoid</a:t>
                      </a:r>
                      <a:r>
                        <a:rPr lang="en-US" sz="800" b="1" dirty="0">
                          <a:latin typeface="+mn-lt"/>
                        </a:rPr>
                        <a:t>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80601867"/>
                  </a:ext>
                </a:extLst>
              </a:tr>
              <a:tr h="225817">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800" b="1" dirty="0">
                          <a:latin typeface="+mn-lt"/>
                        </a:rPr>
                        <a:t>SAR566658</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800" b="1" dirty="0">
                          <a:latin typeface="+mn-lt"/>
                        </a:rPr>
                        <a:t>CA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800" b="1" dirty="0">
                          <a:latin typeface="+mn-lt"/>
                        </a:rPr>
                        <a:t>DS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800" b="1" dirty="0">
                          <a:latin typeface="+mn-lt"/>
                        </a:rPr>
                        <a:t>DM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91110502"/>
                  </a:ext>
                </a:extLst>
              </a:tr>
              <a:tr h="225817">
                <a:tc>
                  <a:txBody>
                    <a:bodyPr/>
                    <a:lstStyle/>
                    <a:p>
                      <a:r>
                        <a:rPr lang="en-US" sz="800" b="1" dirty="0" err="1">
                          <a:latin typeface="+mn-lt"/>
                        </a:rPr>
                        <a:t>Cofetuzumab</a:t>
                      </a:r>
                      <a:r>
                        <a:rPr lang="en-US" sz="800" b="1" dirty="0">
                          <a:latin typeface="+mn-lt"/>
                        </a:rPr>
                        <a:t> </a:t>
                      </a:r>
                      <a:r>
                        <a:rPr lang="en-US" sz="800" b="1" dirty="0" err="1">
                          <a:latin typeface="+mn-lt"/>
                        </a:rPr>
                        <a:t>pelidolin</a:t>
                      </a:r>
                      <a:endParaRPr lang="en-US" sz="800" b="1" dirty="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800" b="1" dirty="0">
                          <a:latin typeface="+mn-lt"/>
                        </a:rPr>
                        <a:t>PTK7</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800" b="1" dirty="0" err="1">
                          <a:latin typeface="+mn-lt"/>
                        </a:rPr>
                        <a:t>Cofetuzumab</a:t>
                      </a:r>
                      <a:endParaRPr lang="en-US" sz="800" b="1" dirty="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800" b="1" dirty="0">
                          <a:latin typeface="+mn-lt"/>
                        </a:rPr>
                        <a:t>Au010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19788976"/>
                  </a:ext>
                </a:extLst>
              </a:tr>
              <a:tr h="225817">
                <a:tc>
                  <a:txBody>
                    <a:bodyPr/>
                    <a:lstStyle/>
                    <a:p>
                      <a:r>
                        <a:rPr lang="en-US" sz="800" b="1" dirty="0">
                          <a:latin typeface="+mn-lt"/>
                        </a:rPr>
                        <a:t>MCG018</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800" b="1" dirty="0">
                          <a:latin typeface="+mn-lt"/>
                        </a:rPr>
                        <a:t>B7-H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800" b="1" dirty="0">
                          <a:latin typeface="+mn-lt"/>
                        </a:rPr>
                        <a:t>Anti-B7-H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800" b="1" dirty="0" err="1">
                          <a:latin typeface="+mn-lt"/>
                        </a:rPr>
                        <a:t>Duocarmycin</a:t>
                      </a:r>
                      <a:endParaRPr lang="en-US" sz="800" b="1" dirty="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83937810"/>
                  </a:ext>
                </a:extLst>
              </a:tr>
              <a:tr h="225817">
                <a:tc>
                  <a:txBody>
                    <a:bodyPr/>
                    <a:lstStyle/>
                    <a:p>
                      <a:r>
                        <a:rPr lang="en-US" sz="800" b="1" dirty="0">
                          <a:latin typeface="+mn-lt"/>
                        </a:rPr>
                        <a:t>DS-730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800" b="1" dirty="0">
                          <a:latin typeface="+mn-lt"/>
                        </a:rPr>
                        <a:t>B7-H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800" b="1" dirty="0">
                          <a:latin typeface="+mn-lt"/>
                        </a:rPr>
                        <a:t>Anti-B7-H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800" b="1" dirty="0" err="1">
                          <a:latin typeface="+mn-lt"/>
                        </a:rPr>
                        <a:t>DXd</a:t>
                      </a:r>
                      <a:endParaRPr lang="en-US" sz="800" b="1" dirty="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288873439"/>
                  </a:ext>
                </a:extLst>
              </a:tr>
              <a:tr h="225817">
                <a:tc>
                  <a:txBody>
                    <a:bodyPr/>
                    <a:lstStyle/>
                    <a:p>
                      <a:r>
                        <a:rPr lang="en-US" sz="800" b="1" dirty="0">
                          <a:latin typeface="+mn-lt"/>
                        </a:rPr>
                        <a:t>AZD820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800" b="1" dirty="0">
                          <a:latin typeface="+mn-lt"/>
                        </a:rPr>
                        <a:t>B7-H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800" b="1" dirty="0">
                          <a:latin typeface="+mn-lt"/>
                        </a:rPr>
                        <a:t>Anti-B7-H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800" b="1" dirty="0">
                          <a:latin typeface="+mn-lt"/>
                        </a:rPr>
                        <a:t>Topoisomerase 1 inhibito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885620312"/>
                  </a:ext>
                </a:extLst>
              </a:tr>
              <a:tr h="225817">
                <a:tc>
                  <a:txBody>
                    <a:bodyPr/>
                    <a:lstStyle/>
                    <a:p>
                      <a:r>
                        <a:rPr lang="en-US" sz="800" b="1" dirty="0">
                          <a:latin typeface="+mn-lt"/>
                        </a:rPr>
                        <a:t>XMT-166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800" b="1" dirty="0">
                          <a:latin typeface="+mn-lt"/>
                        </a:rPr>
                        <a:t>B7-H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800" b="1" dirty="0">
                          <a:latin typeface="+mn-lt"/>
                        </a:rPr>
                        <a:t>Anti-B7-H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800" b="1" dirty="0">
                          <a:latin typeface="+mn-lt"/>
                        </a:rPr>
                        <a:t>Microtubule inhibito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65558203"/>
                  </a:ext>
                </a:extLst>
              </a:tr>
              <a:tr h="225817">
                <a:tc>
                  <a:txBody>
                    <a:bodyPr/>
                    <a:lstStyle/>
                    <a:p>
                      <a:r>
                        <a:rPr lang="en-US" sz="800" b="1" dirty="0">
                          <a:latin typeface="+mn-lt"/>
                        </a:rPr>
                        <a:t>CDX-01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800" b="1" dirty="0" err="1">
                          <a:latin typeface="+mn-lt"/>
                        </a:rPr>
                        <a:t>gpNMB</a:t>
                      </a:r>
                      <a:endParaRPr lang="en-US" sz="800" b="1" dirty="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800" b="1" dirty="0" err="1">
                          <a:latin typeface="+mn-lt"/>
                        </a:rPr>
                        <a:t>Glembatumumab</a:t>
                      </a:r>
                      <a:endParaRPr lang="en-US" sz="800" b="1" dirty="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800" b="1" dirty="0">
                          <a:latin typeface="+mn-lt"/>
                        </a:rPr>
                        <a:t>MMA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537080465"/>
                  </a:ext>
                </a:extLst>
              </a:tr>
              <a:tr h="225817">
                <a:tc>
                  <a:txBody>
                    <a:bodyPr/>
                    <a:lstStyle/>
                    <a:p>
                      <a:r>
                        <a:rPr lang="en-US" sz="800" b="1" dirty="0">
                          <a:latin typeface="+mn-lt"/>
                        </a:rPr>
                        <a:t>MORAB-20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800" b="1" dirty="0">
                          <a:latin typeface="+mn-lt"/>
                        </a:rPr>
                        <a:t>FR</a:t>
                      </a:r>
                      <a:r>
                        <a:rPr lang="el-GR" sz="800" b="1" dirty="0">
                          <a:latin typeface="+mn-lt"/>
                        </a:rPr>
                        <a:t>α</a:t>
                      </a:r>
                      <a:endParaRPr lang="en-US" sz="800" b="1" dirty="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800" b="1" dirty="0">
                          <a:latin typeface="+mn-lt"/>
                        </a:rPr>
                        <a:t>Anti-FR</a:t>
                      </a:r>
                      <a:r>
                        <a:rPr lang="el-GR" sz="800" b="1" dirty="0">
                          <a:latin typeface="+mn-lt"/>
                        </a:rPr>
                        <a:t>α</a:t>
                      </a:r>
                      <a:endParaRPr lang="en-US" sz="800" b="1" dirty="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800" b="1" dirty="0" err="1">
                          <a:latin typeface="+mn-lt"/>
                        </a:rPr>
                        <a:t>Eribulin</a:t>
                      </a:r>
                      <a:endParaRPr lang="en-US" sz="800" b="1" dirty="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0518407"/>
                  </a:ext>
                </a:extLst>
              </a:tr>
              <a:tr h="225817">
                <a:tc>
                  <a:txBody>
                    <a:bodyPr/>
                    <a:lstStyle/>
                    <a:p>
                      <a:r>
                        <a:rPr lang="en-US" sz="800" b="1" dirty="0">
                          <a:latin typeface="+mn-lt"/>
                        </a:rPr>
                        <a:t>CX200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800" b="1" dirty="0">
                          <a:latin typeface="+mn-lt"/>
                        </a:rPr>
                        <a:t>CD16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800" b="1" dirty="0">
                          <a:latin typeface="+mn-lt"/>
                        </a:rPr>
                        <a:t>Anti-CD16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800" b="1" dirty="0">
                          <a:latin typeface="+mn-lt"/>
                        </a:rPr>
                        <a:t>DM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74251559"/>
                  </a:ext>
                </a:extLst>
              </a:tr>
            </a:tbl>
          </a:graphicData>
        </a:graphic>
      </p:graphicFrame>
      <p:sp>
        <p:nvSpPr>
          <p:cNvPr id="5" name="Title 3">
            <a:extLst>
              <a:ext uri="{FF2B5EF4-FFF2-40B4-BE49-F238E27FC236}">
                <a16:creationId xmlns:a16="http://schemas.microsoft.com/office/drawing/2014/main" id="{C63A9DE4-A40A-2901-5CF5-24E20200CA5F}"/>
              </a:ext>
            </a:extLst>
          </p:cNvPr>
          <p:cNvSpPr>
            <a:spLocks noGrp="1"/>
          </p:cNvSpPr>
          <p:nvPr>
            <p:ph type="title"/>
          </p:nvPr>
        </p:nvSpPr>
        <p:spPr>
          <a:xfrm>
            <a:off x="589509" y="16452"/>
            <a:ext cx="7964981" cy="579515"/>
          </a:xfrm>
        </p:spPr>
        <p:txBody>
          <a:bodyPr/>
          <a:lstStyle/>
          <a:p>
            <a:pPr algn="l"/>
            <a:r>
              <a:rPr lang="en-US" b="1" dirty="0">
                <a:solidFill>
                  <a:srgbClr val="002E51"/>
                </a:solidFill>
              </a:rPr>
              <a:t>New Target ADCs in Breast Cancer</a:t>
            </a:r>
          </a:p>
        </p:txBody>
      </p:sp>
      <p:sp>
        <p:nvSpPr>
          <p:cNvPr id="2" name="Rectangle: Rounded Corners 1">
            <a:extLst>
              <a:ext uri="{FF2B5EF4-FFF2-40B4-BE49-F238E27FC236}">
                <a16:creationId xmlns:a16="http://schemas.microsoft.com/office/drawing/2014/main" id="{9EDF436B-4604-2FCA-5FE7-26A287770948}"/>
              </a:ext>
            </a:extLst>
          </p:cNvPr>
          <p:cNvSpPr/>
          <p:nvPr/>
        </p:nvSpPr>
        <p:spPr bwMode="auto">
          <a:xfrm>
            <a:off x="464506" y="844288"/>
            <a:ext cx="8089983" cy="438209"/>
          </a:xfrm>
          <a:prstGeom prst="roundRect">
            <a:avLst/>
          </a:prstGeom>
          <a:noFill/>
          <a:ln w="3810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Tree>
    <p:extLst>
      <p:ext uri="{BB962C8B-B14F-4D97-AF65-F5344CB8AC3E}">
        <p14:creationId xmlns:p14="http://schemas.microsoft.com/office/powerpoint/2010/main" val="26600221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60D933E-2D41-B723-2ED2-9D5113248169}"/>
              </a:ext>
            </a:extLst>
          </p:cNvPr>
          <p:cNvPicPr>
            <a:picLocks noChangeAspect="1"/>
          </p:cNvPicPr>
          <p:nvPr/>
        </p:nvPicPr>
        <p:blipFill>
          <a:blip r:embed="rId2"/>
          <a:stretch>
            <a:fillRect/>
          </a:stretch>
        </p:blipFill>
        <p:spPr>
          <a:xfrm>
            <a:off x="122699" y="0"/>
            <a:ext cx="8846017" cy="4369335"/>
          </a:xfrm>
          <a:prstGeom prst="rect">
            <a:avLst/>
          </a:prstGeom>
        </p:spPr>
      </p:pic>
      <p:sp>
        <p:nvSpPr>
          <p:cNvPr id="4" name="Text Box 15">
            <a:extLst>
              <a:ext uri="{FF2B5EF4-FFF2-40B4-BE49-F238E27FC236}">
                <a16:creationId xmlns:a16="http://schemas.microsoft.com/office/drawing/2014/main" id="{911AEE14-F309-0085-54B5-6DA2B896EE41}"/>
              </a:ext>
            </a:extLst>
          </p:cNvPr>
          <p:cNvSpPr txBox="1">
            <a:spLocks noChangeArrowheads="1"/>
          </p:cNvSpPr>
          <p:nvPr/>
        </p:nvSpPr>
        <p:spPr bwMode="auto">
          <a:xfrm>
            <a:off x="7586890" y="4153891"/>
            <a:ext cx="1463625" cy="215444"/>
          </a:xfrm>
          <a:prstGeom prst="rect">
            <a:avLst/>
          </a:prstGeom>
          <a:noFill/>
          <a:ln>
            <a:noFill/>
          </a:ln>
        </p:spPr>
        <p:txBody>
          <a:bodyPr wrap="square" anchor="b">
            <a:spAutoFit/>
          </a:bodyPr>
          <a:lstStyle>
            <a:lvl1pPr>
              <a:defRPr b="1">
                <a:solidFill>
                  <a:schemeClr val="tx1"/>
                </a:solidFill>
                <a:latin typeface="Arial" charset="0"/>
              </a:defRPr>
            </a:lvl1pPr>
            <a:lvl2pPr marL="742950" indent="-285750">
              <a:defRPr b="1">
                <a:solidFill>
                  <a:schemeClr val="tx1"/>
                </a:solidFill>
                <a:latin typeface="Arial" charset="0"/>
              </a:defRPr>
            </a:lvl2pPr>
            <a:lvl3pPr marL="1143000" indent="-228600">
              <a:defRPr b="1">
                <a:solidFill>
                  <a:schemeClr val="tx1"/>
                </a:solidFill>
                <a:latin typeface="Arial" charset="0"/>
              </a:defRPr>
            </a:lvl3pPr>
            <a:lvl4pPr marL="1600200" indent="-228600">
              <a:defRPr b="1">
                <a:solidFill>
                  <a:schemeClr val="tx1"/>
                </a:solidFill>
                <a:latin typeface="Arial" charset="0"/>
              </a:defRPr>
            </a:lvl4pPr>
            <a:lvl5pPr marL="2057400" indent="-228600">
              <a:defRPr b="1">
                <a:solidFill>
                  <a:schemeClr val="tx1"/>
                </a:solidFill>
                <a:latin typeface="Arial" charset="0"/>
              </a:defRPr>
            </a:lvl5pPr>
            <a:lvl6pPr marL="2514600" indent="-228600" eaLnBrk="0" fontAlgn="base" hangingPunct="0">
              <a:spcBef>
                <a:spcPct val="0"/>
              </a:spcBef>
              <a:spcAft>
                <a:spcPct val="0"/>
              </a:spcAft>
              <a:defRPr b="1">
                <a:solidFill>
                  <a:schemeClr val="tx1"/>
                </a:solidFill>
                <a:latin typeface="Arial" charset="0"/>
              </a:defRPr>
            </a:lvl6pPr>
            <a:lvl7pPr marL="2971800" indent="-228600" eaLnBrk="0" fontAlgn="base" hangingPunct="0">
              <a:spcBef>
                <a:spcPct val="0"/>
              </a:spcBef>
              <a:spcAft>
                <a:spcPct val="0"/>
              </a:spcAft>
              <a:defRPr b="1">
                <a:solidFill>
                  <a:schemeClr val="tx1"/>
                </a:solidFill>
                <a:latin typeface="Arial" charset="0"/>
              </a:defRPr>
            </a:lvl7pPr>
            <a:lvl8pPr marL="3429000" indent="-228600" eaLnBrk="0" fontAlgn="base" hangingPunct="0">
              <a:spcBef>
                <a:spcPct val="0"/>
              </a:spcBef>
              <a:spcAft>
                <a:spcPct val="0"/>
              </a:spcAft>
              <a:defRPr b="1">
                <a:solidFill>
                  <a:schemeClr val="tx1"/>
                </a:solidFill>
                <a:latin typeface="Arial" charset="0"/>
              </a:defRPr>
            </a:lvl8pPr>
            <a:lvl9pPr marL="3886200" indent="-228600" eaLnBrk="0" fontAlgn="base" hangingPunct="0">
              <a:spcBef>
                <a:spcPct val="0"/>
              </a:spcBef>
              <a:spcAft>
                <a:spcPct val="0"/>
              </a:spcAft>
              <a:defRPr b="1">
                <a:solidFill>
                  <a:schemeClr val="tx1"/>
                </a:solidFill>
                <a:latin typeface="Arial" charset="0"/>
              </a:defRPr>
            </a:lvl9pPr>
          </a:lstStyle>
          <a:p>
            <a:pPr>
              <a:defRPr/>
            </a:pPr>
            <a:r>
              <a:rPr lang="en-US" altLang="en-US" sz="800" b="0" spc="-10" dirty="0" err="1">
                <a:solidFill>
                  <a:srgbClr val="455560"/>
                </a:solidFill>
                <a:latin typeface="Calibri" panose="020F0502020204030204" pitchFamily="34" charset="0"/>
                <a:ea typeface="+mn-ea"/>
                <a:cs typeface="Arial" panose="020B0604020202020204" pitchFamily="34" charset="0"/>
              </a:rPr>
              <a:t>Krop</a:t>
            </a:r>
            <a:r>
              <a:rPr lang="en-US" altLang="en-US" sz="800" b="0" spc="-10" dirty="0">
                <a:solidFill>
                  <a:srgbClr val="455560"/>
                </a:solidFill>
                <a:latin typeface="Calibri" panose="020F0502020204030204" pitchFamily="34" charset="0"/>
                <a:ea typeface="+mn-ea"/>
                <a:cs typeface="Arial" panose="020B0604020202020204" pitchFamily="34" charset="0"/>
              </a:rPr>
              <a:t>. ASCO June 2022</a:t>
            </a:r>
            <a:endParaRPr lang="en-US" altLang="en-US" sz="800" b="0" dirty="0">
              <a:solidFill>
                <a:srgbClr val="455560"/>
              </a:solidFill>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442252071"/>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09E47F2-A46B-A868-7698-57B2D12617B5}"/>
              </a:ext>
            </a:extLst>
          </p:cNvPr>
          <p:cNvPicPr>
            <a:picLocks noChangeAspect="1"/>
          </p:cNvPicPr>
          <p:nvPr/>
        </p:nvPicPr>
        <p:blipFill>
          <a:blip r:embed="rId3"/>
          <a:stretch>
            <a:fillRect/>
          </a:stretch>
        </p:blipFill>
        <p:spPr>
          <a:xfrm>
            <a:off x="789775" y="0"/>
            <a:ext cx="7664764" cy="4358151"/>
          </a:xfrm>
          <a:prstGeom prst="rect">
            <a:avLst/>
          </a:prstGeom>
        </p:spPr>
      </p:pic>
    </p:spTree>
    <p:extLst>
      <p:ext uri="{BB962C8B-B14F-4D97-AF65-F5344CB8AC3E}">
        <p14:creationId xmlns:p14="http://schemas.microsoft.com/office/powerpoint/2010/main" val="4209444695"/>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0DD4515E-6DB7-DB35-C388-3C8058251561}"/>
              </a:ext>
            </a:extLst>
          </p:cNvPr>
          <p:cNvSpPr txBox="1"/>
          <p:nvPr/>
        </p:nvSpPr>
        <p:spPr>
          <a:xfrm>
            <a:off x="2328807" y="15780"/>
            <a:ext cx="5222697" cy="830997"/>
          </a:xfrm>
          <a:prstGeom prst="rect">
            <a:avLst/>
          </a:prstGeom>
          <a:ln w="38100"/>
        </p:spPr>
        <p:style>
          <a:lnRef idx="1">
            <a:schemeClr val="accent2"/>
          </a:lnRef>
          <a:fillRef idx="2">
            <a:schemeClr val="accent2"/>
          </a:fillRef>
          <a:effectRef idx="1">
            <a:schemeClr val="accent2"/>
          </a:effectRef>
          <a:fontRef idx="minor">
            <a:schemeClr val="dk1"/>
          </a:fontRef>
        </p:style>
        <p:txBody>
          <a:bodyPr wrap="square" rtlCol="0">
            <a:spAutoFit/>
          </a:bodyPr>
          <a:lstStyle/>
          <a:p>
            <a:pPr marL="342900" indent="-342900">
              <a:buFont typeface="Arial" panose="020B0604020202020204" pitchFamily="34" charset="0"/>
              <a:buChar char="•"/>
            </a:pPr>
            <a:r>
              <a:rPr lang="en-US" b="1" dirty="0">
                <a:latin typeface="Goudy Old Style" panose="02020502050305020303" pitchFamily="18" charset="0"/>
              </a:rPr>
              <a:t>Nitrogen mustard</a:t>
            </a:r>
          </a:p>
          <a:p>
            <a:pPr marL="342900" indent="-342900">
              <a:buFont typeface="Arial" panose="020B0604020202020204" pitchFamily="34" charset="0"/>
              <a:buChar char="•"/>
            </a:pPr>
            <a:r>
              <a:rPr lang="en-US" b="1" dirty="0">
                <a:latin typeface="Goudy Old Style" panose="02020502050305020303" pitchFamily="18" charset="0"/>
              </a:rPr>
              <a:t>Chemotherapy </a:t>
            </a:r>
          </a:p>
        </p:txBody>
      </p:sp>
      <p:sp>
        <p:nvSpPr>
          <p:cNvPr id="8" name="Arrow: Chevron 7">
            <a:extLst>
              <a:ext uri="{FF2B5EF4-FFF2-40B4-BE49-F238E27FC236}">
                <a16:creationId xmlns:a16="http://schemas.microsoft.com/office/drawing/2014/main" id="{ECB4E0E0-C806-83AB-56B9-ADBD5056F6F8}"/>
              </a:ext>
            </a:extLst>
          </p:cNvPr>
          <p:cNvSpPr/>
          <p:nvPr/>
        </p:nvSpPr>
        <p:spPr bwMode="auto">
          <a:xfrm rot="5400000">
            <a:off x="1185839" y="143352"/>
            <a:ext cx="1243139" cy="1042795"/>
          </a:xfrm>
          <a:prstGeom prst="chevron">
            <a:avLst>
              <a:gd name="adj" fmla="val 43827"/>
            </a:avLst>
          </a:prstGeom>
          <a:solidFill>
            <a:schemeClr val="accent1"/>
          </a:solidFill>
          <a:ln w="381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
        <p:nvSpPr>
          <p:cNvPr id="9" name="Arrow: Chevron 8">
            <a:extLst>
              <a:ext uri="{FF2B5EF4-FFF2-40B4-BE49-F238E27FC236}">
                <a16:creationId xmlns:a16="http://schemas.microsoft.com/office/drawing/2014/main" id="{88D9206D-A9BC-4D2C-0BA5-3B0F28410A42}"/>
              </a:ext>
            </a:extLst>
          </p:cNvPr>
          <p:cNvSpPr/>
          <p:nvPr/>
        </p:nvSpPr>
        <p:spPr bwMode="auto">
          <a:xfrm rot="5400000">
            <a:off x="1201221" y="1150756"/>
            <a:ext cx="1243139" cy="1042795"/>
          </a:xfrm>
          <a:prstGeom prst="chevron">
            <a:avLst>
              <a:gd name="adj" fmla="val 43827"/>
            </a:avLst>
          </a:prstGeom>
          <a:solidFill>
            <a:schemeClr val="accent1"/>
          </a:solidFill>
          <a:ln w="381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
        <p:nvSpPr>
          <p:cNvPr id="10" name="Arrow: Chevron 9">
            <a:extLst>
              <a:ext uri="{FF2B5EF4-FFF2-40B4-BE49-F238E27FC236}">
                <a16:creationId xmlns:a16="http://schemas.microsoft.com/office/drawing/2014/main" id="{BB67608D-4D9D-4CE4-A240-7EC8CC19E43A}"/>
              </a:ext>
            </a:extLst>
          </p:cNvPr>
          <p:cNvSpPr/>
          <p:nvPr/>
        </p:nvSpPr>
        <p:spPr bwMode="auto">
          <a:xfrm rot="5400000">
            <a:off x="1201220" y="2171289"/>
            <a:ext cx="1243139" cy="1042795"/>
          </a:xfrm>
          <a:prstGeom prst="chevron">
            <a:avLst>
              <a:gd name="adj" fmla="val 43827"/>
            </a:avLst>
          </a:prstGeom>
          <a:solidFill>
            <a:schemeClr val="accent1"/>
          </a:solidFill>
          <a:ln w="381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
        <p:nvSpPr>
          <p:cNvPr id="11" name="Arrow: Chevron 10">
            <a:extLst>
              <a:ext uri="{FF2B5EF4-FFF2-40B4-BE49-F238E27FC236}">
                <a16:creationId xmlns:a16="http://schemas.microsoft.com/office/drawing/2014/main" id="{5ACDE51E-EE07-FFAB-A4AA-82F630651553}"/>
              </a:ext>
            </a:extLst>
          </p:cNvPr>
          <p:cNvSpPr/>
          <p:nvPr/>
        </p:nvSpPr>
        <p:spPr bwMode="auto">
          <a:xfrm rot="5400000">
            <a:off x="1205498" y="3187544"/>
            <a:ext cx="1243139" cy="1051351"/>
          </a:xfrm>
          <a:prstGeom prst="chevron">
            <a:avLst>
              <a:gd name="adj" fmla="val 43827"/>
            </a:avLst>
          </a:prstGeom>
          <a:solidFill>
            <a:schemeClr val="accent1"/>
          </a:solidFill>
          <a:ln w="381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
        <p:nvSpPr>
          <p:cNvPr id="12" name="TextBox 11">
            <a:extLst>
              <a:ext uri="{FF2B5EF4-FFF2-40B4-BE49-F238E27FC236}">
                <a16:creationId xmlns:a16="http://schemas.microsoft.com/office/drawing/2014/main" id="{CC57089E-F84A-5124-6F6A-8302E63DEC2A}"/>
              </a:ext>
            </a:extLst>
          </p:cNvPr>
          <p:cNvSpPr txBox="1"/>
          <p:nvPr/>
        </p:nvSpPr>
        <p:spPr>
          <a:xfrm>
            <a:off x="2345871" y="1023184"/>
            <a:ext cx="5222697" cy="830997"/>
          </a:xfrm>
          <a:prstGeom prst="rect">
            <a:avLst/>
          </a:prstGeom>
          <a:ln w="38100"/>
        </p:spPr>
        <p:style>
          <a:lnRef idx="1">
            <a:schemeClr val="accent2"/>
          </a:lnRef>
          <a:fillRef idx="2">
            <a:schemeClr val="accent2"/>
          </a:fillRef>
          <a:effectRef idx="1">
            <a:schemeClr val="accent2"/>
          </a:effectRef>
          <a:fontRef idx="minor">
            <a:schemeClr val="dk1"/>
          </a:fontRef>
        </p:style>
        <p:txBody>
          <a:bodyPr wrap="square" rtlCol="0">
            <a:spAutoFit/>
          </a:bodyPr>
          <a:lstStyle/>
          <a:p>
            <a:pPr marL="342900" indent="-342900">
              <a:buFont typeface="Arial" panose="020B0604020202020204" pitchFamily="34" charset="0"/>
              <a:buChar char="•"/>
            </a:pPr>
            <a:r>
              <a:rPr lang="en-US" dirty="0">
                <a:latin typeface="Cooper Black" panose="0208090404030B020404" pitchFamily="18" charset="0"/>
              </a:rPr>
              <a:t>Rituximab</a:t>
            </a:r>
          </a:p>
          <a:p>
            <a:pPr marL="342900" indent="-342900">
              <a:buFont typeface="Arial" panose="020B0604020202020204" pitchFamily="34" charset="0"/>
              <a:buChar char="•"/>
            </a:pPr>
            <a:r>
              <a:rPr lang="en-US" dirty="0">
                <a:latin typeface="Cooper Black" panose="0208090404030B020404" pitchFamily="18" charset="0"/>
              </a:rPr>
              <a:t>Target therapy </a:t>
            </a:r>
          </a:p>
        </p:txBody>
      </p:sp>
      <p:sp>
        <p:nvSpPr>
          <p:cNvPr id="13" name="TextBox 12">
            <a:extLst>
              <a:ext uri="{FF2B5EF4-FFF2-40B4-BE49-F238E27FC236}">
                <a16:creationId xmlns:a16="http://schemas.microsoft.com/office/drawing/2014/main" id="{E2C29E8F-E071-69CD-525F-BEB0C2087FBE}"/>
              </a:ext>
            </a:extLst>
          </p:cNvPr>
          <p:cNvSpPr txBox="1"/>
          <p:nvPr/>
        </p:nvSpPr>
        <p:spPr>
          <a:xfrm>
            <a:off x="2351025" y="2043717"/>
            <a:ext cx="5222697" cy="830997"/>
          </a:xfrm>
          <a:prstGeom prst="rect">
            <a:avLst/>
          </a:prstGeom>
          <a:ln w="38100"/>
        </p:spPr>
        <p:style>
          <a:lnRef idx="1">
            <a:schemeClr val="accent2"/>
          </a:lnRef>
          <a:fillRef idx="2">
            <a:schemeClr val="accent2"/>
          </a:fillRef>
          <a:effectRef idx="1">
            <a:schemeClr val="accent2"/>
          </a:effectRef>
          <a:fontRef idx="minor">
            <a:schemeClr val="dk1"/>
          </a:fontRef>
        </p:style>
        <p:txBody>
          <a:bodyPr wrap="square" rtlCol="0">
            <a:spAutoFit/>
          </a:bodyPr>
          <a:lstStyle/>
          <a:p>
            <a:pPr marL="342900" lvl="0" indent="-342900">
              <a:buFont typeface="Arial" panose="020B0604020202020204" pitchFamily="34" charset="0"/>
              <a:buChar char="•"/>
            </a:pPr>
            <a:r>
              <a:rPr lang="en-US" b="1" dirty="0" err="1">
                <a:latin typeface="Tahoma" panose="020B0604030504040204" pitchFamily="34" charset="0"/>
                <a:ea typeface="Tahoma" panose="020B0604030504040204" pitchFamily="34" charset="0"/>
                <a:cs typeface="Tahoma" panose="020B0604030504040204" pitchFamily="34" charset="0"/>
              </a:rPr>
              <a:t>Gemtuzumab</a:t>
            </a:r>
            <a:r>
              <a:rPr lang="en-US" b="1" dirty="0">
                <a:latin typeface="Tahoma" panose="020B0604030504040204" pitchFamily="34" charset="0"/>
                <a:ea typeface="Tahoma" panose="020B0604030504040204" pitchFamily="34" charset="0"/>
                <a:cs typeface="Tahoma" panose="020B0604030504040204" pitchFamily="34" charset="0"/>
              </a:rPr>
              <a:t> </a:t>
            </a:r>
            <a:r>
              <a:rPr lang="en-US" b="1" dirty="0" err="1">
                <a:latin typeface="Tahoma" panose="020B0604030504040204" pitchFamily="34" charset="0"/>
                <a:ea typeface="Tahoma" panose="020B0604030504040204" pitchFamily="34" charset="0"/>
                <a:cs typeface="Tahoma" panose="020B0604030504040204" pitchFamily="34" charset="0"/>
              </a:rPr>
              <a:t>ozogamicin</a:t>
            </a:r>
            <a:endParaRPr lang="en-US" b="1" dirty="0">
              <a:latin typeface="Tahoma" panose="020B0604030504040204" pitchFamily="34" charset="0"/>
              <a:ea typeface="Tahoma" panose="020B0604030504040204" pitchFamily="34" charset="0"/>
              <a:cs typeface="Tahoma" panose="020B0604030504040204" pitchFamily="34" charset="0"/>
            </a:endParaRPr>
          </a:p>
          <a:p>
            <a:pPr marL="342900" indent="-342900">
              <a:buFont typeface="Arial" panose="020B0604020202020204" pitchFamily="34" charset="0"/>
              <a:buChar char="•"/>
            </a:pPr>
            <a:r>
              <a:rPr lang="en-US" b="1" dirty="0">
                <a:latin typeface="Tahoma" panose="020B0604030504040204" pitchFamily="34" charset="0"/>
                <a:ea typeface="Tahoma" panose="020B0604030504040204" pitchFamily="34" charset="0"/>
                <a:cs typeface="Tahoma" panose="020B0604030504040204" pitchFamily="34" charset="0"/>
              </a:rPr>
              <a:t>Antibody-drug conjugate </a:t>
            </a:r>
          </a:p>
        </p:txBody>
      </p:sp>
      <p:sp>
        <p:nvSpPr>
          <p:cNvPr id="14" name="TextBox 13">
            <a:extLst>
              <a:ext uri="{FF2B5EF4-FFF2-40B4-BE49-F238E27FC236}">
                <a16:creationId xmlns:a16="http://schemas.microsoft.com/office/drawing/2014/main" id="{B21F0B22-821C-875F-7186-AD45271C8A06}"/>
              </a:ext>
            </a:extLst>
          </p:cNvPr>
          <p:cNvSpPr txBox="1"/>
          <p:nvPr/>
        </p:nvSpPr>
        <p:spPr>
          <a:xfrm>
            <a:off x="2361300" y="3070261"/>
            <a:ext cx="5222697" cy="830997"/>
          </a:xfrm>
          <a:prstGeom prst="rect">
            <a:avLst/>
          </a:prstGeom>
          <a:ln w="38100"/>
        </p:spPr>
        <p:style>
          <a:lnRef idx="1">
            <a:schemeClr val="accent2"/>
          </a:lnRef>
          <a:fillRef idx="2">
            <a:schemeClr val="accent2"/>
          </a:fillRef>
          <a:effectRef idx="1">
            <a:schemeClr val="accent2"/>
          </a:effectRef>
          <a:fontRef idx="minor">
            <a:schemeClr val="dk1"/>
          </a:fontRef>
        </p:style>
        <p:txBody>
          <a:bodyPr wrap="square" rtlCol="0">
            <a:spAutoFit/>
          </a:bodyPr>
          <a:lstStyle/>
          <a:p>
            <a:pPr marL="342900" indent="-342900">
              <a:buFont typeface="Arial" panose="020B0604020202020204" pitchFamily="34" charset="0"/>
              <a:buChar char="•"/>
            </a:pPr>
            <a:r>
              <a:rPr lang="en-US" b="1" dirty="0">
                <a:latin typeface="Modern No. 20" panose="02070704070505020303" pitchFamily="18" charset="0"/>
              </a:rPr>
              <a:t>Pembrolizumab</a:t>
            </a:r>
          </a:p>
          <a:p>
            <a:pPr marL="342900" indent="-342900">
              <a:buFont typeface="Arial" panose="020B0604020202020204" pitchFamily="34" charset="0"/>
              <a:buChar char="•"/>
            </a:pPr>
            <a:r>
              <a:rPr lang="en-US" b="1" dirty="0">
                <a:latin typeface="Modern No. 20" panose="02070704070505020303" pitchFamily="18" charset="0"/>
              </a:rPr>
              <a:t>Immune checkpoint inhibitor </a:t>
            </a:r>
          </a:p>
        </p:txBody>
      </p:sp>
      <p:sp>
        <p:nvSpPr>
          <p:cNvPr id="15" name="TextBox 14">
            <a:extLst>
              <a:ext uri="{FF2B5EF4-FFF2-40B4-BE49-F238E27FC236}">
                <a16:creationId xmlns:a16="http://schemas.microsoft.com/office/drawing/2014/main" id="{05B385DC-0713-E688-D1B0-E6938DA19F22}"/>
              </a:ext>
            </a:extLst>
          </p:cNvPr>
          <p:cNvSpPr txBox="1"/>
          <p:nvPr/>
        </p:nvSpPr>
        <p:spPr>
          <a:xfrm>
            <a:off x="1328791" y="506856"/>
            <a:ext cx="974319" cy="461665"/>
          </a:xfrm>
          <a:prstGeom prst="rect">
            <a:avLst/>
          </a:prstGeom>
          <a:noFill/>
        </p:spPr>
        <p:txBody>
          <a:bodyPr wrap="square" rtlCol="0">
            <a:spAutoFit/>
          </a:bodyPr>
          <a:lstStyle/>
          <a:p>
            <a:r>
              <a:rPr lang="en-US" b="1" dirty="0">
                <a:latin typeface="Goudy Old Style" panose="02020502050305020303" pitchFamily="18" charset="0"/>
              </a:rPr>
              <a:t> 1935</a:t>
            </a:r>
          </a:p>
        </p:txBody>
      </p:sp>
      <p:sp>
        <p:nvSpPr>
          <p:cNvPr id="16" name="TextBox 15">
            <a:extLst>
              <a:ext uri="{FF2B5EF4-FFF2-40B4-BE49-F238E27FC236}">
                <a16:creationId xmlns:a16="http://schemas.microsoft.com/office/drawing/2014/main" id="{19A19DDC-4D3E-9721-977F-8049772D716E}"/>
              </a:ext>
            </a:extLst>
          </p:cNvPr>
          <p:cNvSpPr txBox="1"/>
          <p:nvPr/>
        </p:nvSpPr>
        <p:spPr>
          <a:xfrm>
            <a:off x="1315093" y="1493847"/>
            <a:ext cx="1013714" cy="461665"/>
          </a:xfrm>
          <a:prstGeom prst="rect">
            <a:avLst/>
          </a:prstGeom>
          <a:noFill/>
        </p:spPr>
        <p:txBody>
          <a:bodyPr wrap="square" rtlCol="0">
            <a:spAutoFit/>
          </a:bodyPr>
          <a:lstStyle/>
          <a:p>
            <a:r>
              <a:rPr lang="en-US" dirty="0">
                <a:latin typeface="Cooper Black" panose="0208090404030B020404" pitchFamily="18" charset="0"/>
              </a:rPr>
              <a:t> 1997</a:t>
            </a:r>
          </a:p>
        </p:txBody>
      </p:sp>
      <p:sp>
        <p:nvSpPr>
          <p:cNvPr id="17" name="TextBox 16">
            <a:extLst>
              <a:ext uri="{FF2B5EF4-FFF2-40B4-BE49-F238E27FC236}">
                <a16:creationId xmlns:a16="http://schemas.microsoft.com/office/drawing/2014/main" id="{41028DFD-3284-6CE8-E3B3-76228757F3A5}"/>
              </a:ext>
            </a:extLst>
          </p:cNvPr>
          <p:cNvSpPr txBox="1"/>
          <p:nvPr/>
        </p:nvSpPr>
        <p:spPr>
          <a:xfrm>
            <a:off x="1328791" y="2503003"/>
            <a:ext cx="974319" cy="461665"/>
          </a:xfrm>
          <a:prstGeom prst="rect">
            <a:avLst/>
          </a:prstGeom>
          <a:noFill/>
        </p:spPr>
        <p:txBody>
          <a:bodyPr wrap="square" rtlCol="0">
            <a:spAutoFit/>
          </a:bodyPr>
          <a:lstStyle/>
          <a:p>
            <a:r>
              <a:rPr lang="en-US" b="1" dirty="0">
                <a:latin typeface="Tahoma" panose="020B0604030504040204" pitchFamily="34" charset="0"/>
                <a:ea typeface="Tahoma" panose="020B0604030504040204" pitchFamily="34" charset="0"/>
                <a:cs typeface="Tahoma" panose="020B0604030504040204" pitchFamily="34" charset="0"/>
              </a:rPr>
              <a:t>2000</a:t>
            </a:r>
          </a:p>
        </p:txBody>
      </p:sp>
      <p:sp>
        <p:nvSpPr>
          <p:cNvPr id="18" name="TextBox 17">
            <a:extLst>
              <a:ext uri="{FF2B5EF4-FFF2-40B4-BE49-F238E27FC236}">
                <a16:creationId xmlns:a16="http://schemas.microsoft.com/office/drawing/2014/main" id="{41C7F48D-A89E-A919-6877-C0B37839ED9D}"/>
              </a:ext>
            </a:extLst>
          </p:cNvPr>
          <p:cNvSpPr txBox="1"/>
          <p:nvPr/>
        </p:nvSpPr>
        <p:spPr>
          <a:xfrm>
            <a:off x="1315093" y="3531762"/>
            <a:ext cx="1013714" cy="461665"/>
          </a:xfrm>
          <a:prstGeom prst="rect">
            <a:avLst/>
          </a:prstGeom>
          <a:noFill/>
        </p:spPr>
        <p:txBody>
          <a:bodyPr wrap="square" rtlCol="0">
            <a:spAutoFit/>
          </a:bodyPr>
          <a:lstStyle/>
          <a:p>
            <a:r>
              <a:rPr lang="en-US" dirty="0"/>
              <a:t> </a:t>
            </a:r>
            <a:r>
              <a:rPr lang="en-US" b="1" dirty="0">
                <a:latin typeface="Modern No. 20" panose="02070704070505020303" pitchFamily="18" charset="0"/>
              </a:rPr>
              <a:t>2011</a:t>
            </a:r>
          </a:p>
        </p:txBody>
      </p:sp>
    </p:spTree>
    <p:extLst>
      <p:ext uri="{BB962C8B-B14F-4D97-AF65-F5344CB8AC3E}">
        <p14:creationId xmlns:p14="http://schemas.microsoft.com/office/powerpoint/2010/main" val="74539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7"/>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2"/>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0"/>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7"/>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13"/>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11"/>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18"/>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2" grpId="0" animBg="1"/>
      <p:bldP spid="13" grpId="0" animBg="1"/>
      <p:bldP spid="14" grpId="0" animBg="1"/>
      <p:bldP spid="15" grpId="0"/>
      <p:bldP spid="16" grpId="0"/>
      <p:bldP spid="17" grpId="0"/>
      <p:bldP spid="18" grpId="0"/>
    </p:bldLst>
  </p:timing>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ADFCFC25-7EAF-FBF7-A546-3F36872B2FB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105" y="111013"/>
            <a:ext cx="9167865" cy="4960547"/>
          </a:xfrm>
          <a:prstGeom prst="rect">
            <a:avLst/>
          </a:prstGeom>
          <a:noFill/>
          <a:extLst>
            <a:ext uri="{909E8E84-426E-40DD-AFC4-6F175D3DCCD1}">
              <a14:hiddenFill xmlns:a14="http://schemas.microsoft.com/office/drawing/2010/main">
                <a:solidFill>
                  <a:srgbClr val="FFFFFF"/>
                </a:solidFill>
              </a14:hiddenFill>
            </a:ext>
          </a:extLst>
        </p:spPr>
      </p:pic>
      <p:sp>
        <p:nvSpPr>
          <p:cNvPr id="2" name="Text Box 15">
            <a:extLst>
              <a:ext uri="{FF2B5EF4-FFF2-40B4-BE49-F238E27FC236}">
                <a16:creationId xmlns:a16="http://schemas.microsoft.com/office/drawing/2014/main" id="{4AAD2B09-98B8-8471-2DE7-661FA40092E9}"/>
              </a:ext>
            </a:extLst>
          </p:cNvPr>
          <p:cNvSpPr txBox="1">
            <a:spLocks noChangeArrowheads="1"/>
          </p:cNvSpPr>
          <p:nvPr/>
        </p:nvSpPr>
        <p:spPr bwMode="auto">
          <a:xfrm>
            <a:off x="7715433" y="5029659"/>
            <a:ext cx="1761608" cy="215444"/>
          </a:xfrm>
          <a:prstGeom prst="rect">
            <a:avLst/>
          </a:prstGeom>
          <a:noFill/>
          <a:ln>
            <a:noFill/>
          </a:ln>
        </p:spPr>
        <p:txBody>
          <a:bodyPr wrap="square" anchor="b">
            <a:spAutoFit/>
          </a:bodyPr>
          <a:lstStyle>
            <a:lvl1pPr>
              <a:defRPr b="1">
                <a:solidFill>
                  <a:schemeClr val="tx1"/>
                </a:solidFill>
                <a:latin typeface="Arial" charset="0"/>
              </a:defRPr>
            </a:lvl1pPr>
            <a:lvl2pPr marL="742950" indent="-285750">
              <a:defRPr b="1">
                <a:solidFill>
                  <a:schemeClr val="tx1"/>
                </a:solidFill>
                <a:latin typeface="Arial" charset="0"/>
              </a:defRPr>
            </a:lvl2pPr>
            <a:lvl3pPr marL="1143000" indent="-228600">
              <a:defRPr b="1">
                <a:solidFill>
                  <a:schemeClr val="tx1"/>
                </a:solidFill>
                <a:latin typeface="Arial" charset="0"/>
              </a:defRPr>
            </a:lvl3pPr>
            <a:lvl4pPr marL="1600200" indent="-228600">
              <a:defRPr b="1">
                <a:solidFill>
                  <a:schemeClr val="tx1"/>
                </a:solidFill>
                <a:latin typeface="Arial" charset="0"/>
              </a:defRPr>
            </a:lvl4pPr>
            <a:lvl5pPr marL="2057400" indent="-228600">
              <a:defRPr b="1">
                <a:solidFill>
                  <a:schemeClr val="tx1"/>
                </a:solidFill>
                <a:latin typeface="Arial" charset="0"/>
              </a:defRPr>
            </a:lvl5pPr>
            <a:lvl6pPr marL="2514600" indent="-228600" eaLnBrk="0" fontAlgn="base" hangingPunct="0">
              <a:spcBef>
                <a:spcPct val="0"/>
              </a:spcBef>
              <a:spcAft>
                <a:spcPct val="0"/>
              </a:spcAft>
              <a:defRPr b="1">
                <a:solidFill>
                  <a:schemeClr val="tx1"/>
                </a:solidFill>
                <a:latin typeface="Arial" charset="0"/>
              </a:defRPr>
            </a:lvl6pPr>
            <a:lvl7pPr marL="2971800" indent="-228600" eaLnBrk="0" fontAlgn="base" hangingPunct="0">
              <a:spcBef>
                <a:spcPct val="0"/>
              </a:spcBef>
              <a:spcAft>
                <a:spcPct val="0"/>
              </a:spcAft>
              <a:defRPr b="1">
                <a:solidFill>
                  <a:schemeClr val="tx1"/>
                </a:solidFill>
                <a:latin typeface="Arial" charset="0"/>
              </a:defRPr>
            </a:lvl7pPr>
            <a:lvl8pPr marL="3429000" indent="-228600" eaLnBrk="0" fontAlgn="base" hangingPunct="0">
              <a:spcBef>
                <a:spcPct val="0"/>
              </a:spcBef>
              <a:spcAft>
                <a:spcPct val="0"/>
              </a:spcAft>
              <a:defRPr b="1">
                <a:solidFill>
                  <a:schemeClr val="tx1"/>
                </a:solidFill>
                <a:latin typeface="Arial" charset="0"/>
              </a:defRPr>
            </a:lvl8pPr>
            <a:lvl9pPr marL="3886200" indent="-228600" eaLnBrk="0" fontAlgn="base" hangingPunct="0">
              <a:spcBef>
                <a:spcPct val="0"/>
              </a:spcBef>
              <a:spcAft>
                <a:spcPct val="0"/>
              </a:spcAft>
              <a:defRPr b="1">
                <a:solidFill>
                  <a:schemeClr val="tx1"/>
                </a:solidFill>
                <a:latin typeface="Arial" charset="0"/>
              </a:defRPr>
            </a:lvl9pPr>
          </a:lstStyle>
          <a:p>
            <a:pPr>
              <a:defRPr/>
            </a:pPr>
            <a:r>
              <a:rPr lang="en-US" altLang="en-US" sz="800" b="0" spc="-10" dirty="0">
                <a:solidFill>
                  <a:srgbClr val="455560"/>
                </a:solidFill>
                <a:latin typeface="Calibri" panose="020F0502020204030204" pitchFamily="34" charset="0"/>
                <a:ea typeface="+mn-ea"/>
                <a:cs typeface="Arial" panose="020B0604020202020204" pitchFamily="34" charset="0"/>
              </a:rPr>
              <a:t>Jim Carrey, The Mask  1994 </a:t>
            </a:r>
            <a:endParaRPr lang="en-US" altLang="en-US" sz="800" b="0" dirty="0">
              <a:solidFill>
                <a:srgbClr val="455560"/>
              </a:solidFill>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18892064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26"/>
                                        </p:tgtEl>
                                        <p:attrNameLst>
                                          <p:attrName>style.visibility</p:attrName>
                                        </p:attrNameLst>
                                      </p:cBhvr>
                                      <p:to>
                                        <p:strVal val="visible"/>
                                      </p:to>
                                    </p:set>
                                    <p:animEffect transition="in" filter="fade">
                                      <p:cBhvr>
                                        <p:cTn id="7" dur="500"/>
                                        <p:tgtEl>
                                          <p:spTgt spid="10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7DA5A2C-4EBD-7643-3491-180F9B1D40E9}"/>
              </a:ext>
            </a:extLst>
          </p:cNvPr>
          <p:cNvSpPr>
            <a:spLocks noGrp="1"/>
          </p:cNvSpPr>
          <p:nvPr>
            <p:ph idx="1"/>
          </p:nvPr>
        </p:nvSpPr>
        <p:spPr/>
        <p:txBody>
          <a:bodyPr anchor="ctr"/>
          <a:lstStyle/>
          <a:p>
            <a:pPr marL="0" indent="0" algn="ctr">
              <a:buNone/>
            </a:pPr>
            <a:r>
              <a:rPr lang="en-US" sz="3600" b="1" dirty="0"/>
              <a:t>Background</a:t>
            </a:r>
          </a:p>
          <a:p>
            <a:pPr marL="0" indent="0" algn="ctr">
              <a:buNone/>
            </a:pPr>
            <a:endParaRPr lang="en-US" sz="3600" b="1" dirty="0"/>
          </a:p>
        </p:txBody>
      </p:sp>
    </p:spTree>
    <p:extLst>
      <p:ext uri="{BB962C8B-B14F-4D97-AF65-F5344CB8AC3E}">
        <p14:creationId xmlns:p14="http://schemas.microsoft.com/office/powerpoint/2010/main" val="2207815920"/>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Calendar&#10;&#10;Description automatically generated">
            <a:extLst>
              <a:ext uri="{FF2B5EF4-FFF2-40B4-BE49-F238E27FC236}">
                <a16:creationId xmlns:a16="http://schemas.microsoft.com/office/drawing/2014/main" id="{13805364-3E24-344F-95DA-43DA6B97ACDC}"/>
              </a:ext>
            </a:extLst>
          </p:cNvPr>
          <p:cNvPicPr>
            <a:picLocks noChangeAspect="1"/>
          </p:cNvPicPr>
          <p:nvPr/>
        </p:nvPicPr>
        <p:blipFill>
          <a:blip r:embed="rId3"/>
          <a:stretch>
            <a:fillRect/>
          </a:stretch>
        </p:blipFill>
        <p:spPr>
          <a:xfrm>
            <a:off x="7037" y="0"/>
            <a:ext cx="9129925" cy="5148263"/>
          </a:xfrm>
          <a:prstGeom prst="rect">
            <a:avLst/>
          </a:prstGeom>
        </p:spPr>
      </p:pic>
      <p:pic>
        <p:nvPicPr>
          <p:cNvPr id="15" name="Picture 14" descr="Graphical user interface, website&#10;&#10;Description automatically generated">
            <a:extLst>
              <a:ext uri="{FF2B5EF4-FFF2-40B4-BE49-F238E27FC236}">
                <a16:creationId xmlns:a16="http://schemas.microsoft.com/office/drawing/2014/main" id="{80727F13-6791-5B49-9F46-3BF36290A24F}"/>
              </a:ext>
            </a:extLst>
          </p:cNvPr>
          <p:cNvPicPr>
            <a:picLocks noChangeAspect="1"/>
          </p:cNvPicPr>
          <p:nvPr/>
        </p:nvPicPr>
        <p:blipFill>
          <a:blip r:embed="rId4"/>
          <a:stretch>
            <a:fillRect/>
          </a:stretch>
        </p:blipFill>
        <p:spPr>
          <a:xfrm>
            <a:off x="7037" y="0"/>
            <a:ext cx="9129925" cy="5148263"/>
          </a:xfrm>
          <a:prstGeom prst="rect">
            <a:avLst/>
          </a:prstGeom>
        </p:spPr>
      </p:pic>
      <p:pic>
        <p:nvPicPr>
          <p:cNvPr id="17" name="Picture 16" descr="Graphical user interface&#10;&#10;Description automatically generated">
            <a:extLst>
              <a:ext uri="{FF2B5EF4-FFF2-40B4-BE49-F238E27FC236}">
                <a16:creationId xmlns:a16="http://schemas.microsoft.com/office/drawing/2014/main" id="{F0D5927F-FD5E-F648-9B5E-758022183824}"/>
              </a:ext>
            </a:extLst>
          </p:cNvPr>
          <p:cNvPicPr>
            <a:picLocks noChangeAspect="1"/>
          </p:cNvPicPr>
          <p:nvPr/>
        </p:nvPicPr>
        <p:blipFill>
          <a:blip r:embed="rId5"/>
          <a:stretch>
            <a:fillRect/>
          </a:stretch>
        </p:blipFill>
        <p:spPr>
          <a:xfrm>
            <a:off x="7037" y="0"/>
            <a:ext cx="9129925" cy="5148263"/>
          </a:xfrm>
          <a:prstGeom prst="rect">
            <a:avLst/>
          </a:prstGeom>
        </p:spPr>
      </p:pic>
      <p:pic>
        <p:nvPicPr>
          <p:cNvPr id="10" name="Picture 9" descr="A picture containing text&#10;&#10;Description automatically generated">
            <a:extLst>
              <a:ext uri="{FF2B5EF4-FFF2-40B4-BE49-F238E27FC236}">
                <a16:creationId xmlns:a16="http://schemas.microsoft.com/office/drawing/2014/main" id="{9661F0C6-188E-94BA-269D-24C866E23D00}"/>
              </a:ext>
            </a:extLst>
          </p:cNvPr>
          <p:cNvPicPr>
            <a:picLocks noChangeAspect="1"/>
          </p:cNvPicPr>
          <p:nvPr/>
        </p:nvPicPr>
        <p:blipFill>
          <a:blip r:embed="rId6"/>
          <a:stretch>
            <a:fillRect/>
          </a:stretch>
        </p:blipFill>
        <p:spPr>
          <a:xfrm>
            <a:off x="-1" y="-12701"/>
            <a:ext cx="9129925" cy="5148263"/>
          </a:xfrm>
          <a:prstGeom prst="rect">
            <a:avLst/>
          </a:prstGeom>
        </p:spPr>
      </p:pic>
      <p:pic>
        <p:nvPicPr>
          <p:cNvPr id="5" name="Picture 4" descr="A picture containing graphical user interface&#10;&#10;Description automatically generated">
            <a:extLst>
              <a:ext uri="{FF2B5EF4-FFF2-40B4-BE49-F238E27FC236}">
                <a16:creationId xmlns:a16="http://schemas.microsoft.com/office/drawing/2014/main" id="{AE206FA8-1ADF-6743-B3FD-1CA6C6C63ADB}"/>
              </a:ext>
            </a:extLst>
          </p:cNvPr>
          <p:cNvPicPr>
            <a:picLocks noChangeAspect="1"/>
          </p:cNvPicPr>
          <p:nvPr/>
        </p:nvPicPr>
        <p:blipFill>
          <a:blip r:embed="rId7"/>
          <a:stretch>
            <a:fillRect/>
          </a:stretch>
        </p:blipFill>
        <p:spPr>
          <a:xfrm>
            <a:off x="-1" y="0"/>
            <a:ext cx="9144001" cy="5148263"/>
          </a:xfrm>
          <a:prstGeom prst="rect">
            <a:avLst/>
          </a:prstGeom>
        </p:spPr>
      </p:pic>
      <p:pic>
        <p:nvPicPr>
          <p:cNvPr id="3" name="Picture 2" descr="Graphical user interface&#10;&#10;Description automatically generated with medium confidence">
            <a:extLst>
              <a:ext uri="{FF2B5EF4-FFF2-40B4-BE49-F238E27FC236}">
                <a16:creationId xmlns:a16="http://schemas.microsoft.com/office/drawing/2014/main" id="{427AC361-97E5-DB4A-97F9-E64F0D38923A}"/>
              </a:ext>
            </a:extLst>
          </p:cNvPr>
          <p:cNvPicPr>
            <a:picLocks noChangeAspect="1"/>
          </p:cNvPicPr>
          <p:nvPr/>
        </p:nvPicPr>
        <p:blipFill>
          <a:blip r:embed="rId8"/>
          <a:stretch>
            <a:fillRect/>
          </a:stretch>
        </p:blipFill>
        <p:spPr>
          <a:xfrm>
            <a:off x="-1276" y="0"/>
            <a:ext cx="9129925" cy="5148263"/>
          </a:xfrm>
          <a:prstGeom prst="rect">
            <a:avLst/>
          </a:prstGeom>
        </p:spPr>
      </p:pic>
      <p:pic>
        <p:nvPicPr>
          <p:cNvPr id="13" name="Picture 12" descr="Graphical user interface&#10;&#10;Description automatically generated with medium confidence">
            <a:extLst>
              <a:ext uri="{FF2B5EF4-FFF2-40B4-BE49-F238E27FC236}">
                <a16:creationId xmlns:a16="http://schemas.microsoft.com/office/drawing/2014/main" id="{74C209DA-DD76-F140-A409-CC2B6FB9E380}"/>
              </a:ext>
            </a:extLst>
          </p:cNvPr>
          <p:cNvPicPr>
            <a:picLocks noChangeAspect="1"/>
          </p:cNvPicPr>
          <p:nvPr/>
        </p:nvPicPr>
        <p:blipFill>
          <a:blip r:embed="rId9"/>
          <a:stretch>
            <a:fillRect/>
          </a:stretch>
        </p:blipFill>
        <p:spPr>
          <a:xfrm>
            <a:off x="7037" y="91440"/>
            <a:ext cx="9129925" cy="5148263"/>
          </a:xfrm>
          <a:prstGeom prst="rect">
            <a:avLst/>
          </a:prstGeom>
        </p:spPr>
      </p:pic>
      <p:pic>
        <p:nvPicPr>
          <p:cNvPr id="11" name="Picture 10" descr="Graphical user interface&#10;&#10;Description automatically generated">
            <a:extLst>
              <a:ext uri="{FF2B5EF4-FFF2-40B4-BE49-F238E27FC236}">
                <a16:creationId xmlns:a16="http://schemas.microsoft.com/office/drawing/2014/main" id="{39E371F3-F698-6E43-9AF5-D6112EDA06B4}"/>
              </a:ext>
            </a:extLst>
          </p:cNvPr>
          <p:cNvPicPr>
            <a:picLocks noChangeAspect="1"/>
          </p:cNvPicPr>
          <p:nvPr/>
        </p:nvPicPr>
        <p:blipFill>
          <a:blip r:embed="rId10"/>
          <a:stretch>
            <a:fillRect/>
          </a:stretch>
        </p:blipFill>
        <p:spPr>
          <a:xfrm>
            <a:off x="7037" y="0"/>
            <a:ext cx="9129925" cy="5148263"/>
          </a:xfrm>
          <a:prstGeom prst="rect">
            <a:avLst/>
          </a:prstGeom>
        </p:spPr>
      </p:pic>
      <p:pic>
        <p:nvPicPr>
          <p:cNvPr id="7" name="Picture 6" descr="Graphical user interface&#10;&#10;Description automatically generated">
            <a:extLst>
              <a:ext uri="{FF2B5EF4-FFF2-40B4-BE49-F238E27FC236}">
                <a16:creationId xmlns:a16="http://schemas.microsoft.com/office/drawing/2014/main" id="{7ECE685F-3E0A-4645-A5C2-F8F5499F2E26}"/>
              </a:ext>
            </a:extLst>
          </p:cNvPr>
          <p:cNvPicPr>
            <a:picLocks noChangeAspect="1"/>
          </p:cNvPicPr>
          <p:nvPr/>
        </p:nvPicPr>
        <p:blipFill>
          <a:blip r:embed="rId11"/>
          <a:stretch>
            <a:fillRect/>
          </a:stretch>
        </p:blipFill>
        <p:spPr>
          <a:xfrm>
            <a:off x="14075" y="12699"/>
            <a:ext cx="9129925" cy="5148263"/>
          </a:xfrm>
          <a:prstGeom prst="rect">
            <a:avLst/>
          </a:prstGeom>
        </p:spPr>
      </p:pic>
      <p:sp>
        <p:nvSpPr>
          <p:cNvPr id="36" name="Rectangle 35">
            <a:extLst>
              <a:ext uri="{FF2B5EF4-FFF2-40B4-BE49-F238E27FC236}">
                <a16:creationId xmlns:a16="http://schemas.microsoft.com/office/drawing/2014/main" id="{A1B4A22D-3BE1-6C4A-812D-C1E98E8E0076}"/>
              </a:ext>
            </a:extLst>
          </p:cNvPr>
          <p:cNvSpPr/>
          <p:nvPr/>
        </p:nvSpPr>
        <p:spPr>
          <a:xfrm>
            <a:off x="0" y="2586831"/>
            <a:ext cx="9129925" cy="461665"/>
          </a:xfrm>
          <a:prstGeom prst="rect">
            <a:avLst/>
          </a:prstGeom>
        </p:spPr>
        <p:txBody>
          <a:bodyPr wrap="square">
            <a:spAutoFit/>
          </a:bodyPr>
          <a:lstStyle/>
          <a:p>
            <a:pPr algn="ctr"/>
            <a:r>
              <a:rPr lang="en-US" spc="600" dirty="0">
                <a:solidFill>
                  <a:srgbClr val="FFC82C"/>
                </a:solidFill>
                <a:latin typeface="Corporate A Medium" panose="02000503080000020004" pitchFamily="2" charset="0"/>
              </a:rPr>
              <a:t>BREAST CANCER</a:t>
            </a:r>
          </a:p>
        </p:txBody>
      </p:sp>
      <p:sp>
        <p:nvSpPr>
          <p:cNvPr id="37" name="Rectangle 36">
            <a:extLst>
              <a:ext uri="{FF2B5EF4-FFF2-40B4-BE49-F238E27FC236}">
                <a16:creationId xmlns:a16="http://schemas.microsoft.com/office/drawing/2014/main" id="{136DD176-7412-694A-BED9-E7F8655CA44E}"/>
              </a:ext>
            </a:extLst>
          </p:cNvPr>
          <p:cNvSpPr/>
          <p:nvPr/>
        </p:nvSpPr>
        <p:spPr>
          <a:xfrm>
            <a:off x="14075" y="3073896"/>
            <a:ext cx="9129925" cy="338554"/>
          </a:xfrm>
          <a:prstGeom prst="rect">
            <a:avLst/>
          </a:prstGeom>
        </p:spPr>
        <p:txBody>
          <a:bodyPr wrap="square">
            <a:spAutoFit/>
          </a:bodyPr>
          <a:lstStyle/>
          <a:p>
            <a:pPr algn="ctr"/>
            <a:r>
              <a:rPr lang="en-US" sz="1600" dirty="0">
                <a:solidFill>
                  <a:schemeClr val="bg1"/>
                </a:solidFill>
                <a:latin typeface="Corporate S Demi" panose="02020500000000000000" pitchFamily="18" charset="0"/>
              </a:rPr>
              <a:t>Wednesday, September 6, 2023</a:t>
            </a:r>
          </a:p>
        </p:txBody>
      </p:sp>
      <p:pic>
        <p:nvPicPr>
          <p:cNvPr id="12" name="Picture 11" descr="A close-up of a sign&#10;&#10;Description automatically generated">
            <a:extLst>
              <a:ext uri="{FF2B5EF4-FFF2-40B4-BE49-F238E27FC236}">
                <a16:creationId xmlns:a16="http://schemas.microsoft.com/office/drawing/2014/main" id="{77D2A35E-AD54-5045-1134-B3EC9C729BA1}"/>
              </a:ext>
            </a:extLst>
          </p:cNvPr>
          <p:cNvPicPr>
            <a:picLocks noChangeAspect="1"/>
          </p:cNvPicPr>
          <p:nvPr/>
        </p:nvPicPr>
        <p:blipFill>
          <a:blip r:embed="rId12"/>
          <a:stretch>
            <a:fillRect/>
          </a:stretch>
        </p:blipFill>
        <p:spPr>
          <a:xfrm>
            <a:off x="7044266" y="4416631"/>
            <a:ext cx="1790699" cy="444928"/>
          </a:xfrm>
          <a:prstGeom prst="rect">
            <a:avLst/>
          </a:prstGeom>
        </p:spPr>
      </p:pic>
    </p:spTree>
    <p:extLst>
      <p:ext uri="{BB962C8B-B14F-4D97-AF65-F5344CB8AC3E}">
        <p14:creationId xmlns:p14="http://schemas.microsoft.com/office/powerpoint/2010/main" val="3162541094"/>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a:xfrm>
            <a:off x="1371600" y="1798064"/>
            <a:ext cx="6400800" cy="2204975"/>
          </a:xfrm>
        </p:spPr>
        <p:txBody>
          <a:bodyPr/>
          <a:lstStyle/>
          <a:p>
            <a:r>
              <a:rPr lang="en-US" b="1" dirty="0">
                <a:solidFill>
                  <a:srgbClr val="002E51"/>
                </a:solidFill>
              </a:rPr>
              <a:t>Lubna Naaz Chaudhary, MD, MS</a:t>
            </a:r>
          </a:p>
          <a:p>
            <a:r>
              <a:rPr lang="en-US" dirty="0">
                <a:solidFill>
                  <a:srgbClr val="002E51"/>
                </a:solidFill>
              </a:rPr>
              <a:t>Associate Professor of Medicine</a:t>
            </a:r>
          </a:p>
          <a:p>
            <a:r>
              <a:rPr lang="en-US" dirty="0">
                <a:solidFill>
                  <a:srgbClr val="002E51"/>
                </a:solidFill>
              </a:rPr>
              <a:t>Medical College of Wisconsin</a:t>
            </a:r>
          </a:p>
          <a:p>
            <a:r>
              <a:rPr lang="en-US" dirty="0">
                <a:solidFill>
                  <a:srgbClr val="002E51"/>
                </a:solidFill>
              </a:rPr>
              <a:t>Milwaukee, WI</a:t>
            </a:r>
          </a:p>
        </p:txBody>
      </p:sp>
      <p:sp>
        <p:nvSpPr>
          <p:cNvPr id="4" name="Title 3"/>
          <p:cNvSpPr>
            <a:spLocks noGrp="1"/>
          </p:cNvSpPr>
          <p:nvPr>
            <p:ph type="title"/>
          </p:nvPr>
        </p:nvSpPr>
        <p:spPr>
          <a:xfrm>
            <a:off x="-61877" y="362000"/>
            <a:ext cx="9144000" cy="786936"/>
          </a:xfrm>
        </p:spPr>
        <p:txBody>
          <a:bodyPr/>
          <a:lstStyle/>
          <a:p>
            <a:r>
              <a:rPr lang="en-US" b="1" dirty="0">
                <a:solidFill>
                  <a:srgbClr val="002E51"/>
                </a:solidFill>
              </a:rPr>
              <a:t>Updates in HER2+ and HER2-low </a:t>
            </a:r>
            <a:br>
              <a:rPr lang="en-US" b="1" dirty="0">
                <a:solidFill>
                  <a:srgbClr val="002E51"/>
                </a:solidFill>
              </a:rPr>
            </a:br>
            <a:r>
              <a:rPr lang="en-US" b="1" dirty="0">
                <a:solidFill>
                  <a:srgbClr val="002E51"/>
                </a:solidFill>
              </a:rPr>
              <a:t>Breast Cancer</a:t>
            </a:r>
          </a:p>
        </p:txBody>
      </p:sp>
    </p:spTree>
    <p:extLst>
      <p:ext uri="{BB962C8B-B14F-4D97-AF65-F5344CB8AC3E}">
        <p14:creationId xmlns:p14="http://schemas.microsoft.com/office/powerpoint/2010/main" val="1072925768"/>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a:xfrm>
            <a:off x="165005" y="1168401"/>
            <a:ext cx="8532108" cy="2915920"/>
          </a:xfrm>
        </p:spPr>
        <p:txBody>
          <a:bodyPr/>
          <a:lstStyle/>
          <a:p>
            <a:pPr marL="342900" indent="-342900" algn="l">
              <a:buFont typeface="Arial" panose="020B0604020202020204" pitchFamily="34" charset="0"/>
              <a:buChar char="•"/>
            </a:pPr>
            <a:r>
              <a:rPr lang="en-US" sz="2000" dirty="0">
                <a:solidFill>
                  <a:srgbClr val="002E51"/>
                </a:solidFill>
              </a:rPr>
              <a:t>Advisory Boards: Puma, Gilead Oncology, </a:t>
            </a:r>
            <a:r>
              <a:rPr lang="en-US" sz="2000" dirty="0" err="1">
                <a:solidFill>
                  <a:srgbClr val="002E51"/>
                </a:solidFill>
              </a:rPr>
              <a:t>Astrazeneca</a:t>
            </a:r>
            <a:r>
              <a:rPr lang="en-US" sz="2000" dirty="0">
                <a:solidFill>
                  <a:srgbClr val="002E51"/>
                </a:solidFill>
              </a:rPr>
              <a:t>, Novartis</a:t>
            </a:r>
          </a:p>
          <a:p>
            <a:pPr marL="342900" indent="-342900" algn="l">
              <a:buFont typeface="Arial" panose="020B0604020202020204" pitchFamily="34" charset="0"/>
              <a:buChar char="•"/>
            </a:pPr>
            <a:r>
              <a:rPr lang="en-US" sz="2000" dirty="0">
                <a:solidFill>
                  <a:srgbClr val="002E51"/>
                </a:solidFill>
              </a:rPr>
              <a:t>Funding: Regeneron Pharmaceuticals drug funding</a:t>
            </a:r>
          </a:p>
          <a:p>
            <a:pPr algn="l"/>
            <a:endParaRPr lang="en-US" dirty="0">
              <a:solidFill>
                <a:srgbClr val="002E51"/>
              </a:solidFill>
            </a:endParaRPr>
          </a:p>
        </p:txBody>
      </p:sp>
      <p:sp>
        <p:nvSpPr>
          <p:cNvPr id="4" name="Title 3"/>
          <p:cNvSpPr>
            <a:spLocks noGrp="1"/>
          </p:cNvSpPr>
          <p:nvPr>
            <p:ph type="title"/>
          </p:nvPr>
        </p:nvSpPr>
        <p:spPr>
          <a:xfrm>
            <a:off x="0" y="127465"/>
            <a:ext cx="9144000" cy="807256"/>
          </a:xfrm>
        </p:spPr>
        <p:txBody>
          <a:bodyPr/>
          <a:lstStyle/>
          <a:p>
            <a:r>
              <a:rPr lang="en-US" b="1" dirty="0"/>
              <a:t>Disclosures</a:t>
            </a:r>
          </a:p>
        </p:txBody>
      </p:sp>
    </p:spTree>
    <p:extLst>
      <p:ext uri="{BB962C8B-B14F-4D97-AF65-F5344CB8AC3E}">
        <p14:creationId xmlns:p14="http://schemas.microsoft.com/office/powerpoint/2010/main" val="2495725164"/>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a:xfrm>
            <a:off x="165005" y="1168401"/>
            <a:ext cx="8532108" cy="2915920"/>
          </a:xfrm>
        </p:spPr>
        <p:txBody>
          <a:bodyPr/>
          <a:lstStyle/>
          <a:p>
            <a:pPr marL="342900" indent="-342900" algn="l">
              <a:buFont typeface="Arial" panose="020B0604020202020204" pitchFamily="34" charset="0"/>
              <a:buChar char="•"/>
            </a:pPr>
            <a:r>
              <a:rPr lang="en-US" dirty="0">
                <a:solidFill>
                  <a:srgbClr val="002E51"/>
                </a:solidFill>
              </a:rPr>
              <a:t>DESTINY-Breast03</a:t>
            </a:r>
          </a:p>
          <a:p>
            <a:pPr marL="342900" indent="-342900" algn="l">
              <a:buFont typeface="Arial" panose="020B0604020202020204" pitchFamily="34" charset="0"/>
              <a:buChar char="•"/>
            </a:pPr>
            <a:r>
              <a:rPr lang="en-US" dirty="0">
                <a:solidFill>
                  <a:srgbClr val="002E51"/>
                </a:solidFill>
              </a:rPr>
              <a:t>DESTINY-Breast02 </a:t>
            </a:r>
          </a:p>
          <a:p>
            <a:pPr marL="342900" indent="-342900" algn="l">
              <a:buFont typeface="Arial" panose="020B0604020202020204" pitchFamily="34" charset="0"/>
              <a:buChar char="•"/>
            </a:pPr>
            <a:r>
              <a:rPr lang="en-US" dirty="0">
                <a:solidFill>
                  <a:srgbClr val="002E51"/>
                </a:solidFill>
              </a:rPr>
              <a:t>DESTINY-Breast04 </a:t>
            </a:r>
          </a:p>
          <a:p>
            <a:pPr marL="342900" indent="-342900" algn="l">
              <a:buFont typeface="Arial" panose="020B0604020202020204" pitchFamily="34" charset="0"/>
              <a:buChar char="•"/>
            </a:pPr>
            <a:r>
              <a:rPr lang="en-US" dirty="0">
                <a:solidFill>
                  <a:srgbClr val="002E51"/>
                </a:solidFill>
              </a:rPr>
              <a:t>Real world perception of </a:t>
            </a:r>
            <a:r>
              <a:rPr lang="en-US" dirty="0" err="1">
                <a:solidFill>
                  <a:srgbClr val="002E51"/>
                </a:solidFill>
              </a:rPr>
              <a:t>TDXd</a:t>
            </a:r>
            <a:r>
              <a:rPr lang="en-US" dirty="0">
                <a:solidFill>
                  <a:srgbClr val="002E51"/>
                </a:solidFill>
              </a:rPr>
              <a:t> and ILD concerns</a:t>
            </a:r>
          </a:p>
          <a:p>
            <a:pPr algn="l"/>
            <a:endParaRPr lang="en-US" dirty="0">
              <a:solidFill>
                <a:srgbClr val="002E51"/>
              </a:solidFill>
            </a:endParaRPr>
          </a:p>
        </p:txBody>
      </p:sp>
      <p:sp>
        <p:nvSpPr>
          <p:cNvPr id="4" name="Title 3"/>
          <p:cNvSpPr>
            <a:spLocks noGrp="1"/>
          </p:cNvSpPr>
          <p:nvPr>
            <p:ph type="title"/>
          </p:nvPr>
        </p:nvSpPr>
        <p:spPr>
          <a:xfrm>
            <a:off x="0" y="127465"/>
            <a:ext cx="9144000" cy="807256"/>
          </a:xfrm>
        </p:spPr>
        <p:txBody>
          <a:bodyPr/>
          <a:lstStyle/>
          <a:p>
            <a:r>
              <a:rPr lang="en-US" b="1" dirty="0"/>
              <a:t>Objectives</a:t>
            </a:r>
          </a:p>
        </p:txBody>
      </p:sp>
    </p:spTree>
    <p:extLst>
      <p:ext uri="{BB962C8B-B14F-4D97-AF65-F5344CB8AC3E}">
        <p14:creationId xmlns:p14="http://schemas.microsoft.com/office/powerpoint/2010/main" val="1031550091"/>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E2DF409-6DCE-013C-DD37-C94333DAA3D5}"/>
              </a:ext>
            </a:extLst>
          </p:cNvPr>
          <p:cNvPicPr>
            <a:picLocks noChangeAspect="1"/>
          </p:cNvPicPr>
          <p:nvPr/>
        </p:nvPicPr>
        <p:blipFill>
          <a:blip r:embed="rId2"/>
          <a:stretch>
            <a:fillRect/>
          </a:stretch>
        </p:blipFill>
        <p:spPr>
          <a:xfrm>
            <a:off x="-55001" y="299285"/>
            <a:ext cx="9144000" cy="4054679"/>
          </a:xfrm>
          <a:prstGeom prst="rect">
            <a:avLst/>
          </a:prstGeom>
        </p:spPr>
      </p:pic>
      <p:sp>
        <p:nvSpPr>
          <p:cNvPr id="5" name="TextBox 4">
            <a:extLst>
              <a:ext uri="{FF2B5EF4-FFF2-40B4-BE49-F238E27FC236}">
                <a16:creationId xmlns:a16="http://schemas.microsoft.com/office/drawing/2014/main" id="{0BCE3BD5-5730-7387-FE3B-F44DD3769A2A}"/>
              </a:ext>
            </a:extLst>
          </p:cNvPr>
          <p:cNvSpPr txBox="1"/>
          <p:nvPr/>
        </p:nvSpPr>
        <p:spPr>
          <a:xfrm>
            <a:off x="3291155" y="4404980"/>
            <a:ext cx="5663125" cy="738664"/>
          </a:xfrm>
          <a:prstGeom prst="rect">
            <a:avLst/>
          </a:prstGeom>
          <a:noFill/>
        </p:spPr>
        <p:txBody>
          <a:bodyPr wrap="square" rtlCol="0" anchor="b">
            <a:spAutoFit/>
          </a:bodyPr>
          <a:lstStyle/>
          <a:p>
            <a:pPr defTabSz="457178">
              <a:defRPr/>
            </a:pPr>
            <a:r>
              <a:rPr lang="en-US" sz="600" dirty="0">
                <a:latin typeface="Arial" panose="020B0604020202020204" pitchFamily="34" charset="0"/>
                <a:cs typeface="Arial" panose="020B0604020202020204" pitchFamily="34" charset="0"/>
              </a:rPr>
              <a:t>ADC, antibody-drug conjugate; HER2, human epidermal growth factor receptor 2; IgG1, immunoglobulin G1; mAb, monoclonal antibody; T-DXd, trastuzumab deruxtecan.</a:t>
            </a:r>
          </a:p>
          <a:p>
            <a:pPr defTabSz="457178">
              <a:defRPr/>
            </a:pPr>
            <a:r>
              <a:rPr lang="en-US" sz="600" baseline="30000" dirty="0">
                <a:latin typeface="Arial" panose="020B0604020202020204" pitchFamily="34" charset="0"/>
                <a:cs typeface="Arial" panose="020B0604020202020204" pitchFamily="34" charset="0"/>
              </a:rPr>
              <a:t>a</a:t>
            </a:r>
            <a:r>
              <a:rPr lang="en-US" sz="600" dirty="0">
                <a:latin typeface="Arial" panose="020B0604020202020204" pitchFamily="34" charset="0"/>
                <a:cs typeface="Arial" panose="020B0604020202020204" pitchFamily="34" charset="0"/>
              </a:rPr>
              <a:t>The clinical relevance of these features is under investigation.</a:t>
            </a:r>
          </a:p>
          <a:p>
            <a:pPr defTabSz="457178">
              <a:defRPr/>
            </a:pPr>
            <a:r>
              <a:rPr lang="en-US" sz="600" dirty="0">
                <a:latin typeface="Arial" panose="020B0604020202020204" pitchFamily="34" charset="0"/>
                <a:cs typeface="Arial" panose="020B0604020202020204" pitchFamily="34" charset="0"/>
              </a:rPr>
              <a:t>1. Nakada T et al. </a:t>
            </a:r>
            <a:r>
              <a:rPr lang="en-US" sz="600" i="1" dirty="0">
                <a:latin typeface="Arial" panose="020B0604020202020204" pitchFamily="34" charset="0"/>
                <a:cs typeface="Arial" panose="020B0604020202020204" pitchFamily="34" charset="0"/>
              </a:rPr>
              <a:t>Chem Pharm Bull (Tokyo). </a:t>
            </a:r>
            <a:r>
              <a:rPr lang="en-US" sz="600" dirty="0">
                <a:latin typeface="Arial" panose="020B0604020202020204" pitchFamily="34" charset="0"/>
                <a:cs typeface="Arial" panose="020B0604020202020204" pitchFamily="34" charset="0"/>
              </a:rPr>
              <a:t>2019;67:173-185. </a:t>
            </a:r>
          </a:p>
          <a:p>
            <a:pPr defTabSz="457178">
              <a:defRPr/>
            </a:pPr>
            <a:r>
              <a:rPr lang="en-US" sz="600" dirty="0">
                <a:latin typeface="Arial" panose="020B0604020202020204" pitchFamily="34" charset="0"/>
                <a:cs typeface="Arial" panose="020B0604020202020204" pitchFamily="34" charset="0"/>
              </a:rPr>
              <a:t>2. </a:t>
            </a:r>
            <a:r>
              <a:rPr lang="en-GB" sz="600" dirty="0">
                <a:latin typeface="Arial" panose="020B0604020202020204" pitchFamily="34" charset="0"/>
                <a:cs typeface="Arial" panose="020B0604020202020204" pitchFamily="34" charset="0"/>
              </a:rPr>
              <a:t>Ogitani Y et al. </a:t>
            </a:r>
            <a:r>
              <a:rPr lang="en-GB" sz="600" i="1" dirty="0">
                <a:latin typeface="Arial" panose="020B0604020202020204" pitchFamily="34" charset="0"/>
                <a:cs typeface="Arial" panose="020B0604020202020204" pitchFamily="34" charset="0"/>
              </a:rPr>
              <a:t>Clin Cancer Res</a:t>
            </a:r>
            <a:r>
              <a:rPr lang="en-GB" sz="600" dirty="0">
                <a:latin typeface="Arial" panose="020B0604020202020204" pitchFamily="34" charset="0"/>
                <a:cs typeface="Arial" panose="020B0604020202020204" pitchFamily="34" charset="0"/>
              </a:rPr>
              <a:t>. 2016;22:5097-5108. </a:t>
            </a:r>
          </a:p>
          <a:p>
            <a:pPr defTabSz="457178">
              <a:defRPr/>
            </a:pPr>
            <a:r>
              <a:rPr lang="en-US" sz="600" dirty="0">
                <a:latin typeface="Arial" panose="020B0604020202020204" pitchFamily="34" charset="0"/>
                <a:cs typeface="Arial" panose="020B0604020202020204" pitchFamily="34" charset="0"/>
              </a:rPr>
              <a:t>3. Trail PA et al. </a:t>
            </a:r>
            <a:r>
              <a:rPr lang="en-US" sz="600" i="1" dirty="0">
                <a:latin typeface="Arial" panose="020B0604020202020204" pitchFamily="34" charset="0"/>
                <a:cs typeface="Arial" panose="020B0604020202020204" pitchFamily="34" charset="0"/>
              </a:rPr>
              <a:t>Pharmacol Ther. </a:t>
            </a:r>
            <a:r>
              <a:rPr lang="en-US" sz="600" dirty="0">
                <a:latin typeface="Arial" panose="020B0604020202020204" pitchFamily="34" charset="0"/>
                <a:cs typeface="Arial" panose="020B0604020202020204" pitchFamily="34" charset="0"/>
              </a:rPr>
              <a:t>2018;181:126-142</a:t>
            </a:r>
            <a:r>
              <a:rPr lang="de-DE" sz="600" dirty="0">
                <a:latin typeface="Arial" panose="020B0604020202020204" pitchFamily="34" charset="0"/>
                <a:cs typeface="Arial" panose="020B0604020202020204" pitchFamily="34" charset="0"/>
              </a:rPr>
              <a:t>. </a:t>
            </a:r>
          </a:p>
          <a:p>
            <a:pPr defTabSz="457178">
              <a:defRPr/>
            </a:pPr>
            <a:r>
              <a:rPr lang="de-DE" sz="600" dirty="0">
                <a:latin typeface="Arial" panose="020B0604020202020204" pitchFamily="34" charset="0"/>
                <a:cs typeface="Arial" panose="020B0604020202020204" pitchFamily="34" charset="0"/>
              </a:rPr>
              <a:t>4. </a:t>
            </a:r>
            <a:r>
              <a:rPr lang="en-US" sz="600" dirty="0">
                <a:latin typeface="Arial" panose="020B0604020202020204" pitchFamily="34" charset="0"/>
                <a:cs typeface="Arial" panose="020B0604020202020204" pitchFamily="34" charset="0"/>
              </a:rPr>
              <a:t>Ogitani Y et al. </a:t>
            </a:r>
            <a:r>
              <a:rPr lang="en-US" sz="600" i="1" dirty="0">
                <a:latin typeface="Arial" panose="020B0604020202020204" pitchFamily="34" charset="0"/>
                <a:cs typeface="Arial" panose="020B0604020202020204" pitchFamily="34" charset="0"/>
              </a:rPr>
              <a:t>Cancer Sci</a:t>
            </a:r>
            <a:r>
              <a:rPr lang="en-US" sz="600" dirty="0">
                <a:latin typeface="Arial" panose="020B0604020202020204" pitchFamily="34" charset="0"/>
                <a:cs typeface="Arial" panose="020B0604020202020204" pitchFamily="34" charset="0"/>
              </a:rPr>
              <a:t>. 2016;107:1039-1046.</a:t>
            </a:r>
          </a:p>
        </p:txBody>
      </p:sp>
    </p:spTree>
    <p:extLst>
      <p:ext uri="{BB962C8B-B14F-4D97-AF65-F5344CB8AC3E}">
        <p14:creationId xmlns:p14="http://schemas.microsoft.com/office/powerpoint/2010/main" val="3856118641"/>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F1CF967-A97E-78E9-2E20-98B2F72602FD}"/>
              </a:ext>
            </a:extLst>
          </p:cNvPr>
          <p:cNvSpPr txBox="1">
            <a:spLocks/>
          </p:cNvSpPr>
          <p:nvPr/>
        </p:nvSpPr>
        <p:spPr>
          <a:xfrm>
            <a:off x="105618" y="140062"/>
            <a:ext cx="8615036" cy="334653"/>
          </a:xfrm>
          <a:prstGeom prst="rect">
            <a:avLst/>
          </a:prstGeom>
        </p:spPr>
        <p:txBody>
          <a:bodyPr/>
          <a:lstStyle>
            <a:lvl1pPr algn="ctr" rtl="0" eaLnBrk="1" fontAlgn="base" hangingPunct="1">
              <a:spcBef>
                <a:spcPct val="0"/>
              </a:spcBef>
              <a:spcAft>
                <a:spcPct val="0"/>
              </a:spcAft>
              <a:defRPr sz="3600" i="0">
                <a:solidFill>
                  <a:schemeClr val="bg1"/>
                </a:solidFill>
                <a:latin typeface="+mn-lt"/>
                <a:ea typeface="+mj-ea"/>
                <a:cs typeface="+mj-cs"/>
              </a:defRPr>
            </a:lvl1pPr>
            <a:lvl2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2pPr>
            <a:lvl3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3pPr>
            <a:lvl4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4pPr>
            <a:lvl5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5pPr>
            <a:lvl6pPr marL="4572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6pPr>
            <a:lvl7pPr marL="9144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7pPr>
            <a:lvl8pPr marL="13716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8pPr>
            <a:lvl9pPr marL="18288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9pPr>
          </a:lstStyle>
          <a:p>
            <a:r>
              <a:rPr lang="en-US" sz="1950" b="1" kern="0" dirty="0">
                <a:solidFill>
                  <a:schemeClr val="tx1"/>
                </a:solidFill>
                <a:latin typeface="Arial" panose="020B0604020202020204" pitchFamily="34" charset="0"/>
                <a:cs typeface="Arial" panose="020B0604020202020204" pitchFamily="34" charset="0"/>
              </a:rPr>
              <a:t>DESTINY Breast-03: Trastuzumab </a:t>
            </a:r>
            <a:r>
              <a:rPr lang="en-US" sz="1950" b="1" kern="0" dirty="0" err="1">
                <a:solidFill>
                  <a:schemeClr val="tx1"/>
                </a:solidFill>
                <a:latin typeface="Arial" panose="020B0604020202020204" pitchFamily="34" charset="0"/>
                <a:cs typeface="Arial" panose="020B0604020202020204" pitchFamily="34" charset="0"/>
              </a:rPr>
              <a:t>Deruxtecan</a:t>
            </a:r>
            <a:r>
              <a:rPr lang="en-US" sz="1950" b="1" kern="0" dirty="0">
                <a:solidFill>
                  <a:schemeClr val="tx1"/>
                </a:solidFill>
                <a:latin typeface="Arial" panose="020B0604020202020204" pitchFamily="34" charset="0"/>
                <a:cs typeface="Arial" panose="020B0604020202020204" pitchFamily="34" charset="0"/>
              </a:rPr>
              <a:t> versus Trastuzumab Emtansine for Breast Cancer </a:t>
            </a:r>
          </a:p>
        </p:txBody>
      </p:sp>
      <p:sp>
        <p:nvSpPr>
          <p:cNvPr id="4" name="TextBox 3">
            <a:extLst>
              <a:ext uri="{FF2B5EF4-FFF2-40B4-BE49-F238E27FC236}">
                <a16:creationId xmlns:a16="http://schemas.microsoft.com/office/drawing/2014/main" id="{29BE53CF-2BE8-64BD-E5C5-40AA85D33B51}"/>
              </a:ext>
            </a:extLst>
          </p:cNvPr>
          <p:cNvSpPr txBox="1"/>
          <p:nvPr/>
        </p:nvSpPr>
        <p:spPr>
          <a:xfrm>
            <a:off x="-82503" y="4214490"/>
            <a:ext cx="1835675" cy="184666"/>
          </a:xfrm>
          <a:prstGeom prst="rect">
            <a:avLst/>
          </a:prstGeom>
          <a:noFill/>
        </p:spPr>
        <p:txBody>
          <a:bodyPr wrap="square" rtlCol="0">
            <a:spAutoFit/>
          </a:bodyPr>
          <a:lstStyle/>
          <a:p>
            <a:r>
              <a:rPr lang="pt-BR" sz="600" dirty="0"/>
              <a:t>N Engl J Med. 2022 Mar 24;386(12):1143-1154</a:t>
            </a:r>
            <a:endParaRPr lang="en-US" sz="600" dirty="0"/>
          </a:p>
        </p:txBody>
      </p:sp>
      <p:pic>
        <p:nvPicPr>
          <p:cNvPr id="8" name="Picture 7">
            <a:extLst>
              <a:ext uri="{FF2B5EF4-FFF2-40B4-BE49-F238E27FC236}">
                <a16:creationId xmlns:a16="http://schemas.microsoft.com/office/drawing/2014/main" id="{172D0CC3-50EA-FCCA-EF7E-FABFE18DE68F}"/>
              </a:ext>
            </a:extLst>
          </p:cNvPr>
          <p:cNvPicPr>
            <a:picLocks noChangeAspect="1"/>
          </p:cNvPicPr>
          <p:nvPr/>
        </p:nvPicPr>
        <p:blipFill>
          <a:blip r:embed="rId2"/>
          <a:stretch>
            <a:fillRect/>
          </a:stretch>
        </p:blipFill>
        <p:spPr>
          <a:xfrm>
            <a:off x="67953" y="984116"/>
            <a:ext cx="8690366" cy="2965496"/>
          </a:xfrm>
          <a:prstGeom prst="rect">
            <a:avLst/>
          </a:prstGeom>
        </p:spPr>
      </p:pic>
    </p:spTree>
    <p:extLst>
      <p:ext uri="{BB962C8B-B14F-4D97-AF65-F5344CB8AC3E}">
        <p14:creationId xmlns:p14="http://schemas.microsoft.com/office/powerpoint/2010/main" val="878878683"/>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4D58C1-2463-42D7-99E4-0465364458E2}"/>
              </a:ext>
            </a:extLst>
          </p:cNvPr>
          <p:cNvSpPr>
            <a:spLocks noGrp="1"/>
          </p:cNvSpPr>
          <p:nvPr>
            <p:ph type="ctrTitle"/>
          </p:nvPr>
        </p:nvSpPr>
        <p:spPr>
          <a:xfrm>
            <a:off x="359999" y="483009"/>
            <a:ext cx="8409765" cy="432000"/>
          </a:xfrm>
        </p:spPr>
        <p:txBody>
          <a:bodyPr/>
          <a:lstStyle/>
          <a:p>
            <a:r>
              <a:rPr lang="en-US" sz="2100" dirty="0">
                <a:solidFill>
                  <a:schemeClr val="tx1"/>
                </a:solidFill>
              </a:rPr>
              <a:t>Updated Primary Endpoint: PFS by BICR</a:t>
            </a:r>
          </a:p>
        </p:txBody>
      </p:sp>
      <p:sp>
        <p:nvSpPr>
          <p:cNvPr id="6" name="TextBox 5">
            <a:extLst>
              <a:ext uri="{FF2B5EF4-FFF2-40B4-BE49-F238E27FC236}">
                <a16:creationId xmlns:a16="http://schemas.microsoft.com/office/drawing/2014/main" id="{DB625FC5-982E-4A0B-9354-782D1B9E3A3C}"/>
              </a:ext>
            </a:extLst>
          </p:cNvPr>
          <p:cNvSpPr txBox="1"/>
          <p:nvPr/>
        </p:nvSpPr>
        <p:spPr>
          <a:xfrm>
            <a:off x="178002" y="4713560"/>
            <a:ext cx="8823832" cy="276999"/>
          </a:xfrm>
          <a:prstGeom prst="rect">
            <a:avLst/>
          </a:prstGeom>
          <a:noFill/>
        </p:spPr>
        <p:txBody>
          <a:bodyPr wrap="square" rtlCol="0" anchor="b">
            <a:spAutoFit/>
          </a:bodyPr>
          <a:lstStyle/>
          <a:p>
            <a:r>
              <a:rPr lang="en-US" sz="600" dirty="0">
                <a:solidFill>
                  <a:prstClr val="black"/>
                </a:solidFill>
                <a:latin typeface="Arial" panose="020B0604020202020204" pitchFamily="34" charset="0"/>
                <a:cs typeface="Arial" panose="020B0604020202020204" pitchFamily="34" charset="0"/>
              </a:rPr>
              <a:t>BICR, blinded independent central review; HR, hazard ratio; mo, month; mPFS, median progression-free survival; PFS, progression-free survival; T-DM1, t</a:t>
            </a:r>
            <a:r>
              <a:rPr lang="en-US" sz="600" dirty="0">
                <a:latin typeface="Arial" panose="020B0604020202020204" pitchFamily="34" charset="0"/>
                <a:cs typeface="Arial" panose="020B0604020202020204" pitchFamily="34" charset="0"/>
                <a:sym typeface="Arial Narrow"/>
              </a:rPr>
              <a:t>rastuzumab emtansine; </a:t>
            </a:r>
            <a:r>
              <a:rPr lang="en-US" sz="600" dirty="0">
                <a:solidFill>
                  <a:prstClr val="black"/>
                </a:solidFill>
                <a:latin typeface="Arial" panose="020B0604020202020204" pitchFamily="34" charset="0"/>
                <a:cs typeface="Arial" panose="020B0604020202020204" pitchFamily="34" charset="0"/>
              </a:rPr>
              <a:t>T-DXd, </a:t>
            </a:r>
            <a:r>
              <a:rPr lang="en-US" sz="600" dirty="0">
                <a:solidFill>
                  <a:prstClr val="black"/>
                </a:solidFill>
                <a:latin typeface="Arial" panose="020B0604020202020204" pitchFamily="34" charset="0"/>
                <a:cs typeface="Arial" panose="020B0604020202020204" pitchFamily="34" charset="0"/>
                <a:sym typeface="Arial Narrow"/>
              </a:rPr>
              <a:t>t</a:t>
            </a:r>
            <a:r>
              <a:rPr lang="en-US" sz="600" dirty="0">
                <a:latin typeface="Arial" panose="020B0604020202020204" pitchFamily="34" charset="0"/>
                <a:cs typeface="Arial" panose="020B0604020202020204" pitchFamily="34" charset="0"/>
                <a:sym typeface="Arial Narrow"/>
              </a:rPr>
              <a:t>rastuzumab deruxtecan</a:t>
            </a:r>
            <a:r>
              <a:rPr lang="en-US" sz="600" dirty="0">
                <a:solidFill>
                  <a:prstClr val="black"/>
                </a:solidFill>
                <a:latin typeface="Arial" panose="020B0604020202020204" pitchFamily="34" charset="0"/>
                <a:cs typeface="Arial" panose="020B0604020202020204" pitchFamily="34" charset="0"/>
              </a:rPr>
              <a:t>.</a:t>
            </a:r>
          </a:p>
          <a:p>
            <a:r>
              <a:rPr lang="en-US" sz="600" baseline="30000" dirty="0" err="1">
                <a:latin typeface="Arial" panose="020B0604020202020204" pitchFamily="34" charset="0"/>
                <a:ea typeface="Yu Mincho" panose="02020400000000000000" pitchFamily="18" charset="-128"/>
                <a:cs typeface="Arial" panose="020B0604020202020204" pitchFamily="34" charset="0"/>
              </a:rPr>
              <a:t>a</a:t>
            </a:r>
            <a:r>
              <a:rPr lang="en-US" sz="600" dirty="0" err="1">
                <a:latin typeface="Arial" panose="020B0604020202020204" pitchFamily="34" charset="0"/>
                <a:ea typeface="Yu Mincho" panose="02020400000000000000" pitchFamily="18" charset="-128"/>
                <a:cs typeface="Arial" panose="020B0604020202020204" pitchFamily="34" charset="0"/>
              </a:rPr>
              <a:t>Two</a:t>
            </a:r>
            <a:r>
              <a:rPr lang="en-US" sz="600" dirty="0">
                <a:latin typeface="Arial" panose="020B0604020202020204" pitchFamily="34" charset="0"/>
                <a:ea typeface="Yu Mincho" panose="02020400000000000000" pitchFamily="18" charset="-128"/>
                <a:cs typeface="Arial" panose="020B0604020202020204" pitchFamily="34" charset="0"/>
              </a:rPr>
              <a:t>-sided, from stratified log rank test. </a:t>
            </a:r>
            <a:r>
              <a:rPr lang="en-US" sz="600" baseline="30000" dirty="0">
                <a:latin typeface="Arial" panose="020B0604020202020204" pitchFamily="34" charset="0"/>
                <a:ea typeface="Yu Mincho" panose="02020400000000000000" pitchFamily="18" charset="-128"/>
                <a:cs typeface="Arial" panose="020B0604020202020204" pitchFamily="34" charset="0"/>
              </a:rPr>
              <a:t>b</a:t>
            </a:r>
            <a:r>
              <a:rPr lang="en-US" sz="600" dirty="0">
                <a:latin typeface="Arial" panose="020B0604020202020204" pitchFamily="34" charset="0"/>
                <a:ea typeface="Yu Mincho" panose="02020400000000000000" pitchFamily="18" charset="-128"/>
                <a:cs typeface="Arial" panose="020B0604020202020204" pitchFamily="34" charset="0"/>
              </a:rPr>
              <a:t>Nominal </a:t>
            </a:r>
            <a:r>
              <a:rPr lang="en-US" sz="600" i="1" dirty="0">
                <a:latin typeface="Arial" panose="020B0604020202020204" pitchFamily="34" charset="0"/>
                <a:ea typeface="Yu Mincho" panose="02020400000000000000" pitchFamily="18" charset="-128"/>
                <a:cs typeface="Arial" panose="020B0604020202020204" pitchFamily="34" charset="0"/>
              </a:rPr>
              <a:t>P</a:t>
            </a:r>
            <a:r>
              <a:rPr lang="en-US" sz="600" dirty="0">
                <a:latin typeface="Arial" panose="020B0604020202020204" pitchFamily="34" charset="0"/>
                <a:ea typeface="Yu Mincho" panose="02020400000000000000" pitchFamily="18" charset="-128"/>
                <a:cs typeface="Arial" panose="020B0604020202020204" pitchFamily="34" charset="0"/>
              </a:rPr>
              <a:t> value.</a:t>
            </a:r>
            <a:endParaRPr lang="en-US" sz="600" dirty="0">
              <a:solidFill>
                <a:srgbClr val="FF0000"/>
              </a:solidFill>
              <a:latin typeface="Arial" panose="020B0604020202020204" pitchFamily="34" charset="0"/>
              <a:cs typeface="Arial" panose="020B0604020202020204" pitchFamily="34" charset="0"/>
            </a:endParaRPr>
          </a:p>
        </p:txBody>
      </p:sp>
      <p:grpSp>
        <p:nvGrpSpPr>
          <p:cNvPr id="5" name="Group 4">
            <a:extLst>
              <a:ext uri="{FF2B5EF4-FFF2-40B4-BE49-F238E27FC236}">
                <a16:creationId xmlns:a16="http://schemas.microsoft.com/office/drawing/2014/main" id="{BD4A9F7B-5407-6F82-2D19-E8DF48221C63}"/>
              </a:ext>
            </a:extLst>
          </p:cNvPr>
          <p:cNvGrpSpPr/>
          <p:nvPr/>
        </p:nvGrpSpPr>
        <p:grpSpPr>
          <a:xfrm>
            <a:off x="-26947" y="945028"/>
            <a:ext cx="7483885" cy="3459529"/>
            <a:chOff x="397055" y="1145483"/>
            <a:chExt cx="10457241" cy="4820151"/>
          </a:xfrm>
        </p:grpSpPr>
        <p:sp>
          <p:nvSpPr>
            <p:cNvPr id="723" name="TextBox 722">
              <a:extLst>
                <a:ext uri="{FF2B5EF4-FFF2-40B4-BE49-F238E27FC236}">
                  <a16:creationId xmlns:a16="http://schemas.microsoft.com/office/drawing/2014/main" id="{34E0CB0B-8B50-792B-3F54-C62804B63F05}"/>
                </a:ext>
              </a:extLst>
            </p:cNvPr>
            <p:cNvSpPr txBox="1"/>
            <p:nvPr/>
          </p:nvSpPr>
          <p:spPr>
            <a:xfrm>
              <a:off x="5403733" y="5109490"/>
              <a:ext cx="1334127" cy="338555"/>
            </a:xfrm>
            <a:prstGeom prst="rect">
              <a:avLst/>
            </a:prstGeom>
            <a:noFill/>
          </p:spPr>
          <p:txBody>
            <a:bodyPr wrap="none" rtlCol="0">
              <a:spAutoFit/>
            </a:bodyPr>
            <a:lstStyle/>
            <a:p>
              <a:pPr algn="l"/>
              <a:r>
                <a:rPr lang="en-US" sz="1050" dirty="0">
                  <a:ln/>
                  <a:solidFill>
                    <a:srgbClr val="000000"/>
                  </a:solidFill>
                  <a:latin typeface="Arial" panose="020B0604020202020204" pitchFamily="34" charset="0"/>
                  <a:cs typeface="Arial" panose="020B0604020202020204" pitchFamily="34" charset="0"/>
                  <a:sym typeface="HelveticaNeueLTStd-Bd"/>
                  <a:rtl val="0"/>
                </a:rPr>
                <a:t>Time, months</a:t>
              </a:r>
            </a:p>
          </p:txBody>
        </p:sp>
        <p:sp>
          <p:nvSpPr>
            <p:cNvPr id="727" name="TextBox 726">
              <a:extLst>
                <a:ext uri="{FF2B5EF4-FFF2-40B4-BE49-F238E27FC236}">
                  <a16:creationId xmlns:a16="http://schemas.microsoft.com/office/drawing/2014/main" id="{04395CDF-E5DD-05F9-E771-950CFFC6F1D3}"/>
                </a:ext>
              </a:extLst>
            </p:cNvPr>
            <p:cNvSpPr txBox="1"/>
            <p:nvPr/>
          </p:nvSpPr>
          <p:spPr>
            <a:xfrm rot="1788">
              <a:off x="397055" y="5193040"/>
              <a:ext cx="1622667" cy="307776"/>
            </a:xfrm>
            <a:prstGeom prst="rect">
              <a:avLst/>
            </a:prstGeom>
            <a:noFill/>
          </p:spPr>
          <p:txBody>
            <a:bodyPr wrap="none" rtlCol="0">
              <a:spAutoFit/>
            </a:bodyPr>
            <a:lstStyle/>
            <a:p>
              <a:pPr algn="l"/>
              <a:r>
                <a:rPr lang="en-US" sz="900" dirty="0">
                  <a:ln/>
                  <a:solidFill>
                    <a:srgbClr val="000000"/>
                  </a:solidFill>
                  <a:latin typeface="Arial" panose="020B0604020202020204" pitchFamily="34" charset="0"/>
                  <a:cs typeface="Arial" panose="020B0604020202020204" pitchFamily="34" charset="0"/>
                  <a:sym typeface="HelveticaNeueLTStd-Bd"/>
                  <a:rtl val="0"/>
                </a:rPr>
                <a:t>Patients</a:t>
              </a:r>
              <a:r>
                <a:rPr lang="en-US" sz="900" dirty="0">
                  <a:ln/>
                  <a:solidFill>
                    <a:srgbClr val="000000"/>
                  </a:solidFill>
                  <a:latin typeface="HelveticaNeueLTStd-Bd"/>
                  <a:sym typeface="HelveticaNeueLTStd-Bd"/>
                  <a:rtl val="0"/>
                </a:rPr>
                <a:t> still at Risk:</a:t>
              </a:r>
            </a:p>
          </p:txBody>
        </p:sp>
        <p:sp>
          <p:nvSpPr>
            <p:cNvPr id="784" name="TextBox 783">
              <a:extLst>
                <a:ext uri="{FF2B5EF4-FFF2-40B4-BE49-F238E27FC236}">
                  <a16:creationId xmlns:a16="http://schemas.microsoft.com/office/drawing/2014/main" id="{5C2A3086-22EE-4C79-99C3-98F165BC77EC}"/>
                </a:ext>
              </a:extLst>
            </p:cNvPr>
            <p:cNvSpPr txBox="1"/>
            <p:nvPr/>
          </p:nvSpPr>
          <p:spPr>
            <a:xfrm>
              <a:off x="1436602" y="5457424"/>
              <a:ext cx="419347" cy="246221"/>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261</a:t>
              </a:r>
            </a:p>
          </p:txBody>
        </p:sp>
        <p:sp>
          <p:nvSpPr>
            <p:cNvPr id="785" name="TextBox 784">
              <a:extLst>
                <a:ext uri="{FF2B5EF4-FFF2-40B4-BE49-F238E27FC236}">
                  <a16:creationId xmlns:a16="http://schemas.microsoft.com/office/drawing/2014/main" id="{75EC7084-B78A-6810-97A2-C133268A671A}"/>
                </a:ext>
              </a:extLst>
            </p:cNvPr>
            <p:cNvSpPr txBox="1"/>
            <p:nvPr/>
          </p:nvSpPr>
          <p:spPr>
            <a:xfrm>
              <a:off x="1436602" y="5719412"/>
              <a:ext cx="419347" cy="246221"/>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263</a:t>
              </a:r>
            </a:p>
          </p:txBody>
        </p:sp>
        <p:sp>
          <p:nvSpPr>
            <p:cNvPr id="786" name="TextBox 785">
              <a:extLst>
                <a:ext uri="{FF2B5EF4-FFF2-40B4-BE49-F238E27FC236}">
                  <a16:creationId xmlns:a16="http://schemas.microsoft.com/office/drawing/2014/main" id="{EFDBAB2B-B0D0-3F45-32A8-18FC02EB70A8}"/>
                </a:ext>
              </a:extLst>
            </p:cNvPr>
            <p:cNvSpPr txBox="1"/>
            <p:nvPr/>
          </p:nvSpPr>
          <p:spPr>
            <a:xfrm>
              <a:off x="1629007" y="5457425"/>
              <a:ext cx="419347" cy="246221"/>
            </a:xfrm>
            <a:prstGeom prst="rect">
              <a:avLst/>
            </a:prstGeom>
            <a:noFill/>
          </p:spPr>
          <p:txBody>
            <a:bodyPr wrap="none" rtlCol="0">
              <a:spAutoFit/>
            </a:bodyPr>
            <a:lstStyle/>
            <a:p>
              <a:pPr algn="l"/>
              <a:r>
                <a:rPr lang="en-US" sz="600" dirty="0">
                  <a:ln/>
                  <a:solidFill>
                    <a:srgbClr val="000000"/>
                  </a:solidFill>
                  <a:latin typeface="Arial" panose="020B0604020202020204" pitchFamily="34" charset="0"/>
                  <a:cs typeface="Arial" panose="020B0604020202020204" pitchFamily="34" charset="0"/>
                  <a:sym typeface="HelveticaNeueLTStd-Roman"/>
                  <a:rtl val="0"/>
                </a:rPr>
                <a:t>256</a:t>
              </a:r>
            </a:p>
          </p:txBody>
        </p:sp>
        <p:sp>
          <p:nvSpPr>
            <p:cNvPr id="787" name="TextBox 786">
              <a:extLst>
                <a:ext uri="{FF2B5EF4-FFF2-40B4-BE49-F238E27FC236}">
                  <a16:creationId xmlns:a16="http://schemas.microsoft.com/office/drawing/2014/main" id="{47213B26-018A-FFC8-0B2C-B9F5423020AE}"/>
                </a:ext>
              </a:extLst>
            </p:cNvPr>
            <p:cNvSpPr txBox="1"/>
            <p:nvPr/>
          </p:nvSpPr>
          <p:spPr>
            <a:xfrm>
              <a:off x="1629007" y="5719413"/>
              <a:ext cx="419347" cy="246221"/>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253</a:t>
              </a:r>
            </a:p>
          </p:txBody>
        </p:sp>
        <p:sp>
          <p:nvSpPr>
            <p:cNvPr id="788" name="TextBox 787">
              <a:extLst>
                <a:ext uri="{FF2B5EF4-FFF2-40B4-BE49-F238E27FC236}">
                  <a16:creationId xmlns:a16="http://schemas.microsoft.com/office/drawing/2014/main" id="{5068745F-EEC0-DE73-EA28-57F707809478}"/>
                </a:ext>
              </a:extLst>
            </p:cNvPr>
            <p:cNvSpPr txBox="1"/>
            <p:nvPr/>
          </p:nvSpPr>
          <p:spPr>
            <a:xfrm>
              <a:off x="1834415" y="5457425"/>
              <a:ext cx="419347" cy="246221"/>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250</a:t>
              </a:r>
            </a:p>
          </p:txBody>
        </p:sp>
        <p:sp>
          <p:nvSpPr>
            <p:cNvPr id="789" name="TextBox 788">
              <a:extLst>
                <a:ext uri="{FF2B5EF4-FFF2-40B4-BE49-F238E27FC236}">
                  <a16:creationId xmlns:a16="http://schemas.microsoft.com/office/drawing/2014/main" id="{45F1F5FE-AAAF-0351-4808-E377BC1961C8}"/>
                </a:ext>
              </a:extLst>
            </p:cNvPr>
            <p:cNvSpPr txBox="1"/>
            <p:nvPr/>
          </p:nvSpPr>
          <p:spPr>
            <a:xfrm>
              <a:off x="1834415" y="5719413"/>
              <a:ext cx="419347" cy="246221"/>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201</a:t>
              </a:r>
            </a:p>
          </p:txBody>
        </p:sp>
        <p:sp>
          <p:nvSpPr>
            <p:cNvPr id="790" name="TextBox 789">
              <a:extLst>
                <a:ext uri="{FF2B5EF4-FFF2-40B4-BE49-F238E27FC236}">
                  <a16:creationId xmlns:a16="http://schemas.microsoft.com/office/drawing/2014/main" id="{D6DB5C0E-1420-EB8A-7986-3E326F180D11}"/>
                </a:ext>
              </a:extLst>
            </p:cNvPr>
            <p:cNvSpPr txBox="1"/>
            <p:nvPr/>
          </p:nvSpPr>
          <p:spPr>
            <a:xfrm>
              <a:off x="2040034" y="5457425"/>
              <a:ext cx="419347" cy="246221"/>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244</a:t>
              </a:r>
            </a:p>
          </p:txBody>
        </p:sp>
        <p:sp>
          <p:nvSpPr>
            <p:cNvPr id="791" name="TextBox 790">
              <a:extLst>
                <a:ext uri="{FF2B5EF4-FFF2-40B4-BE49-F238E27FC236}">
                  <a16:creationId xmlns:a16="http://schemas.microsoft.com/office/drawing/2014/main" id="{999E49F1-F12A-6F13-DD49-B335646CF14A}"/>
                </a:ext>
              </a:extLst>
            </p:cNvPr>
            <p:cNvSpPr txBox="1"/>
            <p:nvPr/>
          </p:nvSpPr>
          <p:spPr>
            <a:xfrm>
              <a:off x="2040034" y="5719413"/>
              <a:ext cx="419347" cy="246221"/>
            </a:xfrm>
            <a:prstGeom prst="rect">
              <a:avLst/>
            </a:prstGeom>
            <a:noFill/>
          </p:spPr>
          <p:txBody>
            <a:bodyPr wrap="none" rtlCol="0">
              <a:spAutoFit/>
            </a:bodyPr>
            <a:lstStyle/>
            <a:p>
              <a:pPr algn="l"/>
              <a:r>
                <a:rPr lang="en-US" sz="600" dirty="0">
                  <a:ln/>
                  <a:solidFill>
                    <a:srgbClr val="000000"/>
                  </a:solidFill>
                  <a:latin typeface="Arial" panose="020B0604020202020204" pitchFamily="34" charset="0"/>
                  <a:cs typeface="Arial" panose="020B0604020202020204" pitchFamily="34" charset="0"/>
                  <a:sym typeface="HelveticaNeueLTStd-Roman"/>
                  <a:rtl val="0"/>
                </a:rPr>
                <a:t>164</a:t>
              </a:r>
            </a:p>
          </p:txBody>
        </p:sp>
        <p:sp>
          <p:nvSpPr>
            <p:cNvPr id="792" name="TextBox 791">
              <a:extLst>
                <a:ext uri="{FF2B5EF4-FFF2-40B4-BE49-F238E27FC236}">
                  <a16:creationId xmlns:a16="http://schemas.microsoft.com/office/drawing/2014/main" id="{D7F15820-2122-C6C7-F39D-C478F2587802}"/>
                </a:ext>
              </a:extLst>
            </p:cNvPr>
            <p:cNvSpPr txBox="1"/>
            <p:nvPr/>
          </p:nvSpPr>
          <p:spPr>
            <a:xfrm>
              <a:off x="2242027" y="5457425"/>
              <a:ext cx="419347" cy="246221"/>
            </a:xfrm>
            <a:prstGeom prst="rect">
              <a:avLst/>
            </a:prstGeom>
            <a:noFill/>
          </p:spPr>
          <p:txBody>
            <a:bodyPr wrap="none" rtlCol="0">
              <a:spAutoFit/>
            </a:bodyPr>
            <a:lstStyle/>
            <a:p>
              <a:pPr algn="l"/>
              <a:r>
                <a:rPr lang="en-US" sz="600" dirty="0">
                  <a:ln/>
                  <a:solidFill>
                    <a:srgbClr val="000000"/>
                  </a:solidFill>
                  <a:latin typeface="Arial" panose="020B0604020202020204" pitchFamily="34" charset="0"/>
                  <a:cs typeface="Arial" panose="020B0604020202020204" pitchFamily="34" charset="0"/>
                  <a:sym typeface="HelveticaNeueLTStd-Roman"/>
                  <a:rtl val="0"/>
                </a:rPr>
                <a:t>240</a:t>
              </a:r>
            </a:p>
          </p:txBody>
        </p:sp>
        <p:sp>
          <p:nvSpPr>
            <p:cNvPr id="793" name="TextBox 792">
              <a:extLst>
                <a:ext uri="{FF2B5EF4-FFF2-40B4-BE49-F238E27FC236}">
                  <a16:creationId xmlns:a16="http://schemas.microsoft.com/office/drawing/2014/main" id="{2FC986A4-5640-DFC6-C6DA-1275E2E03B47}"/>
                </a:ext>
              </a:extLst>
            </p:cNvPr>
            <p:cNvSpPr txBox="1"/>
            <p:nvPr/>
          </p:nvSpPr>
          <p:spPr>
            <a:xfrm>
              <a:off x="2242027" y="5719413"/>
              <a:ext cx="419347" cy="246221"/>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156</a:t>
              </a:r>
            </a:p>
          </p:txBody>
        </p:sp>
        <p:sp>
          <p:nvSpPr>
            <p:cNvPr id="794" name="TextBox 793">
              <a:extLst>
                <a:ext uri="{FF2B5EF4-FFF2-40B4-BE49-F238E27FC236}">
                  <a16:creationId xmlns:a16="http://schemas.microsoft.com/office/drawing/2014/main" id="{474F29DE-CAED-38E7-902E-F459495680B1}"/>
                </a:ext>
              </a:extLst>
            </p:cNvPr>
            <p:cNvSpPr txBox="1"/>
            <p:nvPr/>
          </p:nvSpPr>
          <p:spPr>
            <a:xfrm>
              <a:off x="2434394" y="5457425"/>
              <a:ext cx="419347" cy="246221"/>
            </a:xfrm>
            <a:prstGeom prst="rect">
              <a:avLst/>
            </a:prstGeom>
            <a:noFill/>
          </p:spPr>
          <p:txBody>
            <a:bodyPr wrap="none" rtlCol="0">
              <a:spAutoFit/>
            </a:bodyPr>
            <a:lstStyle/>
            <a:p>
              <a:pPr algn="l"/>
              <a:r>
                <a:rPr lang="en-US" sz="600" dirty="0">
                  <a:ln/>
                  <a:solidFill>
                    <a:srgbClr val="000000"/>
                  </a:solidFill>
                  <a:latin typeface="Arial" panose="020B0604020202020204" pitchFamily="34" charset="0"/>
                  <a:cs typeface="Arial" panose="020B0604020202020204" pitchFamily="34" charset="0"/>
                  <a:sym typeface="HelveticaNeueLTStd-Roman"/>
                  <a:rtl val="0"/>
                </a:rPr>
                <a:t>225</a:t>
              </a:r>
            </a:p>
          </p:txBody>
        </p:sp>
        <p:sp>
          <p:nvSpPr>
            <p:cNvPr id="795" name="TextBox 794">
              <a:extLst>
                <a:ext uri="{FF2B5EF4-FFF2-40B4-BE49-F238E27FC236}">
                  <a16:creationId xmlns:a16="http://schemas.microsoft.com/office/drawing/2014/main" id="{0843FDBF-A000-5A52-691A-CBB337316725}"/>
                </a:ext>
              </a:extLst>
            </p:cNvPr>
            <p:cNvSpPr txBox="1"/>
            <p:nvPr/>
          </p:nvSpPr>
          <p:spPr>
            <a:xfrm>
              <a:off x="2434394" y="5719413"/>
              <a:ext cx="419347" cy="246221"/>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134</a:t>
              </a:r>
            </a:p>
          </p:txBody>
        </p:sp>
        <p:sp>
          <p:nvSpPr>
            <p:cNvPr id="796" name="TextBox 795">
              <a:extLst>
                <a:ext uri="{FF2B5EF4-FFF2-40B4-BE49-F238E27FC236}">
                  <a16:creationId xmlns:a16="http://schemas.microsoft.com/office/drawing/2014/main" id="{843719F2-6251-2D32-4717-04A356C3501B}"/>
                </a:ext>
              </a:extLst>
            </p:cNvPr>
            <p:cNvSpPr txBox="1"/>
            <p:nvPr/>
          </p:nvSpPr>
          <p:spPr>
            <a:xfrm>
              <a:off x="2639832" y="5457425"/>
              <a:ext cx="419347" cy="246221"/>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216</a:t>
              </a:r>
            </a:p>
          </p:txBody>
        </p:sp>
        <p:sp>
          <p:nvSpPr>
            <p:cNvPr id="797" name="TextBox 796">
              <a:extLst>
                <a:ext uri="{FF2B5EF4-FFF2-40B4-BE49-F238E27FC236}">
                  <a16:creationId xmlns:a16="http://schemas.microsoft.com/office/drawing/2014/main" id="{48E7FE23-C699-8E13-FD8A-4E7EA063BAE2}"/>
                </a:ext>
              </a:extLst>
            </p:cNvPr>
            <p:cNvSpPr txBox="1"/>
            <p:nvPr/>
          </p:nvSpPr>
          <p:spPr>
            <a:xfrm>
              <a:off x="2639832" y="5719413"/>
              <a:ext cx="419347" cy="246221"/>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111</a:t>
              </a:r>
            </a:p>
          </p:txBody>
        </p:sp>
        <p:sp>
          <p:nvSpPr>
            <p:cNvPr id="798" name="TextBox 797">
              <a:extLst>
                <a:ext uri="{FF2B5EF4-FFF2-40B4-BE49-F238E27FC236}">
                  <a16:creationId xmlns:a16="http://schemas.microsoft.com/office/drawing/2014/main" id="{DC422242-1F97-A214-6F2A-04F76FA8CEC7}"/>
                </a:ext>
              </a:extLst>
            </p:cNvPr>
            <p:cNvSpPr txBox="1"/>
            <p:nvPr/>
          </p:nvSpPr>
          <p:spPr>
            <a:xfrm>
              <a:off x="2832199" y="5457425"/>
              <a:ext cx="419347" cy="246221"/>
            </a:xfrm>
            <a:prstGeom prst="rect">
              <a:avLst/>
            </a:prstGeom>
            <a:noFill/>
          </p:spPr>
          <p:txBody>
            <a:bodyPr wrap="none" rtlCol="0">
              <a:spAutoFit/>
            </a:bodyPr>
            <a:lstStyle/>
            <a:p>
              <a:pPr algn="l"/>
              <a:r>
                <a:rPr lang="en-US" sz="600" dirty="0">
                  <a:ln/>
                  <a:solidFill>
                    <a:srgbClr val="000000"/>
                  </a:solidFill>
                  <a:latin typeface="Arial" panose="020B0604020202020204" pitchFamily="34" charset="0"/>
                  <a:cs typeface="Arial" panose="020B0604020202020204" pitchFamily="34" charset="0"/>
                  <a:sym typeface="HelveticaNeueLTStd-Roman"/>
                  <a:rtl val="0"/>
                </a:rPr>
                <a:t>207</a:t>
              </a:r>
            </a:p>
          </p:txBody>
        </p:sp>
        <p:sp>
          <p:nvSpPr>
            <p:cNvPr id="799" name="TextBox 798">
              <a:extLst>
                <a:ext uri="{FF2B5EF4-FFF2-40B4-BE49-F238E27FC236}">
                  <a16:creationId xmlns:a16="http://schemas.microsoft.com/office/drawing/2014/main" id="{46EF9A2B-07A1-049A-B48B-3F819D4A2B72}"/>
                </a:ext>
              </a:extLst>
            </p:cNvPr>
            <p:cNvSpPr txBox="1"/>
            <p:nvPr/>
          </p:nvSpPr>
          <p:spPr>
            <a:xfrm>
              <a:off x="2858643" y="5719413"/>
              <a:ext cx="361637" cy="246221"/>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99</a:t>
              </a:r>
            </a:p>
          </p:txBody>
        </p:sp>
        <p:sp>
          <p:nvSpPr>
            <p:cNvPr id="800" name="TextBox 799">
              <a:extLst>
                <a:ext uri="{FF2B5EF4-FFF2-40B4-BE49-F238E27FC236}">
                  <a16:creationId xmlns:a16="http://schemas.microsoft.com/office/drawing/2014/main" id="{C485665B-128E-89C3-CD06-B9663363A191}"/>
                </a:ext>
              </a:extLst>
            </p:cNvPr>
            <p:cNvSpPr txBox="1"/>
            <p:nvPr/>
          </p:nvSpPr>
          <p:spPr>
            <a:xfrm>
              <a:off x="3030435" y="5457425"/>
              <a:ext cx="419347" cy="246221"/>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205</a:t>
              </a:r>
            </a:p>
          </p:txBody>
        </p:sp>
        <p:sp>
          <p:nvSpPr>
            <p:cNvPr id="801" name="TextBox 800">
              <a:extLst>
                <a:ext uri="{FF2B5EF4-FFF2-40B4-BE49-F238E27FC236}">
                  <a16:creationId xmlns:a16="http://schemas.microsoft.com/office/drawing/2014/main" id="{9B5C10C9-0C23-2826-825E-D7F04FB4CE49}"/>
                </a:ext>
              </a:extLst>
            </p:cNvPr>
            <p:cNvSpPr txBox="1"/>
            <p:nvPr/>
          </p:nvSpPr>
          <p:spPr>
            <a:xfrm>
              <a:off x="3056880" y="5719413"/>
              <a:ext cx="361637" cy="246221"/>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96</a:t>
              </a:r>
            </a:p>
          </p:txBody>
        </p:sp>
        <p:sp>
          <p:nvSpPr>
            <p:cNvPr id="802" name="TextBox 801">
              <a:extLst>
                <a:ext uri="{FF2B5EF4-FFF2-40B4-BE49-F238E27FC236}">
                  <a16:creationId xmlns:a16="http://schemas.microsoft.com/office/drawing/2014/main" id="{E02D7C8B-A641-7A59-7AAF-7E10ED718FF1}"/>
                </a:ext>
              </a:extLst>
            </p:cNvPr>
            <p:cNvSpPr txBox="1"/>
            <p:nvPr/>
          </p:nvSpPr>
          <p:spPr>
            <a:xfrm>
              <a:off x="3222831" y="5457425"/>
              <a:ext cx="419347" cy="246221"/>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191</a:t>
              </a:r>
            </a:p>
          </p:txBody>
        </p:sp>
        <p:sp>
          <p:nvSpPr>
            <p:cNvPr id="803" name="TextBox 802">
              <a:extLst>
                <a:ext uri="{FF2B5EF4-FFF2-40B4-BE49-F238E27FC236}">
                  <a16:creationId xmlns:a16="http://schemas.microsoft.com/office/drawing/2014/main" id="{8C87656B-3CEA-7C57-BF71-D81E6D40017F}"/>
                </a:ext>
              </a:extLst>
            </p:cNvPr>
            <p:cNvSpPr txBox="1"/>
            <p:nvPr/>
          </p:nvSpPr>
          <p:spPr>
            <a:xfrm>
              <a:off x="3249275" y="5719413"/>
              <a:ext cx="361637" cy="246221"/>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81</a:t>
              </a:r>
            </a:p>
          </p:txBody>
        </p:sp>
        <p:sp>
          <p:nvSpPr>
            <p:cNvPr id="804" name="TextBox 803">
              <a:extLst>
                <a:ext uri="{FF2B5EF4-FFF2-40B4-BE49-F238E27FC236}">
                  <a16:creationId xmlns:a16="http://schemas.microsoft.com/office/drawing/2014/main" id="{60EF357D-F9FC-3780-7B6C-A7855FAC89DF}"/>
                </a:ext>
              </a:extLst>
            </p:cNvPr>
            <p:cNvSpPr txBox="1"/>
            <p:nvPr/>
          </p:nvSpPr>
          <p:spPr>
            <a:xfrm>
              <a:off x="3428278" y="5457425"/>
              <a:ext cx="419347" cy="246221"/>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176</a:t>
              </a:r>
            </a:p>
          </p:txBody>
        </p:sp>
        <p:sp>
          <p:nvSpPr>
            <p:cNvPr id="805" name="TextBox 804">
              <a:extLst>
                <a:ext uri="{FF2B5EF4-FFF2-40B4-BE49-F238E27FC236}">
                  <a16:creationId xmlns:a16="http://schemas.microsoft.com/office/drawing/2014/main" id="{B070BFF6-87A9-12E8-3628-AB19306AFE05}"/>
                </a:ext>
              </a:extLst>
            </p:cNvPr>
            <p:cNvSpPr txBox="1"/>
            <p:nvPr/>
          </p:nvSpPr>
          <p:spPr>
            <a:xfrm>
              <a:off x="3454722" y="5719413"/>
              <a:ext cx="361637" cy="246221"/>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69</a:t>
              </a:r>
            </a:p>
          </p:txBody>
        </p:sp>
        <p:sp>
          <p:nvSpPr>
            <p:cNvPr id="806" name="TextBox 805">
              <a:extLst>
                <a:ext uri="{FF2B5EF4-FFF2-40B4-BE49-F238E27FC236}">
                  <a16:creationId xmlns:a16="http://schemas.microsoft.com/office/drawing/2014/main" id="{6FF46B59-3F79-CEA0-EF3F-3D32E7F142C0}"/>
                </a:ext>
              </a:extLst>
            </p:cNvPr>
            <p:cNvSpPr txBox="1"/>
            <p:nvPr/>
          </p:nvSpPr>
          <p:spPr>
            <a:xfrm>
              <a:off x="3620644" y="5457425"/>
              <a:ext cx="419347" cy="246221"/>
            </a:xfrm>
            <a:prstGeom prst="rect">
              <a:avLst/>
            </a:prstGeom>
            <a:noFill/>
          </p:spPr>
          <p:txBody>
            <a:bodyPr wrap="none" rtlCol="0">
              <a:spAutoFit/>
            </a:bodyPr>
            <a:lstStyle/>
            <a:p>
              <a:pPr algn="l"/>
              <a:r>
                <a:rPr lang="en-US" sz="600" dirty="0">
                  <a:ln/>
                  <a:solidFill>
                    <a:srgbClr val="000000"/>
                  </a:solidFill>
                  <a:latin typeface="Arial" panose="020B0604020202020204" pitchFamily="34" charset="0"/>
                  <a:cs typeface="Arial" panose="020B0604020202020204" pitchFamily="34" charset="0"/>
                  <a:sym typeface="HelveticaNeueLTStd-Roman"/>
                  <a:rtl val="0"/>
                </a:rPr>
                <a:t>173</a:t>
              </a:r>
            </a:p>
          </p:txBody>
        </p:sp>
        <p:sp>
          <p:nvSpPr>
            <p:cNvPr id="807" name="TextBox 806">
              <a:extLst>
                <a:ext uri="{FF2B5EF4-FFF2-40B4-BE49-F238E27FC236}">
                  <a16:creationId xmlns:a16="http://schemas.microsoft.com/office/drawing/2014/main" id="{4C426D7B-F3E2-4D5F-70C3-94EB5C5102A0}"/>
                </a:ext>
              </a:extLst>
            </p:cNvPr>
            <p:cNvSpPr txBox="1"/>
            <p:nvPr/>
          </p:nvSpPr>
          <p:spPr>
            <a:xfrm>
              <a:off x="3647088" y="5719413"/>
              <a:ext cx="361637" cy="246221"/>
            </a:xfrm>
            <a:prstGeom prst="rect">
              <a:avLst/>
            </a:prstGeom>
            <a:noFill/>
          </p:spPr>
          <p:txBody>
            <a:bodyPr wrap="none" rtlCol="0">
              <a:spAutoFit/>
            </a:bodyPr>
            <a:lstStyle/>
            <a:p>
              <a:pPr algn="l"/>
              <a:r>
                <a:rPr lang="en-US" sz="600" dirty="0">
                  <a:ln/>
                  <a:solidFill>
                    <a:srgbClr val="000000"/>
                  </a:solidFill>
                  <a:latin typeface="Arial" panose="020B0604020202020204" pitchFamily="34" charset="0"/>
                  <a:cs typeface="Arial" panose="020B0604020202020204" pitchFamily="34" charset="0"/>
                  <a:sym typeface="HelveticaNeueLTStd-Roman"/>
                  <a:rtl val="0"/>
                </a:rPr>
                <a:t>67</a:t>
              </a:r>
            </a:p>
          </p:txBody>
        </p:sp>
        <p:sp>
          <p:nvSpPr>
            <p:cNvPr id="808" name="TextBox 807">
              <a:extLst>
                <a:ext uri="{FF2B5EF4-FFF2-40B4-BE49-F238E27FC236}">
                  <a16:creationId xmlns:a16="http://schemas.microsoft.com/office/drawing/2014/main" id="{AE1B2012-EC99-CF01-89B3-DE44AD90971D}"/>
                </a:ext>
              </a:extLst>
            </p:cNvPr>
            <p:cNvSpPr txBox="1"/>
            <p:nvPr/>
          </p:nvSpPr>
          <p:spPr>
            <a:xfrm>
              <a:off x="3835899" y="5457425"/>
              <a:ext cx="419347" cy="246221"/>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167</a:t>
              </a:r>
            </a:p>
          </p:txBody>
        </p:sp>
        <p:sp>
          <p:nvSpPr>
            <p:cNvPr id="809" name="TextBox 808">
              <a:extLst>
                <a:ext uri="{FF2B5EF4-FFF2-40B4-BE49-F238E27FC236}">
                  <a16:creationId xmlns:a16="http://schemas.microsoft.com/office/drawing/2014/main" id="{65692120-A3AB-8CBA-0D4E-8F02FD8FB2A8}"/>
                </a:ext>
              </a:extLst>
            </p:cNvPr>
            <p:cNvSpPr txBox="1"/>
            <p:nvPr/>
          </p:nvSpPr>
          <p:spPr>
            <a:xfrm>
              <a:off x="3862342" y="5719413"/>
              <a:ext cx="361637" cy="246221"/>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63</a:t>
              </a:r>
            </a:p>
          </p:txBody>
        </p:sp>
        <p:sp>
          <p:nvSpPr>
            <p:cNvPr id="810" name="TextBox 809">
              <a:extLst>
                <a:ext uri="{FF2B5EF4-FFF2-40B4-BE49-F238E27FC236}">
                  <a16:creationId xmlns:a16="http://schemas.microsoft.com/office/drawing/2014/main" id="{225B892E-8425-09F2-7C23-80E20B0025DE}"/>
                </a:ext>
              </a:extLst>
            </p:cNvPr>
            <p:cNvSpPr txBox="1"/>
            <p:nvPr/>
          </p:nvSpPr>
          <p:spPr>
            <a:xfrm>
              <a:off x="4028218" y="5457425"/>
              <a:ext cx="419347" cy="246221"/>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154</a:t>
              </a:r>
            </a:p>
          </p:txBody>
        </p:sp>
        <p:sp>
          <p:nvSpPr>
            <p:cNvPr id="811" name="TextBox 810">
              <a:extLst>
                <a:ext uri="{FF2B5EF4-FFF2-40B4-BE49-F238E27FC236}">
                  <a16:creationId xmlns:a16="http://schemas.microsoft.com/office/drawing/2014/main" id="{A03A8D1A-6FD3-8225-6E1A-1938809D2490}"/>
                </a:ext>
              </a:extLst>
            </p:cNvPr>
            <p:cNvSpPr txBox="1"/>
            <p:nvPr/>
          </p:nvSpPr>
          <p:spPr>
            <a:xfrm>
              <a:off x="4054662" y="5719413"/>
              <a:ext cx="361637" cy="246221"/>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58</a:t>
              </a:r>
            </a:p>
          </p:txBody>
        </p:sp>
        <p:sp>
          <p:nvSpPr>
            <p:cNvPr id="812" name="TextBox 811">
              <a:extLst>
                <a:ext uri="{FF2B5EF4-FFF2-40B4-BE49-F238E27FC236}">
                  <a16:creationId xmlns:a16="http://schemas.microsoft.com/office/drawing/2014/main" id="{E5331C10-DE9C-0547-AF63-745A8BBB5362}"/>
                </a:ext>
              </a:extLst>
            </p:cNvPr>
            <p:cNvSpPr txBox="1"/>
            <p:nvPr/>
          </p:nvSpPr>
          <p:spPr>
            <a:xfrm>
              <a:off x="4233664" y="5457425"/>
              <a:ext cx="419347" cy="246221"/>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146</a:t>
              </a:r>
            </a:p>
          </p:txBody>
        </p:sp>
        <p:sp>
          <p:nvSpPr>
            <p:cNvPr id="813" name="TextBox 812">
              <a:extLst>
                <a:ext uri="{FF2B5EF4-FFF2-40B4-BE49-F238E27FC236}">
                  <a16:creationId xmlns:a16="http://schemas.microsoft.com/office/drawing/2014/main" id="{3457F724-8A1B-42EB-03D5-546B26F92C1F}"/>
                </a:ext>
              </a:extLst>
            </p:cNvPr>
            <p:cNvSpPr txBox="1"/>
            <p:nvPr/>
          </p:nvSpPr>
          <p:spPr>
            <a:xfrm>
              <a:off x="4260108" y="5719413"/>
              <a:ext cx="361637" cy="246221"/>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54</a:t>
              </a:r>
            </a:p>
          </p:txBody>
        </p:sp>
        <p:sp>
          <p:nvSpPr>
            <p:cNvPr id="814" name="TextBox 813">
              <a:extLst>
                <a:ext uri="{FF2B5EF4-FFF2-40B4-BE49-F238E27FC236}">
                  <a16:creationId xmlns:a16="http://schemas.microsoft.com/office/drawing/2014/main" id="{3BFD81D9-E3C6-02A0-4761-7E9068A0D6FA}"/>
                </a:ext>
              </a:extLst>
            </p:cNvPr>
            <p:cNvSpPr txBox="1"/>
            <p:nvPr/>
          </p:nvSpPr>
          <p:spPr>
            <a:xfrm>
              <a:off x="4426070" y="5457425"/>
              <a:ext cx="419347" cy="246221"/>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140</a:t>
              </a:r>
            </a:p>
          </p:txBody>
        </p:sp>
        <p:sp>
          <p:nvSpPr>
            <p:cNvPr id="815" name="TextBox 814">
              <a:extLst>
                <a:ext uri="{FF2B5EF4-FFF2-40B4-BE49-F238E27FC236}">
                  <a16:creationId xmlns:a16="http://schemas.microsoft.com/office/drawing/2014/main" id="{F490C150-0FC7-E784-DEE2-947DB73870B9}"/>
                </a:ext>
              </a:extLst>
            </p:cNvPr>
            <p:cNvSpPr txBox="1"/>
            <p:nvPr/>
          </p:nvSpPr>
          <p:spPr>
            <a:xfrm>
              <a:off x="4452514" y="5719413"/>
              <a:ext cx="361637" cy="246221"/>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51</a:t>
              </a:r>
            </a:p>
          </p:txBody>
        </p:sp>
        <p:sp>
          <p:nvSpPr>
            <p:cNvPr id="816" name="TextBox 815">
              <a:extLst>
                <a:ext uri="{FF2B5EF4-FFF2-40B4-BE49-F238E27FC236}">
                  <a16:creationId xmlns:a16="http://schemas.microsoft.com/office/drawing/2014/main" id="{13E3EAF6-22CF-E65C-2075-A71464CA7305}"/>
                </a:ext>
              </a:extLst>
            </p:cNvPr>
            <p:cNvSpPr txBox="1"/>
            <p:nvPr/>
          </p:nvSpPr>
          <p:spPr>
            <a:xfrm>
              <a:off x="4639459" y="5457425"/>
              <a:ext cx="419347" cy="246221"/>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134</a:t>
              </a:r>
            </a:p>
          </p:txBody>
        </p:sp>
        <p:sp>
          <p:nvSpPr>
            <p:cNvPr id="817" name="TextBox 816">
              <a:extLst>
                <a:ext uri="{FF2B5EF4-FFF2-40B4-BE49-F238E27FC236}">
                  <a16:creationId xmlns:a16="http://schemas.microsoft.com/office/drawing/2014/main" id="{4D3725DF-95A9-3CE4-D4BF-EBAF0D8038B1}"/>
                </a:ext>
              </a:extLst>
            </p:cNvPr>
            <p:cNvSpPr txBox="1"/>
            <p:nvPr/>
          </p:nvSpPr>
          <p:spPr>
            <a:xfrm>
              <a:off x="4665914" y="5719413"/>
              <a:ext cx="361637" cy="246221"/>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49</a:t>
              </a:r>
            </a:p>
          </p:txBody>
        </p:sp>
        <p:sp>
          <p:nvSpPr>
            <p:cNvPr id="818" name="TextBox 817">
              <a:extLst>
                <a:ext uri="{FF2B5EF4-FFF2-40B4-BE49-F238E27FC236}">
                  <a16:creationId xmlns:a16="http://schemas.microsoft.com/office/drawing/2014/main" id="{B7AB0FDC-D1F5-3F16-70F1-F7B3B0FC2ACF}"/>
                </a:ext>
              </a:extLst>
            </p:cNvPr>
            <p:cNvSpPr txBox="1"/>
            <p:nvPr/>
          </p:nvSpPr>
          <p:spPr>
            <a:xfrm>
              <a:off x="4831826" y="5457425"/>
              <a:ext cx="419347" cy="246221"/>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131</a:t>
              </a:r>
            </a:p>
          </p:txBody>
        </p:sp>
        <p:sp>
          <p:nvSpPr>
            <p:cNvPr id="819" name="TextBox 818">
              <a:extLst>
                <a:ext uri="{FF2B5EF4-FFF2-40B4-BE49-F238E27FC236}">
                  <a16:creationId xmlns:a16="http://schemas.microsoft.com/office/drawing/2014/main" id="{53C5C57E-7DD4-5A54-4044-744C18658E10}"/>
                </a:ext>
              </a:extLst>
            </p:cNvPr>
            <p:cNvSpPr txBox="1"/>
            <p:nvPr/>
          </p:nvSpPr>
          <p:spPr>
            <a:xfrm>
              <a:off x="4858770" y="5719413"/>
              <a:ext cx="361637" cy="246221"/>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49</a:t>
              </a:r>
            </a:p>
          </p:txBody>
        </p:sp>
        <p:sp>
          <p:nvSpPr>
            <p:cNvPr id="820" name="TextBox 819">
              <a:extLst>
                <a:ext uri="{FF2B5EF4-FFF2-40B4-BE49-F238E27FC236}">
                  <a16:creationId xmlns:a16="http://schemas.microsoft.com/office/drawing/2014/main" id="{A625D0D9-7152-118A-66B3-058FEF6C46B8}"/>
                </a:ext>
              </a:extLst>
            </p:cNvPr>
            <p:cNvSpPr txBox="1"/>
            <p:nvPr/>
          </p:nvSpPr>
          <p:spPr>
            <a:xfrm>
              <a:off x="5037274" y="5457425"/>
              <a:ext cx="419347" cy="246221"/>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130</a:t>
              </a:r>
            </a:p>
          </p:txBody>
        </p:sp>
        <p:sp>
          <p:nvSpPr>
            <p:cNvPr id="821" name="TextBox 820">
              <a:extLst>
                <a:ext uri="{FF2B5EF4-FFF2-40B4-BE49-F238E27FC236}">
                  <a16:creationId xmlns:a16="http://schemas.microsoft.com/office/drawing/2014/main" id="{0D1A4939-EDE2-C304-C799-C00644873040}"/>
                </a:ext>
              </a:extLst>
            </p:cNvPr>
            <p:cNvSpPr txBox="1"/>
            <p:nvPr/>
          </p:nvSpPr>
          <p:spPr>
            <a:xfrm>
              <a:off x="5064218" y="5719413"/>
              <a:ext cx="361637" cy="246221"/>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47</a:t>
              </a:r>
            </a:p>
          </p:txBody>
        </p:sp>
        <p:sp>
          <p:nvSpPr>
            <p:cNvPr id="822" name="TextBox 821">
              <a:extLst>
                <a:ext uri="{FF2B5EF4-FFF2-40B4-BE49-F238E27FC236}">
                  <a16:creationId xmlns:a16="http://schemas.microsoft.com/office/drawing/2014/main" id="{C953424A-BF58-BDA6-83C4-9F75CC1BA3BC}"/>
                </a:ext>
              </a:extLst>
            </p:cNvPr>
            <p:cNvSpPr txBox="1"/>
            <p:nvPr/>
          </p:nvSpPr>
          <p:spPr>
            <a:xfrm>
              <a:off x="5229668" y="5457425"/>
              <a:ext cx="419347" cy="246221"/>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125</a:t>
              </a:r>
            </a:p>
          </p:txBody>
        </p:sp>
        <p:sp>
          <p:nvSpPr>
            <p:cNvPr id="823" name="TextBox 822">
              <a:extLst>
                <a:ext uri="{FF2B5EF4-FFF2-40B4-BE49-F238E27FC236}">
                  <a16:creationId xmlns:a16="http://schemas.microsoft.com/office/drawing/2014/main" id="{62951D30-FCE8-4667-16B1-9BA4C72DAB97}"/>
                </a:ext>
              </a:extLst>
            </p:cNvPr>
            <p:cNvSpPr txBox="1"/>
            <p:nvPr/>
          </p:nvSpPr>
          <p:spPr>
            <a:xfrm>
              <a:off x="5256612" y="5719413"/>
              <a:ext cx="361637" cy="246221"/>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47</a:t>
              </a:r>
            </a:p>
          </p:txBody>
        </p:sp>
        <p:sp>
          <p:nvSpPr>
            <p:cNvPr id="824" name="TextBox 823">
              <a:extLst>
                <a:ext uri="{FF2B5EF4-FFF2-40B4-BE49-F238E27FC236}">
                  <a16:creationId xmlns:a16="http://schemas.microsoft.com/office/drawing/2014/main" id="{AC1A4210-5BE6-96DA-50E5-B69569CBAF96}"/>
                </a:ext>
              </a:extLst>
            </p:cNvPr>
            <p:cNvSpPr txBox="1"/>
            <p:nvPr/>
          </p:nvSpPr>
          <p:spPr>
            <a:xfrm>
              <a:off x="5444886" y="5457425"/>
              <a:ext cx="419347" cy="246221"/>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123</a:t>
              </a:r>
            </a:p>
          </p:txBody>
        </p:sp>
        <p:sp>
          <p:nvSpPr>
            <p:cNvPr id="825" name="TextBox 824">
              <a:extLst>
                <a:ext uri="{FF2B5EF4-FFF2-40B4-BE49-F238E27FC236}">
                  <a16:creationId xmlns:a16="http://schemas.microsoft.com/office/drawing/2014/main" id="{7DD6462F-C245-5997-E23D-1AD8B9712A5D}"/>
                </a:ext>
              </a:extLst>
            </p:cNvPr>
            <p:cNvSpPr txBox="1"/>
            <p:nvPr/>
          </p:nvSpPr>
          <p:spPr>
            <a:xfrm>
              <a:off x="5471328" y="5719413"/>
              <a:ext cx="361637" cy="246221"/>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42</a:t>
              </a:r>
            </a:p>
          </p:txBody>
        </p:sp>
        <p:sp>
          <p:nvSpPr>
            <p:cNvPr id="826" name="TextBox 825">
              <a:extLst>
                <a:ext uri="{FF2B5EF4-FFF2-40B4-BE49-F238E27FC236}">
                  <a16:creationId xmlns:a16="http://schemas.microsoft.com/office/drawing/2014/main" id="{39FAE5D2-922F-83F7-ABA9-EE3A67EBED5C}"/>
                </a:ext>
              </a:extLst>
            </p:cNvPr>
            <p:cNvSpPr txBox="1"/>
            <p:nvPr/>
          </p:nvSpPr>
          <p:spPr>
            <a:xfrm>
              <a:off x="5637252" y="5457425"/>
              <a:ext cx="419347" cy="246221"/>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117</a:t>
              </a:r>
            </a:p>
          </p:txBody>
        </p:sp>
        <p:sp>
          <p:nvSpPr>
            <p:cNvPr id="827" name="TextBox 826">
              <a:extLst>
                <a:ext uri="{FF2B5EF4-FFF2-40B4-BE49-F238E27FC236}">
                  <a16:creationId xmlns:a16="http://schemas.microsoft.com/office/drawing/2014/main" id="{DDE90189-B718-0E9D-39CF-8D3FB11DEC6D}"/>
                </a:ext>
              </a:extLst>
            </p:cNvPr>
            <p:cNvSpPr txBox="1"/>
            <p:nvPr/>
          </p:nvSpPr>
          <p:spPr>
            <a:xfrm>
              <a:off x="5664196" y="5719413"/>
              <a:ext cx="361637" cy="246221"/>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41</a:t>
              </a:r>
            </a:p>
          </p:txBody>
        </p:sp>
        <p:sp>
          <p:nvSpPr>
            <p:cNvPr id="828" name="TextBox 827">
              <a:extLst>
                <a:ext uri="{FF2B5EF4-FFF2-40B4-BE49-F238E27FC236}">
                  <a16:creationId xmlns:a16="http://schemas.microsoft.com/office/drawing/2014/main" id="{200D6916-E246-91EF-0A7D-BA4C2F876021}"/>
                </a:ext>
              </a:extLst>
            </p:cNvPr>
            <p:cNvSpPr txBox="1"/>
            <p:nvPr/>
          </p:nvSpPr>
          <p:spPr>
            <a:xfrm>
              <a:off x="5842688" y="5457425"/>
              <a:ext cx="419347" cy="246221"/>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113</a:t>
              </a:r>
            </a:p>
          </p:txBody>
        </p:sp>
        <p:sp>
          <p:nvSpPr>
            <p:cNvPr id="829" name="TextBox 828">
              <a:extLst>
                <a:ext uri="{FF2B5EF4-FFF2-40B4-BE49-F238E27FC236}">
                  <a16:creationId xmlns:a16="http://schemas.microsoft.com/office/drawing/2014/main" id="{DCAB5831-07E2-F71A-8912-098131DCA55D}"/>
                </a:ext>
              </a:extLst>
            </p:cNvPr>
            <p:cNvSpPr txBox="1"/>
            <p:nvPr/>
          </p:nvSpPr>
          <p:spPr>
            <a:xfrm>
              <a:off x="5869143" y="5719413"/>
              <a:ext cx="361637" cy="246221"/>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39</a:t>
              </a:r>
            </a:p>
          </p:txBody>
        </p:sp>
        <p:sp>
          <p:nvSpPr>
            <p:cNvPr id="830" name="TextBox 829">
              <a:extLst>
                <a:ext uri="{FF2B5EF4-FFF2-40B4-BE49-F238E27FC236}">
                  <a16:creationId xmlns:a16="http://schemas.microsoft.com/office/drawing/2014/main" id="{0B8C8C8E-849D-FD16-86F3-B0D628CE6F63}"/>
                </a:ext>
              </a:extLst>
            </p:cNvPr>
            <p:cNvSpPr txBox="1"/>
            <p:nvPr/>
          </p:nvSpPr>
          <p:spPr>
            <a:xfrm>
              <a:off x="6035056" y="5457425"/>
              <a:ext cx="419347" cy="246221"/>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107</a:t>
              </a:r>
            </a:p>
          </p:txBody>
        </p:sp>
        <p:sp>
          <p:nvSpPr>
            <p:cNvPr id="831" name="TextBox 830">
              <a:extLst>
                <a:ext uri="{FF2B5EF4-FFF2-40B4-BE49-F238E27FC236}">
                  <a16:creationId xmlns:a16="http://schemas.microsoft.com/office/drawing/2014/main" id="{4A326AEF-9142-6CF8-718D-266E155AC218}"/>
                </a:ext>
              </a:extLst>
            </p:cNvPr>
            <p:cNvSpPr txBox="1"/>
            <p:nvPr/>
          </p:nvSpPr>
          <p:spPr>
            <a:xfrm>
              <a:off x="6061502" y="5719413"/>
              <a:ext cx="361637" cy="246221"/>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37</a:t>
              </a:r>
            </a:p>
          </p:txBody>
        </p:sp>
        <p:sp>
          <p:nvSpPr>
            <p:cNvPr id="832" name="TextBox 831">
              <a:extLst>
                <a:ext uri="{FF2B5EF4-FFF2-40B4-BE49-F238E27FC236}">
                  <a16:creationId xmlns:a16="http://schemas.microsoft.com/office/drawing/2014/main" id="{12258EA1-F7DF-EDF4-9C50-EDF053B287E6}"/>
                </a:ext>
              </a:extLst>
            </p:cNvPr>
            <p:cNvSpPr txBox="1"/>
            <p:nvPr/>
          </p:nvSpPr>
          <p:spPr>
            <a:xfrm>
              <a:off x="6259736" y="5457425"/>
              <a:ext cx="361637" cy="246221"/>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99</a:t>
              </a:r>
            </a:p>
          </p:txBody>
        </p:sp>
        <p:sp>
          <p:nvSpPr>
            <p:cNvPr id="833" name="TextBox 832">
              <a:extLst>
                <a:ext uri="{FF2B5EF4-FFF2-40B4-BE49-F238E27FC236}">
                  <a16:creationId xmlns:a16="http://schemas.microsoft.com/office/drawing/2014/main" id="{5F852B52-8249-0A63-1985-5B38727F57D2}"/>
                </a:ext>
              </a:extLst>
            </p:cNvPr>
            <p:cNvSpPr txBox="1"/>
            <p:nvPr/>
          </p:nvSpPr>
          <p:spPr>
            <a:xfrm>
              <a:off x="6259736" y="5719413"/>
              <a:ext cx="361637" cy="246221"/>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36</a:t>
              </a:r>
            </a:p>
          </p:txBody>
        </p:sp>
        <p:sp>
          <p:nvSpPr>
            <p:cNvPr id="834" name="TextBox 833">
              <a:extLst>
                <a:ext uri="{FF2B5EF4-FFF2-40B4-BE49-F238E27FC236}">
                  <a16:creationId xmlns:a16="http://schemas.microsoft.com/office/drawing/2014/main" id="{98E07E78-B624-082E-FF62-73919E239BB8}"/>
                </a:ext>
              </a:extLst>
            </p:cNvPr>
            <p:cNvSpPr txBox="1"/>
            <p:nvPr/>
          </p:nvSpPr>
          <p:spPr>
            <a:xfrm>
              <a:off x="6452142" y="5457425"/>
              <a:ext cx="361637" cy="246221"/>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96</a:t>
              </a:r>
            </a:p>
          </p:txBody>
        </p:sp>
        <p:sp>
          <p:nvSpPr>
            <p:cNvPr id="835" name="TextBox 834">
              <a:extLst>
                <a:ext uri="{FF2B5EF4-FFF2-40B4-BE49-F238E27FC236}">
                  <a16:creationId xmlns:a16="http://schemas.microsoft.com/office/drawing/2014/main" id="{327BF21E-13B9-DF1A-FBFE-EA94CE49B3B7}"/>
                </a:ext>
              </a:extLst>
            </p:cNvPr>
            <p:cNvSpPr txBox="1"/>
            <p:nvPr/>
          </p:nvSpPr>
          <p:spPr>
            <a:xfrm>
              <a:off x="6452142" y="5719413"/>
              <a:ext cx="361637" cy="246221"/>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32</a:t>
              </a:r>
            </a:p>
          </p:txBody>
        </p:sp>
        <p:sp>
          <p:nvSpPr>
            <p:cNvPr id="836" name="TextBox 835">
              <a:extLst>
                <a:ext uri="{FF2B5EF4-FFF2-40B4-BE49-F238E27FC236}">
                  <a16:creationId xmlns:a16="http://schemas.microsoft.com/office/drawing/2014/main" id="{5A5C7A79-CD95-E9FD-F1FF-54FC4B0E6D37}"/>
                </a:ext>
              </a:extLst>
            </p:cNvPr>
            <p:cNvSpPr txBox="1"/>
            <p:nvPr/>
          </p:nvSpPr>
          <p:spPr>
            <a:xfrm>
              <a:off x="6657588" y="5457425"/>
              <a:ext cx="361637" cy="246221"/>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90</a:t>
              </a:r>
            </a:p>
          </p:txBody>
        </p:sp>
        <p:sp>
          <p:nvSpPr>
            <p:cNvPr id="837" name="TextBox 836">
              <a:extLst>
                <a:ext uri="{FF2B5EF4-FFF2-40B4-BE49-F238E27FC236}">
                  <a16:creationId xmlns:a16="http://schemas.microsoft.com/office/drawing/2014/main" id="{59741D67-A71C-5D74-9E7D-BEB343AAA2A3}"/>
                </a:ext>
              </a:extLst>
            </p:cNvPr>
            <p:cNvSpPr txBox="1"/>
            <p:nvPr/>
          </p:nvSpPr>
          <p:spPr>
            <a:xfrm>
              <a:off x="6657588" y="5719413"/>
              <a:ext cx="361637" cy="246221"/>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28</a:t>
              </a:r>
            </a:p>
          </p:txBody>
        </p:sp>
        <p:sp>
          <p:nvSpPr>
            <p:cNvPr id="838" name="TextBox 837">
              <a:extLst>
                <a:ext uri="{FF2B5EF4-FFF2-40B4-BE49-F238E27FC236}">
                  <a16:creationId xmlns:a16="http://schemas.microsoft.com/office/drawing/2014/main" id="{8DCA533F-8430-4B15-6961-F22EC0C41FD3}"/>
                </a:ext>
              </a:extLst>
            </p:cNvPr>
            <p:cNvSpPr txBox="1"/>
            <p:nvPr/>
          </p:nvSpPr>
          <p:spPr>
            <a:xfrm>
              <a:off x="6849946" y="5457425"/>
              <a:ext cx="361637" cy="246221"/>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82</a:t>
              </a:r>
            </a:p>
          </p:txBody>
        </p:sp>
        <p:sp>
          <p:nvSpPr>
            <p:cNvPr id="839" name="TextBox 838">
              <a:extLst>
                <a:ext uri="{FF2B5EF4-FFF2-40B4-BE49-F238E27FC236}">
                  <a16:creationId xmlns:a16="http://schemas.microsoft.com/office/drawing/2014/main" id="{503F865A-7131-C971-5F51-FDD3862C5296}"/>
                </a:ext>
              </a:extLst>
            </p:cNvPr>
            <p:cNvSpPr txBox="1"/>
            <p:nvPr/>
          </p:nvSpPr>
          <p:spPr>
            <a:xfrm>
              <a:off x="6849946" y="5719413"/>
              <a:ext cx="361637" cy="246221"/>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27</a:t>
              </a:r>
            </a:p>
          </p:txBody>
        </p:sp>
        <p:sp>
          <p:nvSpPr>
            <p:cNvPr id="840" name="TextBox 839">
              <a:extLst>
                <a:ext uri="{FF2B5EF4-FFF2-40B4-BE49-F238E27FC236}">
                  <a16:creationId xmlns:a16="http://schemas.microsoft.com/office/drawing/2014/main" id="{E4174F26-1670-BDC4-3DD7-0DA62BC33BA8}"/>
                </a:ext>
              </a:extLst>
            </p:cNvPr>
            <p:cNvSpPr txBox="1"/>
            <p:nvPr/>
          </p:nvSpPr>
          <p:spPr>
            <a:xfrm>
              <a:off x="7065162" y="5457425"/>
              <a:ext cx="361637" cy="246221"/>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73</a:t>
              </a:r>
            </a:p>
          </p:txBody>
        </p:sp>
        <p:sp>
          <p:nvSpPr>
            <p:cNvPr id="841" name="TextBox 840">
              <a:extLst>
                <a:ext uri="{FF2B5EF4-FFF2-40B4-BE49-F238E27FC236}">
                  <a16:creationId xmlns:a16="http://schemas.microsoft.com/office/drawing/2014/main" id="{8F2AA99C-4937-CEEB-1C92-A45A19592767}"/>
                </a:ext>
              </a:extLst>
            </p:cNvPr>
            <p:cNvSpPr txBox="1"/>
            <p:nvPr/>
          </p:nvSpPr>
          <p:spPr>
            <a:xfrm>
              <a:off x="7065162" y="5719413"/>
              <a:ext cx="361637" cy="246221"/>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22</a:t>
              </a:r>
            </a:p>
          </p:txBody>
        </p:sp>
        <p:sp>
          <p:nvSpPr>
            <p:cNvPr id="842" name="TextBox 841">
              <a:extLst>
                <a:ext uri="{FF2B5EF4-FFF2-40B4-BE49-F238E27FC236}">
                  <a16:creationId xmlns:a16="http://schemas.microsoft.com/office/drawing/2014/main" id="{4A854E33-69F8-FE07-87DA-945D58394D1E}"/>
                </a:ext>
              </a:extLst>
            </p:cNvPr>
            <p:cNvSpPr txBox="1"/>
            <p:nvPr/>
          </p:nvSpPr>
          <p:spPr>
            <a:xfrm>
              <a:off x="7257528" y="5457425"/>
              <a:ext cx="361637" cy="246221"/>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64</a:t>
              </a:r>
            </a:p>
          </p:txBody>
        </p:sp>
        <p:sp>
          <p:nvSpPr>
            <p:cNvPr id="843" name="TextBox 842">
              <a:extLst>
                <a:ext uri="{FF2B5EF4-FFF2-40B4-BE49-F238E27FC236}">
                  <a16:creationId xmlns:a16="http://schemas.microsoft.com/office/drawing/2014/main" id="{748EB652-8C86-B88E-133F-20EE8F9C89D2}"/>
                </a:ext>
              </a:extLst>
            </p:cNvPr>
            <p:cNvSpPr txBox="1"/>
            <p:nvPr/>
          </p:nvSpPr>
          <p:spPr>
            <a:xfrm>
              <a:off x="7257528" y="5719413"/>
              <a:ext cx="361637" cy="246221"/>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19</a:t>
              </a:r>
            </a:p>
          </p:txBody>
        </p:sp>
        <p:sp>
          <p:nvSpPr>
            <p:cNvPr id="844" name="TextBox 843">
              <a:extLst>
                <a:ext uri="{FF2B5EF4-FFF2-40B4-BE49-F238E27FC236}">
                  <a16:creationId xmlns:a16="http://schemas.microsoft.com/office/drawing/2014/main" id="{82F1562B-8CDD-D7A8-46D0-E542069B2F25}"/>
                </a:ext>
              </a:extLst>
            </p:cNvPr>
            <p:cNvSpPr txBox="1"/>
            <p:nvPr/>
          </p:nvSpPr>
          <p:spPr>
            <a:xfrm>
              <a:off x="7463004" y="5457425"/>
              <a:ext cx="361637" cy="246221"/>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55</a:t>
              </a:r>
            </a:p>
          </p:txBody>
        </p:sp>
        <p:sp>
          <p:nvSpPr>
            <p:cNvPr id="845" name="TextBox 844">
              <a:extLst>
                <a:ext uri="{FF2B5EF4-FFF2-40B4-BE49-F238E27FC236}">
                  <a16:creationId xmlns:a16="http://schemas.microsoft.com/office/drawing/2014/main" id="{0A1211AF-D550-8CAF-9155-824B5BEBA40E}"/>
                </a:ext>
              </a:extLst>
            </p:cNvPr>
            <p:cNvSpPr txBox="1"/>
            <p:nvPr/>
          </p:nvSpPr>
          <p:spPr>
            <a:xfrm>
              <a:off x="7463004" y="5719413"/>
              <a:ext cx="361637" cy="246221"/>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15</a:t>
              </a:r>
            </a:p>
          </p:txBody>
        </p:sp>
        <p:sp>
          <p:nvSpPr>
            <p:cNvPr id="846" name="TextBox 845">
              <a:extLst>
                <a:ext uri="{FF2B5EF4-FFF2-40B4-BE49-F238E27FC236}">
                  <a16:creationId xmlns:a16="http://schemas.microsoft.com/office/drawing/2014/main" id="{02AD72E9-7C55-63D4-4C48-DE2FCFF12C48}"/>
                </a:ext>
              </a:extLst>
            </p:cNvPr>
            <p:cNvSpPr txBox="1"/>
            <p:nvPr/>
          </p:nvSpPr>
          <p:spPr>
            <a:xfrm>
              <a:off x="7655334" y="5457425"/>
              <a:ext cx="361637" cy="246221"/>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41</a:t>
              </a:r>
            </a:p>
          </p:txBody>
        </p:sp>
        <p:sp>
          <p:nvSpPr>
            <p:cNvPr id="847" name="TextBox 846">
              <a:extLst>
                <a:ext uri="{FF2B5EF4-FFF2-40B4-BE49-F238E27FC236}">
                  <a16:creationId xmlns:a16="http://schemas.microsoft.com/office/drawing/2014/main" id="{66F9F93E-BDD9-2EAD-498D-86A6F09FF811}"/>
                </a:ext>
              </a:extLst>
            </p:cNvPr>
            <p:cNvSpPr txBox="1"/>
            <p:nvPr/>
          </p:nvSpPr>
          <p:spPr>
            <a:xfrm>
              <a:off x="7655334" y="5719413"/>
              <a:ext cx="361637" cy="246221"/>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14</a:t>
              </a:r>
            </a:p>
          </p:txBody>
        </p:sp>
        <p:sp>
          <p:nvSpPr>
            <p:cNvPr id="848" name="TextBox 847">
              <a:extLst>
                <a:ext uri="{FF2B5EF4-FFF2-40B4-BE49-F238E27FC236}">
                  <a16:creationId xmlns:a16="http://schemas.microsoft.com/office/drawing/2014/main" id="{B9AA5268-3CAA-E8BD-8948-6528E9B20F9C}"/>
                </a:ext>
              </a:extLst>
            </p:cNvPr>
            <p:cNvSpPr txBox="1"/>
            <p:nvPr/>
          </p:nvSpPr>
          <p:spPr>
            <a:xfrm>
              <a:off x="7861190" y="5457425"/>
              <a:ext cx="361637" cy="246221"/>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32</a:t>
              </a:r>
            </a:p>
          </p:txBody>
        </p:sp>
        <p:sp>
          <p:nvSpPr>
            <p:cNvPr id="849" name="TextBox 848">
              <a:extLst>
                <a:ext uri="{FF2B5EF4-FFF2-40B4-BE49-F238E27FC236}">
                  <a16:creationId xmlns:a16="http://schemas.microsoft.com/office/drawing/2014/main" id="{DF253A28-CD7C-3A6B-6ADE-F5701E5ABAC8}"/>
                </a:ext>
              </a:extLst>
            </p:cNvPr>
            <p:cNvSpPr txBox="1"/>
            <p:nvPr/>
          </p:nvSpPr>
          <p:spPr>
            <a:xfrm>
              <a:off x="7887624" y="5719413"/>
              <a:ext cx="303931" cy="246221"/>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8</a:t>
              </a:r>
            </a:p>
          </p:txBody>
        </p:sp>
        <p:sp>
          <p:nvSpPr>
            <p:cNvPr id="850" name="TextBox 849">
              <a:extLst>
                <a:ext uri="{FF2B5EF4-FFF2-40B4-BE49-F238E27FC236}">
                  <a16:creationId xmlns:a16="http://schemas.microsoft.com/office/drawing/2014/main" id="{CB21F324-7CEF-51E0-E114-05D147DD1312}"/>
                </a:ext>
              </a:extLst>
            </p:cNvPr>
            <p:cNvSpPr txBox="1"/>
            <p:nvPr/>
          </p:nvSpPr>
          <p:spPr>
            <a:xfrm>
              <a:off x="8053546" y="5457425"/>
              <a:ext cx="361637" cy="246221"/>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28</a:t>
              </a:r>
            </a:p>
          </p:txBody>
        </p:sp>
        <p:sp>
          <p:nvSpPr>
            <p:cNvPr id="851" name="TextBox 850">
              <a:extLst>
                <a:ext uri="{FF2B5EF4-FFF2-40B4-BE49-F238E27FC236}">
                  <a16:creationId xmlns:a16="http://schemas.microsoft.com/office/drawing/2014/main" id="{316A5B1E-1C15-7CFC-322F-864FA386CD10}"/>
                </a:ext>
              </a:extLst>
            </p:cNvPr>
            <p:cNvSpPr txBox="1"/>
            <p:nvPr/>
          </p:nvSpPr>
          <p:spPr>
            <a:xfrm>
              <a:off x="8079991" y="5719413"/>
              <a:ext cx="303931" cy="246221"/>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7</a:t>
              </a:r>
            </a:p>
          </p:txBody>
        </p:sp>
        <p:sp>
          <p:nvSpPr>
            <p:cNvPr id="852" name="TextBox 851">
              <a:extLst>
                <a:ext uri="{FF2B5EF4-FFF2-40B4-BE49-F238E27FC236}">
                  <a16:creationId xmlns:a16="http://schemas.microsoft.com/office/drawing/2014/main" id="{8DB7E189-4920-4F72-0BAA-4DFDB499AC77}"/>
                </a:ext>
              </a:extLst>
            </p:cNvPr>
            <p:cNvSpPr txBox="1"/>
            <p:nvPr/>
          </p:nvSpPr>
          <p:spPr>
            <a:xfrm>
              <a:off x="8258956" y="5457425"/>
              <a:ext cx="361637" cy="246221"/>
            </a:xfrm>
            <a:prstGeom prst="rect">
              <a:avLst/>
            </a:prstGeom>
            <a:noFill/>
          </p:spPr>
          <p:txBody>
            <a:bodyPr wrap="none" rtlCol="0">
              <a:spAutoFit/>
            </a:bodyPr>
            <a:lstStyle/>
            <a:p>
              <a:pPr algn="l"/>
              <a:r>
                <a:rPr lang="en-US" sz="600" dirty="0">
                  <a:ln/>
                  <a:solidFill>
                    <a:srgbClr val="000000"/>
                  </a:solidFill>
                  <a:latin typeface="Arial" panose="020B0604020202020204" pitchFamily="34" charset="0"/>
                  <a:cs typeface="Arial" panose="020B0604020202020204" pitchFamily="34" charset="0"/>
                  <a:sym typeface="HelveticaNeueLTStd-Roman"/>
                  <a:rtl val="0"/>
                </a:rPr>
                <a:t>23</a:t>
              </a:r>
            </a:p>
          </p:txBody>
        </p:sp>
        <p:sp>
          <p:nvSpPr>
            <p:cNvPr id="853" name="TextBox 852">
              <a:extLst>
                <a:ext uri="{FF2B5EF4-FFF2-40B4-BE49-F238E27FC236}">
                  <a16:creationId xmlns:a16="http://schemas.microsoft.com/office/drawing/2014/main" id="{BF1B6649-94CC-1392-A287-800FF6CF5E91}"/>
                </a:ext>
              </a:extLst>
            </p:cNvPr>
            <p:cNvSpPr txBox="1"/>
            <p:nvPr/>
          </p:nvSpPr>
          <p:spPr>
            <a:xfrm>
              <a:off x="8285390" y="5719413"/>
              <a:ext cx="303931" cy="246221"/>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6</a:t>
              </a:r>
            </a:p>
          </p:txBody>
        </p:sp>
        <p:sp>
          <p:nvSpPr>
            <p:cNvPr id="855" name="TextBox 854">
              <a:extLst>
                <a:ext uri="{FF2B5EF4-FFF2-40B4-BE49-F238E27FC236}">
                  <a16:creationId xmlns:a16="http://schemas.microsoft.com/office/drawing/2014/main" id="{1F406C8D-C19C-9D4B-374F-929F53BE8FEF}"/>
                </a:ext>
              </a:extLst>
            </p:cNvPr>
            <p:cNvSpPr txBox="1"/>
            <p:nvPr/>
          </p:nvSpPr>
          <p:spPr>
            <a:xfrm>
              <a:off x="8475628" y="5719413"/>
              <a:ext cx="303931" cy="246221"/>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4</a:t>
              </a:r>
            </a:p>
          </p:txBody>
        </p:sp>
        <p:sp>
          <p:nvSpPr>
            <p:cNvPr id="856" name="TextBox 855">
              <a:extLst>
                <a:ext uri="{FF2B5EF4-FFF2-40B4-BE49-F238E27FC236}">
                  <a16:creationId xmlns:a16="http://schemas.microsoft.com/office/drawing/2014/main" id="{8B4092E9-5B7C-B419-445C-C62B9ADE666F}"/>
                </a:ext>
              </a:extLst>
            </p:cNvPr>
            <p:cNvSpPr txBox="1"/>
            <p:nvPr/>
          </p:nvSpPr>
          <p:spPr>
            <a:xfrm>
              <a:off x="8666614" y="5457425"/>
              <a:ext cx="361637" cy="246221"/>
            </a:xfrm>
            <a:prstGeom prst="rect">
              <a:avLst/>
            </a:prstGeom>
            <a:noFill/>
          </p:spPr>
          <p:txBody>
            <a:bodyPr wrap="none" rtlCol="0">
              <a:spAutoFit/>
            </a:bodyPr>
            <a:lstStyle/>
            <a:p>
              <a:pPr algn="l"/>
              <a:r>
                <a:rPr lang="en-US" sz="600" dirty="0">
                  <a:ln/>
                  <a:solidFill>
                    <a:srgbClr val="000000"/>
                  </a:solidFill>
                  <a:latin typeface="Arial" panose="020B0604020202020204" pitchFamily="34" charset="0"/>
                  <a:cs typeface="Arial" panose="020B0604020202020204" pitchFamily="34" charset="0"/>
                  <a:sym typeface="HelveticaNeueLTStd-Roman"/>
                  <a:rtl val="0"/>
                </a:rPr>
                <a:t>18</a:t>
              </a:r>
            </a:p>
          </p:txBody>
        </p:sp>
        <p:sp>
          <p:nvSpPr>
            <p:cNvPr id="857" name="TextBox 856">
              <a:extLst>
                <a:ext uri="{FF2B5EF4-FFF2-40B4-BE49-F238E27FC236}">
                  <a16:creationId xmlns:a16="http://schemas.microsoft.com/office/drawing/2014/main" id="{DD0D2B0C-9788-8145-54D6-9158F2C3C4DC}"/>
                </a:ext>
              </a:extLst>
            </p:cNvPr>
            <p:cNvSpPr txBox="1"/>
            <p:nvPr/>
          </p:nvSpPr>
          <p:spPr>
            <a:xfrm>
              <a:off x="8693558" y="5719413"/>
              <a:ext cx="303931" cy="246221"/>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2</a:t>
              </a:r>
            </a:p>
          </p:txBody>
        </p:sp>
        <p:sp>
          <p:nvSpPr>
            <p:cNvPr id="858" name="TextBox 857">
              <a:extLst>
                <a:ext uri="{FF2B5EF4-FFF2-40B4-BE49-F238E27FC236}">
                  <a16:creationId xmlns:a16="http://schemas.microsoft.com/office/drawing/2014/main" id="{B3734EA6-FBBC-D2EB-67B3-8DD97F80A50B}"/>
                </a:ext>
              </a:extLst>
            </p:cNvPr>
            <p:cNvSpPr txBox="1"/>
            <p:nvPr/>
          </p:nvSpPr>
          <p:spPr>
            <a:xfrm>
              <a:off x="8858972" y="5457425"/>
              <a:ext cx="361637" cy="246221"/>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13</a:t>
              </a:r>
            </a:p>
          </p:txBody>
        </p:sp>
        <p:sp>
          <p:nvSpPr>
            <p:cNvPr id="859" name="TextBox 858">
              <a:extLst>
                <a:ext uri="{FF2B5EF4-FFF2-40B4-BE49-F238E27FC236}">
                  <a16:creationId xmlns:a16="http://schemas.microsoft.com/office/drawing/2014/main" id="{C60EBCC0-6D4F-DA4D-ABC4-D377A570AAE8}"/>
                </a:ext>
              </a:extLst>
            </p:cNvPr>
            <p:cNvSpPr txBox="1"/>
            <p:nvPr/>
          </p:nvSpPr>
          <p:spPr>
            <a:xfrm>
              <a:off x="8885916" y="5719413"/>
              <a:ext cx="303931" cy="246221"/>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2</a:t>
              </a:r>
            </a:p>
          </p:txBody>
        </p:sp>
        <p:sp>
          <p:nvSpPr>
            <p:cNvPr id="860" name="TextBox 859">
              <a:extLst>
                <a:ext uri="{FF2B5EF4-FFF2-40B4-BE49-F238E27FC236}">
                  <a16:creationId xmlns:a16="http://schemas.microsoft.com/office/drawing/2014/main" id="{3672A726-587C-0F25-81FC-1D427124FA9C}"/>
                </a:ext>
              </a:extLst>
            </p:cNvPr>
            <p:cNvSpPr txBox="1"/>
            <p:nvPr/>
          </p:nvSpPr>
          <p:spPr>
            <a:xfrm>
              <a:off x="9090815" y="5457425"/>
              <a:ext cx="303931" cy="246221"/>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7</a:t>
              </a:r>
            </a:p>
          </p:txBody>
        </p:sp>
        <p:sp>
          <p:nvSpPr>
            <p:cNvPr id="861" name="TextBox 860">
              <a:extLst>
                <a:ext uri="{FF2B5EF4-FFF2-40B4-BE49-F238E27FC236}">
                  <a16:creationId xmlns:a16="http://schemas.microsoft.com/office/drawing/2014/main" id="{409FCA3F-9AF4-AFA0-B3F6-D90ECBA0004A}"/>
                </a:ext>
              </a:extLst>
            </p:cNvPr>
            <p:cNvSpPr txBox="1"/>
            <p:nvPr/>
          </p:nvSpPr>
          <p:spPr>
            <a:xfrm>
              <a:off x="9090815" y="5719413"/>
              <a:ext cx="303931" cy="246221"/>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2</a:t>
              </a:r>
            </a:p>
          </p:txBody>
        </p:sp>
        <p:sp>
          <p:nvSpPr>
            <p:cNvPr id="862" name="TextBox 861">
              <a:extLst>
                <a:ext uri="{FF2B5EF4-FFF2-40B4-BE49-F238E27FC236}">
                  <a16:creationId xmlns:a16="http://schemas.microsoft.com/office/drawing/2014/main" id="{E585BA4A-2765-58F8-9CB8-6014916DEEB9}"/>
                </a:ext>
              </a:extLst>
            </p:cNvPr>
            <p:cNvSpPr txBox="1"/>
            <p:nvPr/>
          </p:nvSpPr>
          <p:spPr>
            <a:xfrm>
              <a:off x="9283258" y="5457425"/>
              <a:ext cx="303931" cy="246221"/>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5</a:t>
              </a:r>
            </a:p>
          </p:txBody>
        </p:sp>
        <p:sp>
          <p:nvSpPr>
            <p:cNvPr id="863" name="TextBox 862">
              <a:extLst>
                <a:ext uri="{FF2B5EF4-FFF2-40B4-BE49-F238E27FC236}">
                  <a16:creationId xmlns:a16="http://schemas.microsoft.com/office/drawing/2014/main" id="{1D528FAB-E08B-A501-332B-9C6C8FF1F9EB}"/>
                </a:ext>
              </a:extLst>
            </p:cNvPr>
            <p:cNvSpPr txBox="1"/>
            <p:nvPr/>
          </p:nvSpPr>
          <p:spPr>
            <a:xfrm>
              <a:off x="9283258" y="5719413"/>
              <a:ext cx="303931" cy="246221"/>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1</a:t>
              </a:r>
            </a:p>
          </p:txBody>
        </p:sp>
        <p:sp>
          <p:nvSpPr>
            <p:cNvPr id="864" name="TextBox 863">
              <a:extLst>
                <a:ext uri="{FF2B5EF4-FFF2-40B4-BE49-F238E27FC236}">
                  <a16:creationId xmlns:a16="http://schemas.microsoft.com/office/drawing/2014/main" id="{B1727291-1FDA-FC00-C072-B10406F7EEC4}"/>
                </a:ext>
              </a:extLst>
            </p:cNvPr>
            <p:cNvSpPr txBox="1"/>
            <p:nvPr/>
          </p:nvSpPr>
          <p:spPr>
            <a:xfrm>
              <a:off x="9481458" y="5457425"/>
              <a:ext cx="303931" cy="246221"/>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4</a:t>
              </a:r>
            </a:p>
          </p:txBody>
        </p:sp>
        <p:sp>
          <p:nvSpPr>
            <p:cNvPr id="865" name="TextBox 864">
              <a:extLst>
                <a:ext uri="{FF2B5EF4-FFF2-40B4-BE49-F238E27FC236}">
                  <a16:creationId xmlns:a16="http://schemas.microsoft.com/office/drawing/2014/main" id="{8E66F437-7B05-0046-BC27-624DEDEB3B5E}"/>
                </a:ext>
              </a:extLst>
            </p:cNvPr>
            <p:cNvSpPr txBox="1"/>
            <p:nvPr/>
          </p:nvSpPr>
          <p:spPr>
            <a:xfrm>
              <a:off x="9481458" y="5719413"/>
              <a:ext cx="303931" cy="246221"/>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1</a:t>
              </a:r>
            </a:p>
          </p:txBody>
        </p:sp>
        <p:sp>
          <p:nvSpPr>
            <p:cNvPr id="866" name="TextBox 865">
              <a:extLst>
                <a:ext uri="{FF2B5EF4-FFF2-40B4-BE49-F238E27FC236}">
                  <a16:creationId xmlns:a16="http://schemas.microsoft.com/office/drawing/2014/main" id="{3C243543-35D8-696F-E085-0B4FBFB1E4E0}"/>
                </a:ext>
              </a:extLst>
            </p:cNvPr>
            <p:cNvSpPr txBox="1"/>
            <p:nvPr/>
          </p:nvSpPr>
          <p:spPr>
            <a:xfrm>
              <a:off x="9673834" y="5457425"/>
              <a:ext cx="303931" cy="246221"/>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2</a:t>
              </a:r>
            </a:p>
          </p:txBody>
        </p:sp>
        <p:sp>
          <p:nvSpPr>
            <p:cNvPr id="867" name="TextBox 866">
              <a:extLst>
                <a:ext uri="{FF2B5EF4-FFF2-40B4-BE49-F238E27FC236}">
                  <a16:creationId xmlns:a16="http://schemas.microsoft.com/office/drawing/2014/main" id="{ED5637BE-D65C-B7D4-EB8F-5C51DEB0F942}"/>
                </a:ext>
              </a:extLst>
            </p:cNvPr>
            <p:cNvSpPr txBox="1"/>
            <p:nvPr/>
          </p:nvSpPr>
          <p:spPr>
            <a:xfrm>
              <a:off x="9673834" y="5719413"/>
              <a:ext cx="303931" cy="246221"/>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1</a:t>
              </a:r>
            </a:p>
          </p:txBody>
        </p:sp>
        <p:sp>
          <p:nvSpPr>
            <p:cNvPr id="868" name="TextBox 867">
              <a:extLst>
                <a:ext uri="{FF2B5EF4-FFF2-40B4-BE49-F238E27FC236}">
                  <a16:creationId xmlns:a16="http://schemas.microsoft.com/office/drawing/2014/main" id="{32BEAD1C-6E43-2AAC-3FE5-137A3E9CD1C0}"/>
                </a:ext>
              </a:extLst>
            </p:cNvPr>
            <p:cNvSpPr txBox="1"/>
            <p:nvPr/>
          </p:nvSpPr>
          <p:spPr>
            <a:xfrm>
              <a:off x="9879299" y="5457425"/>
              <a:ext cx="303931" cy="246221"/>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1</a:t>
              </a:r>
            </a:p>
          </p:txBody>
        </p:sp>
        <p:sp>
          <p:nvSpPr>
            <p:cNvPr id="869" name="TextBox 868">
              <a:extLst>
                <a:ext uri="{FF2B5EF4-FFF2-40B4-BE49-F238E27FC236}">
                  <a16:creationId xmlns:a16="http://schemas.microsoft.com/office/drawing/2014/main" id="{20C7B6D1-7A90-1BC6-884D-CFD43FA30A0C}"/>
                </a:ext>
              </a:extLst>
            </p:cNvPr>
            <p:cNvSpPr txBox="1"/>
            <p:nvPr/>
          </p:nvSpPr>
          <p:spPr>
            <a:xfrm>
              <a:off x="9879299" y="5719413"/>
              <a:ext cx="303931" cy="246221"/>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1</a:t>
              </a:r>
            </a:p>
          </p:txBody>
        </p:sp>
        <p:sp>
          <p:nvSpPr>
            <p:cNvPr id="870" name="TextBox 869">
              <a:extLst>
                <a:ext uri="{FF2B5EF4-FFF2-40B4-BE49-F238E27FC236}">
                  <a16:creationId xmlns:a16="http://schemas.microsoft.com/office/drawing/2014/main" id="{11B88471-A661-E493-9C94-C17FE049A20F}"/>
                </a:ext>
              </a:extLst>
            </p:cNvPr>
            <p:cNvSpPr txBox="1"/>
            <p:nvPr/>
          </p:nvSpPr>
          <p:spPr>
            <a:xfrm>
              <a:off x="10071638" y="5457425"/>
              <a:ext cx="303931" cy="246221"/>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0</a:t>
              </a:r>
            </a:p>
          </p:txBody>
        </p:sp>
        <p:sp>
          <p:nvSpPr>
            <p:cNvPr id="871" name="TextBox 870">
              <a:extLst>
                <a:ext uri="{FF2B5EF4-FFF2-40B4-BE49-F238E27FC236}">
                  <a16:creationId xmlns:a16="http://schemas.microsoft.com/office/drawing/2014/main" id="{C9D0C091-F8D8-081C-BDD7-290A1135117F}"/>
                </a:ext>
              </a:extLst>
            </p:cNvPr>
            <p:cNvSpPr txBox="1"/>
            <p:nvPr/>
          </p:nvSpPr>
          <p:spPr>
            <a:xfrm>
              <a:off x="10071638" y="5719413"/>
              <a:ext cx="303931" cy="246221"/>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1</a:t>
              </a:r>
            </a:p>
          </p:txBody>
        </p:sp>
        <p:sp>
          <p:nvSpPr>
            <p:cNvPr id="872" name="TextBox 871">
              <a:extLst>
                <a:ext uri="{FF2B5EF4-FFF2-40B4-BE49-F238E27FC236}">
                  <a16:creationId xmlns:a16="http://schemas.microsoft.com/office/drawing/2014/main" id="{D51516E6-5190-9086-30C0-259BEC486D65}"/>
                </a:ext>
              </a:extLst>
            </p:cNvPr>
            <p:cNvSpPr txBox="1"/>
            <p:nvPr/>
          </p:nvSpPr>
          <p:spPr>
            <a:xfrm>
              <a:off x="10286902" y="5719413"/>
              <a:ext cx="303931" cy="246221"/>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1</a:t>
              </a:r>
            </a:p>
          </p:txBody>
        </p:sp>
        <p:sp>
          <p:nvSpPr>
            <p:cNvPr id="873" name="TextBox 872">
              <a:extLst>
                <a:ext uri="{FF2B5EF4-FFF2-40B4-BE49-F238E27FC236}">
                  <a16:creationId xmlns:a16="http://schemas.microsoft.com/office/drawing/2014/main" id="{0665445D-6A31-4421-9558-911592DD22BE}"/>
                </a:ext>
              </a:extLst>
            </p:cNvPr>
            <p:cNvSpPr txBox="1"/>
            <p:nvPr/>
          </p:nvSpPr>
          <p:spPr>
            <a:xfrm>
              <a:off x="10479240" y="5719413"/>
              <a:ext cx="303931" cy="246221"/>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0</a:t>
              </a:r>
            </a:p>
          </p:txBody>
        </p:sp>
        <p:sp>
          <p:nvSpPr>
            <p:cNvPr id="776" name="TextBox 775">
              <a:extLst>
                <a:ext uri="{FF2B5EF4-FFF2-40B4-BE49-F238E27FC236}">
                  <a16:creationId xmlns:a16="http://schemas.microsoft.com/office/drawing/2014/main" id="{2C015901-A5BB-B09B-8066-4089C41FE591}"/>
                </a:ext>
              </a:extLst>
            </p:cNvPr>
            <p:cNvSpPr txBox="1"/>
            <p:nvPr/>
          </p:nvSpPr>
          <p:spPr>
            <a:xfrm>
              <a:off x="1060550" y="5457425"/>
              <a:ext cx="571096" cy="246221"/>
            </a:xfrm>
            <a:prstGeom prst="rect">
              <a:avLst/>
            </a:prstGeom>
            <a:noFill/>
          </p:spPr>
          <p:txBody>
            <a:bodyPr wrap="none" rtlCol="0">
              <a:spAutoFit/>
            </a:bodyPr>
            <a:lstStyle/>
            <a:p>
              <a:pPr algn="l"/>
              <a:r>
                <a:rPr lang="en-US" sz="600" dirty="0">
                  <a:ln/>
                  <a:solidFill>
                    <a:srgbClr val="000000"/>
                  </a:solidFill>
                  <a:latin typeface="Arial" panose="020B0604020202020204" pitchFamily="34" charset="0"/>
                  <a:cs typeface="Arial" panose="020B0604020202020204" pitchFamily="34" charset="0"/>
                  <a:sym typeface="HelveticaNeueLTStd-Roman"/>
                  <a:rtl val="0"/>
                </a:rPr>
                <a:t>T-</a:t>
              </a:r>
              <a:r>
                <a:rPr lang="en-US" sz="600" dirty="0" err="1">
                  <a:ln/>
                  <a:solidFill>
                    <a:srgbClr val="000000"/>
                  </a:solidFill>
                  <a:latin typeface="Arial" panose="020B0604020202020204" pitchFamily="34" charset="0"/>
                  <a:cs typeface="Arial" panose="020B0604020202020204" pitchFamily="34" charset="0"/>
                  <a:sym typeface="HelveticaNeueLTStd-Roman"/>
                  <a:rtl val="0"/>
                </a:rPr>
                <a:t>DXd</a:t>
              </a:r>
              <a:r>
                <a:rPr lang="en-US" sz="600" dirty="0">
                  <a:ln/>
                  <a:solidFill>
                    <a:srgbClr val="000000"/>
                  </a:solidFill>
                  <a:latin typeface="Arial" panose="020B0604020202020204" pitchFamily="34" charset="0"/>
                  <a:cs typeface="Arial" panose="020B0604020202020204" pitchFamily="34" charset="0"/>
                  <a:sym typeface="HelveticaNeueLTStd-Roman"/>
                  <a:rtl val="0"/>
                </a:rPr>
                <a:t> </a:t>
              </a:r>
            </a:p>
          </p:txBody>
        </p:sp>
        <p:sp>
          <p:nvSpPr>
            <p:cNvPr id="777" name="TextBox 776">
              <a:extLst>
                <a:ext uri="{FF2B5EF4-FFF2-40B4-BE49-F238E27FC236}">
                  <a16:creationId xmlns:a16="http://schemas.microsoft.com/office/drawing/2014/main" id="{E17F6C69-798B-59CA-A08D-0A024A86671B}"/>
                </a:ext>
              </a:extLst>
            </p:cNvPr>
            <p:cNvSpPr txBox="1"/>
            <p:nvPr/>
          </p:nvSpPr>
          <p:spPr>
            <a:xfrm>
              <a:off x="1053064" y="5719413"/>
              <a:ext cx="588195" cy="246221"/>
            </a:xfrm>
            <a:prstGeom prst="rect">
              <a:avLst/>
            </a:prstGeom>
            <a:noFill/>
          </p:spPr>
          <p:txBody>
            <a:bodyPr wrap="none" rtlCol="0">
              <a:spAutoFit/>
            </a:bodyPr>
            <a:lstStyle/>
            <a:p>
              <a:pPr algn="l"/>
              <a:r>
                <a:rPr lang="en-US" sz="600" dirty="0">
                  <a:ln/>
                  <a:solidFill>
                    <a:srgbClr val="000000"/>
                  </a:solidFill>
                  <a:latin typeface="Arial" panose="020B0604020202020204" pitchFamily="34" charset="0"/>
                  <a:cs typeface="Arial" panose="020B0604020202020204" pitchFamily="34" charset="0"/>
                  <a:sym typeface="HelveticaNeueLTStd-Roman"/>
                  <a:rtl val="0"/>
                </a:rPr>
                <a:t>T-DM1 </a:t>
              </a:r>
            </a:p>
          </p:txBody>
        </p:sp>
        <p:sp>
          <p:nvSpPr>
            <p:cNvPr id="4" name="Rectangle 3">
              <a:extLst>
                <a:ext uri="{FF2B5EF4-FFF2-40B4-BE49-F238E27FC236}">
                  <a16:creationId xmlns:a16="http://schemas.microsoft.com/office/drawing/2014/main" id="{7810E75A-FB69-983B-211B-867FC4026217}"/>
                </a:ext>
              </a:extLst>
            </p:cNvPr>
            <p:cNvSpPr/>
            <p:nvPr/>
          </p:nvSpPr>
          <p:spPr>
            <a:xfrm>
              <a:off x="3613425" y="1665229"/>
              <a:ext cx="3040848" cy="4067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rgbClr val="002985"/>
                  </a:solidFill>
                  <a:latin typeface="Arial" panose="020B0604020202020204" pitchFamily="34" charset="0"/>
                  <a:cs typeface="Arial" panose="020B0604020202020204" pitchFamily="34" charset="0"/>
                </a:rPr>
                <a:t>T-DXd</a:t>
              </a:r>
              <a:r>
                <a:rPr lang="en-US" sz="900" b="1" dirty="0">
                  <a:solidFill>
                    <a:schemeClr val="tx1"/>
                  </a:solidFill>
                  <a:latin typeface="Arial" panose="020B0604020202020204" pitchFamily="34" charset="0"/>
                  <a:cs typeface="Arial" panose="020B0604020202020204" pitchFamily="34" charset="0"/>
                </a:rPr>
                <a:t>: </a:t>
              </a:r>
              <a:r>
                <a:rPr lang="en-US" sz="900" dirty="0">
                  <a:solidFill>
                    <a:srgbClr val="002985"/>
                  </a:solidFill>
                  <a:latin typeface="Arial" panose="020B0604020202020204" pitchFamily="34" charset="0"/>
                  <a:cs typeface="Arial" panose="020B0604020202020204" pitchFamily="34" charset="0"/>
                </a:rPr>
                <a:t>75.2% (95% CI, 69.3-80.2)</a:t>
              </a:r>
            </a:p>
            <a:p>
              <a:pPr algn="ctr"/>
              <a:r>
                <a:rPr lang="en-US" sz="900" b="1" dirty="0">
                  <a:solidFill>
                    <a:srgbClr val="828283"/>
                  </a:solidFill>
                  <a:latin typeface="Arial" panose="020B0604020202020204" pitchFamily="34" charset="0"/>
                  <a:cs typeface="Arial" panose="020B0604020202020204" pitchFamily="34" charset="0"/>
                </a:rPr>
                <a:t>T-DM1: </a:t>
              </a:r>
              <a:r>
                <a:rPr lang="en-US" sz="900" dirty="0">
                  <a:solidFill>
                    <a:srgbClr val="828283"/>
                  </a:solidFill>
                  <a:latin typeface="Arial" panose="020B0604020202020204" pitchFamily="34" charset="0"/>
                  <a:cs typeface="Arial" panose="020B0604020202020204" pitchFamily="34" charset="0"/>
                </a:rPr>
                <a:t>33.9% (95% CI, 27.7-40.2) </a:t>
              </a:r>
            </a:p>
          </p:txBody>
        </p:sp>
        <p:sp>
          <p:nvSpPr>
            <p:cNvPr id="9" name="Rectangle 8">
              <a:extLst>
                <a:ext uri="{FF2B5EF4-FFF2-40B4-BE49-F238E27FC236}">
                  <a16:creationId xmlns:a16="http://schemas.microsoft.com/office/drawing/2014/main" id="{8CDA7862-C5DE-2BA1-3300-20AA9CFA7FEA}"/>
                </a:ext>
              </a:extLst>
            </p:cNvPr>
            <p:cNvSpPr/>
            <p:nvPr/>
          </p:nvSpPr>
          <p:spPr>
            <a:xfrm>
              <a:off x="5561319" y="2256468"/>
              <a:ext cx="3140896" cy="466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rgbClr val="002985"/>
                  </a:solidFill>
                  <a:latin typeface="Arial" panose="020B0604020202020204" pitchFamily="34" charset="0"/>
                  <a:cs typeface="Arial" panose="020B0604020202020204" pitchFamily="34" charset="0"/>
                </a:rPr>
                <a:t>T-DXd</a:t>
              </a:r>
              <a:r>
                <a:rPr lang="en-US" sz="900" b="1" dirty="0">
                  <a:solidFill>
                    <a:schemeClr val="tx1"/>
                  </a:solidFill>
                  <a:latin typeface="Arial" panose="020B0604020202020204" pitchFamily="34" charset="0"/>
                  <a:cs typeface="Arial" panose="020B0604020202020204" pitchFamily="34" charset="0"/>
                </a:rPr>
                <a:t>: </a:t>
              </a:r>
              <a:r>
                <a:rPr lang="en-US" sz="900" dirty="0">
                  <a:solidFill>
                    <a:srgbClr val="002985"/>
                  </a:solidFill>
                  <a:latin typeface="Arial" panose="020B0604020202020204" pitchFamily="34" charset="0"/>
                  <a:cs typeface="Arial" panose="020B0604020202020204" pitchFamily="34" charset="0"/>
                </a:rPr>
                <a:t>53.7% (95% CI, 46.8-60.1) </a:t>
              </a:r>
            </a:p>
            <a:p>
              <a:pPr algn="ctr"/>
              <a:r>
                <a:rPr lang="en-US" sz="900" b="1" dirty="0">
                  <a:solidFill>
                    <a:srgbClr val="828283"/>
                  </a:solidFill>
                  <a:latin typeface="Arial" panose="020B0604020202020204" pitchFamily="34" charset="0"/>
                  <a:cs typeface="Arial" panose="020B0604020202020204" pitchFamily="34" charset="0"/>
                </a:rPr>
                <a:t>T-DM1</a:t>
              </a:r>
              <a:r>
                <a:rPr lang="en-US" sz="900" b="1" dirty="0">
                  <a:solidFill>
                    <a:schemeClr val="tx1"/>
                  </a:solidFill>
                  <a:latin typeface="Arial" panose="020B0604020202020204" pitchFamily="34" charset="0"/>
                  <a:cs typeface="Arial" panose="020B0604020202020204" pitchFamily="34" charset="0"/>
                </a:rPr>
                <a:t>: </a:t>
              </a:r>
              <a:r>
                <a:rPr lang="en-US" sz="900" dirty="0">
                  <a:solidFill>
                    <a:srgbClr val="828283"/>
                  </a:solidFill>
                  <a:latin typeface="Arial" panose="020B0604020202020204" pitchFamily="34" charset="0"/>
                  <a:cs typeface="Arial" panose="020B0604020202020204" pitchFamily="34" charset="0"/>
                </a:rPr>
                <a:t>26.4% (95% CI, 20.5-32.6)</a:t>
              </a:r>
            </a:p>
          </p:txBody>
        </p:sp>
        <p:cxnSp>
          <p:nvCxnSpPr>
            <p:cNvPr id="10" name="Straight Connector 9">
              <a:extLst>
                <a:ext uri="{FF2B5EF4-FFF2-40B4-BE49-F238E27FC236}">
                  <a16:creationId xmlns:a16="http://schemas.microsoft.com/office/drawing/2014/main" id="{C7DA0897-C3ED-AA93-E8F4-898C3594CC07}"/>
                </a:ext>
              </a:extLst>
            </p:cNvPr>
            <p:cNvCxnSpPr>
              <a:cxnSpLocks/>
            </p:cNvCxnSpPr>
            <p:nvPr/>
          </p:nvCxnSpPr>
          <p:spPr>
            <a:xfrm flipV="1">
              <a:off x="4007955" y="2043980"/>
              <a:ext cx="0" cy="2831685"/>
            </a:xfrm>
            <a:prstGeom prst="line">
              <a:avLst/>
            </a:prstGeom>
            <a:ln w="19050">
              <a:solidFill>
                <a:schemeClr val="tx1"/>
              </a:solidFill>
              <a:prstDash val="dash"/>
            </a:ln>
          </p:spPr>
          <p:style>
            <a:lnRef idx="1">
              <a:schemeClr val="accent1"/>
            </a:lnRef>
            <a:fillRef idx="0">
              <a:schemeClr val="accent1"/>
            </a:fillRef>
            <a:effectRef idx="0">
              <a:schemeClr val="accent1"/>
            </a:effectRef>
            <a:fontRef idx="minor">
              <a:schemeClr val="tx1"/>
            </a:fontRef>
          </p:style>
        </p:cxnSp>
        <p:grpSp>
          <p:nvGrpSpPr>
            <p:cNvPr id="715" name="Graphic 3">
              <a:extLst>
                <a:ext uri="{FF2B5EF4-FFF2-40B4-BE49-F238E27FC236}">
                  <a16:creationId xmlns:a16="http://schemas.microsoft.com/office/drawing/2014/main" id="{B83B4229-B0ED-A05B-F4FD-9B560133287E}"/>
                </a:ext>
              </a:extLst>
            </p:cNvPr>
            <p:cNvGrpSpPr/>
            <p:nvPr/>
          </p:nvGrpSpPr>
          <p:grpSpPr>
            <a:xfrm>
              <a:off x="1752068" y="4258198"/>
              <a:ext cx="54791" cy="56253"/>
              <a:chOff x="1694688" y="4257145"/>
              <a:chExt cx="60960" cy="57583"/>
            </a:xfrm>
          </p:grpSpPr>
          <p:sp>
            <p:nvSpPr>
              <p:cNvPr id="1412" name="Freeform 67">
                <a:extLst>
                  <a:ext uri="{FF2B5EF4-FFF2-40B4-BE49-F238E27FC236}">
                    <a16:creationId xmlns:a16="http://schemas.microsoft.com/office/drawing/2014/main" id="{AC61CCBE-A2F1-5FDF-6451-CB47B4AF94F9}"/>
                  </a:ext>
                </a:extLst>
              </p:cNvPr>
              <p:cNvSpPr/>
              <p:nvPr/>
            </p:nvSpPr>
            <p:spPr>
              <a:xfrm>
                <a:off x="1725168" y="4257145"/>
                <a:ext cx="10583" cy="57583"/>
              </a:xfrm>
              <a:custGeom>
                <a:avLst/>
                <a:gdLst>
                  <a:gd name="connsiteX0" fmla="*/ 0 w 10583"/>
                  <a:gd name="connsiteY0" fmla="*/ 0 h 57583"/>
                  <a:gd name="connsiteX1" fmla="*/ 0 w 10583"/>
                  <a:gd name="connsiteY1" fmla="*/ 57584 h 57583"/>
                </a:gdLst>
                <a:ahLst/>
                <a:cxnLst>
                  <a:cxn ang="0">
                    <a:pos x="connsiteX0" y="connsiteY0"/>
                  </a:cxn>
                  <a:cxn ang="0">
                    <a:pos x="connsiteX1" y="connsiteY1"/>
                  </a:cxn>
                </a:cxnLst>
                <a:rect l="l" t="t" r="r" b="b"/>
                <a:pathLst>
                  <a:path w="10583" h="57583">
                    <a:moveTo>
                      <a:pt x="0" y="0"/>
                    </a:moveTo>
                    <a:lnTo>
                      <a:pt x="0" y="57584"/>
                    </a:lnTo>
                  </a:path>
                </a:pathLst>
              </a:custGeom>
              <a:ln w="9457" cap="flat">
                <a:solidFill>
                  <a:srgbClr val="231F20"/>
                </a:solidFill>
                <a:prstDash val="solid"/>
                <a:miter/>
              </a:ln>
            </p:spPr>
            <p:txBody>
              <a:bodyPr rtlCol="0" anchor="ctr"/>
              <a:lstStyle/>
              <a:p>
                <a:endParaRPr lang="en-US" sz="1800"/>
              </a:p>
            </p:txBody>
          </p:sp>
          <p:sp>
            <p:nvSpPr>
              <p:cNvPr id="1413" name="Freeform 68">
                <a:extLst>
                  <a:ext uri="{FF2B5EF4-FFF2-40B4-BE49-F238E27FC236}">
                    <a16:creationId xmlns:a16="http://schemas.microsoft.com/office/drawing/2014/main" id="{2C56F0C5-8C22-71B3-F90B-DDDDE10EF0EC}"/>
                  </a:ext>
                </a:extLst>
              </p:cNvPr>
              <p:cNvSpPr/>
              <p:nvPr/>
            </p:nvSpPr>
            <p:spPr>
              <a:xfrm>
                <a:off x="1694688" y="4285932"/>
                <a:ext cx="60960" cy="10583"/>
              </a:xfrm>
              <a:custGeom>
                <a:avLst/>
                <a:gdLst>
                  <a:gd name="connsiteX0" fmla="*/ 0 w 60960"/>
                  <a:gd name="connsiteY0" fmla="*/ 0 h 10583"/>
                  <a:gd name="connsiteX1" fmla="*/ 60960 w 60960"/>
                  <a:gd name="connsiteY1" fmla="*/ 0 h 10583"/>
                </a:gdLst>
                <a:ahLst/>
                <a:cxnLst>
                  <a:cxn ang="0">
                    <a:pos x="connsiteX0" y="connsiteY0"/>
                  </a:cxn>
                  <a:cxn ang="0">
                    <a:pos x="connsiteX1" y="connsiteY1"/>
                  </a:cxn>
                </a:cxnLst>
                <a:rect l="l" t="t" r="r" b="b"/>
                <a:pathLst>
                  <a:path w="60960" h="10583">
                    <a:moveTo>
                      <a:pt x="0" y="0"/>
                    </a:moveTo>
                    <a:lnTo>
                      <a:pt x="60960" y="0"/>
                    </a:lnTo>
                  </a:path>
                </a:pathLst>
              </a:custGeom>
              <a:ln w="9457" cap="flat">
                <a:solidFill>
                  <a:srgbClr val="231F20"/>
                </a:solidFill>
                <a:prstDash val="solid"/>
                <a:miter/>
              </a:ln>
            </p:spPr>
            <p:txBody>
              <a:bodyPr rtlCol="0" anchor="ctr"/>
              <a:lstStyle/>
              <a:p>
                <a:endParaRPr lang="en-US" sz="1800"/>
              </a:p>
            </p:txBody>
          </p:sp>
        </p:grpSp>
        <p:grpSp>
          <p:nvGrpSpPr>
            <p:cNvPr id="716" name="Graphic 3">
              <a:extLst>
                <a:ext uri="{FF2B5EF4-FFF2-40B4-BE49-F238E27FC236}">
                  <a16:creationId xmlns:a16="http://schemas.microsoft.com/office/drawing/2014/main" id="{51F19AED-5732-8D1A-75F5-01B62C27AB0C}"/>
                </a:ext>
              </a:extLst>
            </p:cNvPr>
            <p:cNvGrpSpPr/>
            <p:nvPr/>
          </p:nvGrpSpPr>
          <p:grpSpPr>
            <a:xfrm>
              <a:off x="1752068" y="4450823"/>
              <a:ext cx="54791" cy="56253"/>
              <a:chOff x="1694688" y="4454323"/>
              <a:chExt cx="60960" cy="57583"/>
            </a:xfrm>
          </p:grpSpPr>
          <p:sp>
            <p:nvSpPr>
              <p:cNvPr id="1410" name="Freeform 70">
                <a:extLst>
                  <a:ext uri="{FF2B5EF4-FFF2-40B4-BE49-F238E27FC236}">
                    <a16:creationId xmlns:a16="http://schemas.microsoft.com/office/drawing/2014/main" id="{AC46308C-DD7E-213F-0733-BCF032434BD2}"/>
                  </a:ext>
                </a:extLst>
              </p:cNvPr>
              <p:cNvSpPr/>
              <p:nvPr/>
            </p:nvSpPr>
            <p:spPr>
              <a:xfrm>
                <a:off x="1725168" y="4454323"/>
                <a:ext cx="10583" cy="57583"/>
              </a:xfrm>
              <a:custGeom>
                <a:avLst/>
                <a:gdLst>
                  <a:gd name="connsiteX0" fmla="*/ 0 w 10583"/>
                  <a:gd name="connsiteY0" fmla="*/ 0 h 57583"/>
                  <a:gd name="connsiteX1" fmla="*/ 0 w 10583"/>
                  <a:gd name="connsiteY1" fmla="*/ 57584 h 57583"/>
                </a:gdLst>
                <a:ahLst/>
                <a:cxnLst>
                  <a:cxn ang="0">
                    <a:pos x="connsiteX0" y="connsiteY0"/>
                  </a:cxn>
                  <a:cxn ang="0">
                    <a:pos x="connsiteX1" y="connsiteY1"/>
                  </a:cxn>
                </a:cxnLst>
                <a:rect l="l" t="t" r="r" b="b"/>
                <a:pathLst>
                  <a:path w="10583" h="57583">
                    <a:moveTo>
                      <a:pt x="0" y="0"/>
                    </a:moveTo>
                    <a:lnTo>
                      <a:pt x="0" y="57584"/>
                    </a:lnTo>
                  </a:path>
                </a:pathLst>
              </a:custGeom>
              <a:ln w="9457" cap="flat">
                <a:solidFill>
                  <a:srgbClr val="005BAA"/>
                </a:solidFill>
                <a:prstDash val="solid"/>
                <a:miter/>
              </a:ln>
            </p:spPr>
            <p:txBody>
              <a:bodyPr rtlCol="0" anchor="ctr"/>
              <a:lstStyle/>
              <a:p>
                <a:endParaRPr lang="en-US" sz="1800"/>
              </a:p>
            </p:txBody>
          </p:sp>
          <p:sp>
            <p:nvSpPr>
              <p:cNvPr id="1411" name="Freeform 71">
                <a:extLst>
                  <a:ext uri="{FF2B5EF4-FFF2-40B4-BE49-F238E27FC236}">
                    <a16:creationId xmlns:a16="http://schemas.microsoft.com/office/drawing/2014/main" id="{70C3227F-E773-8157-F7DF-A7067000AD53}"/>
                  </a:ext>
                </a:extLst>
              </p:cNvPr>
              <p:cNvSpPr/>
              <p:nvPr/>
            </p:nvSpPr>
            <p:spPr>
              <a:xfrm>
                <a:off x="1694688" y="4483110"/>
                <a:ext cx="60960" cy="10583"/>
              </a:xfrm>
              <a:custGeom>
                <a:avLst/>
                <a:gdLst>
                  <a:gd name="connsiteX0" fmla="*/ 0 w 60960"/>
                  <a:gd name="connsiteY0" fmla="*/ 0 h 10583"/>
                  <a:gd name="connsiteX1" fmla="*/ 60960 w 60960"/>
                  <a:gd name="connsiteY1" fmla="*/ 0 h 10583"/>
                </a:gdLst>
                <a:ahLst/>
                <a:cxnLst>
                  <a:cxn ang="0">
                    <a:pos x="connsiteX0" y="connsiteY0"/>
                  </a:cxn>
                  <a:cxn ang="0">
                    <a:pos x="connsiteX1" y="connsiteY1"/>
                  </a:cxn>
                </a:cxnLst>
                <a:rect l="l" t="t" r="r" b="b"/>
                <a:pathLst>
                  <a:path w="60960" h="10583">
                    <a:moveTo>
                      <a:pt x="0" y="0"/>
                    </a:moveTo>
                    <a:lnTo>
                      <a:pt x="60960" y="0"/>
                    </a:lnTo>
                  </a:path>
                </a:pathLst>
              </a:custGeom>
              <a:ln w="9457" cap="flat">
                <a:solidFill>
                  <a:srgbClr val="005BAA"/>
                </a:solidFill>
                <a:prstDash val="solid"/>
                <a:miter/>
              </a:ln>
            </p:spPr>
            <p:txBody>
              <a:bodyPr rtlCol="0" anchor="ctr"/>
              <a:lstStyle/>
              <a:p>
                <a:endParaRPr lang="en-US" sz="1800"/>
              </a:p>
            </p:txBody>
          </p:sp>
        </p:grpSp>
        <p:sp>
          <p:nvSpPr>
            <p:cNvPr id="717" name="Freeform 72">
              <a:extLst>
                <a:ext uri="{FF2B5EF4-FFF2-40B4-BE49-F238E27FC236}">
                  <a16:creationId xmlns:a16="http://schemas.microsoft.com/office/drawing/2014/main" id="{A653BEA9-B6DD-5A54-7ED7-5F08F09FF297}"/>
                </a:ext>
              </a:extLst>
            </p:cNvPr>
            <p:cNvSpPr/>
            <p:nvPr/>
          </p:nvSpPr>
          <p:spPr>
            <a:xfrm>
              <a:off x="1584975" y="4478945"/>
              <a:ext cx="389014" cy="10339"/>
            </a:xfrm>
            <a:custGeom>
              <a:avLst/>
              <a:gdLst>
                <a:gd name="connsiteX0" fmla="*/ 0 w 432815"/>
                <a:gd name="connsiteY0" fmla="*/ 0 h 10583"/>
                <a:gd name="connsiteX1" fmla="*/ 432816 w 432815"/>
                <a:gd name="connsiteY1" fmla="*/ 0 h 10583"/>
              </a:gdLst>
              <a:ahLst/>
              <a:cxnLst>
                <a:cxn ang="0">
                  <a:pos x="connsiteX0" y="connsiteY0"/>
                </a:cxn>
                <a:cxn ang="0">
                  <a:pos x="connsiteX1" y="connsiteY1"/>
                </a:cxn>
              </a:cxnLst>
              <a:rect l="l" t="t" r="r" b="b"/>
              <a:pathLst>
                <a:path w="432815" h="10583">
                  <a:moveTo>
                    <a:pt x="0" y="0"/>
                  </a:moveTo>
                  <a:lnTo>
                    <a:pt x="432816" y="0"/>
                  </a:lnTo>
                </a:path>
              </a:pathLst>
            </a:custGeom>
            <a:ln w="10583" cap="flat">
              <a:solidFill>
                <a:srgbClr val="002985"/>
              </a:solidFill>
              <a:prstDash val="solid"/>
              <a:miter/>
            </a:ln>
          </p:spPr>
          <p:txBody>
            <a:bodyPr rtlCol="0" anchor="ctr"/>
            <a:lstStyle/>
            <a:p>
              <a:endParaRPr lang="en-US" sz="1800"/>
            </a:p>
          </p:txBody>
        </p:sp>
        <p:grpSp>
          <p:nvGrpSpPr>
            <p:cNvPr id="718" name="Graphic 3">
              <a:extLst>
                <a:ext uri="{FF2B5EF4-FFF2-40B4-BE49-F238E27FC236}">
                  <a16:creationId xmlns:a16="http://schemas.microsoft.com/office/drawing/2014/main" id="{1D378247-D29A-1457-120E-C1BAB043A69F}"/>
                </a:ext>
              </a:extLst>
            </p:cNvPr>
            <p:cNvGrpSpPr/>
            <p:nvPr/>
          </p:nvGrpSpPr>
          <p:grpSpPr>
            <a:xfrm>
              <a:off x="1752068" y="4669946"/>
              <a:ext cx="54791" cy="56253"/>
              <a:chOff x="1694688" y="4678627"/>
              <a:chExt cx="60960" cy="57583"/>
            </a:xfrm>
          </p:grpSpPr>
          <p:sp>
            <p:nvSpPr>
              <p:cNvPr id="1408" name="Freeform 74">
                <a:extLst>
                  <a:ext uri="{FF2B5EF4-FFF2-40B4-BE49-F238E27FC236}">
                    <a16:creationId xmlns:a16="http://schemas.microsoft.com/office/drawing/2014/main" id="{A9D2EF98-283B-AC2F-BE82-C1BE30A29504}"/>
                  </a:ext>
                </a:extLst>
              </p:cNvPr>
              <p:cNvSpPr/>
              <p:nvPr/>
            </p:nvSpPr>
            <p:spPr>
              <a:xfrm>
                <a:off x="1725168" y="4678627"/>
                <a:ext cx="10583" cy="57583"/>
              </a:xfrm>
              <a:custGeom>
                <a:avLst/>
                <a:gdLst>
                  <a:gd name="connsiteX0" fmla="*/ 0 w 10583"/>
                  <a:gd name="connsiteY0" fmla="*/ 0 h 57583"/>
                  <a:gd name="connsiteX1" fmla="*/ 0 w 10583"/>
                  <a:gd name="connsiteY1" fmla="*/ 57584 h 57583"/>
                </a:gdLst>
                <a:ahLst/>
                <a:cxnLst>
                  <a:cxn ang="0">
                    <a:pos x="connsiteX0" y="connsiteY0"/>
                  </a:cxn>
                  <a:cxn ang="0">
                    <a:pos x="connsiteX1" y="connsiteY1"/>
                  </a:cxn>
                </a:cxnLst>
                <a:rect l="l" t="t" r="r" b="b"/>
                <a:pathLst>
                  <a:path w="10583" h="57583">
                    <a:moveTo>
                      <a:pt x="0" y="0"/>
                    </a:moveTo>
                    <a:lnTo>
                      <a:pt x="0" y="57584"/>
                    </a:lnTo>
                  </a:path>
                </a:pathLst>
              </a:custGeom>
              <a:ln w="9457" cap="flat">
                <a:solidFill>
                  <a:srgbClr val="9A9B9C"/>
                </a:solidFill>
                <a:prstDash val="solid"/>
                <a:miter/>
              </a:ln>
            </p:spPr>
            <p:txBody>
              <a:bodyPr rtlCol="0" anchor="ctr"/>
              <a:lstStyle/>
              <a:p>
                <a:endParaRPr lang="en-US" sz="1800"/>
              </a:p>
            </p:txBody>
          </p:sp>
          <p:sp>
            <p:nvSpPr>
              <p:cNvPr id="1409" name="Freeform 75">
                <a:extLst>
                  <a:ext uri="{FF2B5EF4-FFF2-40B4-BE49-F238E27FC236}">
                    <a16:creationId xmlns:a16="http://schemas.microsoft.com/office/drawing/2014/main" id="{8472503A-7967-9426-12A1-139C28683715}"/>
                  </a:ext>
                </a:extLst>
              </p:cNvPr>
              <p:cNvSpPr/>
              <p:nvPr/>
            </p:nvSpPr>
            <p:spPr>
              <a:xfrm>
                <a:off x="1694688" y="4707424"/>
                <a:ext cx="60960" cy="10583"/>
              </a:xfrm>
              <a:custGeom>
                <a:avLst/>
                <a:gdLst>
                  <a:gd name="connsiteX0" fmla="*/ 0 w 60960"/>
                  <a:gd name="connsiteY0" fmla="*/ 0 h 10583"/>
                  <a:gd name="connsiteX1" fmla="*/ 60960 w 60960"/>
                  <a:gd name="connsiteY1" fmla="*/ 0 h 10583"/>
                </a:gdLst>
                <a:ahLst/>
                <a:cxnLst>
                  <a:cxn ang="0">
                    <a:pos x="connsiteX0" y="connsiteY0"/>
                  </a:cxn>
                  <a:cxn ang="0">
                    <a:pos x="connsiteX1" y="connsiteY1"/>
                  </a:cxn>
                </a:cxnLst>
                <a:rect l="l" t="t" r="r" b="b"/>
                <a:pathLst>
                  <a:path w="60960" h="10583">
                    <a:moveTo>
                      <a:pt x="0" y="0"/>
                    </a:moveTo>
                    <a:lnTo>
                      <a:pt x="60960" y="0"/>
                    </a:lnTo>
                  </a:path>
                </a:pathLst>
              </a:custGeom>
              <a:ln w="9457" cap="flat">
                <a:solidFill>
                  <a:srgbClr val="9A9B9C"/>
                </a:solidFill>
                <a:prstDash val="solid"/>
                <a:miter/>
              </a:ln>
            </p:spPr>
            <p:txBody>
              <a:bodyPr rtlCol="0" anchor="ctr"/>
              <a:lstStyle/>
              <a:p>
                <a:endParaRPr lang="en-US" sz="1800"/>
              </a:p>
            </p:txBody>
          </p:sp>
        </p:grpSp>
        <p:sp>
          <p:nvSpPr>
            <p:cNvPr id="719" name="Freeform 76">
              <a:extLst>
                <a:ext uri="{FF2B5EF4-FFF2-40B4-BE49-F238E27FC236}">
                  <a16:creationId xmlns:a16="http://schemas.microsoft.com/office/drawing/2014/main" id="{F8EB49AB-26A2-E993-F51D-9221E034D9E8}"/>
                </a:ext>
              </a:extLst>
            </p:cNvPr>
            <p:cNvSpPr/>
            <p:nvPr/>
          </p:nvSpPr>
          <p:spPr>
            <a:xfrm>
              <a:off x="1584975" y="4698078"/>
              <a:ext cx="389014" cy="10339"/>
            </a:xfrm>
            <a:custGeom>
              <a:avLst/>
              <a:gdLst>
                <a:gd name="connsiteX0" fmla="*/ 0 w 432815"/>
                <a:gd name="connsiteY0" fmla="*/ 0 h 10583"/>
                <a:gd name="connsiteX1" fmla="*/ 432816 w 432815"/>
                <a:gd name="connsiteY1" fmla="*/ 0 h 10583"/>
              </a:gdLst>
              <a:ahLst/>
              <a:cxnLst>
                <a:cxn ang="0">
                  <a:pos x="connsiteX0" y="connsiteY0"/>
                </a:cxn>
                <a:cxn ang="0">
                  <a:pos x="connsiteX1" y="connsiteY1"/>
                </a:cxn>
              </a:cxnLst>
              <a:rect l="l" t="t" r="r" b="b"/>
              <a:pathLst>
                <a:path w="432815" h="10583">
                  <a:moveTo>
                    <a:pt x="0" y="0"/>
                  </a:moveTo>
                  <a:lnTo>
                    <a:pt x="432816" y="0"/>
                  </a:lnTo>
                </a:path>
              </a:pathLst>
            </a:custGeom>
            <a:ln w="10583" cap="flat">
              <a:solidFill>
                <a:srgbClr val="929294"/>
              </a:solidFill>
              <a:prstDash val="solid"/>
              <a:miter/>
            </a:ln>
          </p:spPr>
          <p:txBody>
            <a:bodyPr rtlCol="0" anchor="ctr"/>
            <a:lstStyle/>
            <a:p>
              <a:endParaRPr lang="en-US" sz="1800"/>
            </a:p>
          </p:txBody>
        </p:sp>
        <p:grpSp>
          <p:nvGrpSpPr>
            <p:cNvPr id="720" name="Graphic 3">
              <a:extLst>
                <a:ext uri="{FF2B5EF4-FFF2-40B4-BE49-F238E27FC236}">
                  <a16:creationId xmlns:a16="http://schemas.microsoft.com/office/drawing/2014/main" id="{49BDD31D-85C8-5A8C-5FCA-46104874ED98}"/>
                </a:ext>
              </a:extLst>
            </p:cNvPr>
            <p:cNvGrpSpPr/>
            <p:nvPr/>
          </p:nvGrpSpPr>
          <p:grpSpPr>
            <a:xfrm>
              <a:off x="1569879" y="1276700"/>
              <a:ext cx="8642541" cy="2295979"/>
              <a:chOff x="1491985" y="1205155"/>
              <a:chExt cx="9615646" cy="2350262"/>
            </a:xfrm>
            <a:noFill/>
          </p:grpSpPr>
          <p:sp>
            <p:nvSpPr>
              <p:cNvPr id="1119" name="Freeform 78">
                <a:extLst>
                  <a:ext uri="{FF2B5EF4-FFF2-40B4-BE49-F238E27FC236}">
                    <a16:creationId xmlns:a16="http://schemas.microsoft.com/office/drawing/2014/main" id="{7F0E102A-0166-436C-08BA-BF92B73378F1}"/>
                  </a:ext>
                </a:extLst>
              </p:cNvPr>
              <p:cNvSpPr/>
              <p:nvPr/>
            </p:nvSpPr>
            <p:spPr>
              <a:xfrm>
                <a:off x="1522137" y="1230450"/>
                <a:ext cx="9548029" cy="2299673"/>
              </a:xfrm>
              <a:custGeom>
                <a:avLst/>
                <a:gdLst>
                  <a:gd name="connsiteX0" fmla="*/ 0 w 9548029"/>
                  <a:gd name="connsiteY0" fmla="*/ 0 h 2299673"/>
                  <a:gd name="connsiteX1" fmla="*/ 160729 w 9548029"/>
                  <a:gd name="connsiteY1" fmla="*/ 0 h 2299673"/>
                  <a:gd name="connsiteX2" fmla="*/ 160729 w 9548029"/>
                  <a:gd name="connsiteY2" fmla="*/ 14044 h 2299673"/>
                  <a:gd name="connsiteX3" fmla="*/ 284840 w 9548029"/>
                  <a:gd name="connsiteY3" fmla="*/ 14044 h 2299673"/>
                  <a:gd name="connsiteX4" fmla="*/ 284840 w 9548029"/>
                  <a:gd name="connsiteY4" fmla="*/ 28099 h 2299673"/>
                  <a:gd name="connsiteX5" fmla="*/ 292174 w 9548029"/>
                  <a:gd name="connsiteY5" fmla="*/ 28099 h 2299673"/>
                  <a:gd name="connsiteX6" fmla="*/ 292174 w 9548029"/>
                  <a:gd name="connsiteY6" fmla="*/ 42153 h 2299673"/>
                  <a:gd name="connsiteX7" fmla="*/ 306821 w 9548029"/>
                  <a:gd name="connsiteY7" fmla="*/ 42153 h 2299673"/>
                  <a:gd name="connsiteX8" fmla="*/ 306821 w 9548029"/>
                  <a:gd name="connsiteY8" fmla="*/ 56314 h 2299673"/>
                  <a:gd name="connsiteX9" fmla="*/ 372607 w 9548029"/>
                  <a:gd name="connsiteY9" fmla="*/ 56314 h 2299673"/>
                  <a:gd name="connsiteX10" fmla="*/ 372607 w 9548029"/>
                  <a:gd name="connsiteY10" fmla="*/ 70369 h 2299673"/>
                  <a:gd name="connsiteX11" fmla="*/ 525981 w 9548029"/>
                  <a:gd name="connsiteY11" fmla="*/ 70369 h 2299673"/>
                  <a:gd name="connsiteX12" fmla="*/ 525981 w 9548029"/>
                  <a:gd name="connsiteY12" fmla="*/ 84529 h 2299673"/>
                  <a:gd name="connsiteX13" fmla="*/ 599091 w 9548029"/>
                  <a:gd name="connsiteY13" fmla="*/ 84529 h 2299673"/>
                  <a:gd name="connsiteX14" fmla="*/ 599091 w 9548029"/>
                  <a:gd name="connsiteY14" fmla="*/ 98690 h 2299673"/>
                  <a:gd name="connsiteX15" fmla="*/ 620903 w 9548029"/>
                  <a:gd name="connsiteY15" fmla="*/ 98690 h 2299673"/>
                  <a:gd name="connsiteX16" fmla="*/ 620903 w 9548029"/>
                  <a:gd name="connsiteY16" fmla="*/ 112966 h 2299673"/>
                  <a:gd name="connsiteX17" fmla="*/ 628237 w 9548029"/>
                  <a:gd name="connsiteY17" fmla="*/ 112966 h 2299673"/>
                  <a:gd name="connsiteX18" fmla="*/ 628237 w 9548029"/>
                  <a:gd name="connsiteY18" fmla="*/ 127127 h 2299673"/>
                  <a:gd name="connsiteX19" fmla="*/ 664866 w 9548029"/>
                  <a:gd name="connsiteY19" fmla="*/ 127127 h 2299673"/>
                  <a:gd name="connsiteX20" fmla="*/ 664866 w 9548029"/>
                  <a:gd name="connsiteY20" fmla="*/ 141404 h 2299673"/>
                  <a:gd name="connsiteX21" fmla="*/ 679355 w 9548029"/>
                  <a:gd name="connsiteY21" fmla="*/ 141404 h 2299673"/>
                  <a:gd name="connsiteX22" fmla="*/ 679355 w 9548029"/>
                  <a:gd name="connsiteY22" fmla="*/ 155575 h 2299673"/>
                  <a:gd name="connsiteX23" fmla="*/ 832898 w 9548029"/>
                  <a:gd name="connsiteY23" fmla="*/ 155575 h 2299673"/>
                  <a:gd name="connsiteX24" fmla="*/ 832898 w 9548029"/>
                  <a:gd name="connsiteY24" fmla="*/ 169841 h 2299673"/>
                  <a:gd name="connsiteX25" fmla="*/ 884026 w 9548029"/>
                  <a:gd name="connsiteY25" fmla="*/ 169841 h 2299673"/>
                  <a:gd name="connsiteX26" fmla="*/ 884026 w 9548029"/>
                  <a:gd name="connsiteY26" fmla="*/ 184118 h 2299673"/>
                  <a:gd name="connsiteX27" fmla="*/ 920496 w 9548029"/>
                  <a:gd name="connsiteY27" fmla="*/ 184118 h 2299673"/>
                  <a:gd name="connsiteX28" fmla="*/ 920496 w 9548029"/>
                  <a:gd name="connsiteY28" fmla="*/ 198628 h 2299673"/>
                  <a:gd name="connsiteX29" fmla="*/ 927820 w 9548029"/>
                  <a:gd name="connsiteY29" fmla="*/ 198628 h 2299673"/>
                  <a:gd name="connsiteX30" fmla="*/ 927820 w 9548029"/>
                  <a:gd name="connsiteY30" fmla="*/ 227626 h 2299673"/>
                  <a:gd name="connsiteX31" fmla="*/ 935154 w 9548029"/>
                  <a:gd name="connsiteY31" fmla="*/ 227626 h 2299673"/>
                  <a:gd name="connsiteX32" fmla="*/ 935154 w 9548029"/>
                  <a:gd name="connsiteY32" fmla="*/ 242242 h 2299673"/>
                  <a:gd name="connsiteX33" fmla="*/ 949642 w 9548029"/>
                  <a:gd name="connsiteY33" fmla="*/ 242242 h 2299673"/>
                  <a:gd name="connsiteX34" fmla="*/ 949642 w 9548029"/>
                  <a:gd name="connsiteY34" fmla="*/ 256847 h 2299673"/>
                  <a:gd name="connsiteX35" fmla="*/ 993606 w 9548029"/>
                  <a:gd name="connsiteY35" fmla="*/ 256847 h 2299673"/>
                  <a:gd name="connsiteX36" fmla="*/ 993606 w 9548029"/>
                  <a:gd name="connsiteY36" fmla="*/ 271579 h 2299673"/>
                  <a:gd name="connsiteX37" fmla="*/ 1000771 w 9548029"/>
                  <a:gd name="connsiteY37" fmla="*/ 271579 h 2299673"/>
                  <a:gd name="connsiteX38" fmla="*/ 1000771 w 9548029"/>
                  <a:gd name="connsiteY38" fmla="*/ 286194 h 2299673"/>
                  <a:gd name="connsiteX39" fmla="*/ 1030076 w 9548029"/>
                  <a:gd name="connsiteY39" fmla="*/ 286194 h 2299673"/>
                  <a:gd name="connsiteX40" fmla="*/ 1030076 w 9548029"/>
                  <a:gd name="connsiteY40" fmla="*/ 300916 h 2299673"/>
                  <a:gd name="connsiteX41" fmla="*/ 1183449 w 9548029"/>
                  <a:gd name="connsiteY41" fmla="*/ 300916 h 2299673"/>
                  <a:gd name="connsiteX42" fmla="*/ 1183449 w 9548029"/>
                  <a:gd name="connsiteY42" fmla="*/ 315637 h 2299673"/>
                  <a:gd name="connsiteX43" fmla="*/ 1190784 w 9548029"/>
                  <a:gd name="connsiteY43" fmla="*/ 315637 h 2299673"/>
                  <a:gd name="connsiteX44" fmla="*/ 1190784 w 9548029"/>
                  <a:gd name="connsiteY44" fmla="*/ 345091 h 2299673"/>
                  <a:gd name="connsiteX45" fmla="*/ 1198107 w 9548029"/>
                  <a:gd name="connsiteY45" fmla="*/ 345091 h 2299673"/>
                  <a:gd name="connsiteX46" fmla="*/ 1198107 w 9548029"/>
                  <a:gd name="connsiteY46" fmla="*/ 359706 h 2299673"/>
                  <a:gd name="connsiteX47" fmla="*/ 1219920 w 9548029"/>
                  <a:gd name="connsiteY47" fmla="*/ 359706 h 2299673"/>
                  <a:gd name="connsiteX48" fmla="*/ 1219920 w 9548029"/>
                  <a:gd name="connsiteY48" fmla="*/ 374428 h 2299673"/>
                  <a:gd name="connsiteX49" fmla="*/ 1227254 w 9548029"/>
                  <a:gd name="connsiteY49" fmla="*/ 374428 h 2299673"/>
                  <a:gd name="connsiteX50" fmla="*/ 1227254 w 9548029"/>
                  <a:gd name="connsiteY50" fmla="*/ 389160 h 2299673"/>
                  <a:gd name="connsiteX51" fmla="*/ 1285706 w 9548029"/>
                  <a:gd name="connsiteY51" fmla="*/ 389160 h 2299673"/>
                  <a:gd name="connsiteX52" fmla="*/ 1285706 w 9548029"/>
                  <a:gd name="connsiteY52" fmla="*/ 403998 h 2299673"/>
                  <a:gd name="connsiteX53" fmla="*/ 1336834 w 9548029"/>
                  <a:gd name="connsiteY53" fmla="*/ 403998 h 2299673"/>
                  <a:gd name="connsiteX54" fmla="*/ 1336834 w 9548029"/>
                  <a:gd name="connsiteY54" fmla="*/ 418835 h 2299673"/>
                  <a:gd name="connsiteX55" fmla="*/ 1461061 w 9548029"/>
                  <a:gd name="connsiteY55" fmla="*/ 418835 h 2299673"/>
                  <a:gd name="connsiteX56" fmla="*/ 1461061 w 9548029"/>
                  <a:gd name="connsiteY56" fmla="*/ 433673 h 2299673"/>
                  <a:gd name="connsiteX57" fmla="*/ 1497531 w 9548029"/>
                  <a:gd name="connsiteY57" fmla="*/ 433673 h 2299673"/>
                  <a:gd name="connsiteX58" fmla="*/ 1497531 w 9548029"/>
                  <a:gd name="connsiteY58" fmla="*/ 448511 h 2299673"/>
                  <a:gd name="connsiteX59" fmla="*/ 1504865 w 9548029"/>
                  <a:gd name="connsiteY59" fmla="*/ 448511 h 2299673"/>
                  <a:gd name="connsiteX60" fmla="*/ 1504865 w 9548029"/>
                  <a:gd name="connsiteY60" fmla="*/ 478187 h 2299673"/>
                  <a:gd name="connsiteX61" fmla="*/ 1534171 w 9548029"/>
                  <a:gd name="connsiteY61" fmla="*/ 478187 h 2299673"/>
                  <a:gd name="connsiteX62" fmla="*/ 1534171 w 9548029"/>
                  <a:gd name="connsiteY62" fmla="*/ 493025 h 2299673"/>
                  <a:gd name="connsiteX63" fmla="*/ 1541494 w 9548029"/>
                  <a:gd name="connsiteY63" fmla="*/ 493025 h 2299673"/>
                  <a:gd name="connsiteX64" fmla="*/ 1541494 w 9548029"/>
                  <a:gd name="connsiteY64" fmla="*/ 522700 h 2299673"/>
                  <a:gd name="connsiteX65" fmla="*/ 1614434 w 9548029"/>
                  <a:gd name="connsiteY65" fmla="*/ 522700 h 2299673"/>
                  <a:gd name="connsiteX66" fmla="*/ 1614434 w 9548029"/>
                  <a:gd name="connsiteY66" fmla="*/ 537760 h 2299673"/>
                  <a:gd name="connsiteX67" fmla="*/ 1804448 w 9548029"/>
                  <a:gd name="connsiteY67" fmla="*/ 537760 h 2299673"/>
                  <a:gd name="connsiteX68" fmla="*/ 1804448 w 9548029"/>
                  <a:gd name="connsiteY68" fmla="*/ 552715 h 2299673"/>
                  <a:gd name="connsiteX69" fmla="*/ 1840928 w 9548029"/>
                  <a:gd name="connsiteY69" fmla="*/ 552715 h 2299673"/>
                  <a:gd name="connsiteX70" fmla="*/ 1840928 w 9548029"/>
                  <a:gd name="connsiteY70" fmla="*/ 582613 h 2299673"/>
                  <a:gd name="connsiteX71" fmla="*/ 1855576 w 9548029"/>
                  <a:gd name="connsiteY71" fmla="*/ 582613 h 2299673"/>
                  <a:gd name="connsiteX72" fmla="*/ 1855576 w 9548029"/>
                  <a:gd name="connsiteY72" fmla="*/ 612743 h 2299673"/>
                  <a:gd name="connsiteX73" fmla="*/ 1862910 w 9548029"/>
                  <a:gd name="connsiteY73" fmla="*/ 612743 h 2299673"/>
                  <a:gd name="connsiteX74" fmla="*/ 1862910 w 9548029"/>
                  <a:gd name="connsiteY74" fmla="*/ 657924 h 2299673"/>
                  <a:gd name="connsiteX75" fmla="*/ 1870234 w 9548029"/>
                  <a:gd name="connsiteY75" fmla="*/ 657924 h 2299673"/>
                  <a:gd name="connsiteX76" fmla="*/ 1870234 w 9548029"/>
                  <a:gd name="connsiteY76" fmla="*/ 672994 h 2299673"/>
                  <a:gd name="connsiteX77" fmla="*/ 1892046 w 9548029"/>
                  <a:gd name="connsiteY77" fmla="*/ 672994 h 2299673"/>
                  <a:gd name="connsiteX78" fmla="*/ 1892046 w 9548029"/>
                  <a:gd name="connsiteY78" fmla="*/ 688171 h 2299673"/>
                  <a:gd name="connsiteX79" fmla="*/ 1906704 w 9548029"/>
                  <a:gd name="connsiteY79" fmla="*/ 688171 h 2299673"/>
                  <a:gd name="connsiteX80" fmla="*/ 1906704 w 9548029"/>
                  <a:gd name="connsiteY80" fmla="*/ 703231 h 2299673"/>
                  <a:gd name="connsiteX81" fmla="*/ 2060077 w 9548029"/>
                  <a:gd name="connsiteY81" fmla="*/ 703231 h 2299673"/>
                  <a:gd name="connsiteX82" fmla="*/ 2060077 w 9548029"/>
                  <a:gd name="connsiteY82" fmla="*/ 718629 h 2299673"/>
                  <a:gd name="connsiteX83" fmla="*/ 2111206 w 9548029"/>
                  <a:gd name="connsiteY83" fmla="*/ 718629 h 2299673"/>
                  <a:gd name="connsiteX84" fmla="*/ 2111206 w 9548029"/>
                  <a:gd name="connsiteY84" fmla="*/ 734145 h 2299673"/>
                  <a:gd name="connsiteX85" fmla="*/ 2125864 w 9548029"/>
                  <a:gd name="connsiteY85" fmla="*/ 734145 h 2299673"/>
                  <a:gd name="connsiteX86" fmla="*/ 2125864 w 9548029"/>
                  <a:gd name="connsiteY86" fmla="*/ 749543 h 2299673"/>
                  <a:gd name="connsiteX87" fmla="*/ 2155169 w 9548029"/>
                  <a:gd name="connsiteY87" fmla="*/ 749543 h 2299673"/>
                  <a:gd name="connsiteX88" fmla="*/ 2155169 w 9548029"/>
                  <a:gd name="connsiteY88" fmla="*/ 765281 h 2299673"/>
                  <a:gd name="connsiteX89" fmla="*/ 2191639 w 9548029"/>
                  <a:gd name="connsiteY89" fmla="*/ 765281 h 2299673"/>
                  <a:gd name="connsiteX90" fmla="*/ 2191639 w 9548029"/>
                  <a:gd name="connsiteY90" fmla="*/ 781135 h 2299673"/>
                  <a:gd name="connsiteX91" fmla="*/ 2206297 w 9548029"/>
                  <a:gd name="connsiteY91" fmla="*/ 781135 h 2299673"/>
                  <a:gd name="connsiteX92" fmla="*/ 2206297 w 9548029"/>
                  <a:gd name="connsiteY92" fmla="*/ 797094 h 2299673"/>
                  <a:gd name="connsiteX93" fmla="*/ 2330365 w 9548029"/>
                  <a:gd name="connsiteY93" fmla="*/ 797094 h 2299673"/>
                  <a:gd name="connsiteX94" fmla="*/ 2330365 w 9548029"/>
                  <a:gd name="connsiteY94" fmla="*/ 813054 h 2299673"/>
                  <a:gd name="connsiteX95" fmla="*/ 2410799 w 9548029"/>
                  <a:gd name="connsiteY95" fmla="*/ 813054 h 2299673"/>
                  <a:gd name="connsiteX96" fmla="*/ 2410799 w 9548029"/>
                  <a:gd name="connsiteY96" fmla="*/ 829014 h 2299673"/>
                  <a:gd name="connsiteX97" fmla="*/ 2418123 w 9548029"/>
                  <a:gd name="connsiteY97" fmla="*/ 829014 h 2299673"/>
                  <a:gd name="connsiteX98" fmla="*/ 2418123 w 9548029"/>
                  <a:gd name="connsiteY98" fmla="*/ 844973 h 2299673"/>
                  <a:gd name="connsiteX99" fmla="*/ 2454593 w 9548029"/>
                  <a:gd name="connsiteY99" fmla="*/ 844973 h 2299673"/>
                  <a:gd name="connsiteX100" fmla="*/ 2454593 w 9548029"/>
                  <a:gd name="connsiteY100" fmla="*/ 860944 h 2299673"/>
                  <a:gd name="connsiteX101" fmla="*/ 2498397 w 9548029"/>
                  <a:gd name="connsiteY101" fmla="*/ 860944 h 2299673"/>
                  <a:gd name="connsiteX102" fmla="*/ 2498397 w 9548029"/>
                  <a:gd name="connsiteY102" fmla="*/ 877020 h 2299673"/>
                  <a:gd name="connsiteX103" fmla="*/ 2651771 w 9548029"/>
                  <a:gd name="connsiteY103" fmla="*/ 877020 h 2299673"/>
                  <a:gd name="connsiteX104" fmla="*/ 2651771 w 9548029"/>
                  <a:gd name="connsiteY104" fmla="*/ 893318 h 2299673"/>
                  <a:gd name="connsiteX105" fmla="*/ 2724880 w 9548029"/>
                  <a:gd name="connsiteY105" fmla="*/ 893318 h 2299673"/>
                  <a:gd name="connsiteX106" fmla="*/ 2724880 w 9548029"/>
                  <a:gd name="connsiteY106" fmla="*/ 909722 h 2299673"/>
                  <a:gd name="connsiteX107" fmla="*/ 2746862 w 9548029"/>
                  <a:gd name="connsiteY107" fmla="*/ 909722 h 2299673"/>
                  <a:gd name="connsiteX108" fmla="*/ 2746862 w 9548029"/>
                  <a:gd name="connsiteY108" fmla="*/ 942435 h 2299673"/>
                  <a:gd name="connsiteX109" fmla="*/ 2754186 w 9548029"/>
                  <a:gd name="connsiteY109" fmla="*/ 942435 h 2299673"/>
                  <a:gd name="connsiteX110" fmla="*/ 2754186 w 9548029"/>
                  <a:gd name="connsiteY110" fmla="*/ 958850 h 2299673"/>
                  <a:gd name="connsiteX111" fmla="*/ 2768674 w 9548029"/>
                  <a:gd name="connsiteY111" fmla="*/ 958850 h 2299673"/>
                  <a:gd name="connsiteX112" fmla="*/ 2768674 w 9548029"/>
                  <a:gd name="connsiteY112" fmla="*/ 975487 h 2299673"/>
                  <a:gd name="connsiteX113" fmla="*/ 2776008 w 9548029"/>
                  <a:gd name="connsiteY113" fmla="*/ 975487 h 2299673"/>
                  <a:gd name="connsiteX114" fmla="*/ 2776008 w 9548029"/>
                  <a:gd name="connsiteY114" fmla="*/ 992008 h 2299673"/>
                  <a:gd name="connsiteX115" fmla="*/ 2805314 w 9548029"/>
                  <a:gd name="connsiteY115" fmla="*/ 992008 h 2299673"/>
                  <a:gd name="connsiteX116" fmla="*/ 2805314 w 9548029"/>
                  <a:gd name="connsiteY116" fmla="*/ 1008645 h 2299673"/>
                  <a:gd name="connsiteX117" fmla="*/ 2958687 w 9548029"/>
                  <a:gd name="connsiteY117" fmla="*/ 1008645 h 2299673"/>
                  <a:gd name="connsiteX118" fmla="*/ 2958687 w 9548029"/>
                  <a:gd name="connsiteY118" fmla="*/ 1025620 h 2299673"/>
                  <a:gd name="connsiteX119" fmla="*/ 3046285 w 9548029"/>
                  <a:gd name="connsiteY119" fmla="*/ 1025620 h 2299673"/>
                  <a:gd name="connsiteX120" fmla="*/ 3046285 w 9548029"/>
                  <a:gd name="connsiteY120" fmla="*/ 1042596 h 2299673"/>
                  <a:gd name="connsiteX121" fmla="*/ 3068267 w 9548029"/>
                  <a:gd name="connsiteY121" fmla="*/ 1042596 h 2299673"/>
                  <a:gd name="connsiteX122" fmla="*/ 3068267 w 9548029"/>
                  <a:gd name="connsiteY122" fmla="*/ 1059572 h 2299673"/>
                  <a:gd name="connsiteX123" fmla="*/ 3075601 w 9548029"/>
                  <a:gd name="connsiteY123" fmla="*/ 1059572 h 2299673"/>
                  <a:gd name="connsiteX124" fmla="*/ 3075601 w 9548029"/>
                  <a:gd name="connsiteY124" fmla="*/ 1076653 h 2299673"/>
                  <a:gd name="connsiteX125" fmla="*/ 3082925 w 9548029"/>
                  <a:gd name="connsiteY125" fmla="*/ 1076653 h 2299673"/>
                  <a:gd name="connsiteX126" fmla="*/ 3082925 w 9548029"/>
                  <a:gd name="connsiteY126" fmla="*/ 1093745 h 2299673"/>
                  <a:gd name="connsiteX127" fmla="*/ 3119395 w 9548029"/>
                  <a:gd name="connsiteY127" fmla="*/ 1093745 h 2299673"/>
                  <a:gd name="connsiteX128" fmla="*/ 3119395 w 9548029"/>
                  <a:gd name="connsiteY128" fmla="*/ 1111049 h 2299673"/>
                  <a:gd name="connsiteX129" fmla="*/ 3126719 w 9548029"/>
                  <a:gd name="connsiteY129" fmla="*/ 1111049 h 2299673"/>
                  <a:gd name="connsiteX130" fmla="*/ 3126719 w 9548029"/>
                  <a:gd name="connsiteY130" fmla="*/ 1145445 h 2299673"/>
                  <a:gd name="connsiteX131" fmla="*/ 3155865 w 9548029"/>
                  <a:gd name="connsiteY131" fmla="*/ 1145445 h 2299673"/>
                  <a:gd name="connsiteX132" fmla="*/ 3155865 w 9548029"/>
                  <a:gd name="connsiteY132" fmla="*/ 1162759 h 2299673"/>
                  <a:gd name="connsiteX133" fmla="*/ 3287427 w 9548029"/>
                  <a:gd name="connsiteY133" fmla="*/ 1162759 h 2299673"/>
                  <a:gd name="connsiteX134" fmla="*/ 3287427 w 9548029"/>
                  <a:gd name="connsiteY134" fmla="*/ 1180074 h 2299673"/>
                  <a:gd name="connsiteX135" fmla="*/ 3338555 w 9548029"/>
                  <a:gd name="connsiteY135" fmla="*/ 1180074 h 2299673"/>
                  <a:gd name="connsiteX136" fmla="*/ 3338555 w 9548029"/>
                  <a:gd name="connsiteY136" fmla="*/ 1214808 h 2299673"/>
                  <a:gd name="connsiteX137" fmla="*/ 3345879 w 9548029"/>
                  <a:gd name="connsiteY137" fmla="*/ 1214808 h 2299673"/>
                  <a:gd name="connsiteX138" fmla="*/ 3345879 w 9548029"/>
                  <a:gd name="connsiteY138" fmla="*/ 1232122 h 2299673"/>
                  <a:gd name="connsiteX139" fmla="*/ 3433477 w 9548029"/>
                  <a:gd name="connsiteY139" fmla="*/ 1232122 h 2299673"/>
                  <a:gd name="connsiteX140" fmla="*/ 3433477 w 9548029"/>
                  <a:gd name="connsiteY140" fmla="*/ 1249648 h 2299673"/>
                  <a:gd name="connsiteX141" fmla="*/ 3440800 w 9548029"/>
                  <a:gd name="connsiteY141" fmla="*/ 1249648 h 2299673"/>
                  <a:gd name="connsiteX142" fmla="*/ 3440800 w 9548029"/>
                  <a:gd name="connsiteY142" fmla="*/ 1267079 h 2299673"/>
                  <a:gd name="connsiteX143" fmla="*/ 3667284 w 9548029"/>
                  <a:gd name="connsiteY143" fmla="*/ 1267079 h 2299673"/>
                  <a:gd name="connsiteX144" fmla="*/ 3667284 w 9548029"/>
                  <a:gd name="connsiteY144" fmla="*/ 1284616 h 2299673"/>
                  <a:gd name="connsiteX145" fmla="*/ 3674618 w 9548029"/>
                  <a:gd name="connsiteY145" fmla="*/ 1284616 h 2299673"/>
                  <a:gd name="connsiteX146" fmla="*/ 3674618 w 9548029"/>
                  <a:gd name="connsiteY146" fmla="*/ 1302036 h 2299673"/>
                  <a:gd name="connsiteX147" fmla="*/ 3725736 w 9548029"/>
                  <a:gd name="connsiteY147" fmla="*/ 1302036 h 2299673"/>
                  <a:gd name="connsiteX148" fmla="*/ 3725736 w 9548029"/>
                  <a:gd name="connsiteY148" fmla="*/ 1319572 h 2299673"/>
                  <a:gd name="connsiteX149" fmla="*/ 3944895 w 9548029"/>
                  <a:gd name="connsiteY149" fmla="*/ 1319572 h 2299673"/>
                  <a:gd name="connsiteX150" fmla="*/ 3944895 w 9548029"/>
                  <a:gd name="connsiteY150" fmla="*/ 1336993 h 2299673"/>
                  <a:gd name="connsiteX151" fmla="*/ 4010681 w 9548029"/>
                  <a:gd name="connsiteY151" fmla="*/ 1336993 h 2299673"/>
                  <a:gd name="connsiteX152" fmla="*/ 4010681 w 9548029"/>
                  <a:gd name="connsiteY152" fmla="*/ 1354529 h 2299673"/>
                  <a:gd name="connsiteX153" fmla="*/ 4112927 w 9548029"/>
                  <a:gd name="connsiteY153" fmla="*/ 1354529 h 2299673"/>
                  <a:gd name="connsiteX154" fmla="*/ 4112927 w 9548029"/>
                  <a:gd name="connsiteY154" fmla="*/ 1372404 h 2299673"/>
                  <a:gd name="connsiteX155" fmla="*/ 4273635 w 9548029"/>
                  <a:gd name="connsiteY155" fmla="*/ 1372404 h 2299673"/>
                  <a:gd name="connsiteX156" fmla="*/ 4273635 w 9548029"/>
                  <a:gd name="connsiteY156" fmla="*/ 1390280 h 2299673"/>
                  <a:gd name="connsiteX157" fmla="*/ 4354068 w 9548029"/>
                  <a:gd name="connsiteY157" fmla="*/ 1390280 h 2299673"/>
                  <a:gd name="connsiteX158" fmla="*/ 4354068 w 9548029"/>
                  <a:gd name="connsiteY158" fmla="*/ 1408155 h 2299673"/>
                  <a:gd name="connsiteX159" fmla="*/ 4638834 w 9548029"/>
                  <a:gd name="connsiteY159" fmla="*/ 1408155 h 2299673"/>
                  <a:gd name="connsiteX160" fmla="*/ 4638834 w 9548029"/>
                  <a:gd name="connsiteY160" fmla="*/ 1426252 h 2299673"/>
                  <a:gd name="connsiteX161" fmla="*/ 4660826 w 9548029"/>
                  <a:gd name="connsiteY161" fmla="*/ 1426252 h 2299673"/>
                  <a:gd name="connsiteX162" fmla="*/ 4660826 w 9548029"/>
                  <a:gd name="connsiteY162" fmla="*/ 1444689 h 2299673"/>
                  <a:gd name="connsiteX163" fmla="*/ 4697297 w 9548029"/>
                  <a:gd name="connsiteY163" fmla="*/ 1444689 h 2299673"/>
                  <a:gd name="connsiteX164" fmla="*/ 4697297 w 9548029"/>
                  <a:gd name="connsiteY164" fmla="*/ 1463231 h 2299673"/>
                  <a:gd name="connsiteX165" fmla="*/ 4755748 w 9548029"/>
                  <a:gd name="connsiteY165" fmla="*/ 1463231 h 2299673"/>
                  <a:gd name="connsiteX166" fmla="*/ 4755748 w 9548029"/>
                  <a:gd name="connsiteY166" fmla="*/ 1481783 h 2299673"/>
                  <a:gd name="connsiteX167" fmla="*/ 4799711 w 9548029"/>
                  <a:gd name="connsiteY167" fmla="*/ 1481783 h 2299673"/>
                  <a:gd name="connsiteX168" fmla="*/ 4799711 w 9548029"/>
                  <a:gd name="connsiteY168" fmla="*/ 1500219 h 2299673"/>
                  <a:gd name="connsiteX169" fmla="*/ 4916445 w 9548029"/>
                  <a:gd name="connsiteY169" fmla="*/ 1500219 h 2299673"/>
                  <a:gd name="connsiteX170" fmla="*/ 4916445 w 9548029"/>
                  <a:gd name="connsiteY170" fmla="*/ 1537875 h 2299673"/>
                  <a:gd name="connsiteX171" fmla="*/ 4945761 w 9548029"/>
                  <a:gd name="connsiteY171" fmla="*/ 1537875 h 2299673"/>
                  <a:gd name="connsiteX172" fmla="*/ 4945761 w 9548029"/>
                  <a:gd name="connsiteY172" fmla="*/ 1556755 h 2299673"/>
                  <a:gd name="connsiteX173" fmla="*/ 4982231 w 9548029"/>
                  <a:gd name="connsiteY173" fmla="*/ 1556755 h 2299673"/>
                  <a:gd name="connsiteX174" fmla="*/ 4982231 w 9548029"/>
                  <a:gd name="connsiteY174" fmla="*/ 1575753 h 2299673"/>
                  <a:gd name="connsiteX175" fmla="*/ 5223372 w 9548029"/>
                  <a:gd name="connsiteY175" fmla="*/ 1575753 h 2299673"/>
                  <a:gd name="connsiteX176" fmla="*/ 5223372 w 9548029"/>
                  <a:gd name="connsiteY176" fmla="*/ 1595088 h 2299673"/>
                  <a:gd name="connsiteX177" fmla="*/ 5259843 w 9548029"/>
                  <a:gd name="connsiteY177" fmla="*/ 1595088 h 2299673"/>
                  <a:gd name="connsiteX178" fmla="*/ 5259843 w 9548029"/>
                  <a:gd name="connsiteY178" fmla="*/ 1614424 h 2299673"/>
                  <a:gd name="connsiteX179" fmla="*/ 5267166 w 9548029"/>
                  <a:gd name="connsiteY179" fmla="*/ 1614424 h 2299673"/>
                  <a:gd name="connsiteX180" fmla="*/ 5267166 w 9548029"/>
                  <a:gd name="connsiteY180" fmla="*/ 1633866 h 2299673"/>
                  <a:gd name="connsiteX181" fmla="*/ 5274490 w 9548029"/>
                  <a:gd name="connsiteY181" fmla="*/ 1633866 h 2299673"/>
                  <a:gd name="connsiteX182" fmla="*/ 5274490 w 9548029"/>
                  <a:gd name="connsiteY182" fmla="*/ 1653201 h 2299673"/>
                  <a:gd name="connsiteX183" fmla="*/ 5318295 w 9548029"/>
                  <a:gd name="connsiteY183" fmla="*/ 1653201 h 2299673"/>
                  <a:gd name="connsiteX184" fmla="*/ 5318295 w 9548029"/>
                  <a:gd name="connsiteY184" fmla="*/ 1672759 h 2299673"/>
                  <a:gd name="connsiteX185" fmla="*/ 5581248 w 9548029"/>
                  <a:gd name="connsiteY185" fmla="*/ 1672759 h 2299673"/>
                  <a:gd name="connsiteX186" fmla="*/ 5581248 w 9548029"/>
                  <a:gd name="connsiteY186" fmla="*/ 1693333 h 2299673"/>
                  <a:gd name="connsiteX187" fmla="*/ 5654358 w 9548029"/>
                  <a:gd name="connsiteY187" fmla="*/ 1693333 h 2299673"/>
                  <a:gd name="connsiteX188" fmla="*/ 5654358 w 9548029"/>
                  <a:gd name="connsiteY188" fmla="*/ 1714468 h 2299673"/>
                  <a:gd name="connsiteX189" fmla="*/ 5815055 w 9548029"/>
                  <a:gd name="connsiteY189" fmla="*/ 1714468 h 2299673"/>
                  <a:gd name="connsiteX190" fmla="*/ 5815055 w 9548029"/>
                  <a:gd name="connsiteY190" fmla="*/ 1735487 h 2299673"/>
                  <a:gd name="connsiteX191" fmla="*/ 5837036 w 9548029"/>
                  <a:gd name="connsiteY191" fmla="*/ 1735487 h 2299673"/>
                  <a:gd name="connsiteX192" fmla="*/ 5837036 w 9548029"/>
                  <a:gd name="connsiteY192" fmla="*/ 1756505 h 2299673"/>
                  <a:gd name="connsiteX193" fmla="*/ 6100001 w 9548029"/>
                  <a:gd name="connsiteY193" fmla="*/ 1756505 h 2299673"/>
                  <a:gd name="connsiteX194" fmla="*/ 6100001 w 9548029"/>
                  <a:gd name="connsiteY194" fmla="*/ 1779439 h 2299673"/>
                  <a:gd name="connsiteX195" fmla="*/ 6136471 w 9548029"/>
                  <a:gd name="connsiteY195" fmla="*/ 1779439 h 2299673"/>
                  <a:gd name="connsiteX196" fmla="*/ 6136471 w 9548029"/>
                  <a:gd name="connsiteY196" fmla="*/ 1803157 h 2299673"/>
                  <a:gd name="connsiteX197" fmla="*/ 6414083 w 9548029"/>
                  <a:gd name="connsiteY197" fmla="*/ 1803157 h 2299673"/>
                  <a:gd name="connsiteX198" fmla="*/ 6414083 w 9548029"/>
                  <a:gd name="connsiteY198" fmla="*/ 1830134 h 2299673"/>
                  <a:gd name="connsiteX199" fmla="*/ 6436064 w 9548029"/>
                  <a:gd name="connsiteY199" fmla="*/ 1830134 h 2299673"/>
                  <a:gd name="connsiteX200" fmla="*/ 6436064 w 9548029"/>
                  <a:gd name="connsiteY200" fmla="*/ 1857111 h 2299673"/>
                  <a:gd name="connsiteX201" fmla="*/ 6757469 w 9548029"/>
                  <a:gd name="connsiteY201" fmla="*/ 1857111 h 2299673"/>
                  <a:gd name="connsiteX202" fmla="*/ 6757469 w 9548029"/>
                  <a:gd name="connsiteY202" fmla="*/ 1890162 h 2299673"/>
                  <a:gd name="connsiteX203" fmla="*/ 6764793 w 9548029"/>
                  <a:gd name="connsiteY203" fmla="*/ 1890162 h 2299673"/>
                  <a:gd name="connsiteX204" fmla="*/ 6764793 w 9548029"/>
                  <a:gd name="connsiteY204" fmla="*/ 1924558 h 2299673"/>
                  <a:gd name="connsiteX205" fmla="*/ 7962826 w 9548029"/>
                  <a:gd name="connsiteY205" fmla="*/ 1924558 h 2299673"/>
                  <a:gd name="connsiteX206" fmla="*/ 7962826 w 9548029"/>
                  <a:gd name="connsiteY206" fmla="*/ 2013246 h 2299673"/>
                  <a:gd name="connsiteX207" fmla="*/ 8291566 w 9548029"/>
                  <a:gd name="connsiteY207" fmla="*/ 2013246 h 2299673"/>
                  <a:gd name="connsiteX208" fmla="*/ 8291566 w 9548029"/>
                  <a:gd name="connsiteY208" fmla="*/ 2136002 h 2299673"/>
                  <a:gd name="connsiteX209" fmla="*/ 8437784 w 9548029"/>
                  <a:gd name="connsiteY209" fmla="*/ 2136002 h 2299673"/>
                  <a:gd name="connsiteX210" fmla="*/ 8437784 w 9548029"/>
                  <a:gd name="connsiteY210" fmla="*/ 2299674 h 2299673"/>
                  <a:gd name="connsiteX211" fmla="*/ 9548029 w 9548029"/>
                  <a:gd name="connsiteY211" fmla="*/ 2299674 h 2299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Lst>
                <a:rect l="l" t="t" r="r" b="b"/>
                <a:pathLst>
                  <a:path w="9548029" h="2299673">
                    <a:moveTo>
                      <a:pt x="0" y="0"/>
                    </a:moveTo>
                    <a:lnTo>
                      <a:pt x="160729" y="0"/>
                    </a:lnTo>
                    <a:lnTo>
                      <a:pt x="160729" y="14044"/>
                    </a:lnTo>
                    <a:lnTo>
                      <a:pt x="284840" y="14044"/>
                    </a:lnTo>
                    <a:lnTo>
                      <a:pt x="284840" y="28099"/>
                    </a:lnTo>
                    <a:lnTo>
                      <a:pt x="292174" y="28099"/>
                    </a:lnTo>
                    <a:lnTo>
                      <a:pt x="292174" y="42153"/>
                    </a:lnTo>
                    <a:lnTo>
                      <a:pt x="306821" y="42153"/>
                    </a:lnTo>
                    <a:lnTo>
                      <a:pt x="306821" y="56314"/>
                    </a:lnTo>
                    <a:lnTo>
                      <a:pt x="372607" y="56314"/>
                    </a:lnTo>
                    <a:lnTo>
                      <a:pt x="372607" y="70369"/>
                    </a:lnTo>
                    <a:lnTo>
                      <a:pt x="525981" y="70369"/>
                    </a:lnTo>
                    <a:lnTo>
                      <a:pt x="525981" y="84529"/>
                    </a:lnTo>
                    <a:lnTo>
                      <a:pt x="599091" y="84529"/>
                    </a:lnTo>
                    <a:lnTo>
                      <a:pt x="599091" y="98690"/>
                    </a:lnTo>
                    <a:lnTo>
                      <a:pt x="620903" y="98690"/>
                    </a:lnTo>
                    <a:lnTo>
                      <a:pt x="620903" y="112966"/>
                    </a:lnTo>
                    <a:lnTo>
                      <a:pt x="628237" y="112966"/>
                    </a:lnTo>
                    <a:lnTo>
                      <a:pt x="628237" y="127127"/>
                    </a:lnTo>
                    <a:lnTo>
                      <a:pt x="664866" y="127127"/>
                    </a:lnTo>
                    <a:lnTo>
                      <a:pt x="664866" y="141404"/>
                    </a:lnTo>
                    <a:lnTo>
                      <a:pt x="679355" y="141404"/>
                    </a:lnTo>
                    <a:lnTo>
                      <a:pt x="679355" y="155575"/>
                    </a:lnTo>
                    <a:lnTo>
                      <a:pt x="832898" y="155575"/>
                    </a:lnTo>
                    <a:lnTo>
                      <a:pt x="832898" y="169841"/>
                    </a:lnTo>
                    <a:lnTo>
                      <a:pt x="884026" y="169841"/>
                    </a:lnTo>
                    <a:lnTo>
                      <a:pt x="884026" y="184118"/>
                    </a:lnTo>
                    <a:lnTo>
                      <a:pt x="920496" y="184118"/>
                    </a:lnTo>
                    <a:lnTo>
                      <a:pt x="920496" y="198628"/>
                    </a:lnTo>
                    <a:lnTo>
                      <a:pt x="927820" y="198628"/>
                    </a:lnTo>
                    <a:lnTo>
                      <a:pt x="927820" y="227626"/>
                    </a:lnTo>
                    <a:lnTo>
                      <a:pt x="935154" y="227626"/>
                    </a:lnTo>
                    <a:lnTo>
                      <a:pt x="935154" y="242242"/>
                    </a:lnTo>
                    <a:lnTo>
                      <a:pt x="949642" y="242242"/>
                    </a:lnTo>
                    <a:lnTo>
                      <a:pt x="949642" y="256847"/>
                    </a:lnTo>
                    <a:lnTo>
                      <a:pt x="993606" y="256847"/>
                    </a:lnTo>
                    <a:lnTo>
                      <a:pt x="993606" y="271579"/>
                    </a:lnTo>
                    <a:lnTo>
                      <a:pt x="1000771" y="271579"/>
                    </a:lnTo>
                    <a:lnTo>
                      <a:pt x="1000771" y="286194"/>
                    </a:lnTo>
                    <a:lnTo>
                      <a:pt x="1030076" y="286194"/>
                    </a:lnTo>
                    <a:lnTo>
                      <a:pt x="1030076" y="300916"/>
                    </a:lnTo>
                    <a:lnTo>
                      <a:pt x="1183449" y="300916"/>
                    </a:lnTo>
                    <a:lnTo>
                      <a:pt x="1183449" y="315637"/>
                    </a:lnTo>
                    <a:lnTo>
                      <a:pt x="1190784" y="315637"/>
                    </a:lnTo>
                    <a:lnTo>
                      <a:pt x="1190784" y="345091"/>
                    </a:lnTo>
                    <a:lnTo>
                      <a:pt x="1198107" y="345091"/>
                    </a:lnTo>
                    <a:lnTo>
                      <a:pt x="1198107" y="359706"/>
                    </a:lnTo>
                    <a:lnTo>
                      <a:pt x="1219920" y="359706"/>
                    </a:lnTo>
                    <a:lnTo>
                      <a:pt x="1219920" y="374428"/>
                    </a:lnTo>
                    <a:lnTo>
                      <a:pt x="1227254" y="374428"/>
                    </a:lnTo>
                    <a:lnTo>
                      <a:pt x="1227254" y="389160"/>
                    </a:lnTo>
                    <a:lnTo>
                      <a:pt x="1285706" y="389160"/>
                    </a:lnTo>
                    <a:lnTo>
                      <a:pt x="1285706" y="403998"/>
                    </a:lnTo>
                    <a:lnTo>
                      <a:pt x="1336834" y="403998"/>
                    </a:lnTo>
                    <a:lnTo>
                      <a:pt x="1336834" y="418835"/>
                    </a:lnTo>
                    <a:lnTo>
                      <a:pt x="1461061" y="418835"/>
                    </a:lnTo>
                    <a:lnTo>
                      <a:pt x="1461061" y="433673"/>
                    </a:lnTo>
                    <a:lnTo>
                      <a:pt x="1497531" y="433673"/>
                    </a:lnTo>
                    <a:lnTo>
                      <a:pt x="1497531" y="448511"/>
                    </a:lnTo>
                    <a:lnTo>
                      <a:pt x="1504865" y="448511"/>
                    </a:lnTo>
                    <a:lnTo>
                      <a:pt x="1504865" y="478187"/>
                    </a:lnTo>
                    <a:lnTo>
                      <a:pt x="1534171" y="478187"/>
                    </a:lnTo>
                    <a:lnTo>
                      <a:pt x="1534171" y="493025"/>
                    </a:lnTo>
                    <a:lnTo>
                      <a:pt x="1541494" y="493025"/>
                    </a:lnTo>
                    <a:lnTo>
                      <a:pt x="1541494" y="522700"/>
                    </a:lnTo>
                    <a:lnTo>
                      <a:pt x="1614434" y="522700"/>
                    </a:lnTo>
                    <a:lnTo>
                      <a:pt x="1614434" y="537760"/>
                    </a:lnTo>
                    <a:lnTo>
                      <a:pt x="1804448" y="537760"/>
                    </a:lnTo>
                    <a:lnTo>
                      <a:pt x="1804448" y="552715"/>
                    </a:lnTo>
                    <a:lnTo>
                      <a:pt x="1840928" y="552715"/>
                    </a:lnTo>
                    <a:lnTo>
                      <a:pt x="1840928" y="582613"/>
                    </a:lnTo>
                    <a:lnTo>
                      <a:pt x="1855576" y="582613"/>
                    </a:lnTo>
                    <a:lnTo>
                      <a:pt x="1855576" y="612743"/>
                    </a:lnTo>
                    <a:lnTo>
                      <a:pt x="1862910" y="612743"/>
                    </a:lnTo>
                    <a:lnTo>
                      <a:pt x="1862910" y="657924"/>
                    </a:lnTo>
                    <a:lnTo>
                      <a:pt x="1870234" y="657924"/>
                    </a:lnTo>
                    <a:lnTo>
                      <a:pt x="1870234" y="672994"/>
                    </a:lnTo>
                    <a:lnTo>
                      <a:pt x="1892046" y="672994"/>
                    </a:lnTo>
                    <a:lnTo>
                      <a:pt x="1892046" y="688171"/>
                    </a:lnTo>
                    <a:lnTo>
                      <a:pt x="1906704" y="688171"/>
                    </a:lnTo>
                    <a:lnTo>
                      <a:pt x="1906704" y="703231"/>
                    </a:lnTo>
                    <a:lnTo>
                      <a:pt x="2060077" y="703231"/>
                    </a:lnTo>
                    <a:lnTo>
                      <a:pt x="2060077" y="718629"/>
                    </a:lnTo>
                    <a:lnTo>
                      <a:pt x="2111206" y="718629"/>
                    </a:lnTo>
                    <a:lnTo>
                      <a:pt x="2111206" y="734145"/>
                    </a:lnTo>
                    <a:lnTo>
                      <a:pt x="2125864" y="734145"/>
                    </a:lnTo>
                    <a:lnTo>
                      <a:pt x="2125864" y="749543"/>
                    </a:lnTo>
                    <a:lnTo>
                      <a:pt x="2155169" y="749543"/>
                    </a:lnTo>
                    <a:lnTo>
                      <a:pt x="2155169" y="765281"/>
                    </a:lnTo>
                    <a:lnTo>
                      <a:pt x="2191639" y="765281"/>
                    </a:lnTo>
                    <a:lnTo>
                      <a:pt x="2191639" y="781135"/>
                    </a:lnTo>
                    <a:lnTo>
                      <a:pt x="2206297" y="781135"/>
                    </a:lnTo>
                    <a:lnTo>
                      <a:pt x="2206297" y="797094"/>
                    </a:lnTo>
                    <a:lnTo>
                      <a:pt x="2330365" y="797094"/>
                    </a:lnTo>
                    <a:lnTo>
                      <a:pt x="2330365" y="813054"/>
                    </a:lnTo>
                    <a:lnTo>
                      <a:pt x="2410799" y="813054"/>
                    </a:lnTo>
                    <a:lnTo>
                      <a:pt x="2410799" y="829014"/>
                    </a:lnTo>
                    <a:lnTo>
                      <a:pt x="2418123" y="829014"/>
                    </a:lnTo>
                    <a:lnTo>
                      <a:pt x="2418123" y="844973"/>
                    </a:lnTo>
                    <a:lnTo>
                      <a:pt x="2454593" y="844973"/>
                    </a:lnTo>
                    <a:lnTo>
                      <a:pt x="2454593" y="860944"/>
                    </a:lnTo>
                    <a:lnTo>
                      <a:pt x="2498397" y="860944"/>
                    </a:lnTo>
                    <a:lnTo>
                      <a:pt x="2498397" y="877020"/>
                    </a:lnTo>
                    <a:lnTo>
                      <a:pt x="2651771" y="877020"/>
                    </a:lnTo>
                    <a:lnTo>
                      <a:pt x="2651771" y="893318"/>
                    </a:lnTo>
                    <a:lnTo>
                      <a:pt x="2724880" y="893318"/>
                    </a:lnTo>
                    <a:lnTo>
                      <a:pt x="2724880" y="909722"/>
                    </a:lnTo>
                    <a:lnTo>
                      <a:pt x="2746862" y="909722"/>
                    </a:lnTo>
                    <a:lnTo>
                      <a:pt x="2746862" y="942435"/>
                    </a:lnTo>
                    <a:lnTo>
                      <a:pt x="2754186" y="942435"/>
                    </a:lnTo>
                    <a:lnTo>
                      <a:pt x="2754186" y="958850"/>
                    </a:lnTo>
                    <a:lnTo>
                      <a:pt x="2768674" y="958850"/>
                    </a:lnTo>
                    <a:lnTo>
                      <a:pt x="2768674" y="975487"/>
                    </a:lnTo>
                    <a:lnTo>
                      <a:pt x="2776008" y="975487"/>
                    </a:lnTo>
                    <a:lnTo>
                      <a:pt x="2776008" y="992008"/>
                    </a:lnTo>
                    <a:lnTo>
                      <a:pt x="2805314" y="992008"/>
                    </a:lnTo>
                    <a:lnTo>
                      <a:pt x="2805314" y="1008645"/>
                    </a:lnTo>
                    <a:lnTo>
                      <a:pt x="2958687" y="1008645"/>
                    </a:lnTo>
                    <a:lnTo>
                      <a:pt x="2958687" y="1025620"/>
                    </a:lnTo>
                    <a:lnTo>
                      <a:pt x="3046285" y="1025620"/>
                    </a:lnTo>
                    <a:lnTo>
                      <a:pt x="3046285" y="1042596"/>
                    </a:lnTo>
                    <a:lnTo>
                      <a:pt x="3068267" y="1042596"/>
                    </a:lnTo>
                    <a:lnTo>
                      <a:pt x="3068267" y="1059572"/>
                    </a:lnTo>
                    <a:lnTo>
                      <a:pt x="3075601" y="1059572"/>
                    </a:lnTo>
                    <a:lnTo>
                      <a:pt x="3075601" y="1076653"/>
                    </a:lnTo>
                    <a:lnTo>
                      <a:pt x="3082925" y="1076653"/>
                    </a:lnTo>
                    <a:lnTo>
                      <a:pt x="3082925" y="1093745"/>
                    </a:lnTo>
                    <a:lnTo>
                      <a:pt x="3119395" y="1093745"/>
                    </a:lnTo>
                    <a:lnTo>
                      <a:pt x="3119395" y="1111049"/>
                    </a:lnTo>
                    <a:lnTo>
                      <a:pt x="3126719" y="1111049"/>
                    </a:lnTo>
                    <a:lnTo>
                      <a:pt x="3126719" y="1145445"/>
                    </a:lnTo>
                    <a:lnTo>
                      <a:pt x="3155865" y="1145445"/>
                    </a:lnTo>
                    <a:lnTo>
                      <a:pt x="3155865" y="1162759"/>
                    </a:lnTo>
                    <a:lnTo>
                      <a:pt x="3287427" y="1162759"/>
                    </a:lnTo>
                    <a:lnTo>
                      <a:pt x="3287427" y="1180074"/>
                    </a:lnTo>
                    <a:lnTo>
                      <a:pt x="3338555" y="1180074"/>
                    </a:lnTo>
                    <a:lnTo>
                      <a:pt x="3338555" y="1214808"/>
                    </a:lnTo>
                    <a:lnTo>
                      <a:pt x="3345879" y="1214808"/>
                    </a:lnTo>
                    <a:lnTo>
                      <a:pt x="3345879" y="1232122"/>
                    </a:lnTo>
                    <a:lnTo>
                      <a:pt x="3433477" y="1232122"/>
                    </a:lnTo>
                    <a:lnTo>
                      <a:pt x="3433477" y="1249648"/>
                    </a:lnTo>
                    <a:lnTo>
                      <a:pt x="3440800" y="1249648"/>
                    </a:lnTo>
                    <a:lnTo>
                      <a:pt x="3440800" y="1267079"/>
                    </a:lnTo>
                    <a:lnTo>
                      <a:pt x="3667284" y="1267079"/>
                    </a:lnTo>
                    <a:lnTo>
                      <a:pt x="3667284" y="1284616"/>
                    </a:lnTo>
                    <a:lnTo>
                      <a:pt x="3674618" y="1284616"/>
                    </a:lnTo>
                    <a:lnTo>
                      <a:pt x="3674618" y="1302036"/>
                    </a:lnTo>
                    <a:lnTo>
                      <a:pt x="3725736" y="1302036"/>
                    </a:lnTo>
                    <a:lnTo>
                      <a:pt x="3725736" y="1319572"/>
                    </a:lnTo>
                    <a:lnTo>
                      <a:pt x="3944895" y="1319572"/>
                    </a:lnTo>
                    <a:lnTo>
                      <a:pt x="3944895" y="1336993"/>
                    </a:lnTo>
                    <a:lnTo>
                      <a:pt x="4010681" y="1336993"/>
                    </a:lnTo>
                    <a:lnTo>
                      <a:pt x="4010681" y="1354529"/>
                    </a:lnTo>
                    <a:lnTo>
                      <a:pt x="4112927" y="1354529"/>
                    </a:lnTo>
                    <a:lnTo>
                      <a:pt x="4112927" y="1372404"/>
                    </a:lnTo>
                    <a:lnTo>
                      <a:pt x="4273635" y="1372404"/>
                    </a:lnTo>
                    <a:lnTo>
                      <a:pt x="4273635" y="1390280"/>
                    </a:lnTo>
                    <a:lnTo>
                      <a:pt x="4354068" y="1390280"/>
                    </a:lnTo>
                    <a:lnTo>
                      <a:pt x="4354068" y="1408155"/>
                    </a:lnTo>
                    <a:lnTo>
                      <a:pt x="4638834" y="1408155"/>
                    </a:lnTo>
                    <a:lnTo>
                      <a:pt x="4638834" y="1426252"/>
                    </a:lnTo>
                    <a:lnTo>
                      <a:pt x="4660826" y="1426252"/>
                    </a:lnTo>
                    <a:lnTo>
                      <a:pt x="4660826" y="1444689"/>
                    </a:lnTo>
                    <a:lnTo>
                      <a:pt x="4697297" y="1444689"/>
                    </a:lnTo>
                    <a:lnTo>
                      <a:pt x="4697297" y="1463231"/>
                    </a:lnTo>
                    <a:lnTo>
                      <a:pt x="4755748" y="1463231"/>
                    </a:lnTo>
                    <a:lnTo>
                      <a:pt x="4755748" y="1481783"/>
                    </a:lnTo>
                    <a:lnTo>
                      <a:pt x="4799711" y="1481783"/>
                    </a:lnTo>
                    <a:lnTo>
                      <a:pt x="4799711" y="1500219"/>
                    </a:lnTo>
                    <a:lnTo>
                      <a:pt x="4916445" y="1500219"/>
                    </a:lnTo>
                    <a:lnTo>
                      <a:pt x="4916445" y="1537875"/>
                    </a:lnTo>
                    <a:lnTo>
                      <a:pt x="4945761" y="1537875"/>
                    </a:lnTo>
                    <a:lnTo>
                      <a:pt x="4945761" y="1556755"/>
                    </a:lnTo>
                    <a:lnTo>
                      <a:pt x="4982231" y="1556755"/>
                    </a:lnTo>
                    <a:lnTo>
                      <a:pt x="4982231" y="1575753"/>
                    </a:lnTo>
                    <a:lnTo>
                      <a:pt x="5223372" y="1575753"/>
                    </a:lnTo>
                    <a:lnTo>
                      <a:pt x="5223372" y="1595088"/>
                    </a:lnTo>
                    <a:lnTo>
                      <a:pt x="5259843" y="1595088"/>
                    </a:lnTo>
                    <a:lnTo>
                      <a:pt x="5259843" y="1614424"/>
                    </a:lnTo>
                    <a:lnTo>
                      <a:pt x="5267166" y="1614424"/>
                    </a:lnTo>
                    <a:lnTo>
                      <a:pt x="5267166" y="1633866"/>
                    </a:lnTo>
                    <a:lnTo>
                      <a:pt x="5274490" y="1633866"/>
                    </a:lnTo>
                    <a:lnTo>
                      <a:pt x="5274490" y="1653201"/>
                    </a:lnTo>
                    <a:lnTo>
                      <a:pt x="5318295" y="1653201"/>
                    </a:lnTo>
                    <a:lnTo>
                      <a:pt x="5318295" y="1672759"/>
                    </a:lnTo>
                    <a:lnTo>
                      <a:pt x="5581248" y="1672759"/>
                    </a:lnTo>
                    <a:lnTo>
                      <a:pt x="5581248" y="1693333"/>
                    </a:lnTo>
                    <a:lnTo>
                      <a:pt x="5654358" y="1693333"/>
                    </a:lnTo>
                    <a:lnTo>
                      <a:pt x="5654358" y="1714468"/>
                    </a:lnTo>
                    <a:lnTo>
                      <a:pt x="5815055" y="1714468"/>
                    </a:lnTo>
                    <a:lnTo>
                      <a:pt x="5815055" y="1735487"/>
                    </a:lnTo>
                    <a:lnTo>
                      <a:pt x="5837036" y="1735487"/>
                    </a:lnTo>
                    <a:lnTo>
                      <a:pt x="5837036" y="1756505"/>
                    </a:lnTo>
                    <a:lnTo>
                      <a:pt x="6100001" y="1756505"/>
                    </a:lnTo>
                    <a:lnTo>
                      <a:pt x="6100001" y="1779439"/>
                    </a:lnTo>
                    <a:lnTo>
                      <a:pt x="6136471" y="1779439"/>
                    </a:lnTo>
                    <a:lnTo>
                      <a:pt x="6136471" y="1803157"/>
                    </a:lnTo>
                    <a:lnTo>
                      <a:pt x="6414083" y="1803157"/>
                    </a:lnTo>
                    <a:lnTo>
                      <a:pt x="6414083" y="1830134"/>
                    </a:lnTo>
                    <a:lnTo>
                      <a:pt x="6436064" y="1830134"/>
                    </a:lnTo>
                    <a:lnTo>
                      <a:pt x="6436064" y="1857111"/>
                    </a:lnTo>
                    <a:lnTo>
                      <a:pt x="6757469" y="1857111"/>
                    </a:lnTo>
                    <a:lnTo>
                      <a:pt x="6757469" y="1890162"/>
                    </a:lnTo>
                    <a:lnTo>
                      <a:pt x="6764793" y="1890162"/>
                    </a:lnTo>
                    <a:lnTo>
                      <a:pt x="6764793" y="1924558"/>
                    </a:lnTo>
                    <a:lnTo>
                      <a:pt x="7962826" y="1924558"/>
                    </a:lnTo>
                    <a:lnTo>
                      <a:pt x="7962826" y="2013246"/>
                    </a:lnTo>
                    <a:lnTo>
                      <a:pt x="8291566" y="2013246"/>
                    </a:lnTo>
                    <a:lnTo>
                      <a:pt x="8291566" y="2136002"/>
                    </a:lnTo>
                    <a:lnTo>
                      <a:pt x="8437784" y="2136002"/>
                    </a:lnTo>
                    <a:lnTo>
                      <a:pt x="8437784" y="2299674"/>
                    </a:lnTo>
                    <a:lnTo>
                      <a:pt x="9548029" y="2299674"/>
                    </a:lnTo>
                  </a:path>
                </a:pathLst>
              </a:custGeom>
              <a:noFill/>
              <a:ln w="12700" cap="flat">
                <a:solidFill>
                  <a:srgbClr val="002985"/>
                </a:solidFill>
                <a:prstDash val="solid"/>
                <a:miter/>
              </a:ln>
            </p:spPr>
            <p:txBody>
              <a:bodyPr rtlCol="0" anchor="ctr"/>
              <a:lstStyle/>
              <a:p>
                <a:endParaRPr lang="en-US" sz="1800"/>
              </a:p>
            </p:txBody>
          </p:sp>
          <p:sp>
            <p:nvSpPr>
              <p:cNvPr id="1120" name="Freeform 79">
                <a:extLst>
                  <a:ext uri="{FF2B5EF4-FFF2-40B4-BE49-F238E27FC236}">
                    <a16:creationId xmlns:a16="http://schemas.microsoft.com/office/drawing/2014/main" id="{B2B1E35F-0961-66FF-95EB-73C1EFE2D2D3}"/>
                  </a:ext>
                </a:extLst>
              </p:cNvPr>
              <p:cNvSpPr/>
              <p:nvPr/>
            </p:nvSpPr>
            <p:spPr>
              <a:xfrm>
                <a:off x="1491985" y="1230450"/>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endParaRPr lang="en-US" sz="1800"/>
              </a:p>
            </p:txBody>
          </p:sp>
          <p:sp>
            <p:nvSpPr>
              <p:cNvPr id="1121" name="Freeform 80">
                <a:extLst>
                  <a:ext uri="{FF2B5EF4-FFF2-40B4-BE49-F238E27FC236}">
                    <a16:creationId xmlns:a16="http://schemas.microsoft.com/office/drawing/2014/main" id="{C61C055E-4A06-92DF-E308-FD32A177F49C}"/>
                  </a:ext>
                </a:extLst>
              </p:cNvPr>
              <p:cNvSpPr/>
              <p:nvPr/>
            </p:nvSpPr>
            <p:spPr>
              <a:xfrm>
                <a:off x="1529450" y="1205155"/>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002985"/>
                </a:solidFill>
                <a:prstDash val="solid"/>
                <a:miter/>
              </a:ln>
            </p:spPr>
            <p:txBody>
              <a:bodyPr rtlCol="0" anchor="ctr"/>
              <a:lstStyle/>
              <a:p>
                <a:endParaRPr lang="en-US" sz="1800"/>
              </a:p>
            </p:txBody>
          </p:sp>
          <p:sp>
            <p:nvSpPr>
              <p:cNvPr id="1122" name="Freeform 81">
                <a:extLst>
                  <a:ext uri="{FF2B5EF4-FFF2-40B4-BE49-F238E27FC236}">
                    <a16:creationId xmlns:a16="http://schemas.microsoft.com/office/drawing/2014/main" id="{25824664-4CCE-1099-ACE4-40D38C4663EF}"/>
                  </a:ext>
                </a:extLst>
              </p:cNvPr>
              <p:cNvSpPr/>
              <p:nvPr/>
            </p:nvSpPr>
            <p:spPr>
              <a:xfrm>
                <a:off x="1491985" y="1230450"/>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endParaRPr lang="en-US" sz="1800"/>
              </a:p>
            </p:txBody>
          </p:sp>
          <p:sp>
            <p:nvSpPr>
              <p:cNvPr id="1123" name="Freeform 82">
                <a:extLst>
                  <a:ext uri="{FF2B5EF4-FFF2-40B4-BE49-F238E27FC236}">
                    <a16:creationId xmlns:a16="http://schemas.microsoft.com/office/drawing/2014/main" id="{2F659F0E-1722-D288-82DE-10F8E11516B9}"/>
                  </a:ext>
                </a:extLst>
              </p:cNvPr>
              <p:cNvSpPr/>
              <p:nvPr/>
            </p:nvSpPr>
            <p:spPr>
              <a:xfrm>
                <a:off x="1529450" y="1205155"/>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002985"/>
                </a:solidFill>
                <a:prstDash val="solid"/>
                <a:miter/>
              </a:ln>
            </p:spPr>
            <p:txBody>
              <a:bodyPr rtlCol="0" anchor="ctr"/>
              <a:lstStyle/>
              <a:p>
                <a:endParaRPr lang="en-US" sz="1800"/>
              </a:p>
            </p:txBody>
          </p:sp>
          <p:sp>
            <p:nvSpPr>
              <p:cNvPr id="1124" name="Freeform 83">
                <a:extLst>
                  <a:ext uri="{FF2B5EF4-FFF2-40B4-BE49-F238E27FC236}">
                    <a16:creationId xmlns:a16="http://schemas.microsoft.com/office/drawing/2014/main" id="{BFAD414E-A3A5-D722-0CDB-455B8ABCAAEE}"/>
                  </a:ext>
                </a:extLst>
              </p:cNvPr>
              <p:cNvSpPr/>
              <p:nvPr/>
            </p:nvSpPr>
            <p:spPr>
              <a:xfrm>
                <a:off x="1491985" y="1230450"/>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endParaRPr lang="en-US" sz="1800"/>
              </a:p>
            </p:txBody>
          </p:sp>
          <p:sp>
            <p:nvSpPr>
              <p:cNvPr id="1125" name="Freeform 84">
                <a:extLst>
                  <a:ext uri="{FF2B5EF4-FFF2-40B4-BE49-F238E27FC236}">
                    <a16:creationId xmlns:a16="http://schemas.microsoft.com/office/drawing/2014/main" id="{EBF256C8-E334-ADA6-E940-63FAF29E92D6}"/>
                  </a:ext>
                </a:extLst>
              </p:cNvPr>
              <p:cNvSpPr/>
              <p:nvPr/>
            </p:nvSpPr>
            <p:spPr>
              <a:xfrm>
                <a:off x="1529450" y="1205155"/>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002985"/>
                </a:solidFill>
                <a:prstDash val="solid"/>
                <a:miter/>
              </a:ln>
            </p:spPr>
            <p:txBody>
              <a:bodyPr rtlCol="0" anchor="ctr"/>
              <a:lstStyle/>
              <a:p>
                <a:endParaRPr lang="en-US" sz="1800"/>
              </a:p>
            </p:txBody>
          </p:sp>
          <p:sp>
            <p:nvSpPr>
              <p:cNvPr id="1126" name="Freeform 85">
                <a:extLst>
                  <a:ext uri="{FF2B5EF4-FFF2-40B4-BE49-F238E27FC236}">
                    <a16:creationId xmlns:a16="http://schemas.microsoft.com/office/drawing/2014/main" id="{90537C6E-AF94-0E73-7FC3-CC183D8F2066}"/>
                  </a:ext>
                </a:extLst>
              </p:cNvPr>
              <p:cNvSpPr/>
              <p:nvPr/>
            </p:nvSpPr>
            <p:spPr>
              <a:xfrm>
                <a:off x="1491985" y="1230450"/>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endParaRPr lang="en-US" sz="1800"/>
              </a:p>
            </p:txBody>
          </p:sp>
          <p:sp>
            <p:nvSpPr>
              <p:cNvPr id="1127" name="Freeform 86">
                <a:extLst>
                  <a:ext uri="{FF2B5EF4-FFF2-40B4-BE49-F238E27FC236}">
                    <a16:creationId xmlns:a16="http://schemas.microsoft.com/office/drawing/2014/main" id="{228BB032-5C85-3EB2-E583-55F5A45B32A9}"/>
                  </a:ext>
                </a:extLst>
              </p:cNvPr>
              <p:cNvSpPr/>
              <p:nvPr/>
            </p:nvSpPr>
            <p:spPr>
              <a:xfrm>
                <a:off x="1529450" y="1205155"/>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002985"/>
                </a:solidFill>
                <a:prstDash val="solid"/>
                <a:miter/>
              </a:ln>
            </p:spPr>
            <p:txBody>
              <a:bodyPr rtlCol="0" anchor="ctr"/>
              <a:lstStyle/>
              <a:p>
                <a:endParaRPr lang="en-US" sz="1800"/>
              </a:p>
            </p:txBody>
          </p:sp>
          <p:sp>
            <p:nvSpPr>
              <p:cNvPr id="1128" name="Freeform 87">
                <a:extLst>
                  <a:ext uri="{FF2B5EF4-FFF2-40B4-BE49-F238E27FC236}">
                    <a16:creationId xmlns:a16="http://schemas.microsoft.com/office/drawing/2014/main" id="{C80784C5-B52F-012C-F560-2100502FE4A6}"/>
                  </a:ext>
                </a:extLst>
              </p:cNvPr>
              <p:cNvSpPr/>
              <p:nvPr/>
            </p:nvSpPr>
            <p:spPr>
              <a:xfrm>
                <a:off x="1769575" y="1258548"/>
                <a:ext cx="74877" cy="10583"/>
              </a:xfrm>
              <a:custGeom>
                <a:avLst/>
                <a:gdLst>
                  <a:gd name="connsiteX0" fmla="*/ 0 w 74877"/>
                  <a:gd name="connsiteY0" fmla="*/ 0 h 10583"/>
                  <a:gd name="connsiteX1" fmla="*/ 74877 w 74877"/>
                  <a:gd name="connsiteY1" fmla="*/ 0 h 10583"/>
                </a:gdLst>
                <a:ahLst/>
                <a:cxnLst>
                  <a:cxn ang="0">
                    <a:pos x="connsiteX0" y="connsiteY0"/>
                  </a:cxn>
                  <a:cxn ang="0">
                    <a:pos x="connsiteX1" y="connsiteY1"/>
                  </a:cxn>
                </a:cxnLst>
                <a:rect l="l" t="t" r="r" b="b"/>
                <a:pathLst>
                  <a:path w="74877" h="10583">
                    <a:moveTo>
                      <a:pt x="0" y="0"/>
                    </a:moveTo>
                    <a:lnTo>
                      <a:pt x="74877" y="0"/>
                    </a:lnTo>
                  </a:path>
                </a:pathLst>
              </a:custGeom>
              <a:ln w="12700" cap="sq">
                <a:solidFill>
                  <a:srgbClr val="002985"/>
                </a:solidFill>
                <a:prstDash val="solid"/>
                <a:miter/>
              </a:ln>
            </p:spPr>
            <p:txBody>
              <a:bodyPr rtlCol="0" anchor="ctr"/>
              <a:lstStyle/>
              <a:p>
                <a:endParaRPr lang="en-US" sz="1800"/>
              </a:p>
            </p:txBody>
          </p:sp>
          <p:sp>
            <p:nvSpPr>
              <p:cNvPr id="1129" name="Freeform 88">
                <a:extLst>
                  <a:ext uri="{FF2B5EF4-FFF2-40B4-BE49-F238E27FC236}">
                    <a16:creationId xmlns:a16="http://schemas.microsoft.com/office/drawing/2014/main" id="{5C81FF26-3D40-E47B-82B6-23E99651F3D3}"/>
                  </a:ext>
                </a:extLst>
              </p:cNvPr>
              <p:cNvSpPr/>
              <p:nvPr/>
            </p:nvSpPr>
            <p:spPr>
              <a:xfrm>
                <a:off x="1806977" y="1233254"/>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endParaRPr lang="en-US" sz="1800"/>
              </a:p>
            </p:txBody>
          </p:sp>
          <p:sp>
            <p:nvSpPr>
              <p:cNvPr id="1130" name="Freeform 89">
                <a:extLst>
                  <a:ext uri="{FF2B5EF4-FFF2-40B4-BE49-F238E27FC236}">
                    <a16:creationId xmlns:a16="http://schemas.microsoft.com/office/drawing/2014/main" id="{3D064198-85EF-AF24-8774-7C8DEA1405A3}"/>
                  </a:ext>
                </a:extLst>
              </p:cNvPr>
              <p:cNvSpPr/>
              <p:nvPr/>
            </p:nvSpPr>
            <p:spPr>
              <a:xfrm>
                <a:off x="1849945" y="1286764"/>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endParaRPr lang="en-US" sz="1800"/>
              </a:p>
            </p:txBody>
          </p:sp>
          <p:sp>
            <p:nvSpPr>
              <p:cNvPr id="1131" name="Freeform 90">
                <a:extLst>
                  <a:ext uri="{FF2B5EF4-FFF2-40B4-BE49-F238E27FC236}">
                    <a16:creationId xmlns:a16="http://schemas.microsoft.com/office/drawing/2014/main" id="{0796743B-524D-7CD8-E744-7DFB9B197AEA}"/>
                  </a:ext>
                </a:extLst>
              </p:cNvPr>
              <p:cNvSpPr/>
              <p:nvPr/>
            </p:nvSpPr>
            <p:spPr>
              <a:xfrm>
                <a:off x="1887410" y="1261469"/>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endParaRPr lang="en-US" sz="1800"/>
              </a:p>
            </p:txBody>
          </p:sp>
          <p:sp>
            <p:nvSpPr>
              <p:cNvPr id="1132" name="Freeform 91">
                <a:extLst>
                  <a:ext uri="{FF2B5EF4-FFF2-40B4-BE49-F238E27FC236}">
                    <a16:creationId xmlns:a16="http://schemas.microsoft.com/office/drawing/2014/main" id="{17747396-AD95-671F-32EF-6585C361156A}"/>
                  </a:ext>
                </a:extLst>
              </p:cNvPr>
              <p:cNvSpPr/>
              <p:nvPr/>
            </p:nvSpPr>
            <p:spPr>
              <a:xfrm>
                <a:off x="2098241" y="1329139"/>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endParaRPr lang="en-US" sz="1800"/>
              </a:p>
            </p:txBody>
          </p:sp>
          <p:sp>
            <p:nvSpPr>
              <p:cNvPr id="1133" name="Freeform 92">
                <a:extLst>
                  <a:ext uri="{FF2B5EF4-FFF2-40B4-BE49-F238E27FC236}">
                    <a16:creationId xmlns:a16="http://schemas.microsoft.com/office/drawing/2014/main" id="{78213934-A3A9-3902-4053-BFCDB93C671B}"/>
                  </a:ext>
                </a:extLst>
              </p:cNvPr>
              <p:cNvSpPr/>
              <p:nvPr/>
            </p:nvSpPr>
            <p:spPr>
              <a:xfrm>
                <a:off x="2135716" y="1303845"/>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endParaRPr lang="en-US" sz="1800"/>
              </a:p>
            </p:txBody>
          </p:sp>
          <p:sp>
            <p:nvSpPr>
              <p:cNvPr id="1134" name="Freeform 93">
                <a:extLst>
                  <a:ext uri="{FF2B5EF4-FFF2-40B4-BE49-F238E27FC236}">
                    <a16:creationId xmlns:a16="http://schemas.microsoft.com/office/drawing/2014/main" id="{13A0DBB2-7CCA-A0E3-9591-B6A7DBC688C6}"/>
                  </a:ext>
                </a:extLst>
              </p:cNvPr>
              <p:cNvSpPr/>
              <p:nvPr/>
            </p:nvSpPr>
            <p:spPr>
              <a:xfrm>
                <a:off x="2164027" y="1386025"/>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endParaRPr lang="en-US" sz="1800"/>
              </a:p>
            </p:txBody>
          </p:sp>
          <p:sp>
            <p:nvSpPr>
              <p:cNvPr id="1135" name="Freeform 94">
                <a:extLst>
                  <a:ext uri="{FF2B5EF4-FFF2-40B4-BE49-F238E27FC236}">
                    <a16:creationId xmlns:a16="http://schemas.microsoft.com/office/drawing/2014/main" id="{AD62AEE1-67D6-E7CA-7B54-5A3BC8379F47}"/>
                  </a:ext>
                </a:extLst>
              </p:cNvPr>
              <p:cNvSpPr/>
              <p:nvPr/>
            </p:nvSpPr>
            <p:spPr>
              <a:xfrm>
                <a:off x="2201492" y="1360730"/>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002985"/>
                </a:solidFill>
                <a:prstDash val="solid"/>
                <a:miter/>
              </a:ln>
            </p:spPr>
            <p:txBody>
              <a:bodyPr rtlCol="0" anchor="ctr"/>
              <a:lstStyle/>
              <a:p>
                <a:endParaRPr lang="en-US" sz="1800"/>
              </a:p>
            </p:txBody>
          </p:sp>
          <p:sp>
            <p:nvSpPr>
              <p:cNvPr id="1136" name="Freeform 95">
                <a:extLst>
                  <a:ext uri="{FF2B5EF4-FFF2-40B4-BE49-F238E27FC236}">
                    <a16:creationId xmlns:a16="http://schemas.microsoft.com/office/drawing/2014/main" id="{F5554368-446E-8B61-5C13-EEFAD9431537}"/>
                  </a:ext>
                </a:extLst>
              </p:cNvPr>
              <p:cNvSpPr/>
              <p:nvPr/>
            </p:nvSpPr>
            <p:spPr>
              <a:xfrm>
                <a:off x="2375852" y="1414568"/>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endParaRPr lang="en-US" sz="1800"/>
              </a:p>
            </p:txBody>
          </p:sp>
          <p:sp>
            <p:nvSpPr>
              <p:cNvPr id="1137" name="Freeform 96">
                <a:extLst>
                  <a:ext uri="{FF2B5EF4-FFF2-40B4-BE49-F238E27FC236}">
                    <a16:creationId xmlns:a16="http://schemas.microsoft.com/office/drawing/2014/main" id="{00CD80A3-CC0C-FE17-50FA-70F10B6BA213}"/>
                  </a:ext>
                </a:extLst>
              </p:cNvPr>
              <p:cNvSpPr/>
              <p:nvPr/>
            </p:nvSpPr>
            <p:spPr>
              <a:xfrm>
                <a:off x="2413328" y="1389284"/>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002985"/>
                </a:solidFill>
                <a:prstDash val="solid"/>
                <a:miter/>
              </a:ln>
            </p:spPr>
            <p:txBody>
              <a:bodyPr rtlCol="0" anchor="ctr"/>
              <a:lstStyle/>
              <a:p>
                <a:endParaRPr lang="en-US" sz="1800"/>
              </a:p>
            </p:txBody>
          </p:sp>
          <p:sp>
            <p:nvSpPr>
              <p:cNvPr id="1138" name="Freeform 97">
                <a:extLst>
                  <a:ext uri="{FF2B5EF4-FFF2-40B4-BE49-F238E27FC236}">
                    <a16:creationId xmlns:a16="http://schemas.microsoft.com/office/drawing/2014/main" id="{7C5ACAB5-1B35-D784-1CAC-EE94CEB196AB}"/>
                  </a:ext>
                </a:extLst>
              </p:cNvPr>
              <p:cNvSpPr/>
              <p:nvPr/>
            </p:nvSpPr>
            <p:spPr>
              <a:xfrm>
                <a:off x="2383186" y="1414568"/>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endParaRPr lang="en-US" sz="1800"/>
              </a:p>
            </p:txBody>
          </p:sp>
          <p:sp>
            <p:nvSpPr>
              <p:cNvPr id="1139" name="Freeform 98">
                <a:extLst>
                  <a:ext uri="{FF2B5EF4-FFF2-40B4-BE49-F238E27FC236}">
                    <a16:creationId xmlns:a16="http://schemas.microsoft.com/office/drawing/2014/main" id="{805E247D-8823-D7CF-306B-1F8876222D7D}"/>
                  </a:ext>
                </a:extLst>
              </p:cNvPr>
              <p:cNvSpPr/>
              <p:nvPr/>
            </p:nvSpPr>
            <p:spPr>
              <a:xfrm>
                <a:off x="2420651" y="1389284"/>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002985"/>
                </a:solidFill>
                <a:prstDash val="solid"/>
                <a:miter/>
              </a:ln>
            </p:spPr>
            <p:txBody>
              <a:bodyPr rtlCol="0" anchor="ctr"/>
              <a:lstStyle/>
              <a:p>
                <a:endParaRPr lang="en-US" sz="1800"/>
              </a:p>
            </p:txBody>
          </p:sp>
          <p:sp>
            <p:nvSpPr>
              <p:cNvPr id="1140" name="Freeform 99">
                <a:extLst>
                  <a:ext uri="{FF2B5EF4-FFF2-40B4-BE49-F238E27FC236}">
                    <a16:creationId xmlns:a16="http://schemas.microsoft.com/office/drawing/2014/main" id="{EEAAF26B-6DC8-C1C4-2BB8-417A1F9C1CB1}"/>
                  </a:ext>
                </a:extLst>
              </p:cNvPr>
              <p:cNvSpPr/>
              <p:nvPr/>
            </p:nvSpPr>
            <p:spPr>
              <a:xfrm>
                <a:off x="2383186" y="1414568"/>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endParaRPr lang="en-US" sz="1800"/>
              </a:p>
            </p:txBody>
          </p:sp>
          <p:sp>
            <p:nvSpPr>
              <p:cNvPr id="1141" name="Freeform 100">
                <a:extLst>
                  <a:ext uri="{FF2B5EF4-FFF2-40B4-BE49-F238E27FC236}">
                    <a16:creationId xmlns:a16="http://schemas.microsoft.com/office/drawing/2014/main" id="{970B44D2-72FC-E784-DB5B-C5980BD874F1}"/>
                  </a:ext>
                </a:extLst>
              </p:cNvPr>
              <p:cNvSpPr/>
              <p:nvPr/>
            </p:nvSpPr>
            <p:spPr>
              <a:xfrm>
                <a:off x="2420651" y="1389284"/>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002985"/>
                </a:solidFill>
                <a:prstDash val="solid"/>
                <a:miter/>
              </a:ln>
            </p:spPr>
            <p:txBody>
              <a:bodyPr rtlCol="0" anchor="ctr"/>
              <a:lstStyle/>
              <a:p>
                <a:endParaRPr lang="en-US" sz="1800"/>
              </a:p>
            </p:txBody>
          </p:sp>
          <p:sp>
            <p:nvSpPr>
              <p:cNvPr id="1142" name="Freeform 101">
                <a:extLst>
                  <a:ext uri="{FF2B5EF4-FFF2-40B4-BE49-F238E27FC236}">
                    <a16:creationId xmlns:a16="http://schemas.microsoft.com/office/drawing/2014/main" id="{8F603602-F6BD-597F-5474-EFC7C4D3EE36}"/>
                  </a:ext>
                </a:extLst>
              </p:cNvPr>
              <p:cNvSpPr/>
              <p:nvPr/>
            </p:nvSpPr>
            <p:spPr>
              <a:xfrm>
                <a:off x="2405168" y="1429078"/>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endParaRPr lang="en-US" sz="1800"/>
              </a:p>
            </p:txBody>
          </p:sp>
          <p:sp>
            <p:nvSpPr>
              <p:cNvPr id="1143" name="Freeform 102">
                <a:extLst>
                  <a:ext uri="{FF2B5EF4-FFF2-40B4-BE49-F238E27FC236}">
                    <a16:creationId xmlns:a16="http://schemas.microsoft.com/office/drawing/2014/main" id="{BD2CF37D-FB9A-7A4D-A66C-BCECC0AD4F62}"/>
                  </a:ext>
                </a:extLst>
              </p:cNvPr>
              <p:cNvSpPr/>
              <p:nvPr/>
            </p:nvSpPr>
            <p:spPr>
              <a:xfrm>
                <a:off x="2442633" y="1403783"/>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002985"/>
                </a:solidFill>
                <a:prstDash val="solid"/>
                <a:miter/>
              </a:ln>
            </p:spPr>
            <p:txBody>
              <a:bodyPr rtlCol="0" anchor="ctr"/>
              <a:lstStyle/>
              <a:p>
                <a:endParaRPr lang="en-US" sz="1800"/>
              </a:p>
            </p:txBody>
          </p:sp>
          <p:sp>
            <p:nvSpPr>
              <p:cNvPr id="1144" name="Freeform 103">
                <a:extLst>
                  <a:ext uri="{FF2B5EF4-FFF2-40B4-BE49-F238E27FC236}">
                    <a16:creationId xmlns:a16="http://schemas.microsoft.com/office/drawing/2014/main" id="{26FC8A3E-AD29-C56F-5DC1-6F8C84566970}"/>
                  </a:ext>
                </a:extLst>
              </p:cNvPr>
              <p:cNvSpPr/>
              <p:nvPr/>
            </p:nvSpPr>
            <p:spPr>
              <a:xfrm>
                <a:off x="2412492" y="1458076"/>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endParaRPr lang="en-US" sz="1800"/>
              </a:p>
            </p:txBody>
          </p:sp>
          <p:sp>
            <p:nvSpPr>
              <p:cNvPr id="1145" name="Freeform 104">
                <a:extLst>
                  <a:ext uri="{FF2B5EF4-FFF2-40B4-BE49-F238E27FC236}">
                    <a16:creationId xmlns:a16="http://schemas.microsoft.com/office/drawing/2014/main" id="{23D452BA-5A4F-C59B-3343-3AD104526316}"/>
                  </a:ext>
                </a:extLst>
              </p:cNvPr>
              <p:cNvSpPr/>
              <p:nvPr/>
            </p:nvSpPr>
            <p:spPr>
              <a:xfrm>
                <a:off x="2449957" y="1432782"/>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endParaRPr lang="en-US" sz="1800"/>
              </a:p>
            </p:txBody>
          </p:sp>
          <p:sp>
            <p:nvSpPr>
              <p:cNvPr id="1146" name="Freeform 105">
                <a:extLst>
                  <a:ext uri="{FF2B5EF4-FFF2-40B4-BE49-F238E27FC236}">
                    <a16:creationId xmlns:a16="http://schemas.microsoft.com/office/drawing/2014/main" id="{EB7D7E10-13C7-A71F-5112-BCEFDFCB868B}"/>
                  </a:ext>
                </a:extLst>
              </p:cNvPr>
              <p:cNvSpPr/>
              <p:nvPr/>
            </p:nvSpPr>
            <p:spPr>
              <a:xfrm>
                <a:off x="2419815" y="1472692"/>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endParaRPr lang="en-US" sz="1800"/>
              </a:p>
            </p:txBody>
          </p:sp>
          <p:sp>
            <p:nvSpPr>
              <p:cNvPr id="1147" name="Freeform 106">
                <a:extLst>
                  <a:ext uri="{FF2B5EF4-FFF2-40B4-BE49-F238E27FC236}">
                    <a16:creationId xmlns:a16="http://schemas.microsoft.com/office/drawing/2014/main" id="{B7339FC3-C0AB-A9AD-FE76-48E69092BFE5}"/>
                  </a:ext>
                </a:extLst>
              </p:cNvPr>
              <p:cNvSpPr/>
              <p:nvPr/>
            </p:nvSpPr>
            <p:spPr>
              <a:xfrm>
                <a:off x="2457291" y="1447397"/>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002985"/>
                </a:solidFill>
                <a:prstDash val="solid"/>
                <a:miter/>
              </a:ln>
            </p:spPr>
            <p:txBody>
              <a:bodyPr rtlCol="0" anchor="ctr"/>
              <a:lstStyle/>
              <a:p>
                <a:endParaRPr lang="en-US" sz="1800"/>
              </a:p>
            </p:txBody>
          </p:sp>
          <p:sp>
            <p:nvSpPr>
              <p:cNvPr id="1148" name="Freeform 107">
                <a:extLst>
                  <a:ext uri="{FF2B5EF4-FFF2-40B4-BE49-F238E27FC236}">
                    <a16:creationId xmlns:a16="http://schemas.microsoft.com/office/drawing/2014/main" id="{0A36BBD9-8652-08E5-EE20-D5D2665B9E18}"/>
                  </a:ext>
                </a:extLst>
              </p:cNvPr>
              <p:cNvSpPr/>
              <p:nvPr/>
            </p:nvSpPr>
            <p:spPr>
              <a:xfrm>
                <a:off x="2463620" y="1487297"/>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endParaRPr lang="en-US" sz="1800"/>
              </a:p>
            </p:txBody>
          </p:sp>
          <p:sp>
            <p:nvSpPr>
              <p:cNvPr id="1149" name="Freeform 108">
                <a:extLst>
                  <a:ext uri="{FF2B5EF4-FFF2-40B4-BE49-F238E27FC236}">
                    <a16:creationId xmlns:a16="http://schemas.microsoft.com/office/drawing/2014/main" id="{A2AB1120-724C-176E-2C8C-36E7C59CB78E}"/>
                  </a:ext>
                </a:extLst>
              </p:cNvPr>
              <p:cNvSpPr/>
              <p:nvPr/>
            </p:nvSpPr>
            <p:spPr>
              <a:xfrm>
                <a:off x="2501085" y="1462013"/>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002985"/>
                </a:solidFill>
                <a:prstDash val="solid"/>
                <a:miter/>
              </a:ln>
            </p:spPr>
            <p:txBody>
              <a:bodyPr rtlCol="0" anchor="ctr"/>
              <a:lstStyle/>
              <a:p>
                <a:endParaRPr lang="en-US" sz="1800"/>
              </a:p>
            </p:txBody>
          </p:sp>
          <p:sp>
            <p:nvSpPr>
              <p:cNvPr id="1150" name="Freeform 109">
                <a:extLst>
                  <a:ext uri="{FF2B5EF4-FFF2-40B4-BE49-F238E27FC236}">
                    <a16:creationId xmlns:a16="http://schemas.microsoft.com/office/drawing/2014/main" id="{F23AB2A1-8829-E8E6-79AE-042A8E8F325B}"/>
                  </a:ext>
                </a:extLst>
              </p:cNvPr>
              <p:cNvSpPr/>
              <p:nvPr/>
            </p:nvSpPr>
            <p:spPr>
              <a:xfrm>
                <a:off x="2719249" y="1619609"/>
                <a:ext cx="74929" cy="10583"/>
              </a:xfrm>
              <a:custGeom>
                <a:avLst/>
                <a:gdLst>
                  <a:gd name="connsiteX0" fmla="*/ 0 w 74929"/>
                  <a:gd name="connsiteY0" fmla="*/ 0 h 10583"/>
                  <a:gd name="connsiteX1" fmla="*/ 74930 w 74929"/>
                  <a:gd name="connsiteY1" fmla="*/ 0 h 10583"/>
                </a:gdLst>
                <a:ahLst/>
                <a:cxnLst>
                  <a:cxn ang="0">
                    <a:pos x="connsiteX0" y="connsiteY0"/>
                  </a:cxn>
                  <a:cxn ang="0">
                    <a:pos x="connsiteX1" y="connsiteY1"/>
                  </a:cxn>
                </a:cxnLst>
                <a:rect l="l" t="t" r="r" b="b"/>
                <a:pathLst>
                  <a:path w="74929" h="10583">
                    <a:moveTo>
                      <a:pt x="0" y="0"/>
                    </a:moveTo>
                    <a:lnTo>
                      <a:pt x="74930" y="0"/>
                    </a:lnTo>
                  </a:path>
                </a:pathLst>
              </a:custGeom>
              <a:ln w="12700" cap="sq">
                <a:solidFill>
                  <a:srgbClr val="002985"/>
                </a:solidFill>
                <a:prstDash val="solid"/>
                <a:miter/>
              </a:ln>
            </p:spPr>
            <p:txBody>
              <a:bodyPr rtlCol="0" anchor="ctr"/>
              <a:lstStyle/>
              <a:p>
                <a:endParaRPr lang="en-US" sz="1800"/>
              </a:p>
            </p:txBody>
          </p:sp>
          <p:sp>
            <p:nvSpPr>
              <p:cNvPr id="1151" name="Freeform 110">
                <a:extLst>
                  <a:ext uri="{FF2B5EF4-FFF2-40B4-BE49-F238E27FC236}">
                    <a16:creationId xmlns:a16="http://schemas.microsoft.com/office/drawing/2014/main" id="{963F94AE-6EC3-9EBC-AE2C-F4060F8B87FB}"/>
                  </a:ext>
                </a:extLst>
              </p:cNvPr>
              <p:cNvSpPr/>
              <p:nvPr/>
            </p:nvSpPr>
            <p:spPr>
              <a:xfrm>
                <a:off x="2756714" y="1594315"/>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endParaRPr lang="en-US" sz="1800"/>
              </a:p>
            </p:txBody>
          </p:sp>
          <p:sp>
            <p:nvSpPr>
              <p:cNvPr id="1152" name="Freeform 111">
                <a:extLst>
                  <a:ext uri="{FF2B5EF4-FFF2-40B4-BE49-F238E27FC236}">
                    <a16:creationId xmlns:a16="http://schemas.microsoft.com/office/drawing/2014/main" id="{B4FBBC5D-05BA-52B1-FF3D-FD7910040D60}"/>
                  </a:ext>
                </a:extLst>
              </p:cNvPr>
              <p:cNvSpPr/>
              <p:nvPr/>
            </p:nvSpPr>
            <p:spPr>
              <a:xfrm>
                <a:off x="2763043" y="1619609"/>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endParaRPr lang="en-US" sz="1800"/>
              </a:p>
            </p:txBody>
          </p:sp>
          <p:sp>
            <p:nvSpPr>
              <p:cNvPr id="1153" name="Freeform 112">
                <a:extLst>
                  <a:ext uri="{FF2B5EF4-FFF2-40B4-BE49-F238E27FC236}">
                    <a16:creationId xmlns:a16="http://schemas.microsoft.com/office/drawing/2014/main" id="{24617739-6BE6-E5E4-7B4E-70D892B80A7F}"/>
                  </a:ext>
                </a:extLst>
              </p:cNvPr>
              <p:cNvSpPr/>
              <p:nvPr/>
            </p:nvSpPr>
            <p:spPr>
              <a:xfrm>
                <a:off x="2800508" y="1594315"/>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endParaRPr lang="en-US" sz="1800"/>
              </a:p>
            </p:txBody>
          </p:sp>
          <p:sp>
            <p:nvSpPr>
              <p:cNvPr id="1154" name="Freeform 113">
                <a:extLst>
                  <a:ext uri="{FF2B5EF4-FFF2-40B4-BE49-F238E27FC236}">
                    <a16:creationId xmlns:a16="http://schemas.microsoft.com/office/drawing/2014/main" id="{57465BCA-4D29-8B53-9104-A1A86A5A2425}"/>
                  </a:ext>
                </a:extLst>
              </p:cNvPr>
              <p:cNvSpPr/>
              <p:nvPr/>
            </p:nvSpPr>
            <p:spPr>
              <a:xfrm>
                <a:off x="3040655" y="1753150"/>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endParaRPr lang="en-US" sz="1800"/>
              </a:p>
            </p:txBody>
          </p:sp>
          <p:sp>
            <p:nvSpPr>
              <p:cNvPr id="1155" name="Freeform 114">
                <a:extLst>
                  <a:ext uri="{FF2B5EF4-FFF2-40B4-BE49-F238E27FC236}">
                    <a16:creationId xmlns:a16="http://schemas.microsoft.com/office/drawing/2014/main" id="{30D7085F-2871-C6B2-5AC0-44DF2695A3F1}"/>
                  </a:ext>
                </a:extLst>
              </p:cNvPr>
              <p:cNvSpPr/>
              <p:nvPr/>
            </p:nvSpPr>
            <p:spPr>
              <a:xfrm>
                <a:off x="3078120" y="1727856"/>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endParaRPr lang="en-US" sz="1800"/>
              </a:p>
            </p:txBody>
          </p:sp>
          <p:sp>
            <p:nvSpPr>
              <p:cNvPr id="1156" name="Freeform 115">
                <a:extLst>
                  <a:ext uri="{FF2B5EF4-FFF2-40B4-BE49-F238E27FC236}">
                    <a16:creationId xmlns:a16="http://schemas.microsoft.com/office/drawing/2014/main" id="{F4A0F832-21BF-E8F1-083F-3BAB086BBA54}"/>
                  </a:ext>
                </a:extLst>
              </p:cNvPr>
              <p:cNvSpPr/>
              <p:nvPr/>
            </p:nvSpPr>
            <p:spPr>
              <a:xfrm>
                <a:off x="3084618" y="1753150"/>
                <a:ext cx="74940" cy="10583"/>
              </a:xfrm>
              <a:custGeom>
                <a:avLst/>
                <a:gdLst>
                  <a:gd name="connsiteX0" fmla="*/ 0 w 74940"/>
                  <a:gd name="connsiteY0" fmla="*/ 0 h 10583"/>
                  <a:gd name="connsiteX1" fmla="*/ 74940 w 74940"/>
                  <a:gd name="connsiteY1" fmla="*/ 0 h 10583"/>
                </a:gdLst>
                <a:ahLst/>
                <a:cxnLst>
                  <a:cxn ang="0">
                    <a:pos x="connsiteX0" y="connsiteY0"/>
                  </a:cxn>
                  <a:cxn ang="0">
                    <a:pos x="connsiteX1" y="connsiteY1"/>
                  </a:cxn>
                </a:cxnLst>
                <a:rect l="l" t="t" r="r" b="b"/>
                <a:pathLst>
                  <a:path w="74940" h="10583">
                    <a:moveTo>
                      <a:pt x="0" y="0"/>
                    </a:moveTo>
                    <a:lnTo>
                      <a:pt x="74940" y="0"/>
                    </a:lnTo>
                  </a:path>
                </a:pathLst>
              </a:custGeom>
              <a:ln w="12700" cap="sq">
                <a:solidFill>
                  <a:srgbClr val="002985"/>
                </a:solidFill>
                <a:prstDash val="solid"/>
                <a:miter/>
              </a:ln>
            </p:spPr>
            <p:txBody>
              <a:bodyPr rtlCol="0" anchor="ctr"/>
              <a:lstStyle/>
              <a:p>
                <a:endParaRPr lang="en-US" sz="1800"/>
              </a:p>
            </p:txBody>
          </p:sp>
          <p:sp>
            <p:nvSpPr>
              <p:cNvPr id="1157" name="Freeform 116">
                <a:extLst>
                  <a:ext uri="{FF2B5EF4-FFF2-40B4-BE49-F238E27FC236}">
                    <a16:creationId xmlns:a16="http://schemas.microsoft.com/office/drawing/2014/main" id="{4C0AE530-21FA-CF8B-8930-3BDB094810C8}"/>
                  </a:ext>
                </a:extLst>
              </p:cNvPr>
              <p:cNvSpPr/>
              <p:nvPr/>
            </p:nvSpPr>
            <p:spPr>
              <a:xfrm>
                <a:off x="3122083" y="1727856"/>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endParaRPr lang="en-US" sz="1800"/>
              </a:p>
            </p:txBody>
          </p:sp>
          <p:sp>
            <p:nvSpPr>
              <p:cNvPr id="1158" name="Freeform 117">
                <a:extLst>
                  <a:ext uri="{FF2B5EF4-FFF2-40B4-BE49-F238E27FC236}">
                    <a16:creationId xmlns:a16="http://schemas.microsoft.com/office/drawing/2014/main" id="{9401A754-409D-6BC7-B6E4-97E3B073CFE5}"/>
                  </a:ext>
                </a:extLst>
              </p:cNvPr>
              <p:cNvSpPr/>
              <p:nvPr/>
            </p:nvSpPr>
            <p:spPr>
              <a:xfrm>
                <a:off x="3332913" y="1813062"/>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endParaRPr lang="en-US" sz="1800"/>
              </a:p>
            </p:txBody>
          </p:sp>
          <p:sp>
            <p:nvSpPr>
              <p:cNvPr id="1159" name="Freeform 118">
                <a:extLst>
                  <a:ext uri="{FF2B5EF4-FFF2-40B4-BE49-F238E27FC236}">
                    <a16:creationId xmlns:a16="http://schemas.microsoft.com/office/drawing/2014/main" id="{3C18B611-7870-9E7E-6B1F-B5C8F0F16FD4}"/>
                  </a:ext>
                </a:extLst>
              </p:cNvPr>
              <p:cNvSpPr/>
              <p:nvPr/>
            </p:nvSpPr>
            <p:spPr>
              <a:xfrm>
                <a:off x="3370389" y="1787768"/>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endParaRPr lang="en-US" sz="1800"/>
              </a:p>
            </p:txBody>
          </p:sp>
          <p:sp>
            <p:nvSpPr>
              <p:cNvPr id="1160" name="Freeform 119">
                <a:extLst>
                  <a:ext uri="{FF2B5EF4-FFF2-40B4-BE49-F238E27FC236}">
                    <a16:creationId xmlns:a16="http://schemas.microsoft.com/office/drawing/2014/main" id="{F873CDCA-93BF-5B9E-A0BB-57A5D204F955}"/>
                  </a:ext>
                </a:extLst>
              </p:cNvPr>
              <p:cNvSpPr/>
              <p:nvPr/>
            </p:nvSpPr>
            <p:spPr>
              <a:xfrm>
                <a:off x="3354895" y="1903444"/>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endParaRPr lang="en-US" sz="1800"/>
              </a:p>
            </p:txBody>
          </p:sp>
          <p:sp>
            <p:nvSpPr>
              <p:cNvPr id="1161" name="Freeform 120">
                <a:extLst>
                  <a:ext uri="{FF2B5EF4-FFF2-40B4-BE49-F238E27FC236}">
                    <a16:creationId xmlns:a16="http://schemas.microsoft.com/office/drawing/2014/main" id="{DED81233-82C5-7BFE-F8C1-313403ED9ADA}"/>
                  </a:ext>
                </a:extLst>
              </p:cNvPr>
              <p:cNvSpPr/>
              <p:nvPr/>
            </p:nvSpPr>
            <p:spPr>
              <a:xfrm>
                <a:off x="3392371" y="1878150"/>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endParaRPr lang="en-US" sz="1800"/>
              </a:p>
            </p:txBody>
          </p:sp>
          <p:sp>
            <p:nvSpPr>
              <p:cNvPr id="1162" name="Freeform 121">
                <a:extLst>
                  <a:ext uri="{FF2B5EF4-FFF2-40B4-BE49-F238E27FC236}">
                    <a16:creationId xmlns:a16="http://schemas.microsoft.com/office/drawing/2014/main" id="{6FB365ED-F87F-9C23-9F2D-FBD1123E8EB7}"/>
                  </a:ext>
                </a:extLst>
              </p:cNvPr>
              <p:cNvSpPr/>
              <p:nvPr/>
            </p:nvSpPr>
            <p:spPr>
              <a:xfrm>
                <a:off x="3442493" y="1933680"/>
                <a:ext cx="74940" cy="10583"/>
              </a:xfrm>
              <a:custGeom>
                <a:avLst/>
                <a:gdLst>
                  <a:gd name="connsiteX0" fmla="*/ 0 w 74940"/>
                  <a:gd name="connsiteY0" fmla="*/ 0 h 10583"/>
                  <a:gd name="connsiteX1" fmla="*/ 74940 w 74940"/>
                  <a:gd name="connsiteY1" fmla="*/ 0 h 10583"/>
                </a:gdLst>
                <a:ahLst/>
                <a:cxnLst>
                  <a:cxn ang="0">
                    <a:pos x="connsiteX0" y="connsiteY0"/>
                  </a:cxn>
                  <a:cxn ang="0">
                    <a:pos x="connsiteX1" y="connsiteY1"/>
                  </a:cxn>
                </a:cxnLst>
                <a:rect l="l" t="t" r="r" b="b"/>
                <a:pathLst>
                  <a:path w="74940" h="10583">
                    <a:moveTo>
                      <a:pt x="0" y="0"/>
                    </a:moveTo>
                    <a:lnTo>
                      <a:pt x="74940" y="0"/>
                    </a:lnTo>
                  </a:path>
                </a:pathLst>
              </a:custGeom>
              <a:ln w="12700" cap="sq">
                <a:solidFill>
                  <a:srgbClr val="002985"/>
                </a:solidFill>
                <a:prstDash val="solid"/>
                <a:miter/>
              </a:ln>
            </p:spPr>
            <p:txBody>
              <a:bodyPr rtlCol="0" anchor="ctr"/>
              <a:lstStyle/>
              <a:p>
                <a:endParaRPr lang="en-US" sz="1800"/>
              </a:p>
            </p:txBody>
          </p:sp>
          <p:sp>
            <p:nvSpPr>
              <p:cNvPr id="1163" name="Freeform 122">
                <a:extLst>
                  <a:ext uri="{FF2B5EF4-FFF2-40B4-BE49-F238E27FC236}">
                    <a16:creationId xmlns:a16="http://schemas.microsoft.com/office/drawing/2014/main" id="{7641AC55-4476-029D-9BF2-043EF2F2CA9C}"/>
                  </a:ext>
                </a:extLst>
              </p:cNvPr>
              <p:cNvSpPr/>
              <p:nvPr/>
            </p:nvSpPr>
            <p:spPr>
              <a:xfrm>
                <a:off x="3479969" y="1908386"/>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endParaRPr lang="en-US" sz="1800"/>
              </a:p>
            </p:txBody>
          </p:sp>
          <p:sp>
            <p:nvSpPr>
              <p:cNvPr id="1164" name="Freeform 123">
                <a:extLst>
                  <a:ext uri="{FF2B5EF4-FFF2-40B4-BE49-F238E27FC236}">
                    <a16:creationId xmlns:a16="http://schemas.microsoft.com/office/drawing/2014/main" id="{A9B62C10-22E0-B985-0787-9B312777CF38}"/>
                  </a:ext>
                </a:extLst>
              </p:cNvPr>
              <p:cNvSpPr/>
              <p:nvPr/>
            </p:nvSpPr>
            <p:spPr>
              <a:xfrm>
                <a:off x="3486298" y="1933680"/>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endParaRPr lang="en-US" sz="1800"/>
              </a:p>
            </p:txBody>
          </p:sp>
          <p:sp>
            <p:nvSpPr>
              <p:cNvPr id="1165" name="Freeform 124">
                <a:extLst>
                  <a:ext uri="{FF2B5EF4-FFF2-40B4-BE49-F238E27FC236}">
                    <a16:creationId xmlns:a16="http://schemas.microsoft.com/office/drawing/2014/main" id="{DFFB55A2-70F2-C70A-78EB-A5CF073D0F38}"/>
                  </a:ext>
                </a:extLst>
              </p:cNvPr>
              <p:cNvSpPr/>
              <p:nvPr/>
            </p:nvSpPr>
            <p:spPr>
              <a:xfrm>
                <a:off x="3523763" y="1908386"/>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endParaRPr lang="en-US" sz="1800"/>
              </a:p>
            </p:txBody>
          </p:sp>
          <p:sp>
            <p:nvSpPr>
              <p:cNvPr id="1166" name="Freeform 125">
                <a:extLst>
                  <a:ext uri="{FF2B5EF4-FFF2-40B4-BE49-F238E27FC236}">
                    <a16:creationId xmlns:a16="http://schemas.microsoft.com/office/drawing/2014/main" id="{8EECE5B0-8F93-E750-87ED-BA319A8B2C07}"/>
                  </a:ext>
                </a:extLst>
              </p:cNvPr>
              <p:cNvSpPr/>
              <p:nvPr/>
            </p:nvSpPr>
            <p:spPr>
              <a:xfrm>
                <a:off x="3500945" y="1933680"/>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endParaRPr lang="en-US" sz="1800"/>
              </a:p>
            </p:txBody>
          </p:sp>
          <p:sp>
            <p:nvSpPr>
              <p:cNvPr id="1167" name="Freeform 126">
                <a:extLst>
                  <a:ext uri="{FF2B5EF4-FFF2-40B4-BE49-F238E27FC236}">
                    <a16:creationId xmlns:a16="http://schemas.microsoft.com/office/drawing/2014/main" id="{AF8FA251-0663-5CA2-1380-E894EF22D6F7}"/>
                  </a:ext>
                </a:extLst>
              </p:cNvPr>
              <p:cNvSpPr/>
              <p:nvPr/>
            </p:nvSpPr>
            <p:spPr>
              <a:xfrm>
                <a:off x="3538421" y="1908386"/>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endParaRPr lang="en-US" sz="1800"/>
              </a:p>
            </p:txBody>
          </p:sp>
          <p:sp>
            <p:nvSpPr>
              <p:cNvPr id="1168" name="Freeform 127">
                <a:extLst>
                  <a:ext uri="{FF2B5EF4-FFF2-40B4-BE49-F238E27FC236}">
                    <a16:creationId xmlns:a16="http://schemas.microsoft.com/office/drawing/2014/main" id="{9A4FAEF2-1D4C-B757-5646-E8122E49D3E2}"/>
                  </a:ext>
                </a:extLst>
              </p:cNvPr>
              <p:cNvSpPr/>
              <p:nvPr/>
            </p:nvSpPr>
            <p:spPr>
              <a:xfrm>
                <a:off x="3559407" y="1949079"/>
                <a:ext cx="74929" cy="10583"/>
              </a:xfrm>
              <a:custGeom>
                <a:avLst/>
                <a:gdLst>
                  <a:gd name="connsiteX0" fmla="*/ 0 w 74929"/>
                  <a:gd name="connsiteY0" fmla="*/ 0 h 10583"/>
                  <a:gd name="connsiteX1" fmla="*/ 74930 w 74929"/>
                  <a:gd name="connsiteY1" fmla="*/ 0 h 10583"/>
                </a:gdLst>
                <a:ahLst/>
                <a:cxnLst>
                  <a:cxn ang="0">
                    <a:pos x="connsiteX0" y="connsiteY0"/>
                  </a:cxn>
                  <a:cxn ang="0">
                    <a:pos x="connsiteX1" y="connsiteY1"/>
                  </a:cxn>
                </a:cxnLst>
                <a:rect l="l" t="t" r="r" b="b"/>
                <a:pathLst>
                  <a:path w="74929" h="10583">
                    <a:moveTo>
                      <a:pt x="0" y="0"/>
                    </a:moveTo>
                    <a:lnTo>
                      <a:pt x="74930" y="0"/>
                    </a:lnTo>
                  </a:path>
                </a:pathLst>
              </a:custGeom>
              <a:ln w="12700" cap="sq">
                <a:solidFill>
                  <a:srgbClr val="002985"/>
                </a:solidFill>
                <a:prstDash val="solid"/>
                <a:miter/>
              </a:ln>
            </p:spPr>
            <p:txBody>
              <a:bodyPr rtlCol="0" anchor="ctr"/>
              <a:lstStyle/>
              <a:p>
                <a:endParaRPr lang="en-US" sz="1800"/>
              </a:p>
            </p:txBody>
          </p:sp>
          <p:sp>
            <p:nvSpPr>
              <p:cNvPr id="1169" name="Freeform 128">
                <a:extLst>
                  <a:ext uri="{FF2B5EF4-FFF2-40B4-BE49-F238E27FC236}">
                    <a16:creationId xmlns:a16="http://schemas.microsoft.com/office/drawing/2014/main" id="{277B76D2-BD6E-20EB-8DA6-A6CD5FC08D5E}"/>
                  </a:ext>
                </a:extLst>
              </p:cNvPr>
              <p:cNvSpPr/>
              <p:nvPr/>
            </p:nvSpPr>
            <p:spPr>
              <a:xfrm>
                <a:off x="3596872" y="1923785"/>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endParaRPr lang="en-US" sz="1800"/>
              </a:p>
            </p:txBody>
          </p:sp>
          <p:sp>
            <p:nvSpPr>
              <p:cNvPr id="1170" name="Freeform 129">
                <a:extLst>
                  <a:ext uri="{FF2B5EF4-FFF2-40B4-BE49-F238E27FC236}">
                    <a16:creationId xmlns:a16="http://schemas.microsoft.com/office/drawing/2014/main" id="{05CAE960-BA56-93C1-B729-76D2D8941E2B}"/>
                  </a:ext>
                </a:extLst>
              </p:cNvPr>
              <p:cNvSpPr/>
              <p:nvPr/>
            </p:nvSpPr>
            <p:spPr>
              <a:xfrm>
                <a:off x="3610525" y="1979993"/>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endParaRPr lang="en-US" sz="1800"/>
              </a:p>
            </p:txBody>
          </p:sp>
          <p:sp>
            <p:nvSpPr>
              <p:cNvPr id="1171" name="Freeform 130">
                <a:extLst>
                  <a:ext uri="{FF2B5EF4-FFF2-40B4-BE49-F238E27FC236}">
                    <a16:creationId xmlns:a16="http://schemas.microsoft.com/office/drawing/2014/main" id="{8A2554A2-79F1-12CA-587D-6B41F57D48AD}"/>
                  </a:ext>
                </a:extLst>
              </p:cNvPr>
              <p:cNvSpPr/>
              <p:nvPr/>
            </p:nvSpPr>
            <p:spPr>
              <a:xfrm>
                <a:off x="3648000" y="1954699"/>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endParaRPr lang="en-US" sz="1800"/>
              </a:p>
            </p:txBody>
          </p:sp>
          <p:sp>
            <p:nvSpPr>
              <p:cNvPr id="1172" name="Freeform 131">
                <a:extLst>
                  <a:ext uri="{FF2B5EF4-FFF2-40B4-BE49-F238E27FC236}">
                    <a16:creationId xmlns:a16="http://schemas.microsoft.com/office/drawing/2014/main" id="{E9E0494C-8788-5EB6-8365-8AE10CDD4B89}"/>
                  </a:ext>
                </a:extLst>
              </p:cNvPr>
              <p:cNvSpPr/>
              <p:nvPr/>
            </p:nvSpPr>
            <p:spPr>
              <a:xfrm>
                <a:off x="3610525" y="1979993"/>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endParaRPr lang="en-US" sz="1800"/>
              </a:p>
            </p:txBody>
          </p:sp>
          <p:sp>
            <p:nvSpPr>
              <p:cNvPr id="1173" name="Freeform 132">
                <a:extLst>
                  <a:ext uri="{FF2B5EF4-FFF2-40B4-BE49-F238E27FC236}">
                    <a16:creationId xmlns:a16="http://schemas.microsoft.com/office/drawing/2014/main" id="{DA80940F-A3A3-C1E1-3C5F-25185477D71C}"/>
                  </a:ext>
                </a:extLst>
              </p:cNvPr>
              <p:cNvSpPr/>
              <p:nvPr/>
            </p:nvSpPr>
            <p:spPr>
              <a:xfrm>
                <a:off x="3648000" y="1954699"/>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endParaRPr lang="en-US" sz="1800"/>
              </a:p>
            </p:txBody>
          </p:sp>
          <p:sp>
            <p:nvSpPr>
              <p:cNvPr id="1174" name="Freeform 133">
                <a:extLst>
                  <a:ext uri="{FF2B5EF4-FFF2-40B4-BE49-F238E27FC236}">
                    <a16:creationId xmlns:a16="http://schemas.microsoft.com/office/drawing/2014/main" id="{B1EA3DAE-9CE7-291A-55BA-DB85DAE198B1}"/>
                  </a:ext>
                </a:extLst>
              </p:cNvPr>
              <p:cNvSpPr/>
              <p:nvPr/>
            </p:nvSpPr>
            <p:spPr>
              <a:xfrm>
                <a:off x="3610525" y="1979993"/>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endParaRPr lang="en-US" sz="1800"/>
              </a:p>
            </p:txBody>
          </p:sp>
          <p:sp>
            <p:nvSpPr>
              <p:cNvPr id="1175" name="Freeform 134">
                <a:extLst>
                  <a:ext uri="{FF2B5EF4-FFF2-40B4-BE49-F238E27FC236}">
                    <a16:creationId xmlns:a16="http://schemas.microsoft.com/office/drawing/2014/main" id="{AA26F131-0CB0-E144-6797-20E713E2C083}"/>
                  </a:ext>
                </a:extLst>
              </p:cNvPr>
              <p:cNvSpPr/>
              <p:nvPr/>
            </p:nvSpPr>
            <p:spPr>
              <a:xfrm>
                <a:off x="3648000" y="1954699"/>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endParaRPr lang="en-US" sz="1800"/>
              </a:p>
            </p:txBody>
          </p:sp>
          <p:sp>
            <p:nvSpPr>
              <p:cNvPr id="1176" name="Freeform 135">
                <a:extLst>
                  <a:ext uri="{FF2B5EF4-FFF2-40B4-BE49-F238E27FC236}">
                    <a16:creationId xmlns:a16="http://schemas.microsoft.com/office/drawing/2014/main" id="{5B8C8182-5CC0-A186-82BE-887F78ECEF5F}"/>
                  </a:ext>
                </a:extLst>
              </p:cNvPr>
              <p:cNvSpPr/>
              <p:nvPr/>
            </p:nvSpPr>
            <p:spPr>
              <a:xfrm>
                <a:off x="3639841" y="1995730"/>
                <a:ext cx="74940" cy="10583"/>
              </a:xfrm>
              <a:custGeom>
                <a:avLst/>
                <a:gdLst>
                  <a:gd name="connsiteX0" fmla="*/ 0 w 74940"/>
                  <a:gd name="connsiteY0" fmla="*/ 0 h 10583"/>
                  <a:gd name="connsiteX1" fmla="*/ 74940 w 74940"/>
                  <a:gd name="connsiteY1" fmla="*/ 0 h 10583"/>
                </a:gdLst>
                <a:ahLst/>
                <a:cxnLst>
                  <a:cxn ang="0">
                    <a:pos x="connsiteX0" y="connsiteY0"/>
                  </a:cxn>
                  <a:cxn ang="0">
                    <a:pos x="connsiteX1" y="connsiteY1"/>
                  </a:cxn>
                </a:cxnLst>
                <a:rect l="l" t="t" r="r" b="b"/>
                <a:pathLst>
                  <a:path w="74940" h="10583">
                    <a:moveTo>
                      <a:pt x="0" y="0"/>
                    </a:moveTo>
                    <a:lnTo>
                      <a:pt x="74940" y="0"/>
                    </a:lnTo>
                  </a:path>
                </a:pathLst>
              </a:custGeom>
              <a:ln w="12700" cap="sq">
                <a:solidFill>
                  <a:srgbClr val="002985"/>
                </a:solidFill>
                <a:prstDash val="solid"/>
                <a:miter/>
              </a:ln>
            </p:spPr>
            <p:txBody>
              <a:bodyPr rtlCol="0" anchor="ctr"/>
              <a:lstStyle/>
              <a:p>
                <a:endParaRPr lang="en-US" sz="1800"/>
              </a:p>
            </p:txBody>
          </p:sp>
          <p:sp>
            <p:nvSpPr>
              <p:cNvPr id="1177" name="Freeform 136">
                <a:extLst>
                  <a:ext uri="{FF2B5EF4-FFF2-40B4-BE49-F238E27FC236}">
                    <a16:creationId xmlns:a16="http://schemas.microsoft.com/office/drawing/2014/main" id="{55E28CEA-52FC-2E03-5710-7ECA73AA3363}"/>
                  </a:ext>
                </a:extLst>
              </p:cNvPr>
              <p:cNvSpPr/>
              <p:nvPr/>
            </p:nvSpPr>
            <p:spPr>
              <a:xfrm>
                <a:off x="3677306" y="1970436"/>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endParaRPr lang="en-US" sz="1800"/>
              </a:p>
            </p:txBody>
          </p:sp>
          <p:sp>
            <p:nvSpPr>
              <p:cNvPr id="1178" name="Freeform 137">
                <a:extLst>
                  <a:ext uri="{FF2B5EF4-FFF2-40B4-BE49-F238E27FC236}">
                    <a16:creationId xmlns:a16="http://schemas.microsoft.com/office/drawing/2014/main" id="{AFC7CF39-7307-34FF-B80F-3987712022B0}"/>
                  </a:ext>
                </a:extLst>
              </p:cNvPr>
              <p:cNvSpPr/>
              <p:nvPr/>
            </p:nvSpPr>
            <p:spPr>
              <a:xfrm>
                <a:off x="3668977" y="1995730"/>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endParaRPr lang="en-US" sz="1800"/>
              </a:p>
            </p:txBody>
          </p:sp>
          <p:sp>
            <p:nvSpPr>
              <p:cNvPr id="1179" name="Freeform 138">
                <a:extLst>
                  <a:ext uri="{FF2B5EF4-FFF2-40B4-BE49-F238E27FC236}">
                    <a16:creationId xmlns:a16="http://schemas.microsoft.com/office/drawing/2014/main" id="{9D869043-487C-7262-FD28-CF61AA1DE53F}"/>
                  </a:ext>
                </a:extLst>
              </p:cNvPr>
              <p:cNvSpPr/>
              <p:nvPr/>
            </p:nvSpPr>
            <p:spPr>
              <a:xfrm>
                <a:off x="3706452" y="1970436"/>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endParaRPr lang="en-US" sz="1800"/>
              </a:p>
            </p:txBody>
          </p:sp>
          <p:sp>
            <p:nvSpPr>
              <p:cNvPr id="1180" name="Freeform 139">
                <a:extLst>
                  <a:ext uri="{FF2B5EF4-FFF2-40B4-BE49-F238E27FC236}">
                    <a16:creationId xmlns:a16="http://schemas.microsoft.com/office/drawing/2014/main" id="{F0B37C17-8611-7B19-CA9F-114D47749CB5}"/>
                  </a:ext>
                </a:extLst>
              </p:cNvPr>
              <p:cNvSpPr/>
              <p:nvPr/>
            </p:nvSpPr>
            <p:spPr>
              <a:xfrm>
                <a:off x="3690958" y="2027544"/>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endParaRPr lang="en-US" sz="1800"/>
              </a:p>
            </p:txBody>
          </p:sp>
          <p:sp>
            <p:nvSpPr>
              <p:cNvPr id="1181" name="Freeform 140">
                <a:extLst>
                  <a:ext uri="{FF2B5EF4-FFF2-40B4-BE49-F238E27FC236}">
                    <a16:creationId xmlns:a16="http://schemas.microsoft.com/office/drawing/2014/main" id="{80216C87-E9B3-536B-8E5F-76BA99A79F59}"/>
                  </a:ext>
                </a:extLst>
              </p:cNvPr>
              <p:cNvSpPr/>
              <p:nvPr/>
            </p:nvSpPr>
            <p:spPr>
              <a:xfrm>
                <a:off x="3728434" y="2002250"/>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endParaRPr lang="en-US" sz="1800"/>
              </a:p>
            </p:txBody>
          </p:sp>
          <p:sp>
            <p:nvSpPr>
              <p:cNvPr id="1182" name="Freeform 141">
                <a:extLst>
                  <a:ext uri="{FF2B5EF4-FFF2-40B4-BE49-F238E27FC236}">
                    <a16:creationId xmlns:a16="http://schemas.microsoft.com/office/drawing/2014/main" id="{0CAEA8D5-00A1-D145-8C0F-98214D3A0531}"/>
                  </a:ext>
                </a:extLst>
              </p:cNvPr>
              <p:cNvSpPr/>
              <p:nvPr/>
            </p:nvSpPr>
            <p:spPr>
              <a:xfrm>
                <a:off x="3968570" y="2091393"/>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endParaRPr lang="en-US" sz="1800"/>
              </a:p>
            </p:txBody>
          </p:sp>
          <p:sp>
            <p:nvSpPr>
              <p:cNvPr id="1183" name="Freeform 142">
                <a:extLst>
                  <a:ext uri="{FF2B5EF4-FFF2-40B4-BE49-F238E27FC236}">
                    <a16:creationId xmlns:a16="http://schemas.microsoft.com/office/drawing/2014/main" id="{D4D3EF4A-7B3D-2653-0371-9FE517B37D20}"/>
                  </a:ext>
                </a:extLst>
              </p:cNvPr>
              <p:cNvSpPr/>
              <p:nvPr/>
            </p:nvSpPr>
            <p:spPr>
              <a:xfrm>
                <a:off x="4006045" y="2066099"/>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002985"/>
                </a:solidFill>
                <a:prstDash val="solid"/>
                <a:miter/>
              </a:ln>
            </p:spPr>
            <p:txBody>
              <a:bodyPr rtlCol="0" anchor="ctr"/>
              <a:lstStyle/>
              <a:p>
                <a:endParaRPr lang="en-US" sz="1800"/>
              </a:p>
            </p:txBody>
          </p:sp>
          <p:sp>
            <p:nvSpPr>
              <p:cNvPr id="1184" name="Freeform 143">
                <a:extLst>
                  <a:ext uri="{FF2B5EF4-FFF2-40B4-BE49-F238E27FC236}">
                    <a16:creationId xmlns:a16="http://schemas.microsoft.com/office/drawing/2014/main" id="{AADC1FB1-4040-B46C-DF4B-F1C1F8AB512A}"/>
                  </a:ext>
                </a:extLst>
              </p:cNvPr>
              <p:cNvSpPr/>
              <p:nvPr/>
            </p:nvSpPr>
            <p:spPr>
              <a:xfrm>
                <a:off x="4005040" y="2107469"/>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endParaRPr lang="en-US" sz="1800"/>
              </a:p>
            </p:txBody>
          </p:sp>
          <p:sp>
            <p:nvSpPr>
              <p:cNvPr id="1185" name="Freeform 144">
                <a:extLst>
                  <a:ext uri="{FF2B5EF4-FFF2-40B4-BE49-F238E27FC236}">
                    <a16:creationId xmlns:a16="http://schemas.microsoft.com/office/drawing/2014/main" id="{F8D245CD-4CE1-7466-10E5-F2E8D4EE9A46}"/>
                  </a:ext>
                </a:extLst>
              </p:cNvPr>
              <p:cNvSpPr/>
              <p:nvPr/>
            </p:nvSpPr>
            <p:spPr>
              <a:xfrm>
                <a:off x="4042515" y="2082175"/>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002985"/>
                </a:solidFill>
                <a:prstDash val="solid"/>
                <a:miter/>
              </a:ln>
            </p:spPr>
            <p:txBody>
              <a:bodyPr rtlCol="0" anchor="ctr"/>
              <a:lstStyle/>
              <a:p>
                <a:endParaRPr lang="en-US" sz="1800"/>
              </a:p>
            </p:txBody>
          </p:sp>
          <p:sp>
            <p:nvSpPr>
              <p:cNvPr id="1186" name="Freeform 145">
                <a:extLst>
                  <a:ext uri="{FF2B5EF4-FFF2-40B4-BE49-F238E27FC236}">
                    <a16:creationId xmlns:a16="http://schemas.microsoft.com/office/drawing/2014/main" id="{EFDBEF5D-C67B-45AB-EEC2-D03EFBC3027E}"/>
                  </a:ext>
                </a:extLst>
              </p:cNvPr>
              <p:cNvSpPr/>
              <p:nvPr/>
            </p:nvSpPr>
            <p:spPr>
              <a:xfrm>
                <a:off x="4026863" y="2107469"/>
                <a:ext cx="74940" cy="10583"/>
              </a:xfrm>
              <a:custGeom>
                <a:avLst/>
                <a:gdLst>
                  <a:gd name="connsiteX0" fmla="*/ 0 w 74940"/>
                  <a:gd name="connsiteY0" fmla="*/ 0 h 10583"/>
                  <a:gd name="connsiteX1" fmla="*/ 74940 w 74940"/>
                  <a:gd name="connsiteY1" fmla="*/ 0 h 10583"/>
                </a:gdLst>
                <a:ahLst/>
                <a:cxnLst>
                  <a:cxn ang="0">
                    <a:pos x="connsiteX0" y="connsiteY0"/>
                  </a:cxn>
                  <a:cxn ang="0">
                    <a:pos x="connsiteX1" y="connsiteY1"/>
                  </a:cxn>
                </a:cxnLst>
                <a:rect l="l" t="t" r="r" b="b"/>
                <a:pathLst>
                  <a:path w="74940" h="10583">
                    <a:moveTo>
                      <a:pt x="0" y="0"/>
                    </a:moveTo>
                    <a:lnTo>
                      <a:pt x="74940" y="0"/>
                    </a:lnTo>
                  </a:path>
                </a:pathLst>
              </a:custGeom>
              <a:ln w="12700" cap="sq">
                <a:solidFill>
                  <a:srgbClr val="002985"/>
                </a:solidFill>
                <a:prstDash val="solid"/>
                <a:miter/>
              </a:ln>
            </p:spPr>
            <p:txBody>
              <a:bodyPr rtlCol="0" anchor="ctr"/>
              <a:lstStyle/>
              <a:p>
                <a:endParaRPr lang="en-US" sz="1800"/>
              </a:p>
            </p:txBody>
          </p:sp>
          <p:sp>
            <p:nvSpPr>
              <p:cNvPr id="1187" name="Freeform 146">
                <a:extLst>
                  <a:ext uri="{FF2B5EF4-FFF2-40B4-BE49-F238E27FC236}">
                    <a16:creationId xmlns:a16="http://schemas.microsoft.com/office/drawing/2014/main" id="{58084315-580F-64AB-DC0D-9CAD0F2B3937}"/>
                  </a:ext>
                </a:extLst>
              </p:cNvPr>
              <p:cNvSpPr/>
              <p:nvPr/>
            </p:nvSpPr>
            <p:spPr>
              <a:xfrm>
                <a:off x="4064328" y="2082175"/>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002985"/>
                </a:solidFill>
                <a:prstDash val="solid"/>
                <a:miter/>
              </a:ln>
            </p:spPr>
            <p:txBody>
              <a:bodyPr rtlCol="0" anchor="ctr"/>
              <a:lstStyle/>
              <a:p>
                <a:endParaRPr lang="en-US" sz="1800"/>
              </a:p>
            </p:txBody>
          </p:sp>
          <p:sp>
            <p:nvSpPr>
              <p:cNvPr id="1188" name="Freeform 147">
                <a:extLst>
                  <a:ext uri="{FF2B5EF4-FFF2-40B4-BE49-F238E27FC236}">
                    <a16:creationId xmlns:a16="http://schemas.microsoft.com/office/drawing/2014/main" id="{78D681AF-F84F-6FA7-C633-CF3F8AC90FC3}"/>
                  </a:ext>
                </a:extLst>
              </p:cNvPr>
              <p:cNvSpPr/>
              <p:nvPr/>
            </p:nvSpPr>
            <p:spPr>
              <a:xfrm>
                <a:off x="4202218" y="2123768"/>
                <a:ext cx="74940" cy="10583"/>
              </a:xfrm>
              <a:custGeom>
                <a:avLst/>
                <a:gdLst>
                  <a:gd name="connsiteX0" fmla="*/ 0 w 74940"/>
                  <a:gd name="connsiteY0" fmla="*/ 0 h 10583"/>
                  <a:gd name="connsiteX1" fmla="*/ 74940 w 74940"/>
                  <a:gd name="connsiteY1" fmla="*/ 0 h 10583"/>
                </a:gdLst>
                <a:ahLst/>
                <a:cxnLst>
                  <a:cxn ang="0">
                    <a:pos x="connsiteX0" y="connsiteY0"/>
                  </a:cxn>
                  <a:cxn ang="0">
                    <a:pos x="connsiteX1" y="connsiteY1"/>
                  </a:cxn>
                </a:cxnLst>
                <a:rect l="l" t="t" r="r" b="b"/>
                <a:pathLst>
                  <a:path w="74940" h="10583">
                    <a:moveTo>
                      <a:pt x="0" y="0"/>
                    </a:moveTo>
                    <a:lnTo>
                      <a:pt x="74940" y="0"/>
                    </a:lnTo>
                  </a:path>
                </a:pathLst>
              </a:custGeom>
              <a:ln w="12700" cap="sq">
                <a:solidFill>
                  <a:srgbClr val="002985"/>
                </a:solidFill>
                <a:prstDash val="solid"/>
                <a:miter/>
              </a:ln>
            </p:spPr>
            <p:txBody>
              <a:bodyPr rtlCol="0" anchor="ctr"/>
              <a:lstStyle/>
              <a:p>
                <a:endParaRPr lang="en-US" sz="1800"/>
              </a:p>
            </p:txBody>
          </p:sp>
          <p:sp>
            <p:nvSpPr>
              <p:cNvPr id="1189" name="Freeform 148">
                <a:extLst>
                  <a:ext uri="{FF2B5EF4-FFF2-40B4-BE49-F238E27FC236}">
                    <a16:creationId xmlns:a16="http://schemas.microsoft.com/office/drawing/2014/main" id="{EC21ADD9-BDB7-2ACC-8E2B-06733BCEA7B7}"/>
                  </a:ext>
                </a:extLst>
              </p:cNvPr>
              <p:cNvSpPr/>
              <p:nvPr/>
            </p:nvSpPr>
            <p:spPr>
              <a:xfrm>
                <a:off x="4239693" y="2098473"/>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002985"/>
                </a:solidFill>
                <a:prstDash val="solid"/>
                <a:miter/>
              </a:ln>
            </p:spPr>
            <p:txBody>
              <a:bodyPr rtlCol="0" anchor="ctr"/>
              <a:lstStyle/>
              <a:p>
                <a:endParaRPr lang="en-US" sz="1800"/>
              </a:p>
            </p:txBody>
          </p:sp>
          <p:sp>
            <p:nvSpPr>
              <p:cNvPr id="1190" name="Freeform 149">
                <a:extLst>
                  <a:ext uri="{FF2B5EF4-FFF2-40B4-BE49-F238E27FC236}">
                    <a16:creationId xmlns:a16="http://schemas.microsoft.com/office/drawing/2014/main" id="{4CFFC0F5-5651-73AA-B8F5-E8815CE67E24}"/>
                  </a:ext>
                </a:extLst>
              </p:cNvPr>
              <p:cNvSpPr/>
              <p:nvPr/>
            </p:nvSpPr>
            <p:spPr>
              <a:xfrm>
                <a:off x="4231523" y="2172885"/>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endParaRPr lang="en-US" sz="1800"/>
              </a:p>
            </p:txBody>
          </p:sp>
          <p:sp>
            <p:nvSpPr>
              <p:cNvPr id="1191" name="Freeform 150">
                <a:extLst>
                  <a:ext uri="{FF2B5EF4-FFF2-40B4-BE49-F238E27FC236}">
                    <a16:creationId xmlns:a16="http://schemas.microsoft.com/office/drawing/2014/main" id="{F854EDED-5C82-5625-8D39-ED6B7FDDDF63}"/>
                  </a:ext>
                </a:extLst>
              </p:cNvPr>
              <p:cNvSpPr/>
              <p:nvPr/>
            </p:nvSpPr>
            <p:spPr>
              <a:xfrm>
                <a:off x="4268999" y="2147591"/>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endParaRPr lang="en-US" sz="1800"/>
              </a:p>
            </p:txBody>
          </p:sp>
          <p:sp>
            <p:nvSpPr>
              <p:cNvPr id="1192" name="Freeform 151">
                <a:extLst>
                  <a:ext uri="{FF2B5EF4-FFF2-40B4-BE49-F238E27FC236}">
                    <a16:creationId xmlns:a16="http://schemas.microsoft.com/office/drawing/2014/main" id="{6E4A6999-B9FD-9071-C170-AFA9C24B8A08}"/>
                  </a:ext>
                </a:extLst>
              </p:cNvPr>
              <p:cNvSpPr/>
              <p:nvPr/>
            </p:nvSpPr>
            <p:spPr>
              <a:xfrm>
                <a:off x="4238857" y="2189300"/>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endParaRPr lang="en-US" sz="1800"/>
              </a:p>
            </p:txBody>
          </p:sp>
          <p:sp>
            <p:nvSpPr>
              <p:cNvPr id="1193" name="Freeform 152">
                <a:extLst>
                  <a:ext uri="{FF2B5EF4-FFF2-40B4-BE49-F238E27FC236}">
                    <a16:creationId xmlns:a16="http://schemas.microsoft.com/office/drawing/2014/main" id="{70FDB711-41B5-6222-33F4-411A3F97BD2D}"/>
                  </a:ext>
                </a:extLst>
              </p:cNvPr>
              <p:cNvSpPr/>
              <p:nvPr/>
            </p:nvSpPr>
            <p:spPr>
              <a:xfrm>
                <a:off x="4276322" y="2164005"/>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endParaRPr lang="en-US" sz="1800"/>
              </a:p>
            </p:txBody>
          </p:sp>
          <p:sp>
            <p:nvSpPr>
              <p:cNvPr id="1194" name="Freeform 153">
                <a:extLst>
                  <a:ext uri="{FF2B5EF4-FFF2-40B4-BE49-F238E27FC236}">
                    <a16:creationId xmlns:a16="http://schemas.microsoft.com/office/drawing/2014/main" id="{084882CA-C95F-3B46-B670-2B0D28DE3F9F}"/>
                  </a:ext>
                </a:extLst>
              </p:cNvPr>
              <p:cNvSpPr/>
              <p:nvPr/>
            </p:nvSpPr>
            <p:spPr>
              <a:xfrm>
                <a:off x="4260670" y="2222457"/>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endParaRPr lang="en-US" sz="1800"/>
              </a:p>
            </p:txBody>
          </p:sp>
          <p:sp>
            <p:nvSpPr>
              <p:cNvPr id="1195" name="Freeform 154">
                <a:extLst>
                  <a:ext uri="{FF2B5EF4-FFF2-40B4-BE49-F238E27FC236}">
                    <a16:creationId xmlns:a16="http://schemas.microsoft.com/office/drawing/2014/main" id="{209D8EC5-5A5F-B0C8-8644-B822BC36B822}"/>
                  </a:ext>
                </a:extLst>
              </p:cNvPr>
              <p:cNvSpPr/>
              <p:nvPr/>
            </p:nvSpPr>
            <p:spPr>
              <a:xfrm>
                <a:off x="4298145" y="2197163"/>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endParaRPr lang="en-US" sz="1800"/>
              </a:p>
            </p:txBody>
          </p:sp>
          <p:sp>
            <p:nvSpPr>
              <p:cNvPr id="1196" name="Freeform 155">
                <a:extLst>
                  <a:ext uri="{FF2B5EF4-FFF2-40B4-BE49-F238E27FC236}">
                    <a16:creationId xmlns:a16="http://schemas.microsoft.com/office/drawing/2014/main" id="{C44D9183-A370-9B45-2B6C-551F421399E4}"/>
                  </a:ext>
                </a:extLst>
              </p:cNvPr>
              <p:cNvSpPr/>
              <p:nvPr/>
            </p:nvSpPr>
            <p:spPr>
              <a:xfrm>
                <a:off x="4297309" y="2239094"/>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endParaRPr lang="en-US" sz="1800"/>
              </a:p>
            </p:txBody>
          </p:sp>
          <p:sp>
            <p:nvSpPr>
              <p:cNvPr id="1197" name="Freeform 156">
                <a:extLst>
                  <a:ext uri="{FF2B5EF4-FFF2-40B4-BE49-F238E27FC236}">
                    <a16:creationId xmlns:a16="http://schemas.microsoft.com/office/drawing/2014/main" id="{28268A60-BC59-7F33-B03A-A0A56704E7AC}"/>
                  </a:ext>
                </a:extLst>
              </p:cNvPr>
              <p:cNvSpPr/>
              <p:nvPr/>
            </p:nvSpPr>
            <p:spPr>
              <a:xfrm>
                <a:off x="4334774" y="2213800"/>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endParaRPr lang="en-US" sz="1800"/>
              </a:p>
            </p:txBody>
          </p:sp>
          <p:sp>
            <p:nvSpPr>
              <p:cNvPr id="1198" name="Freeform 157">
                <a:extLst>
                  <a:ext uri="{FF2B5EF4-FFF2-40B4-BE49-F238E27FC236}">
                    <a16:creationId xmlns:a16="http://schemas.microsoft.com/office/drawing/2014/main" id="{3022A495-4BAA-4646-D6B1-C8CA26890917}"/>
                  </a:ext>
                </a:extLst>
              </p:cNvPr>
              <p:cNvSpPr/>
              <p:nvPr/>
            </p:nvSpPr>
            <p:spPr>
              <a:xfrm>
                <a:off x="4348437" y="2239094"/>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endParaRPr lang="en-US" sz="1800"/>
              </a:p>
            </p:txBody>
          </p:sp>
          <p:sp>
            <p:nvSpPr>
              <p:cNvPr id="1199" name="Freeform 158">
                <a:extLst>
                  <a:ext uri="{FF2B5EF4-FFF2-40B4-BE49-F238E27FC236}">
                    <a16:creationId xmlns:a16="http://schemas.microsoft.com/office/drawing/2014/main" id="{7996ED12-AD8F-936C-C7AC-14741C1BAC54}"/>
                  </a:ext>
                </a:extLst>
              </p:cNvPr>
              <p:cNvSpPr/>
              <p:nvPr/>
            </p:nvSpPr>
            <p:spPr>
              <a:xfrm>
                <a:off x="4385902" y="2213800"/>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endParaRPr lang="en-US" sz="1800"/>
              </a:p>
            </p:txBody>
          </p:sp>
          <p:sp>
            <p:nvSpPr>
              <p:cNvPr id="1200" name="Freeform 159">
                <a:extLst>
                  <a:ext uri="{FF2B5EF4-FFF2-40B4-BE49-F238E27FC236}">
                    <a16:creationId xmlns:a16="http://schemas.microsoft.com/office/drawing/2014/main" id="{6AA7A636-FC7F-0884-5ECF-2297C97646F9}"/>
                  </a:ext>
                </a:extLst>
              </p:cNvPr>
              <p:cNvSpPr/>
              <p:nvPr/>
            </p:nvSpPr>
            <p:spPr>
              <a:xfrm>
                <a:off x="4516469" y="2256070"/>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endParaRPr lang="en-US" sz="1800"/>
              </a:p>
            </p:txBody>
          </p:sp>
          <p:sp>
            <p:nvSpPr>
              <p:cNvPr id="1201" name="Freeform 160">
                <a:extLst>
                  <a:ext uri="{FF2B5EF4-FFF2-40B4-BE49-F238E27FC236}">
                    <a16:creationId xmlns:a16="http://schemas.microsoft.com/office/drawing/2014/main" id="{077C342F-EFC5-7B19-DA9F-64DA679389D6}"/>
                  </a:ext>
                </a:extLst>
              </p:cNvPr>
              <p:cNvSpPr/>
              <p:nvPr/>
            </p:nvSpPr>
            <p:spPr>
              <a:xfrm>
                <a:off x="4553934" y="2230776"/>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endParaRPr lang="en-US" sz="1800"/>
              </a:p>
            </p:txBody>
          </p:sp>
          <p:sp>
            <p:nvSpPr>
              <p:cNvPr id="1202" name="Freeform 161">
                <a:extLst>
                  <a:ext uri="{FF2B5EF4-FFF2-40B4-BE49-F238E27FC236}">
                    <a16:creationId xmlns:a16="http://schemas.microsoft.com/office/drawing/2014/main" id="{9BBE6C15-57D0-C972-08B7-FF75F12C7428}"/>
                  </a:ext>
                </a:extLst>
              </p:cNvPr>
              <p:cNvSpPr/>
              <p:nvPr/>
            </p:nvSpPr>
            <p:spPr>
              <a:xfrm>
                <a:off x="4552939" y="2290021"/>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endParaRPr lang="en-US" sz="1800"/>
              </a:p>
            </p:txBody>
          </p:sp>
          <p:sp>
            <p:nvSpPr>
              <p:cNvPr id="1203" name="Freeform 162">
                <a:extLst>
                  <a:ext uri="{FF2B5EF4-FFF2-40B4-BE49-F238E27FC236}">
                    <a16:creationId xmlns:a16="http://schemas.microsoft.com/office/drawing/2014/main" id="{1E47F8E7-3D3D-BE78-6202-004ECDEB1A62}"/>
                  </a:ext>
                </a:extLst>
              </p:cNvPr>
              <p:cNvSpPr/>
              <p:nvPr/>
            </p:nvSpPr>
            <p:spPr>
              <a:xfrm>
                <a:off x="4590404" y="2264727"/>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002985"/>
                </a:solidFill>
                <a:prstDash val="solid"/>
                <a:miter/>
              </a:ln>
            </p:spPr>
            <p:txBody>
              <a:bodyPr rtlCol="0" anchor="ctr"/>
              <a:lstStyle/>
              <a:p>
                <a:endParaRPr lang="en-US" sz="1800"/>
              </a:p>
            </p:txBody>
          </p:sp>
          <p:sp>
            <p:nvSpPr>
              <p:cNvPr id="1204" name="Freeform 163">
                <a:extLst>
                  <a:ext uri="{FF2B5EF4-FFF2-40B4-BE49-F238E27FC236}">
                    <a16:creationId xmlns:a16="http://schemas.microsoft.com/office/drawing/2014/main" id="{C44FC846-9096-DDC3-3C9D-16185D7824D9}"/>
                  </a:ext>
                </a:extLst>
              </p:cNvPr>
              <p:cNvSpPr/>
              <p:nvPr/>
            </p:nvSpPr>
            <p:spPr>
              <a:xfrm>
                <a:off x="4567586" y="2324195"/>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endParaRPr lang="en-US" sz="1800"/>
              </a:p>
            </p:txBody>
          </p:sp>
          <p:sp>
            <p:nvSpPr>
              <p:cNvPr id="1205" name="Freeform 164">
                <a:extLst>
                  <a:ext uri="{FF2B5EF4-FFF2-40B4-BE49-F238E27FC236}">
                    <a16:creationId xmlns:a16="http://schemas.microsoft.com/office/drawing/2014/main" id="{5EC1212E-4A56-0380-5DE9-BB6C292D7FB6}"/>
                  </a:ext>
                </a:extLst>
              </p:cNvPr>
              <p:cNvSpPr/>
              <p:nvPr/>
            </p:nvSpPr>
            <p:spPr>
              <a:xfrm>
                <a:off x="4605062" y="2298901"/>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002985"/>
                </a:solidFill>
                <a:prstDash val="solid"/>
                <a:miter/>
              </a:ln>
            </p:spPr>
            <p:txBody>
              <a:bodyPr rtlCol="0" anchor="ctr"/>
              <a:lstStyle/>
              <a:p>
                <a:endParaRPr lang="en-US" sz="1800"/>
              </a:p>
            </p:txBody>
          </p:sp>
          <p:sp>
            <p:nvSpPr>
              <p:cNvPr id="1206" name="Freeform 165">
                <a:extLst>
                  <a:ext uri="{FF2B5EF4-FFF2-40B4-BE49-F238E27FC236}">
                    <a16:creationId xmlns:a16="http://schemas.microsoft.com/office/drawing/2014/main" id="{5A733AF3-4A6B-6A5C-7130-D903A1E8786F}"/>
                  </a:ext>
                </a:extLst>
              </p:cNvPr>
              <p:cNvSpPr/>
              <p:nvPr/>
            </p:nvSpPr>
            <p:spPr>
              <a:xfrm>
                <a:off x="4684500" y="2393209"/>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endParaRPr lang="en-US" sz="1800"/>
              </a:p>
            </p:txBody>
          </p:sp>
          <p:sp>
            <p:nvSpPr>
              <p:cNvPr id="1207" name="Freeform 166">
                <a:extLst>
                  <a:ext uri="{FF2B5EF4-FFF2-40B4-BE49-F238E27FC236}">
                    <a16:creationId xmlns:a16="http://schemas.microsoft.com/office/drawing/2014/main" id="{293EE6DA-FA80-30BE-037F-06D0977F856B}"/>
                  </a:ext>
                </a:extLst>
              </p:cNvPr>
              <p:cNvSpPr/>
              <p:nvPr/>
            </p:nvSpPr>
            <p:spPr>
              <a:xfrm>
                <a:off x="4721965" y="2367915"/>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endParaRPr lang="en-US" sz="1800"/>
              </a:p>
            </p:txBody>
          </p:sp>
          <p:sp>
            <p:nvSpPr>
              <p:cNvPr id="1208" name="Freeform 167">
                <a:extLst>
                  <a:ext uri="{FF2B5EF4-FFF2-40B4-BE49-F238E27FC236}">
                    <a16:creationId xmlns:a16="http://schemas.microsoft.com/office/drawing/2014/main" id="{C5C19AE1-1195-ADB9-5674-6351E2E9D5C5}"/>
                  </a:ext>
                </a:extLst>
              </p:cNvPr>
              <p:cNvSpPr/>
              <p:nvPr/>
            </p:nvSpPr>
            <p:spPr>
              <a:xfrm>
                <a:off x="4852532" y="2462572"/>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endParaRPr lang="en-US" sz="1800"/>
              </a:p>
            </p:txBody>
          </p:sp>
          <p:sp>
            <p:nvSpPr>
              <p:cNvPr id="1209" name="Freeform 168">
                <a:extLst>
                  <a:ext uri="{FF2B5EF4-FFF2-40B4-BE49-F238E27FC236}">
                    <a16:creationId xmlns:a16="http://schemas.microsoft.com/office/drawing/2014/main" id="{6718DAFC-DD59-97BD-E31E-40E7FC03EAB3}"/>
                  </a:ext>
                </a:extLst>
              </p:cNvPr>
              <p:cNvSpPr/>
              <p:nvPr/>
            </p:nvSpPr>
            <p:spPr>
              <a:xfrm>
                <a:off x="4889997" y="2437278"/>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002985"/>
                </a:solidFill>
                <a:prstDash val="solid"/>
                <a:miter/>
              </a:ln>
            </p:spPr>
            <p:txBody>
              <a:bodyPr rtlCol="0" anchor="ctr"/>
              <a:lstStyle/>
              <a:p>
                <a:endParaRPr lang="en-US" sz="1800"/>
              </a:p>
            </p:txBody>
          </p:sp>
          <p:sp>
            <p:nvSpPr>
              <p:cNvPr id="1210" name="Freeform 169">
                <a:extLst>
                  <a:ext uri="{FF2B5EF4-FFF2-40B4-BE49-F238E27FC236}">
                    <a16:creationId xmlns:a16="http://schemas.microsoft.com/office/drawing/2014/main" id="{A03AB363-7F92-BEAE-428D-604723AF914C}"/>
                  </a:ext>
                </a:extLst>
              </p:cNvPr>
              <p:cNvSpPr/>
              <p:nvPr/>
            </p:nvSpPr>
            <p:spPr>
              <a:xfrm>
                <a:off x="5510000" y="2584979"/>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endParaRPr lang="en-US" sz="1800"/>
              </a:p>
            </p:txBody>
          </p:sp>
          <p:sp>
            <p:nvSpPr>
              <p:cNvPr id="1211" name="Freeform 170">
                <a:extLst>
                  <a:ext uri="{FF2B5EF4-FFF2-40B4-BE49-F238E27FC236}">
                    <a16:creationId xmlns:a16="http://schemas.microsoft.com/office/drawing/2014/main" id="{85B643F4-05EE-4D96-FBE4-7B2CE3627A62}"/>
                  </a:ext>
                </a:extLst>
              </p:cNvPr>
              <p:cNvSpPr/>
              <p:nvPr/>
            </p:nvSpPr>
            <p:spPr>
              <a:xfrm>
                <a:off x="5547465" y="2559685"/>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endParaRPr lang="en-US" sz="1800"/>
              </a:p>
            </p:txBody>
          </p:sp>
          <p:sp>
            <p:nvSpPr>
              <p:cNvPr id="1212" name="Freeform 171">
                <a:extLst>
                  <a:ext uri="{FF2B5EF4-FFF2-40B4-BE49-F238E27FC236}">
                    <a16:creationId xmlns:a16="http://schemas.microsoft.com/office/drawing/2014/main" id="{7009373F-6CEB-3041-2907-A1AF689F2575}"/>
                  </a:ext>
                </a:extLst>
              </p:cNvPr>
              <p:cNvSpPr/>
              <p:nvPr/>
            </p:nvSpPr>
            <p:spPr>
              <a:xfrm>
                <a:off x="5553794" y="2584979"/>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endParaRPr lang="en-US" sz="1800"/>
              </a:p>
            </p:txBody>
          </p:sp>
          <p:sp>
            <p:nvSpPr>
              <p:cNvPr id="1213" name="Freeform 172">
                <a:extLst>
                  <a:ext uri="{FF2B5EF4-FFF2-40B4-BE49-F238E27FC236}">
                    <a16:creationId xmlns:a16="http://schemas.microsoft.com/office/drawing/2014/main" id="{A54211B7-BE2D-B6CF-A749-63DE31BD9757}"/>
                  </a:ext>
                </a:extLst>
              </p:cNvPr>
              <p:cNvSpPr/>
              <p:nvPr/>
            </p:nvSpPr>
            <p:spPr>
              <a:xfrm>
                <a:off x="5591270" y="2559685"/>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endParaRPr lang="en-US" sz="1800"/>
              </a:p>
            </p:txBody>
          </p:sp>
          <p:sp>
            <p:nvSpPr>
              <p:cNvPr id="1214" name="Freeform 173">
                <a:extLst>
                  <a:ext uri="{FF2B5EF4-FFF2-40B4-BE49-F238E27FC236}">
                    <a16:creationId xmlns:a16="http://schemas.microsoft.com/office/drawing/2014/main" id="{2E0C00CB-D910-1995-7F79-171825AD95D3}"/>
                  </a:ext>
                </a:extLst>
              </p:cNvPr>
              <p:cNvSpPr/>
              <p:nvPr/>
            </p:nvSpPr>
            <p:spPr>
              <a:xfrm>
                <a:off x="5568452" y="2584979"/>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endParaRPr lang="en-US" sz="1800"/>
              </a:p>
            </p:txBody>
          </p:sp>
          <p:sp>
            <p:nvSpPr>
              <p:cNvPr id="1215" name="Freeform 174">
                <a:extLst>
                  <a:ext uri="{FF2B5EF4-FFF2-40B4-BE49-F238E27FC236}">
                    <a16:creationId xmlns:a16="http://schemas.microsoft.com/office/drawing/2014/main" id="{6D23E971-B574-8E82-5241-22446DB2839A}"/>
                  </a:ext>
                </a:extLst>
              </p:cNvPr>
              <p:cNvSpPr/>
              <p:nvPr/>
            </p:nvSpPr>
            <p:spPr>
              <a:xfrm>
                <a:off x="5605928" y="2559685"/>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endParaRPr lang="en-US" sz="1800"/>
              </a:p>
            </p:txBody>
          </p:sp>
          <p:sp>
            <p:nvSpPr>
              <p:cNvPr id="1216" name="Freeform 175">
                <a:extLst>
                  <a:ext uri="{FF2B5EF4-FFF2-40B4-BE49-F238E27FC236}">
                    <a16:creationId xmlns:a16="http://schemas.microsoft.com/office/drawing/2014/main" id="{7F48D39B-635F-4013-BF81-A5D33B2B04A9}"/>
                  </a:ext>
                </a:extLst>
              </p:cNvPr>
              <p:cNvSpPr/>
              <p:nvPr/>
            </p:nvSpPr>
            <p:spPr>
              <a:xfrm>
                <a:off x="6094359" y="2638604"/>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endParaRPr lang="en-US" sz="1800"/>
              </a:p>
            </p:txBody>
          </p:sp>
          <p:sp>
            <p:nvSpPr>
              <p:cNvPr id="1217" name="Freeform 176">
                <a:extLst>
                  <a:ext uri="{FF2B5EF4-FFF2-40B4-BE49-F238E27FC236}">
                    <a16:creationId xmlns:a16="http://schemas.microsoft.com/office/drawing/2014/main" id="{BE9B92BB-A6E0-2546-1A0C-8022A3959033}"/>
                  </a:ext>
                </a:extLst>
              </p:cNvPr>
              <p:cNvSpPr/>
              <p:nvPr/>
            </p:nvSpPr>
            <p:spPr>
              <a:xfrm>
                <a:off x="6131835" y="2613310"/>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002985"/>
                </a:solidFill>
                <a:prstDash val="solid"/>
                <a:miter/>
              </a:ln>
            </p:spPr>
            <p:txBody>
              <a:bodyPr rtlCol="0" anchor="ctr"/>
              <a:lstStyle/>
              <a:p>
                <a:endParaRPr lang="en-US" sz="1800"/>
              </a:p>
            </p:txBody>
          </p:sp>
          <p:sp>
            <p:nvSpPr>
              <p:cNvPr id="1218" name="Freeform 177">
                <a:extLst>
                  <a:ext uri="{FF2B5EF4-FFF2-40B4-BE49-F238E27FC236}">
                    <a16:creationId xmlns:a16="http://schemas.microsoft.com/office/drawing/2014/main" id="{4003835A-9B40-0D25-C716-E600BEA48DE7}"/>
                  </a:ext>
                </a:extLst>
              </p:cNvPr>
              <p:cNvSpPr/>
              <p:nvPr/>
            </p:nvSpPr>
            <p:spPr>
              <a:xfrm>
                <a:off x="6123506" y="2656702"/>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endParaRPr lang="en-US" sz="1800"/>
              </a:p>
            </p:txBody>
          </p:sp>
          <p:sp>
            <p:nvSpPr>
              <p:cNvPr id="1219" name="Freeform 178">
                <a:extLst>
                  <a:ext uri="{FF2B5EF4-FFF2-40B4-BE49-F238E27FC236}">
                    <a16:creationId xmlns:a16="http://schemas.microsoft.com/office/drawing/2014/main" id="{899A8DBD-6C46-55FE-CFC7-33C52D120DFB}"/>
                  </a:ext>
                </a:extLst>
              </p:cNvPr>
              <p:cNvSpPr/>
              <p:nvPr/>
            </p:nvSpPr>
            <p:spPr>
              <a:xfrm>
                <a:off x="6160971" y="2631408"/>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002985"/>
                </a:solidFill>
                <a:prstDash val="solid"/>
                <a:miter/>
              </a:ln>
            </p:spPr>
            <p:txBody>
              <a:bodyPr rtlCol="0" anchor="ctr"/>
              <a:lstStyle/>
              <a:p>
                <a:endParaRPr lang="en-US" sz="1800"/>
              </a:p>
            </p:txBody>
          </p:sp>
          <p:sp>
            <p:nvSpPr>
              <p:cNvPr id="1220" name="Freeform 179">
                <a:extLst>
                  <a:ext uri="{FF2B5EF4-FFF2-40B4-BE49-F238E27FC236}">
                    <a16:creationId xmlns:a16="http://schemas.microsoft.com/office/drawing/2014/main" id="{20EFD2A6-28B8-10D6-2FB6-1F76F860C5BF}"/>
                  </a:ext>
                </a:extLst>
              </p:cNvPr>
              <p:cNvSpPr/>
              <p:nvPr/>
            </p:nvSpPr>
            <p:spPr>
              <a:xfrm>
                <a:off x="6130829" y="2656702"/>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endParaRPr lang="en-US" sz="1800"/>
              </a:p>
            </p:txBody>
          </p:sp>
          <p:sp>
            <p:nvSpPr>
              <p:cNvPr id="1221" name="Freeform 180">
                <a:extLst>
                  <a:ext uri="{FF2B5EF4-FFF2-40B4-BE49-F238E27FC236}">
                    <a16:creationId xmlns:a16="http://schemas.microsoft.com/office/drawing/2014/main" id="{52F13FC1-A3FF-5C3C-4807-7B604E26649D}"/>
                  </a:ext>
                </a:extLst>
              </p:cNvPr>
              <p:cNvSpPr/>
              <p:nvPr/>
            </p:nvSpPr>
            <p:spPr>
              <a:xfrm>
                <a:off x="6168305" y="2631408"/>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002985"/>
                </a:solidFill>
                <a:prstDash val="solid"/>
                <a:miter/>
              </a:ln>
            </p:spPr>
            <p:txBody>
              <a:bodyPr rtlCol="0" anchor="ctr"/>
              <a:lstStyle/>
              <a:p>
                <a:endParaRPr lang="en-US" sz="1800"/>
              </a:p>
            </p:txBody>
          </p:sp>
          <p:sp>
            <p:nvSpPr>
              <p:cNvPr id="1222" name="Freeform 181">
                <a:extLst>
                  <a:ext uri="{FF2B5EF4-FFF2-40B4-BE49-F238E27FC236}">
                    <a16:creationId xmlns:a16="http://schemas.microsoft.com/office/drawing/2014/main" id="{2BDA684C-5807-AE11-7E53-39B919037126}"/>
                  </a:ext>
                </a:extLst>
              </p:cNvPr>
              <p:cNvSpPr/>
              <p:nvPr/>
            </p:nvSpPr>
            <p:spPr>
              <a:xfrm>
                <a:off x="6130829" y="2656702"/>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endParaRPr lang="en-US" sz="1800"/>
              </a:p>
            </p:txBody>
          </p:sp>
          <p:sp>
            <p:nvSpPr>
              <p:cNvPr id="1223" name="Freeform 182">
                <a:extLst>
                  <a:ext uri="{FF2B5EF4-FFF2-40B4-BE49-F238E27FC236}">
                    <a16:creationId xmlns:a16="http://schemas.microsoft.com/office/drawing/2014/main" id="{1E00D6BD-AEE1-9EA6-E1DB-C47A8A020F27}"/>
                  </a:ext>
                </a:extLst>
              </p:cNvPr>
              <p:cNvSpPr/>
              <p:nvPr/>
            </p:nvSpPr>
            <p:spPr>
              <a:xfrm>
                <a:off x="6168305" y="2631408"/>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002985"/>
                </a:solidFill>
                <a:prstDash val="solid"/>
                <a:miter/>
              </a:ln>
            </p:spPr>
            <p:txBody>
              <a:bodyPr rtlCol="0" anchor="ctr"/>
              <a:lstStyle/>
              <a:p>
                <a:endParaRPr lang="en-US" sz="1800"/>
              </a:p>
            </p:txBody>
          </p:sp>
          <p:sp>
            <p:nvSpPr>
              <p:cNvPr id="1224" name="Freeform 183">
                <a:extLst>
                  <a:ext uri="{FF2B5EF4-FFF2-40B4-BE49-F238E27FC236}">
                    <a16:creationId xmlns:a16="http://schemas.microsoft.com/office/drawing/2014/main" id="{93FAA373-67F7-39B9-FB92-FE872874D46F}"/>
                  </a:ext>
                </a:extLst>
              </p:cNvPr>
              <p:cNvSpPr/>
              <p:nvPr/>
            </p:nvSpPr>
            <p:spPr>
              <a:xfrm>
                <a:off x="6357323" y="2730669"/>
                <a:ext cx="74930" cy="10583"/>
              </a:xfrm>
              <a:custGeom>
                <a:avLst/>
                <a:gdLst>
                  <a:gd name="connsiteX0" fmla="*/ 0 w 74930"/>
                  <a:gd name="connsiteY0" fmla="*/ 0 h 10583"/>
                  <a:gd name="connsiteX1" fmla="*/ 74930 w 74930"/>
                  <a:gd name="connsiteY1" fmla="*/ 0 h 10583"/>
                </a:gdLst>
                <a:ahLst/>
                <a:cxnLst>
                  <a:cxn ang="0">
                    <a:pos x="connsiteX0" y="connsiteY0"/>
                  </a:cxn>
                  <a:cxn ang="0">
                    <a:pos x="connsiteX1" y="connsiteY1"/>
                  </a:cxn>
                </a:cxnLst>
                <a:rect l="l" t="t" r="r" b="b"/>
                <a:pathLst>
                  <a:path w="74930" h="10583">
                    <a:moveTo>
                      <a:pt x="0" y="0"/>
                    </a:moveTo>
                    <a:lnTo>
                      <a:pt x="74930" y="0"/>
                    </a:lnTo>
                  </a:path>
                </a:pathLst>
              </a:custGeom>
              <a:ln w="12700" cap="sq">
                <a:solidFill>
                  <a:srgbClr val="002985"/>
                </a:solidFill>
                <a:prstDash val="solid"/>
                <a:miter/>
              </a:ln>
            </p:spPr>
            <p:txBody>
              <a:bodyPr rtlCol="0" anchor="ctr"/>
              <a:lstStyle/>
              <a:p>
                <a:endParaRPr lang="en-US" sz="1800"/>
              </a:p>
            </p:txBody>
          </p:sp>
          <p:sp>
            <p:nvSpPr>
              <p:cNvPr id="1225" name="Freeform 184">
                <a:extLst>
                  <a:ext uri="{FF2B5EF4-FFF2-40B4-BE49-F238E27FC236}">
                    <a16:creationId xmlns:a16="http://schemas.microsoft.com/office/drawing/2014/main" id="{743C9049-01DA-EE59-B153-9964BE343ADA}"/>
                  </a:ext>
                </a:extLst>
              </p:cNvPr>
              <p:cNvSpPr/>
              <p:nvPr/>
            </p:nvSpPr>
            <p:spPr>
              <a:xfrm>
                <a:off x="6394788" y="2705375"/>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002985"/>
                </a:solidFill>
                <a:prstDash val="solid"/>
                <a:miter/>
              </a:ln>
            </p:spPr>
            <p:txBody>
              <a:bodyPr rtlCol="0" anchor="ctr"/>
              <a:lstStyle/>
              <a:p>
                <a:endParaRPr lang="en-US" sz="1800"/>
              </a:p>
            </p:txBody>
          </p:sp>
          <p:sp>
            <p:nvSpPr>
              <p:cNvPr id="1226" name="Freeform 185">
                <a:extLst>
                  <a:ext uri="{FF2B5EF4-FFF2-40B4-BE49-F238E27FC236}">
                    <a16:creationId xmlns:a16="http://schemas.microsoft.com/office/drawing/2014/main" id="{72CEA61E-45C5-DE03-2A35-AD3AAA6F0816}"/>
                  </a:ext>
                </a:extLst>
              </p:cNvPr>
              <p:cNvSpPr/>
              <p:nvPr/>
            </p:nvSpPr>
            <p:spPr>
              <a:xfrm>
                <a:off x="6386628" y="2730669"/>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endParaRPr lang="en-US" sz="1800"/>
              </a:p>
            </p:txBody>
          </p:sp>
          <p:sp>
            <p:nvSpPr>
              <p:cNvPr id="1227" name="Freeform 186">
                <a:extLst>
                  <a:ext uri="{FF2B5EF4-FFF2-40B4-BE49-F238E27FC236}">
                    <a16:creationId xmlns:a16="http://schemas.microsoft.com/office/drawing/2014/main" id="{1713E1D2-4DC4-823A-16F5-23CCE1D2935E}"/>
                  </a:ext>
                </a:extLst>
              </p:cNvPr>
              <p:cNvSpPr/>
              <p:nvPr/>
            </p:nvSpPr>
            <p:spPr>
              <a:xfrm>
                <a:off x="6424093" y="2705375"/>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002985"/>
                </a:solidFill>
                <a:prstDash val="solid"/>
                <a:miter/>
              </a:ln>
            </p:spPr>
            <p:txBody>
              <a:bodyPr rtlCol="0" anchor="ctr"/>
              <a:lstStyle/>
              <a:p>
                <a:endParaRPr lang="en-US" sz="1800"/>
              </a:p>
            </p:txBody>
          </p:sp>
          <p:sp>
            <p:nvSpPr>
              <p:cNvPr id="1228" name="Freeform 187">
                <a:extLst>
                  <a:ext uri="{FF2B5EF4-FFF2-40B4-BE49-F238E27FC236}">
                    <a16:creationId xmlns:a16="http://schemas.microsoft.com/office/drawing/2014/main" id="{AEE28639-F6CA-3CEF-3F53-2FFBE4142E9A}"/>
                  </a:ext>
                </a:extLst>
              </p:cNvPr>
              <p:cNvSpPr/>
              <p:nvPr/>
            </p:nvSpPr>
            <p:spPr>
              <a:xfrm>
                <a:off x="6452245" y="2787205"/>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endParaRPr lang="en-US" sz="1800"/>
              </a:p>
            </p:txBody>
          </p:sp>
          <p:sp>
            <p:nvSpPr>
              <p:cNvPr id="1229" name="Freeform 188">
                <a:extLst>
                  <a:ext uri="{FF2B5EF4-FFF2-40B4-BE49-F238E27FC236}">
                    <a16:creationId xmlns:a16="http://schemas.microsoft.com/office/drawing/2014/main" id="{2FF9ABA3-6A6D-6C85-69B2-7DE9C4078469}"/>
                  </a:ext>
                </a:extLst>
              </p:cNvPr>
              <p:cNvSpPr/>
              <p:nvPr/>
            </p:nvSpPr>
            <p:spPr>
              <a:xfrm>
                <a:off x="6489710" y="2761911"/>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endParaRPr lang="en-US" sz="1800"/>
              </a:p>
            </p:txBody>
          </p:sp>
          <p:sp>
            <p:nvSpPr>
              <p:cNvPr id="1230" name="Freeform 189">
                <a:extLst>
                  <a:ext uri="{FF2B5EF4-FFF2-40B4-BE49-F238E27FC236}">
                    <a16:creationId xmlns:a16="http://schemas.microsoft.com/office/drawing/2014/main" id="{E66954F0-DFCF-764D-C3B5-8F82F6E64B50}"/>
                  </a:ext>
                </a:extLst>
              </p:cNvPr>
              <p:cNvSpPr/>
              <p:nvPr/>
            </p:nvSpPr>
            <p:spPr>
              <a:xfrm>
                <a:off x="6686052" y="2806202"/>
                <a:ext cx="74940" cy="10583"/>
              </a:xfrm>
              <a:custGeom>
                <a:avLst/>
                <a:gdLst>
                  <a:gd name="connsiteX0" fmla="*/ 0 w 74940"/>
                  <a:gd name="connsiteY0" fmla="*/ 0 h 10583"/>
                  <a:gd name="connsiteX1" fmla="*/ 74940 w 74940"/>
                  <a:gd name="connsiteY1" fmla="*/ 0 h 10583"/>
                </a:gdLst>
                <a:ahLst/>
                <a:cxnLst>
                  <a:cxn ang="0">
                    <a:pos x="connsiteX0" y="connsiteY0"/>
                  </a:cxn>
                  <a:cxn ang="0">
                    <a:pos x="connsiteX1" y="connsiteY1"/>
                  </a:cxn>
                </a:cxnLst>
                <a:rect l="l" t="t" r="r" b="b"/>
                <a:pathLst>
                  <a:path w="74940" h="10583">
                    <a:moveTo>
                      <a:pt x="0" y="0"/>
                    </a:moveTo>
                    <a:lnTo>
                      <a:pt x="74940" y="0"/>
                    </a:lnTo>
                  </a:path>
                </a:pathLst>
              </a:custGeom>
              <a:ln w="12700" cap="sq">
                <a:solidFill>
                  <a:srgbClr val="002985"/>
                </a:solidFill>
                <a:prstDash val="solid"/>
                <a:miter/>
              </a:ln>
            </p:spPr>
            <p:txBody>
              <a:bodyPr rtlCol="0" anchor="ctr"/>
              <a:lstStyle/>
              <a:p>
                <a:endParaRPr lang="en-US" sz="1800"/>
              </a:p>
            </p:txBody>
          </p:sp>
          <p:sp>
            <p:nvSpPr>
              <p:cNvPr id="1231" name="Freeform 190">
                <a:extLst>
                  <a:ext uri="{FF2B5EF4-FFF2-40B4-BE49-F238E27FC236}">
                    <a16:creationId xmlns:a16="http://schemas.microsoft.com/office/drawing/2014/main" id="{7DE3BF95-053C-4125-455E-03CAC319EE18}"/>
                  </a:ext>
                </a:extLst>
              </p:cNvPr>
              <p:cNvSpPr/>
              <p:nvPr/>
            </p:nvSpPr>
            <p:spPr>
              <a:xfrm>
                <a:off x="6723528" y="2780908"/>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endParaRPr lang="en-US" sz="1800"/>
              </a:p>
            </p:txBody>
          </p:sp>
          <p:sp>
            <p:nvSpPr>
              <p:cNvPr id="1232" name="Freeform 191">
                <a:extLst>
                  <a:ext uri="{FF2B5EF4-FFF2-40B4-BE49-F238E27FC236}">
                    <a16:creationId xmlns:a16="http://schemas.microsoft.com/office/drawing/2014/main" id="{D1F92CF7-A343-186D-92D2-7EBC52C8845D}"/>
                  </a:ext>
                </a:extLst>
              </p:cNvPr>
              <p:cNvSpPr/>
              <p:nvPr/>
            </p:nvSpPr>
            <p:spPr>
              <a:xfrm>
                <a:off x="6700710" y="2806202"/>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endParaRPr lang="en-US" sz="1800"/>
              </a:p>
            </p:txBody>
          </p:sp>
          <p:sp>
            <p:nvSpPr>
              <p:cNvPr id="1233" name="Freeform 192">
                <a:extLst>
                  <a:ext uri="{FF2B5EF4-FFF2-40B4-BE49-F238E27FC236}">
                    <a16:creationId xmlns:a16="http://schemas.microsoft.com/office/drawing/2014/main" id="{FD148233-737F-5332-88FF-BFFFC1613F62}"/>
                  </a:ext>
                </a:extLst>
              </p:cNvPr>
              <p:cNvSpPr/>
              <p:nvPr/>
            </p:nvSpPr>
            <p:spPr>
              <a:xfrm>
                <a:off x="6738175" y="2780908"/>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endParaRPr lang="en-US" sz="1800"/>
              </a:p>
            </p:txBody>
          </p:sp>
          <p:sp>
            <p:nvSpPr>
              <p:cNvPr id="1234" name="Freeform 193">
                <a:extLst>
                  <a:ext uri="{FF2B5EF4-FFF2-40B4-BE49-F238E27FC236}">
                    <a16:creationId xmlns:a16="http://schemas.microsoft.com/office/drawing/2014/main" id="{BF855433-7973-8652-0DE1-332611D94282}"/>
                  </a:ext>
                </a:extLst>
              </p:cNvPr>
              <p:cNvSpPr/>
              <p:nvPr/>
            </p:nvSpPr>
            <p:spPr>
              <a:xfrm>
                <a:off x="6795632" y="2883651"/>
                <a:ext cx="74940" cy="10583"/>
              </a:xfrm>
              <a:custGeom>
                <a:avLst/>
                <a:gdLst>
                  <a:gd name="connsiteX0" fmla="*/ 0 w 74940"/>
                  <a:gd name="connsiteY0" fmla="*/ 0 h 10583"/>
                  <a:gd name="connsiteX1" fmla="*/ 74940 w 74940"/>
                  <a:gd name="connsiteY1" fmla="*/ 0 h 10583"/>
                </a:gdLst>
                <a:ahLst/>
                <a:cxnLst>
                  <a:cxn ang="0">
                    <a:pos x="connsiteX0" y="connsiteY0"/>
                  </a:cxn>
                  <a:cxn ang="0">
                    <a:pos x="connsiteX1" y="connsiteY1"/>
                  </a:cxn>
                </a:cxnLst>
                <a:rect l="l" t="t" r="r" b="b"/>
                <a:pathLst>
                  <a:path w="74940" h="10583">
                    <a:moveTo>
                      <a:pt x="0" y="0"/>
                    </a:moveTo>
                    <a:lnTo>
                      <a:pt x="74940" y="0"/>
                    </a:lnTo>
                  </a:path>
                </a:pathLst>
              </a:custGeom>
              <a:ln w="12700" cap="sq">
                <a:solidFill>
                  <a:srgbClr val="002985"/>
                </a:solidFill>
                <a:prstDash val="solid"/>
                <a:miter/>
              </a:ln>
            </p:spPr>
            <p:txBody>
              <a:bodyPr rtlCol="0" anchor="ctr"/>
              <a:lstStyle/>
              <a:p>
                <a:endParaRPr lang="en-US" sz="1800"/>
              </a:p>
            </p:txBody>
          </p:sp>
          <p:sp>
            <p:nvSpPr>
              <p:cNvPr id="1235" name="Freeform 194">
                <a:extLst>
                  <a:ext uri="{FF2B5EF4-FFF2-40B4-BE49-F238E27FC236}">
                    <a16:creationId xmlns:a16="http://schemas.microsoft.com/office/drawing/2014/main" id="{AFF90D95-A923-13FB-54B2-8BAED839FC96}"/>
                  </a:ext>
                </a:extLst>
              </p:cNvPr>
              <p:cNvSpPr/>
              <p:nvPr/>
            </p:nvSpPr>
            <p:spPr>
              <a:xfrm>
                <a:off x="6833097" y="2858357"/>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endParaRPr lang="en-US" sz="1800"/>
              </a:p>
            </p:txBody>
          </p:sp>
          <p:sp>
            <p:nvSpPr>
              <p:cNvPr id="1236" name="Freeform 195">
                <a:extLst>
                  <a:ext uri="{FF2B5EF4-FFF2-40B4-BE49-F238E27FC236}">
                    <a16:creationId xmlns:a16="http://schemas.microsoft.com/office/drawing/2014/main" id="{C7AE2FA6-FF80-2AE9-7D36-2E9EE288B914}"/>
                  </a:ext>
                </a:extLst>
              </p:cNvPr>
              <p:cNvSpPr/>
              <p:nvPr/>
            </p:nvSpPr>
            <p:spPr>
              <a:xfrm>
                <a:off x="6919870" y="2903209"/>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endParaRPr lang="en-US" sz="1800"/>
              </a:p>
            </p:txBody>
          </p:sp>
          <p:sp>
            <p:nvSpPr>
              <p:cNvPr id="1237" name="Freeform 196">
                <a:extLst>
                  <a:ext uri="{FF2B5EF4-FFF2-40B4-BE49-F238E27FC236}">
                    <a16:creationId xmlns:a16="http://schemas.microsoft.com/office/drawing/2014/main" id="{13E44DA5-7120-D8DC-9217-B875E6E87414}"/>
                  </a:ext>
                </a:extLst>
              </p:cNvPr>
              <p:cNvSpPr/>
              <p:nvPr/>
            </p:nvSpPr>
            <p:spPr>
              <a:xfrm>
                <a:off x="6957335" y="2877915"/>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endParaRPr lang="en-US" sz="1800"/>
              </a:p>
            </p:txBody>
          </p:sp>
          <p:sp>
            <p:nvSpPr>
              <p:cNvPr id="1238" name="Freeform 197">
                <a:extLst>
                  <a:ext uri="{FF2B5EF4-FFF2-40B4-BE49-F238E27FC236}">
                    <a16:creationId xmlns:a16="http://schemas.microsoft.com/office/drawing/2014/main" id="{CA69653A-6A61-58DC-9EC0-AD152405E5F4}"/>
                  </a:ext>
                </a:extLst>
              </p:cNvPr>
              <p:cNvSpPr/>
              <p:nvPr/>
            </p:nvSpPr>
            <p:spPr>
              <a:xfrm>
                <a:off x="7029439" y="2903209"/>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endParaRPr lang="en-US" sz="1800"/>
              </a:p>
            </p:txBody>
          </p:sp>
          <p:sp>
            <p:nvSpPr>
              <p:cNvPr id="1239" name="Freeform 198">
                <a:extLst>
                  <a:ext uri="{FF2B5EF4-FFF2-40B4-BE49-F238E27FC236}">
                    <a16:creationId xmlns:a16="http://schemas.microsoft.com/office/drawing/2014/main" id="{F80C7A37-2ABE-0FA1-0D8B-AE53B4266A22}"/>
                  </a:ext>
                </a:extLst>
              </p:cNvPr>
              <p:cNvSpPr/>
              <p:nvPr/>
            </p:nvSpPr>
            <p:spPr>
              <a:xfrm>
                <a:off x="7066915" y="2877915"/>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endParaRPr lang="en-US" sz="1800"/>
              </a:p>
            </p:txBody>
          </p:sp>
          <p:sp>
            <p:nvSpPr>
              <p:cNvPr id="1240" name="Freeform 199">
                <a:extLst>
                  <a:ext uri="{FF2B5EF4-FFF2-40B4-BE49-F238E27FC236}">
                    <a16:creationId xmlns:a16="http://schemas.microsoft.com/office/drawing/2014/main" id="{7C94C019-FA75-1C64-9CEB-B4AAC0246E9B}"/>
                  </a:ext>
                </a:extLst>
              </p:cNvPr>
              <p:cNvSpPr/>
              <p:nvPr/>
            </p:nvSpPr>
            <p:spPr>
              <a:xfrm>
                <a:off x="7036773" y="2903209"/>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endParaRPr lang="en-US" sz="1800"/>
              </a:p>
            </p:txBody>
          </p:sp>
          <p:sp>
            <p:nvSpPr>
              <p:cNvPr id="1241" name="Freeform 200">
                <a:extLst>
                  <a:ext uri="{FF2B5EF4-FFF2-40B4-BE49-F238E27FC236}">
                    <a16:creationId xmlns:a16="http://schemas.microsoft.com/office/drawing/2014/main" id="{D074F29B-B238-FABF-2A6B-5428F7C16795}"/>
                  </a:ext>
                </a:extLst>
              </p:cNvPr>
              <p:cNvSpPr/>
              <p:nvPr/>
            </p:nvSpPr>
            <p:spPr>
              <a:xfrm>
                <a:off x="7074238" y="2877915"/>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endParaRPr lang="en-US" sz="1800"/>
              </a:p>
            </p:txBody>
          </p:sp>
          <p:sp>
            <p:nvSpPr>
              <p:cNvPr id="1242" name="Freeform 201">
                <a:extLst>
                  <a:ext uri="{FF2B5EF4-FFF2-40B4-BE49-F238E27FC236}">
                    <a16:creationId xmlns:a16="http://schemas.microsoft.com/office/drawing/2014/main" id="{32EE28B7-6CA5-7F38-8C8A-5818050B1F08}"/>
                  </a:ext>
                </a:extLst>
              </p:cNvPr>
              <p:cNvSpPr/>
              <p:nvPr/>
            </p:nvSpPr>
            <p:spPr>
              <a:xfrm>
                <a:off x="7051421" y="2903209"/>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endParaRPr lang="en-US" sz="1800"/>
              </a:p>
            </p:txBody>
          </p:sp>
          <p:sp>
            <p:nvSpPr>
              <p:cNvPr id="1243" name="Freeform 202">
                <a:extLst>
                  <a:ext uri="{FF2B5EF4-FFF2-40B4-BE49-F238E27FC236}">
                    <a16:creationId xmlns:a16="http://schemas.microsoft.com/office/drawing/2014/main" id="{38A3E37F-EDBF-3BCC-3441-288D6AE0E005}"/>
                  </a:ext>
                </a:extLst>
              </p:cNvPr>
              <p:cNvSpPr/>
              <p:nvPr/>
            </p:nvSpPr>
            <p:spPr>
              <a:xfrm>
                <a:off x="7088896" y="2877915"/>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endParaRPr lang="en-US" sz="1800"/>
              </a:p>
            </p:txBody>
          </p:sp>
          <p:sp>
            <p:nvSpPr>
              <p:cNvPr id="1244" name="Freeform 203">
                <a:extLst>
                  <a:ext uri="{FF2B5EF4-FFF2-40B4-BE49-F238E27FC236}">
                    <a16:creationId xmlns:a16="http://schemas.microsoft.com/office/drawing/2014/main" id="{7EFAA566-0F7D-3139-E51C-72AF2A9F387E}"/>
                  </a:ext>
                </a:extLst>
              </p:cNvPr>
              <p:cNvSpPr/>
              <p:nvPr/>
            </p:nvSpPr>
            <p:spPr>
              <a:xfrm>
                <a:off x="7058585" y="2903209"/>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endParaRPr lang="en-US" sz="1800"/>
              </a:p>
            </p:txBody>
          </p:sp>
          <p:sp>
            <p:nvSpPr>
              <p:cNvPr id="1245" name="Freeform 204">
                <a:extLst>
                  <a:ext uri="{FF2B5EF4-FFF2-40B4-BE49-F238E27FC236}">
                    <a16:creationId xmlns:a16="http://schemas.microsoft.com/office/drawing/2014/main" id="{5B5103A1-AC4B-5E88-54DF-0161F581A22B}"/>
                  </a:ext>
                </a:extLst>
              </p:cNvPr>
              <p:cNvSpPr/>
              <p:nvPr/>
            </p:nvSpPr>
            <p:spPr>
              <a:xfrm>
                <a:off x="7096061" y="2877915"/>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endParaRPr lang="en-US" sz="1800"/>
              </a:p>
            </p:txBody>
          </p:sp>
          <p:sp>
            <p:nvSpPr>
              <p:cNvPr id="1246" name="Freeform 205">
                <a:extLst>
                  <a:ext uri="{FF2B5EF4-FFF2-40B4-BE49-F238E27FC236}">
                    <a16:creationId xmlns:a16="http://schemas.microsoft.com/office/drawing/2014/main" id="{2F37A055-EACD-3E77-767E-0A739F646F38}"/>
                  </a:ext>
                </a:extLst>
              </p:cNvPr>
              <p:cNvSpPr/>
              <p:nvPr/>
            </p:nvSpPr>
            <p:spPr>
              <a:xfrm>
                <a:off x="7065920" y="2923783"/>
                <a:ext cx="74930" cy="10583"/>
              </a:xfrm>
              <a:custGeom>
                <a:avLst/>
                <a:gdLst>
                  <a:gd name="connsiteX0" fmla="*/ 0 w 74930"/>
                  <a:gd name="connsiteY0" fmla="*/ 0 h 10583"/>
                  <a:gd name="connsiteX1" fmla="*/ 74930 w 74930"/>
                  <a:gd name="connsiteY1" fmla="*/ 0 h 10583"/>
                </a:gdLst>
                <a:ahLst/>
                <a:cxnLst>
                  <a:cxn ang="0">
                    <a:pos x="connsiteX0" y="connsiteY0"/>
                  </a:cxn>
                  <a:cxn ang="0">
                    <a:pos x="connsiteX1" y="connsiteY1"/>
                  </a:cxn>
                </a:cxnLst>
                <a:rect l="l" t="t" r="r" b="b"/>
                <a:pathLst>
                  <a:path w="74930" h="10583">
                    <a:moveTo>
                      <a:pt x="0" y="0"/>
                    </a:moveTo>
                    <a:lnTo>
                      <a:pt x="74930" y="0"/>
                    </a:lnTo>
                  </a:path>
                </a:pathLst>
              </a:custGeom>
              <a:ln w="12700" cap="sq">
                <a:solidFill>
                  <a:srgbClr val="002985"/>
                </a:solidFill>
                <a:prstDash val="solid"/>
                <a:miter/>
              </a:ln>
            </p:spPr>
            <p:txBody>
              <a:bodyPr rtlCol="0" anchor="ctr"/>
              <a:lstStyle/>
              <a:p>
                <a:endParaRPr lang="en-US" sz="1800"/>
              </a:p>
            </p:txBody>
          </p:sp>
          <p:sp>
            <p:nvSpPr>
              <p:cNvPr id="1247" name="Freeform 206">
                <a:extLst>
                  <a:ext uri="{FF2B5EF4-FFF2-40B4-BE49-F238E27FC236}">
                    <a16:creationId xmlns:a16="http://schemas.microsoft.com/office/drawing/2014/main" id="{93D5A5BA-E6B1-0444-A132-17A53AE07992}"/>
                  </a:ext>
                </a:extLst>
              </p:cNvPr>
              <p:cNvSpPr/>
              <p:nvPr/>
            </p:nvSpPr>
            <p:spPr>
              <a:xfrm>
                <a:off x="7103385" y="2898489"/>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endParaRPr lang="en-US" sz="1800"/>
              </a:p>
            </p:txBody>
          </p:sp>
          <p:sp>
            <p:nvSpPr>
              <p:cNvPr id="1248" name="Freeform 207">
                <a:extLst>
                  <a:ext uri="{FF2B5EF4-FFF2-40B4-BE49-F238E27FC236}">
                    <a16:creationId xmlns:a16="http://schemas.microsoft.com/office/drawing/2014/main" id="{1DD2FE92-6996-523A-88BE-01F81BCA3D80}"/>
                  </a:ext>
                </a:extLst>
              </p:cNvPr>
              <p:cNvSpPr/>
              <p:nvPr/>
            </p:nvSpPr>
            <p:spPr>
              <a:xfrm>
                <a:off x="7080567" y="2923783"/>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endParaRPr lang="en-US" sz="1800"/>
              </a:p>
            </p:txBody>
          </p:sp>
          <p:sp>
            <p:nvSpPr>
              <p:cNvPr id="1249" name="Freeform 208">
                <a:extLst>
                  <a:ext uri="{FF2B5EF4-FFF2-40B4-BE49-F238E27FC236}">
                    <a16:creationId xmlns:a16="http://schemas.microsoft.com/office/drawing/2014/main" id="{58706475-A9E7-F6E1-503D-3B518A1487D2}"/>
                  </a:ext>
                </a:extLst>
              </p:cNvPr>
              <p:cNvSpPr/>
              <p:nvPr/>
            </p:nvSpPr>
            <p:spPr>
              <a:xfrm>
                <a:off x="7118043" y="2898489"/>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endParaRPr lang="en-US" sz="1800"/>
              </a:p>
            </p:txBody>
          </p:sp>
          <p:sp>
            <p:nvSpPr>
              <p:cNvPr id="1250" name="Freeform 209">
                <a:extLst>
                  <a:ext uri="{FF2B5EF4-FFF2-40B4-BE49-F238E27FC236}">
                    <a16:creationId xmlns:a16="http://schemas.microsoft.com/office/drawing/2014/main" id="{38343560-32C3-293B-D1EA-A4166FD8775D}"/>
                  </a:ext>
                </a:extLst>
              </p:cNvPr>
              <p:cNvSpPr/>
              <p:nvPr/>
            </p:nvSpPr>
            <p:spPr>
              <a:xfrm>
                <a:off x="7336197" y="2986955"/>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endParaRPr lang="en-US" sz="1800"/>
              </a:p>
            </p:txBody>
          </p:sp>
          <p:sp>
            <p:nvSpPr>
              <p:cNvPr id="1251" name="Freeform 210">
                <a:extLst>
                  <a:ext uri="{FF2B5EF4-FFF2-40B4-BE49-F238E27FC236}">
                    <a16:creationId xmlns:a16="http://schemas.microsoft.com/office/drawing/2014/main" id="{02D8137D-8123-9F1A-99CA-6278F425B613}"/>
                  </a:ext>
                </a:extLst>
              </p:cNvPr>
              <p:cNvSpPr/>
              <p:nvPr/>
            </p:nvSpPr>
            <p:spPr>
              <a:xfrm>
                <a:off x="7373662" y="2961661"/>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endParaRPr lang="en-US" sz="1800"/>
              </a:p>
            </p:txBody>
          </p:sp>
          <p:sp>
            <p:nvSpPr>
              <p:cNvPr id="1252" name="Freeform 211">
                <a:extLst>
                  <a:ext uri="{FF2B5EF4-FFF2-40B4-BE49-F238E27FC236}">
                    <a16:creationId xmlns:a16="http://schemas.microsoft.com/office/drawing/2014/main" id="{5391B31A-CB53-35E4-BF53-A06CC3AF6A5E}"/>
                  </a:ext>
                </a:extLst>
              </p:cNvPr>
              <p:cNvSpPr/>
              <p:nvPr/>
            </p:nvSpPr>
            <p:spPr>
              <a:xfrm>
                <a:off x="7350855" y="2986955"/>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endParaRPr lang="en-US" sz="1800"/>
              </a:p>
            </p:txBody>
          </p:sp>
          <p:sp>
            <p:nvSpPr>
              <p:cNvPr id="1253" name="Freeform 212">
                <a:extLst>
                  <a:ext uri="{FF2B5EF4-FFF2-40B4-BE49-F238E27FC236}">
                    <a16:creationId xmlns:a16="http://schemas.microsoft.com/office/drawing/2014/main" id="{665146BE-D41D-59AC-CCB8-5103DDD1F480}"/>
                  </a:ext>
                </a:extLst>
              </p:cNvPr>
              <p:cNvSpPr/>
              <p:nvPr/>
            </p:nvSpPr>
            <p:spPr>
              <a:xfrm>
                <a:off x="7388320" y="2961661"/>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endParaRPr lang="en-US" sz="1800"/>
              </a:p>
            </p:txBody>
          </p:sp>
          <p:sp>
            <p:nvSpPr>
              <p:cNvPr id="1254" name="Freeform 213">
                <a:extLst>
                  <a:ext uri="{FF2B5EF4-FFF2-40B4-BE49-F238E27FC236}">
                    <a16:creationId xmlns:a16="http://schemas.microsoft.com/office/drawing/2014/main" id="{1C48D4BC-7A03-E140-82F1-D32EADFD1C7D}"/>
                  </a:ext>
                </a:extLst>
              </p:cNvPr>
              <p:cNvSpPr/>
              <p:nvPr/>
            </p:nvSpPr>
            <p:spPr>
              <a:xfrm>
                <a:off x="7358178" y="2986955"/>
                <a:ext cx="74940" cy="10583"/>
              </a:xfrm>
              <a:custGeom>
                <a:avLst/>
                <a:gdLst>
                  <a:gd name="connsiteX0" fmla="*/ 0 w 74940"/>
                  <a:gd name="connsiteY0" fmla="*/ 0 h 10583"/>
                  <a:gd name="connsiteX1" fmla="*/ 74940 w 74940"/>
                  <a:gd name="connsiteY1" fmla="*/ 0 h 10583"/>
                </a:gdLst>
                <a:ahLst/>
                <a:cxnLst>
                  <a:cxn ang="0">
                    <a:pos x="connsiteX0" y="connsiteY0"/>
                  </a:cxn>
                  <a:cxn ang="0">
                    <a:pos x="connsiteX1" y="connsiteY1"/>
                  </a:cxn>
                </a:cxnLst>
                <a:rect l="l" t="t" r="r" b="b"/>
                <a:pathLst>
                  <a:path w="74940" h="10583">
                    <a:moveTo>
                      <a:pt x="0" y="0"/>
                    </a:moveTo>
                    <a:lnTo>
                      <a:pt x="74940" y="0"/>
                    </a:lnTo>
                  </a:path>
                </a:pathLst>
              </a:custGeom>
              <a:ln w="12700" cap="sq">
                <a:solidFill>
                  <a:srgbClr val="002985"/>
                </a:solidFill>
                <a:prstDash val="solid"/>
                <a:miter/>
              </a:ln>
            </p:spPr>
            <p:txBody>
              <a:bodyPr rtlCol="0" anchor="ctr"/>
              <a:lstStyle/>
              <a:p>
                <a:endParaRPr lang="en-US" sz="1800"/>
              </a:p>
            </p:txBody>
          </p:sp>
          <p:sp>
            <p:nvSpPr>
              <p:cNvPr id="1255" name="Freeform 214">
                <a:extLst>
                  <a:ext uri="{FF2B5EF4-FFF2-40B4-BE49-F238E27FC236}">
                    <a16:creationId xmlns:a16="http://schemas.microsoft.com/office/drawing/2014/main" id="{2A9E82A6-3A28-A054-18C2-3ABE0B2BCFF5}"/>
                  </a:ext>
                </a:extLst>
              </p:cNvPr>
              <p:cNvSpPr/>
              <p:nvPr/>
            </p:nvSpPr>
            <p:spPr>
              <a:xfrm>
                <a:off x="7395654" y="2961661"/>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endParaRPr lang="en-US" sz="1800"/>
              </a:p>
            </p:txBody>
          </p:sp>
          <p:sp>
            <p:nvSpPr>
              <p:cNvPr id="1256" name="Freeform 215">
                <a:extLst>
                  <a:ext uri="{FF2B5EF4-FFF2-40B4-BE49-F238E27FC236}">
                    <a16:creationId xmlns:a16="http://schemas.microsoft.com/office/drawing/2014/main" id="{91ACD9E0-2779-66D8-47DB-BD143E3864C4}"/>
                  </a:ext>
                </a:extLst>
              </p:cNvPr>
              <p:cNvSpPr/>
              <p:nvPr/>
            </p:nvSpPr>
            <p:spPr>
              <a:xfrm>
                <a:off x="7365502" y="2986955"/>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endParaRPr lang="en-US" sz="1800"/>
              </a:p>
            </p:txBody>
          </p:sp>
          <p:sp>
            <p:nvSpPr>
              <p:cNvPr id="1257" name="Freeform 216">
                <a:extLst>
                  <a:ext uri="{FF2B5EF4-FFF2-40B4-BE49-F238E27FC236}">
                    <a16:creationId xmlns:a16="http://schemas.microsoft.com/office/drawing/2014/main" id="{E7998621-7F1E-1319-D2AC-5D79F61D2B4C}"/>
                  </a:ext>
                </a:extLst>
              </p:cNvPr>
              <p:cNvSpPr/>
              <p:nvPr/>
            </p:nvSpPr>
            <p:spPr>
              <a:xfrm>
                <a:off x="7402978" y="2961661"/>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endParaRPr lang="en-US" sz="1800"/>
              </a:p>
            </p:txBody>
          </p:sp>
          <p:sp>
            <p:nvSpPr>
              <p:cNvPr id="1258" name="Freeform 217">
                <a:extLst>
                  <a:ext uri="{FF2B5EF4-FFF2-40B4-BE49-F238E27FC236}">
                    <a16:creationId xmlns:a16="http://schemas.microsoft.com/office/drawing/2014/main" id="{501D7DB2-ECAC-6589-5895-05D72B3E325D}"/>
                  </a:ext>
                </a:extLst>
              </p:cNvPr>
              <p:cNvSpPr/>
              <p:nvPr/>
            </p:nvSpPr>
            <p:spPr>
              <a:xfrm>
                <a:off x="7365502" y="2986955"/>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endParaRPr lang="en-US" sz="1800"/>
              </a:p>
            </p:txBody>
          </p:sp>
          <p:sp>
            <p:nvSpPr>
              <p:cNvPr id="1259" name="Freeform 218">
                <a:extLst>
                  <a:ext uri="{FF2B5EF4-FFF2-40B4-BE49-F238E27FC236}">
                    <a16:creationId xmlns:a16="http://schemas.microsoft.com/office/drawing/2014/main" id="{ECCBAB71-4EC3-AC1F-7C15-E3E63B31D79A}"/>
                  </a:ext>
                </a:extLst>
              </p:cNvPr>
              <p:cNvSpPr/>
              <p:nvPr/>
            </p:nvSpPr>
            <p:spPr>
              <a:xfrm>
                <a:off x="7402978" y="2961661"/>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endParaRPr lang="en-US" sz="1800"/>
              </a:p>
            </p:txBody>
          </p:sp>
          <p:sp>
            <p:nvSpPr>
              <p:cNvPr id="1260" name="Freeform 219">
                <a:extLst>
                  <a:ext uri="{FF2B5EF4-FFF2-40B4-BE49-F238E27FC236}">
                    <a16:creationId xmlns:a16="http://schemas.microsoft.com/office/drawing/2014/main" id="{F05C0CD3-7D2A-B9ED-3A32-0914B0667919}"/>
                  </a:ext>
                </a:extLst>
              </p:cNvPr>
              <p:cNvSpPr/>
              <p:nvPr/>
            </p:nvSpPr>
            <p:spPr>
              <a:xfrm>
                <a:off x="7416630" y="2986955"/>
                <a:ext cx="74940" cy="10583"/>
              </a:xfrm>
              <a:custGeom>
                <a:avLst/>
                <a:gdLst>
                  <a:gd name="connsiteX0" fmla="*/ 0 w 74940"/>
                  <a:gd name="connsiteY0" fmla="*/ 0 h 10583"/>
                  <a:gd name="connsiteX1" fmla="*/ 74940 w 74940"/>
                  <a:gd name="connsiteY1" fmla="*/ 0 h 10583"/>
                </a:gdLst>
                <a:ahLst/>
                <a:cxnLst>
                  <a:cxn ang="0">
                    <a:pos x="connsiteX0" y="connsiteY0"/>
                  </a:cxn>
                  <a:cxn ang="0">
                    <a:pos x="connsiteX1" y="connsiteY1"/>
                  </a:cxn>
                </a:cxnLst>
                <a:rect l="l" t="t" r="r" b="b"/>
                <a:pathLst>
                  <a:path w="74940" h="10583">
                    <a:moveTo>
                      <a:pt x="0" y="0"/>
                    </a:moveTo>
                    <a:lnTo>
                      <a:pt x="74940" y="0"/>
                    </a:lnTo>
                  </a:path>
                </a:pathLst>
              </a:custGeom>
              <a:ln w="12700" cap="sq">
                <a:solidFill>
                  <a:srgbClr val="002985"/>
                </a:solidFill>
                <a:prstDash val="solid"/>
                <a:miter/>
              </a:ln>
            </p:spPr>
            <p:txBody>
              <a:bodyPr rtlCol="0" anchor="ctr"/>
              <a:lstStyle/>
              <a:p>
                <a:endParaRPr lang="en-US" sz="1800"/>
              </a:p>
            </p:txBody>
          </p:sp>
          <p:sp>
            <p:nvSpPr>
              <p:cNvPr id="1261" name="Freeform 220">
                <a:extLst>
                  <a:ext uri="{FF2B5EF4-FFF2-40B4-BE49-F238E27FC236}">
                    <a16:creationId xmlns:a16="http://schemas.microsoft.com/office/drawing/2014/main" id="{D059B216-CCB8-A294-A981-C90B0889E21E}"/>
                  </a:ext>
                </a:extLst>
              </p:cNvPr>
              <p:cNvSpPr/>
              <p:nvPr/>
            </p:nvSpPr>
            <p:spPr>
              <a:xfrm>
                <a:off x="7454106" y="2961661"/>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endParaRPr lang="en-US" sz="1800"/>
              </a:p>
            </p:txBody>
          </p:sp>
          <p:sp>
            <p:nvSpPr>
              <p:cNvPr id="1262" name="Freeform 221">
                <a:extLst>
                  <a:ext uri="{FF2B5EF4-FFF2-40B4-BE49-F238E27FC236}">
                    <a16:creationId xmlns:a16="http://schemas.microsoft.com/office/drawing/2014/main" id="{6BA693E5-9B1A-ABF3-30CF-8D44D58D8D03}"/>
                  </a:ext>
                </a:extLst>
              </p:cNvPr>
              <p:cNvSpPr/>
              <p:nvPr/>
            </p:nvSpPr>
            <p:spPr>
              <a:xfrm>
                <a:off x="7526210" y="2986955"/>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endParaRPr lang="en-US" sz="1800"/>
              </a:p>
            </p:txBody>
          </p:sp>
          <p:sp>
            <p:nvSpPr>
              <p:cNvPr id="1263" name="Freeform 222">
                <a:extLst>
                  <a:ext uri="{FF2B5EF4-FFF2-40B4-BE49-F238E27FC236}">
                    <a16:creationId xmlns:a16="http://schemas.microsoft.com/office/drawing/2014/main" id="{089A1ECD-937A-08B8-4346-D6A69F031E3C}"/>
                  </a:ext>
                </a:extLst>
              </p:cNvPr>
              <p:cNvSpPr/>
              <p:nvPr/>
            </p:nvSpPr>
            <p:spPr>
              <a:xfrm>
                <a:off x="7563686" y="2961661"/>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endParaRPr lang="en-US" sz="1800"/>
              </a:p>
            </p:txBody>
          </p:sp>
          <p:sp>
            <p:nvSpPr>
              <p:cNvPr id="1264" name="Freeform 223">
                <a:extLst>
                  <a:ext uri="{FF2B5EF4-FFF2-40B4-BE49-F238E27FC236}">
                    <a16:creationId xmlns:a16="http://schemas.microsoft.com/office/drawing/2014/main" id="{5A6A8BA4-0A48-1F1E-9BD8-9DC246230CE1}"/>
                  </a:ext>
                </a:extLst>
              </p:cNvPr>
              <p:cNvSpPr/>
              <p:nvPr/>
            </p:nvSpPr>
            <p:spPr>
              <a:xfrm>
                <a:off x="7599320" y="3009889"/>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endParaRPr lang="en-US" sz="1800"/>
              </a:p>
            </p:txBody>
          </p:sp>
          <p:sp>
            <p:nvSpPr>
              <p:cNvPr id="1265" name="Freeform 224">
                <a:extLst>
                  <a:ext uri="{FF2B5EF4-FFF2-40B4-BE49-F238E27FC236}">
                    <a16:creationId xmlns:a16="http://schemas.microsoft.com/office/drawing/2014/main" id="{516A1BEF-27B5-B254-2442-0C4AFE829DB4}"/>
                  </a:ext>
                </a:extLst>
              </p:cNvPr>
              <p:cNvSpPr/>
              <p:nvPr/>
            </p:nvSpPr>
            <p:spPr>
              <a:xfrm>
                <a:off x="7636785" y="2984595"/>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endParaRPr lang="en-US" sz="1800"/>
              </a:p>
            </p:txBody>
          </p:sp>
          <p:sp>
            <p:nvSpPr>
              <p:cNvPr id="1266" name="Freeform 225">
                <a:extLst>
                  <a:ext uri="{FF2B5EF4-FFF2-40B4-BE49-F238E27FC236}">
                    <a16:creationId xmlns:a16="http://schemas.microsoft.com/office/drawing/2014/main" id="{10517339-0B9D-0C5C-0A30-0BD62C621390}"/>
                  </a:ext>
                </a:extLst>
              </p:cNvPr>
              <p:cNvSpPr/>
              <p:nvPr/>
            </p:nvSpPr>
            <p:spPr>
              <a:xfrm>
                <a:off x="7599320" y="3009889"/>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endParaRPr lang="en-US" sz="1800"/>
              </a:p>
            </p:txBody>
          </p:sp>
          <p:sp>
            <p:nvSpPr>
              <p:cNvPr id="1267" name="Freeform 226">
                <a:extLst>
                  <a:ext uri="{FF2B5EF4-FFF2-40B4-BE49-F238E27FC236}">
                    <a16:creationId xmlns:a16="http://schemas.microsoft.com/office/drawing/2014/main" id="{94ADF026-F8F7-52D7-98CF-23507F97D17F}"/>
                  </a:ext>
                </a:extLst>
              </p:cNvPr>
              <p:cNvSpPr/>
              <p:nvPr/>
            </p:nvSpPr>
            <p:spPr>
              <a:xfrm>
                <a:off x="7636785" y="2984595"/>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endParaRPr lang="en-US" sz="1800"/>
              </a:p>
            </p:txBody>
          </p:sp>
          <p:sp>
            <p:nvSpPr>
              <p:cNvPr id="1268" name="Freeform 227">
                <a:extLst>
                  <a:ext uri="{FF2B5EF4-FFF2-40B4-BE49-F238E27FC236}">
                    <a16:creationId xmlns:a16="http://schemas.microsoft.com/office/drawing/2014/main" id="{A163639F-E048-E384-378C-AB82AF136FD5}"/>
                  </a:ext>
                </a:extLst>
              </p:cNvPr>
              <p:cNvSpPr/>
              <p:nvPr/>
            </p:nvSpPr>
            <p:spPr>
              <a:xfrm>
                <a:off x="7606643" y="3009889"/>
                <a:ext cx="74940" cy="10583"/>
              </a:xfrm>
              <a:custGeom>
                <a:avLst/>
                <a:gdLst>
                  <a:gd name="connsiteX0" fmla="*/ 0 w 74940"/>
                  <a:gd name="connsiteY0" fmla="*/ 0 h 10583"/>
                  <a:gd name="connsiteX1" fmla="*/ 74940 w 74940"/>
                  <a:gd name="connsiteY1" fmla="*/ 0 h 10583"/>
                </a:gdLst>
                <a:ahLst/>
                <a:cxnLst>
                  <a:cxn ang="0">
                    <a:pos x="connsiteX0" y="connsiteY0"/>
                  </a:cxn>
                  <a:cxn ang="0">
                    <a:pos x="connsiteX1" y="connsiteY1"/>
                  </a:cxn>
                </a:cxnLst>
                <a:rect l="l" t="t" r="r" b="b"/>
                <a:pathLst>
                  <a:path w="74940" h="10583">
                    <a:moveTo>
                      <a:pt x="0" y="0"/>
                    </a:moveTo>
                    <a:lnTo>
                      <a:pt x="74940" y="0"/>
                    </a:lnTo>
                  </a:path>
                </a:pathLst>
              </a:custGeom>
              <a:ln w="12700" cap="sq">
                <a:solidFill>
                  <a:srgbClr val="002985"/>
                </a:solidFill>
                <a:prstDash val="solid"/>
                <a:miter/>
              </a:ln>
            </p:spPr>
            <p:txBody>
              <a:bodyPr rtlCol="0" anchor="ctr"/>
              <a:lstStyle/>
              <a:p>
                <a:endParaRPr lang="en-US" sz="1800"/>
              </a:p>
            </p:txBody>
          </p:sp>
          <p:sp>
            <p:nvSpPr>
              <p:cNvPr id="1269" name="Freeform 228">
                <a:extLst>
                  <a:ext uri="{FF2B5EF4-FFF2-40B4-BE49-F238E27FC236}">
                    <a16:creationId xmlns:a16="http://schemas.microsoft.com/office/drawing/2014/main" id="{2DECA27C-225E-88DD-B685-EF8BB91049CD}"/>
                  </a:ext>
                </a:extLst>
              </p:cNvPr>
              <p:cNvSpPr/>
              <p:nvPr/>
            </p:nvSpPr>
            <p:spPr>
              <a:xfrm>
                <a:off x="7644119" y="2984595"/>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endParaRPr lang="en-US" sz="1800"/>
              </a:p>
            </p:txBody>
          </p:sp>
          <p:sp>
            <p:nvSpPr>
              <p:cNvPr id="1270" name="Freeform 229">
                <a:extLst>
                  <a:ext uri="{FF2B5EF4-FFF2-40B4-BE49-F238E27FC236}">
                    <a16:creationId xmlns:a16="http://schemas.microsoft.com/office/drawing/2014/main" id="{5D325310-286B-12B6-C3FE-38F422056929}"/>
                  </a:ext>
                </a:extLst>
              </p:cNvPr>
              <p:cNvSpPr/>
              <p:nvPr/>
            </p:nvSpPr>
            <p:spPr>
              <a:xfrm>
                <a:off x="7628466" y="3033606"/>
                <a:ext cx="74930" cy="10583"/>
              </a:xfrm>
              <a:custGeom>
                <a:avLst/>
                <a:gdLst>
                  <a:gd name="connsiteX0" fmla="*/ 0 w 74930"/>
                  <a:gd name="connsiteY0" fmla="*/ 0 h 10583"/>
                  <a:gd name="connsiteX1" fmla="*/ 74930 w 74930"/>
                  <a:gd name="connsiteY1" fmla="*/ 0 h 10583"/>
                </a:gdLst>
                <a:ahLst/>
                <a:cxnLst>
                  <a:cxn ang="0">
                    <a:pos x="connsiteX0" y="connsiteY0"/>
                  </a:cxn>
                  <a:cxn ang="0">
                    <a:pos x="connsiteX1" y="connsiteY1"/>
                  </a:cxn>
                </a:cxnLst>
                <a:rect l="l" t="t" r="r" b="b"/>
                <a:pathLst>
                  <a:path w="74930" h="10583">
                    <a:moveTo>
                      <a:pt x="0" y="0"/>
                    </a:moveTo>
                    <a:lnTo>
                      <a:pt x="74930" y="0"/>
                    </a:lnTo>
                  </a:path>
                </a:pathLst>
              </a:custGeom>
              <a:ln w="12700" cap="sq">
                <a:solidFill>
                  <a:srgbClr val="002985"/>
                </a:solidFill>
                <a:prstDash val="solid"/>
                <a:miter/>
              </a:ln>
            </p:spPr>
            <p:txBody>
              <a:bodyPr rtlCol="0" anchor="ctr"/>
              <a:lstStyle/>
              <a:p>
                <a:endParaRPr lang="en-US" sz="1800"/>
              </a:p>
            </p:txBody>
          </p:sp>
          <p:sp>
            <p:nvSpPr>
              <p:cNvPr id="1271" name="Freeform 230">
                <a:extLst>
                  <a:ext uri="{FF2B5EF4-FFF2-40B4-BE49-F238E27FC236}">
                    <a16:creationId xmlns:a16="http://schemas.microsoft.com/office/drawing/2014/main" id="{70C159BC-731D-DDAC-6346-66F4F3043602}"/>
                  </a:ext>
                </a:extLst>
              </p:cNvPr>
              <p:cNvSpPr/>
              <p:nvPr/>
            </p:nvSpPr>
            <p:spPr>
              <a:xfrm>
                <a:off x="7665931" y="3008312"/>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endParaRPr lang="en-US" sz="1800"/>
              </a:p>
            </p:txBody>
          </p:sp>
          <p:sp>
            <p:nvSpPr>
              <p:cNvPr id="1272" name="Freeform 231">
                <a:extLst>
                  <a:ext uri="{FF2B5EF4-FFF2-40B4-BE49-F238E27FC236}">
                    <a16:creationId xmlns:a16="http://schemas.microsoft.com/office/drawing/2014/main" id="{3064B21A-C5B8-4C5C-14DE-0EA5A8CBEDBD}"/>
                  </a:ext>
                </a:extLst>
              </p:cNvPr>
              <p:cNvSpPr/>
              <p:nvPr/>
            </p:nvSpPr>
            <p:spPr>
              <a:xfrm>
                <a:off x="7635790" y="3033606"/>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endParaRPr lang="en-US" sz="1800"/>
              </a:p>
            </p:txBody>
          </p:sp>
          <p:sp>
            <p:nvSpPr>
              <p:cNvPr id="1273" name="Freeform 232">
                <a:extLst>
                  <a:ext uri="{FF2B5EF4-FFF2-40B4-BE49-F238E27FC236}">
                    <a16:creationId xmlns:a16="http://schemas.microsoft.com/office/drawing/2014/main" id="{FE305C84-E7B9-64F5-5DDB-7094F9C81E3C}"/>
                  </a:ext>
                </a:extLst>
              </p:cNvPr>
              <p:cNvSpPr/>
              <p:nvPr/>
            </p:nvSpPr>
            <p:spPr>
              <a:xfrm>
                <a:off x="7673255" y="3008312"/>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endParaRPr lang="en-US" sz="1800"/>
              </a:p>
            </p:txBody>
          </p:sp>
          <p:sp>
            <p:nvSpPr>
              <p:cNvPr id="1274" name="Freeform 233">
                <a:extLst>
                  <a:ext uri="{FF2B5EF4-FFF2-40B4-BE49-F238E27FC236}">
                    <a16:creationId xmlns:a16="http://schemas.microsoft.com/office/drawing/2014/main" id="{F4B92E4E-AA5D-4614-3724-32E9AFA53D99}"/>
                  </a:ext>
                </a:extLst>
              </p:cNvPr>
              <p:cNvSpPr/>
              <p:nvPr/>
            </p:nvSpPr>
            <p:spPr>
              <a:xfrm>
                <a:off x="7679584" y="3033606"/>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endParaRPr lang="en-US" sz="1800"/>
              </a:p>
            </p:txBody>
          </p:sp>
          <p:sp>
            <p:nvSpPr>
              <p:cNvPr id="1275" name="Freeform 234">
                <a:extLst>
                  <a:ext uri="{FF2B5EF4-FFF2-40B4-BE49-F238E27FC236}">
                    <a16:creationId xmlns:a16="http://schemas.microsoft.com/office/drawing/2014/main" id="{8AC29D28-7B47-E2D1-48BA-F6A347B935F8}"/>
                  </a:ext>
                </a:extLst>
              </p:cNvPr>
              <p:cNvSpPr/>
              <p:nvPr/>
            </p:nvSpPr>
            <p:spPr>
              <a:xfrm>
                <a:off x="7717059" y="3008312"/>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endParaRPr lang="en-US" sz="1800"/>
              </a:p>
            </p:txBody>
          </p:sp>
          <p:sp>
            <p:nvSpPr>
              <p:cNvPr id="1276" name="Freeform 235">
                <a:extLst>
                  <a:ext uri="{FF2B5EF4-FFF2-40B4-BE49-F238E27FC236}">
                    <a16:creationId xmlns:a16="http://schemas.microsoft.com/office/drawing/2014/main" id="{CE3E3D61-E207-A1C0-DFF4-BD73C3ACC9A7}"/>
                  </a:ext>
                </a:extLst>
              </p:cNvPr>
              <p:cNvSpPr/>
              <p:nvPr/>
            </p:nvSpPr>
            <p:spPr>
              <a:xfrm>
                <a:off x="7716223" y="3033606"/>
                <a:ext cx="74940" cy="10583"/>
              </a:xfrm>
              <a:custGeom>
                <a:avLst/>
                <a:gdLst>
                  <a:gd name="connsiteX0" fmla="*/ 0 w 74940"/>
                  <a:gd name="connsiteY0" fmla="*/ 0 h 10583"/>
                  <a:gd name="connsiteX1" fmla="*/ 74940 w 74940"/>
                  <a:gd name="connsiteY1" fmla="*/ 0 h 10583"/>
                </a:gdLst>
                <a:ahLst/>
                <a:cxnLst>
                  <a:cxn ang="0">
                    <a:pos x="connsiteX0" y="connsiteY0"/>
                  </a:cxn>
                  <a:cxn ang="0">
                    <a:pos x="connsiteX1" y="connsiteY1"/>
                  </a:cxn>
                </a:cxnLst>
                <a:rect l="l" t="t" r="r" b="b"/>
                <a:pathLst>
                  <a:path w="74940" h="10583">
                    <a:moveTo>
                      <a:pt x="0" y="0"/>
                    </a:moveTo>
                    <a:lnTo>
                      <a:pt x="74940" y="0"/>
                    </a:lnTo>
                  </a:path>
                </a:pathLst>
              </a:custGeom>
              <a:ln w="12700" cap="sq">
                <a:solidFill>
                  <a:srgbClr val="002985"/>
                </a:solidFill>
                <a:prstDash val="solid"/>
                <a:miter/>
              </a:ln>
            </p:spPr>
            <p:txBody>
              <a:bodyPr rtlCol="0" anchor="ctr"/>
              <a:lstStyle/>
              <a:p>
                <a:endParaRPr lang="en-US" sz="1800"/>
              </a:p>
            </p:txBody>
          </p:sp>
          <p:sp>
            <p:nvSpPr>
              <p:cNvPr id="1277" name="Freeform 236">
                <a:extLst>
                  <a:ext uri="{FF2B5EF4-FFF2-40B4-BE49-F238E27FC236}">
                    <a16:creationId xmlns:a16="http://schemas.microsoft.com/office/drawing/2014/main" id="{7750B10A-741C-24C5-4665-6C7EDF644F98}"/>
                  </a:ext>
                </a:extLst>
              </p:cNvPr>
              <p:cNvSpPr/>
              <p:nvPr/>
            </p:nvSpPr>
            <p:spPr>
              <a:xfrm>
                <a:off x="7753699" y="3008312"/>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endParaRPr lang="en-US" sz="1800"/>
              </a:p>
            </p:txBody>
          </p:sp>
          <p:sp>
            <p:nvSpPr>
              <p:cNvPr id="1278" name="Freeform 237">
                <a:extLst>
                  <a:ext uri="{FF2B5EF4-FFF2-40B4-BE49-F238E27FC236}">
                    <a16:creationId xmlns:a16="http://schemas.microsoft.com/office/drawing/2014/main" id="{285B9430-ED6E-4E0B-8CF8-E72FC1302C48}"/>
                  </a:ext>
                </a:extLst>
              </p:cNvPr>
              <p:cNvSpPr/>
              <p:nvPr/>
            </p:nvSpPr>
            <p:spPr>
              <a:xfrm>
                <a:off x="7760017" y="3033606"/>
                <a:ext cx="74940" cy="10583"/>
              </a:xfrm>
              <a:custGeom>
                <a:avLst/>
                <a:gdLst>
                  <a:gd name="connsiteX0" fmla="*/ 0 w 74940"/>
                  <a:gd name="connsiteY0" fmla="*/ 0 h 10583"/>
                  <a:gd name="connsiteX1" fmla="*/ 74940 w 74940"/>
                  <a:gd name="connsiteY1" fmla="*/ 0 h 10583"/>
                </a:gdLst>
                <a:ahLst/>
                <a:cxnLst>
                  <a:cxn ang="0">
                    <a:pos x="connsiteX0" y="connsiteY0"/>
                  </a:cxn>
                  <a:cxn ang="0">
                    <a:pos x="connsiteX1" y="connsiteY1"/>
                  </a:cxn>
                </a:cxnLst>
                <a:rect l="l" t="t" r="r" b="b"/>
                <a:pathLst>
                  <a:path w="74940" h="10583">
                    <a:moveTo>
                      <a:pt x="0" y="0"/>
                    </a:moveTo>
                    <a:lnTo>
                      <a:pt x="74940" y="0"/>
                    </a:lnTo>
                  </a:path>
                </a:pathLst>
              </a:custGeom>
              <a:ln w="12700" cap="sq">
                <a:solidFill>
                  <a:srgbClr val="002985"/>
                </a:solidFill>
                <a:prstDash val="solid"/>
                <a:miter/>
              </a:ln>
            </p:spPr>
            <p:txBody>
              <a:bodyPr rtlCol="0" anchor="ctr"/>
              <a:lstStyle/>
              <a:p>
                <a:endParaRPr lang="en-US" sz="1800"/>
              </a:p>
            </p:txBody>
          </p:sp>
          <p:sp>
            <p:nvSpPr>
              <p:cNvPr id="1279" name="Freeform 238">
                <a:extLst>
                  <a:ext uri="{FF2B5EF4-FFF2-40B4-BE49-F238E27FC236}">
                    <a16:creationId xmlns:a16="http://schemas.microsoft.com/office/drawing/2014/main" id="{E0C6C752-3938-DCC6-5741-3210BC5CF49C}"/>
                  </a:ext>
                </a:extLst>
              </p:cNvPr>
              <p:cNvSpPr/>
              <p:nvPr/>
            </p:nvSpPr>
            <p:spPr>
              <a:xfrm>
                <a:off x="7797493" y="3008312"/>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endParaRPr lang="en-US" sz="1800"/>
              </a:p>
            </p:txBody>
          </p:sp>
          <p:sp>
            <p:nvSpPr>
              <p:cNvPr id="1280" name="Freeform 239">
                <a:extLst>
                  <a:ext uri="{FF2B5EF4-FFF2-40B4-BE49-F238E27FC236}">
                    <a16:creationId xmlns:a16="http://schemas.microsoft.com/office/drawing/2014/main" id="{0A1D2DD7-F506-0E7E-C039-77EA9F26D307}"/>
                  </a:ext>
                </a:extLst>
              </p:cNvPr>
              <p:cNvSpPr/>
              <p:nvPr/>
            </p:nvSpPr>
            <p:spPr>
              <a:xfrm>
                <a:off x="7832968" y="3033606"/>
                <a:ext cx="74929" cy="10583"/>
              </a:xfrm>
              <a:custGeom>
                <a:avLst/>
                <a:gdLst>
                  <a:gd name="connsiteX0" fmla="*/ 0 w 74929"/>
                  <a:gd name="connsiteY0" fmla="*/ 0 h 10583"/>
                  <a:gd name="connsiteX1" fmla="*/ 74930 w 74929"/>
                  <a:gd name="connsiteY1" fmla="*/ 0 h 10583"/>
                </a:gdLst>
                <a:ahLst/>
                <a:cxnLst>
                  <a:cxn ang="0">
                    <a:pos x="connsiteX0" y="connsiteY0"/>
                  </a:cxn>
                  <a:cxn ang="0">
                    <a:pos x="connsiteX1" y="connsiteY1"/>
                  </a:cxn>
                </a:cxnLst>
                <a:rect l="l" t="t" r="r" b="b"/>
                <a:pathLst>
                  <a:path w="74929" h="10583">
                    <a:moveTo>
                      <a:pt x="0" y="0"/>
                    </a:moveTo>
                    <a:lnTo>
                      <a:pt x="74930" y="0"/>
                    </a:lnTo>
                  </a:path>
                </a:pathLst>
              </a:custGeom>
              <a:ln w="12700" cap="sq">
                <a:solidFill>
                  <a:srgbClr val="002985"/>
                </a:solidFill>
                <a:prstDash val="solid"/>
                <a:miter/>
              </a:ln>
            </p:spPr>
            <p:txBody>
              <a:bodyPr rtlCol="0" anchor="ctr"/>
              <a:lstStyle/>
              <a:p>
                <a:endParaRPr lang="en-US" sz="1800"/>
              </a:p>
            </p:txBody>
          </p:sp>
          <p:sp>
            <p:nvSpPr>
              <p:cNvPr id="1281" name="Freeform 240">
                <a:extLst>
                  <a:ext uri="{FF2B5EF4-FFF2-40B4-BE49-F238E27FC236}">
                    <a16:creationId xmlns:a16="http://schemas.microsoft.com/office/drawing/2014/main" id="{69F864C7-3C09-436F-272C-CF548148CE72}"/>
                  </a:ext>
                </a:extLst>
              </p:cNvPr>
              <p:cNvSpPr/>
              <p:nvPr/>
            </p:nvSpPr>
            <p:spPr>
              <a:xfrm>
                <a:off x="7870433" y="3008312"/>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endParaRPr lang="en-US" sz="1800"/>
              </a:p>
            </p:txBody>
          </p:sp>
          <p:sp>
            <p:nvSpPr>
              <p:cNvPr id="1282" name="Freeform 241">
                <a:extLst>
                  <a:ext uri="{FF2B5EF4-FFF2-40B4-BE49-F238E27FC236}">
                    <a16:creationId xmlns:a16="http://schemas.microsoft.com/office/drawing/2014/main" id="{80C2630D-18CA-7E11-A009-8A3975C1CA9A}"/>
                  </a:ext>
                </a:extLst>
              </p:cNvPr>
              <p:cNvSpPr/>
              <p:nvPr/>
            </p:nvSpPr>
            <p:spPr>
              <a:xfrm>
                <a:off x="7876931" y="3033606"/>
                <a:ext cx="74940" cy="10583"/>
              </a:xfrm>
              <a:custGeom>
                <a:avLst/>
                <a:gdLst>
                  <a:gd name="connsiteX0" fmla="*/ 0 w 74940"/>
                  <a:gd name="connsiteY0" fmla="*/ 0 h 10583"/>
                  <a:gd name="connsiteX1" fmla="*/ 74940 w 74940"/>
                  <a:gd name="connsiteY1" fmla="*/ 0 h 10583"/>
                </a:gdLst>
                <a:ahLst/>
                <a:cxnLst>
                  <a:cxn ang="0">
                    <a:pos x="connsiteX0" y="connsiteY0"/>
                  </a:cxn>
                  <a:cxn ang="0">
                    <a:pos x="connsiteX1" y="connsiteY1"/>
                  </a:cxn>
                </a:cxnLst>
                <a:rect l="l" t="t" r="r" b="b"/>
                <a:pathLst>
                  <a:path w="74940" h="10583">
                    <a:moveTo>
                      <a:pt x="0" y="0"/>
                    </a:moveTo>
                    <a:lnTo>
                      <a:pt x="74940" y="0"/>
                    </a:lnTo>
                  </a:path>
                </a:pathLst>
              </a:custGeom>
              <a:ln w="12700" cap="sq">
                <a:solidFill>
                  <a:srgbClr val="002985"/>
                </a:solidFill>
                <a:prstDash val="solid"/>
                <a:miter/>
              </a:ln>
            </p:spPr>
            <p:txBody>
              <a:bodyPr rtlCol="0" anchor="ctr"/>
              <a:lstStyle/>
              <a:p>
                <a:endParaRPr lang="en-US" sz="1800"/>
              </a:p>
            </p:txBody>
          </p:sp>
          <p:sp>
            <p:nvSpPr>
              <p:cNvPr id="1283" name="Freeform 242">
                <a:extLst>
                  <a:ext uri="{FF2B5EF4-FFF2-40B4-BE49-F238E27FC236}">
                    <a16:creationId xmlns:a16="http://schemas.microsoft.com/office/drawing/2014/main" id="{0C7BF992-1237-C617-1BFA-F7E8C469A135}"/>
                  </a:ext>
                </a:extLst>
              </p:cNvPr>
              <p:cNvSpPr/>
              <p:nvPr/>
            </p:nvSpPr>
            <p:spPr>
              <a:xfrm>
                <a:off x="7914396" y="3008312"/>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endParaRPr lang="en-US" sz="1800"/>
              </a:p>
            </p:txBody>
          </p:sp>
          <p:sp>
            <p:nvSpPr>
              <p:cNvPr id="1284" name="Freeform 243">
                <a:extLst>
                  <a:ext uri="{FF2B5EF4-FFF2-40B4-BE49-F238E27FC236}">
                    <a16:creationId xmlns:a16="http://schemas.microsoft.com/office/drawing/2014/main" id="{738C9289-9D60-054C-73EE-FEC23530332A}"/>
                  </a:ext>
                </a:extLst>
              </p:cNvPr>
              <p:cNvSpPr/>
              <p:nvPr/>
            </p:nvSpPr>
            <p:spPr>
              <a:xfrm>
                <a:off x="7884085" y="3033606"/>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endParaRPr lang="en-US" sz="1800"/>
              </a:p>
            </p:txBody>
          </p:sp>
          <p:sp>
            <p:nvSpPr>
              <p:cNvPr id="1285" name="Freeform 244">
                <a:extLst>
                  <a:ext uri="{FF2B5EF4-FFF2-40B4-BE49-F238E27FC236}">
                    <a16:creationId xmlns:a16="http://schemas.microsoft.com/office/drawing/2014/main" id="{B819AD41-8412-7264-7E2C-1C113E610BAE}"/>
                  </a:ext>
                </a:extLst>
              </p:cNvPr>
              <p:cNvSpPr/>
              <p:nvPr/>
            </p:nvSpPr>
            <p:spPr>
              <a:xfrm>
                <a:off x="7921561" y="3008312"/>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endParaRPr lang="en-US" sz="1800"/>
              </a:p>
            </p:txBody>
          </p:sp>
          <p:sp>
            <p:nvSpPr>
              <p:cNvPr id="1286" name="Freeform 245">
                <a:extLst>
                  <a:ext uri="{FF2B5EF4-FFF2-40B4-BE49-F238E27FC236}">
                    <a16:creationId xmlns:a16="http://schemas.microsoft.com/office/drawing/2014/main" id="{A2565AF8-0236-319E-45BA-186E23C81ACC}"/>
                  </a:ext>
                </a:extLst>
              </p:cNvPr>
              <p:cNvSpPr/>
              <p:nvPr/>
            </p:nvSpPr>
            <p:spPr>
              <a:xfrm>
                <a:off x="7891420" y="3033606"/>
                <a:ext cx="74940" cy="10583"/>
              </a:xfrm>
              <a:custGeom>
                <a:avLst/>
                <a:gdLst>
                  <a:gd name="connsiteX0" fmla="*/ 0 w 74940"/>
                  <a:gd name="connsiteY0" fmla="*/ 0 h 10583"/>
                  <a:gd name="connsiteX1" fmla="*/ 74940 w 74940"/>
                  <a:gd name="connsiteY1" fmla="*/ 0 h 10583"/>
                </a:gdLst>
                <a:ahLst/>
                <a:cxnLst>
                  <a:cxn ang="0">
                    <a:pos x="connsiteX0" y="connsiteY0"/>
                  </a:cxn>
                  <a:cxn ang="0">
                    <a:pos x="connsiteX1" y="connsiteY1"/>
                  </a:cxn>
                </a:cxnLst>
                <a:rect l="l" t="t" r="r" b="b"/>
                <a:pathLst>
                  <a:path w="74940" h="10583">
                    <a:moveTo>
                      <a:pt x="0" y="0"/>
                    </a:moveTo>
                    <a:lnTo>
                      <a:pt x="74940" y="0"/>
                    </a:lnTo>
                  </a:path>
                </a:pathLst>
              </a:custGeom>
              <a:ln w="12700" cap="sq">
                <a:solidFill>
                  <a:srgbClr val="002985"/>
                </a:solidFill>
                <a:prstDash val="solid"/>
                <a:miter/>
              </a:ln>
            </p:spPr>
            <p:txBody>
              <a:bodyPr rtlCol="0" anchor="ctr"/>
              <a:lstStyle/>
              <a:p>
                <a:endParaRPr lang="en-US" sz="1800"/>
              </a:p>
            </p:txBody>
          </p:sp>
          <p:sp>
            <p:nvSpPr>
              <p:cNvPr id="1287" name="Freeform 246">
                <a:extLst>
                  <a:ext uri="{FF2B5EF4-FFF2-40B4-BE49-F238E27FC236}">
                    <a16:creationId xmlns:a16="http://schemas.microsoft.com/office/drawing/2014/main" id="{5656AE7E-2CE8-3066-4F26-A6028457F699}"/>
                  </a:ext>
                </a:extLst>
              </p:cNvPr>
              <p:cNvSpPr/>
              <p:nvPr/>
            </p:nvSpPr>
            <p:spPr>
              <a:xfrm>
                <a:off x="7928885" y="3008312"/>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endParaRPr lang="en-US" sz="1800"/>
              </a:p>
            </p:txBody>
          </p:sp>
          <p:sp>
            <p:nvSpPr>
              <p:cNvPr id="1288" name="Freeform 247">
                <a:extLst>
                  <a:ext uri="{FF2B5EF4-FFF2-40B4-BE49-F238E27FC236}">
                    <a16:creationId xmlns:a16="http://schemas.microsoft.com/office/drawing/2014/main" id="{BA63E892-8EAA-460C-0E26-A7F0D25CF896}"/>
                  </a:ext>
                </a:extLst>
              </p:cNvPr>
              <p:cNvSpPr/>
              <p:nvPr/>
            </p:nvSpPr>
            <p:spPr>
              <a:xfrm>
                <a:off x="7928049" y="3087560"/>
                <a:ext cx="74940" cy="10583"/>
              </a:xfrm>
              <a:custGeom>
                <a:avLst/>
                <a:gdLst>
                  <a:gd name="connsiteX0" fmla="*/ 0 w 74940"/>
                  <a:gd name="connsiteY0" fmla="*/ 0 h 10583"/>
                  <a:gd name="connsiteX1" fmla="*/ 74940 w 74940"/>
                  <a:gd name="connsiteY1" fmla="*/ 0 h 10583"/>
                </a:gdLst>
                <a:ahLst/>
                <a:cxnLst>
                  <a:cxn ang="0">
                    <a:pos x="connsiteX0" y="connsiteY0"/>
                  </a:cxn>
                  <a:cxn ang="0">
                    <a:pos x="connsiteX1" y="connsiteY1"/>
                  </a:cxn>
                </a:cxnLst>
                <a:rect l="l" t="t" r="r" b="b"/>
                <a:pathLst>
                  <a:path w="74940" h="10583">
                    <a:moveTo>
                      <a:pt x="0" y="0"/>
                    </a:moveTo>
                    <a:lnTo>
                      <a:pt x="74940" y="0"/>
                    </a:lnTo>
                  </a:path>
                </a:pathLst>
              </a:custGeom>
              <a:ln w="12700" cap="sq">
                <a:solidFill>
                  <a:srgbClr val="002985"/>
                </a:solidFill>
                <a:prstDash val="solid"/>
                <a:miter/>
              </a:ln>
            </p:spPr>
            <p:txBody>
              <a:bodyPr rtlCol="0" anchor="ctr"/>
              <a:lstStyle/>
              <a:p>
                <a:endParaRPr lang="en-US" sz="1800"/>
              </a:p>
            </p:txBody>
          </p:sp>
          <p:sp>
            <p:nvSpPr>
              <p:cNvPr id="1289" name="Freeform 248">
                <a:extLst>
                  <a:ext uri="{FF2B5EF4-FFF2-40B4-BE49-F238E27FC236}">
                    <a16:creationId xmlns:a16="http://schemas.microsoft.com/office/drawing/2014/main" id="{32A8049E-326D-A966-C035-9A0AF8D4AECF}"/>
                  </a:ext>
                </a:extLst>
              </p:cNvPr>
              <p:cNvSpPr/>
              <p:nvPr/>
            </p:nvSpPr>
            <p:spPr>
              <a:xfrm>
                <a:off x="7965524" y="3062276"/>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002985"/>
                </a:solidFill>
                <a:prstDash val="solid"/>
                <a:miter/>
              </a:ln>
            </p:spPr>
            <p:txBody>
              <a:bodyPr rtlCol="0" anchor="ctr"/>
              <a:lstStyle/>
              <a:p>
                <a:endParaRPr lang="en-US" sz="1800"/>
              </a:p>
            </p:txBody>
          </p:sp>
          <p:sp>
            <p:nvSpPr>
              <p:cNvPr id="1290" name="Freeform 249">
                <a:extLst>
                  <a:ext uri="{FF2B5EF4-FFF2-40B4-BE49-F238E27FC236}">
                    <a16:creationId xmlns:a16="http://schemas.microsoft.com/office/drawing/2014/main" id="{53D47941-9D41-FDA4-16E1-41A7B50A2882}"/>
                  </a:ext>
                </a:extLst>
              </p:cNvPr>
              <p:cNvSpPr/>
              <p:nvPr/>
            </p:nvSpPr>
            <p:spPr>
              <a:xfrm>
                <a:off x="7935383" y="3087560"/>
                <a:ext cx="74940" cy="10583"/>
              </a:xfrm>
              <a:custGeom>
                <a:avLst/>
                <a:gdLst>
                  <a:gd name="connsiteX0" fmla="*/ 0 w 74940"/>
                  <a:gd name="connsiteY0" fmla="*/ 0 h 10583"/>
                  <a:gd name="connsiteX1" fmla="*/ 74940 w 74940"/>
                  <a:gd name="connsiteY1" fmla="*/ 0 h 10583"/>
                </a:gdLst>
                <a:ahLst/>
                <a:cxnLst>
                  <a:cxn ang="0">
                    <a:pos x="connsiteX0" y="connsiteY0"/>
                  </a:cxn>
                  <a:cxn ang="0">
                    <a:pos x="connsiteX1" y="connsiteY1"/>
                  </a:cxn>
                </a:cxnLst>
                <a:rect l="l" t="t" r="r" b="b"/>
                <a:pathLst>
                  <a:path w="74940" h="10583">
                    <a:moveTo>
                      <a:pt x="0" y="0"/>
                    </a:moveTo>
                    <a:lnTo>
                      <a:pt x="74940" y="0"/>
                    </a:lnTo>
                  </a:path>
                </a:pathLst>
              </a:custGeom>
              <a:ln w="12700" cap="sq">
                <a:solidFill>
                  <a:srgbClr val="002985"/>
                </a:solidFill>
                <a:prstDash val="solid"/>
                <a:miter/>
              </a:ln>
            </p:spPr>
            <p:txBody>
              <a:bodyPr rtlCol="0" anchor="ctr"/>
              <a:lstStyle/>
              <a:p>
                <a:endParaRPr lang="en-US" sz="1800"/>
              </a:p>
            </p:txBody>
          </p:sp>
          <p:sp>
            <p:nvSpPr>
              <p:cNvPr id="1291" name="Freeform 250">
                <a:extLst>
                  <a:ext uri="{FF2B5EF4-FFF2-40B4-BE49-F238E27FC236}">
                    <a16:creationId xmlns:a16="http://schemas.microsoft.com/office/drawing/2014/main" id="{A458B675-759D-B30E-3044-D773917C215E}"/>
                  </a:ext>
                </a:extLst>
              </p:cNvPr>
              <p:cNvSpPr/>
              <p:nvPr/>
            </p:nvSpPr>
            <p:spPr>
              <a:xfrm>
                <a:off x="7972848" y="3062276"/>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002985"/>
                </a:solidFill>
                <a:prstDash val="solid"/>
                <a:miter/>
              </a:ln>
            </p:spPr>
            <p:txBody>
              <a:bodyPr rtlCol="0" anchor="ctr"/>
              <a:lstStyle/>
              <a:p>
                <a:endParaRPr lang="en-US" sz="1800"/>
              </a:p>
            </p:txBody>
          </p:sp>
          <p:sp>
            <p:nvSpPr>
              <p:cNvPr id="1292" name="Freeform 251">
                <a:extLst>
                  <a:ext uri="{FF2B5EF4-FFF2-40B4-BE49-F238E27FC236}">
                    <a16:creationId xmlns:a16="http://schemas.microsoft.com/office/drawing/2014/main" id="{1682539C-07F2-24CD-8E4B-951025384F36}"/>
                  </a:ext>
                </a:extLst>
              </p:cNvPr>
              <p:cNvSpPr/>
              <p:nvPr/>
            </p:nvSpPr>
            <p:spPr>
              <a:xfrm>
                <a:off x="7942548" y="3087560"/>
                <a:ext cx="74930" cy="10583"/>
              </a:xfrm>
              <a:custGeom>
                <a:avLst/>
                <a:gdLst>
                  <a:gd name="connsiteX0" fmla="*/ 0 w 74930"/>
                  <a:gd name="connsiteY0" fmla="*/ 0 h 10583"/>
                  <a:gd name="connsiteX1" fmla="*/ 74930 w 74930"/>
                  <a:gd name="connsiteY1" fmla="*/ 0 h 10583"/>
                </a:gdLst>
                <a:ahLst/>
                <a:cxnLst>
                  <a:cxn ang="0">
                    <a:pos x="connsiteX0" y="connsiteY0"/>
                  </a:cxn>
                  <a:cxn ang="0">
                    <a:pos x="connsiteX1" y="connsiteY1"/>
                  </a:cxn>
                </a:cxnLst>
                <a:rect l="l" t="t" r="r" b="b"/>
                <a:pathLst>
                  <a:path w="74930" h="10583">
                    <a:moveTo>
                      <a:pt x="0" y="0"/>
                    </a:moveTo>
                    <a:lnTo>
                      <a:pt x="74930" y="0"/>
                    </a:lnTo>
                  </a:path>
                </a:pathLst>
              </a:custGeom>
              <a:ln w="12700" cap="sq">
                <a:solidFill>
                  <a:srgbClr val="002985"/>
                </a:solidFill>
                <a:prstDash val="solid"/>
                <a:miter/>
              </a:ln>
            </p:spPr>
            <p:txBody>
              <a:bodyPr rtlCol="0" anchor="ctr"/>
              <a:lstStyle/>
              <a:p>
                <a:endParaRPr lang="en-US" sz="1800"/>
              </a:p>
            </p:txBody>
          </p:sp>
          <p:sp>
            <p:nvSpPr>
              <p:cNvPr id="1293" name="Freeform 252">
                <a:extLst>
                  <a:ext uri="{FF2B5EF4-FFF2-40B4-BE49-F238E27FC236}">
                    <a16:creationId xmlns:a16="http://schemas.microsoft.com/office/drawing/2014/main" id="{480B0B5B-BDF9-4900-6297-367D49B1FEE4}"/>
                  </a:ext>
                </a:extLst>
              </p:cNvPr>
              <p:cNvSpPr/>
              <p:nvPr/>
            </p:nvSpPr>
            <p:spPr>
              <a:xfrm>
                <a:off x="7980013" y="3062276"/>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002985"/>
                </a:solidFill>
                <a:prstDash val="solid"/>
                <a:miter/>
              </a:ln>
            </p:spPr>
            <p:txBody>
              <a:bodyPr rtlCol="0" anchor="ctr"/>
              <a:lstStyle/>
              <a:p>
                <a:endParaRPr lang="en-US" sz="1800"/>
              </a:p>
            </p:txBody>
          </p:sp>
          <p:sp>
            <p:nvSpPr>
              <p:cNvPr id="1294" name="Freeform 253">
                <a:extLst>
                  <a:ext uri="{FF2B5EF4-FFF2-40B4-BE49-F238E27FC236}">
                    <a16:creationId xmlns:a16="http://schemas.microsoft.com/office/drawing/2014/main" id="{E051A1F9-E021-A2EC-204F-1B552E749A5C}"/>
                  </a:ext>
                </a:extLst>
              </p:cNvPr>
              <p:cNvSpPr/>
              <p:nvPr/>
            </p:nvSpPr>
            <p:spPr>
              <a:xfrm>
                <a:off x="7942548" y="3087560"/>
                <a:ext cx="74930" cy="10583"/>
              </a:xfrm>
              <a:custGeom>
                <a:avLst/>
                <a:gdLst>
                  <a:gd name="connsiteX0" fmla="*/ 0 w 74930"/>
                  <a:gd name="connsiteY0" fmla="*/ 0 h 10583"/>
                  <a:gd name="connsiteX1" fmla="*/ 74930 w 74930"/>
                  <a:gd name="connsiteY1" fmla="*/ 0 h 10583"/>
                </a:gdLst>
                <a:ahLst/>
                <a:cxnLst>
                  <a:cxn ang="0">
                    <a:pos x="connsiteX0" y="connsiteY0"/>
                  </a:cxn>
                  <a:cxn ang="0">
                    <a:pos x="connsiteX1" y="connsiteY1"/>
                  </a:cxn>
                </a:cxnLst>
                <a:rect l="l" t="t" r="r" b="b"/>
                <a:pathLst>
                  <a:path w="74930" h="10583">
                    <a:moveTo>
                      <a:pt x="0" y="0"/>
                    </a:moveTo>
                    <a:lnTo>
                      <a:pt x="74930" y="0"/>
                    </a:lnTo>
                  </a:path>
                </a:pathLst>
              </a:custGeom>
              <a:ln w="12700" cap="sq">
                <a:solidFill>
                  <a:srgbClr val="002985"/>
                </a:solidFill>
                <a:prstDash val="solid"/>
                <a:miter/>
              </a:ln>
            </p:spPr>
            <p:txBody>
              <a:bodyPr rtlCol="0" anchor="ctr"/>
              <a:lstStyle/>
              <a:p>
                <a:endParaRPr lang="en-US" sz="1800"/>
              </a:p>
            </p:txBody>
          </p:sp>
          <p:sp>
            <p:nvSpPr>
              <p:cNvPr id="1295" name="Freeform 254">
                <a:extLst>
                  <a:ext uri="{FF2B5EF4-FFF2-40B4-BE49-F238E27FC236}">
                    <a16:creationId xmlns:a16="http://schemas.microsoft.com/office/drawing/2014/main" id="{5C88B3C3-F1C3-657D-D6CA-30D5D25A8BA5}"/>
                  </a:ext>
                </a:extLst>
              </p:cNvPr>
              <p:cNvSpPr/>
              <p:nvPr/>
            </p:nvSpPr>
            <p:spPr>
              <a:xfrm>
                <a:off x="7980013" y="3062276"/>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002985"/>
                </a:solidFill>
                <a:prstDash val="solid"/>
                <a:miter/>
              </a:ln>
            </p:spPr>
            <p:txBody>
              <a:bodyPr rtlCol="0" anchor="ctr"/>
              <a:lstStyle/>
              <a:p>
                <a:endParaRPr lang="en-US" sz="1800"/>
              </a:p>
            </p:txBody>
          </p:sp>
          <p:sp>
            <p:nvSpPr>
              <p:cNvPr id="1296" name="Freeform 255">
                <a:extLst>
                  <a:ext uri="{FF2B5EF4-FFF2-40B4-BE49-F238E27FC236}">
                    <a16:creationId xmlns:a16="http://schemas.microsoft.com/office/drawing/2014/main" id="{72D3200C-58C4-82C0-7D59-23E83DF037AE}"/>
                  </a:ext>
                </a:extLst>
              </p:cNvPr>
              <p:cNvSpPr/>
              <p:nvPr/>
            </p:nvSpPr>
            <p:spPr>
              <a:xfrm>
                <a:off x="7979177" y="3087560"/>
                <a:ext cx="74940" cy="10583"/>
              </a:xfrm>
              <a:custGeom>
                <a:avLst/>
                <a:gdLst>
                  <a:gd name="connsiteX0" fmla="*/ 0 w 74940"/>
                  <a:gd name="connsiteY0" fmla="*/ 0 h 10583"/>
                  <a:gd name="connsiteX1" fmla="*/ 74940 w 74940"/>
                  <a:gd name="connsiteY1" fmla="*/ 0 h 10583"/>
                </a:gdLst>
                <a:ahLst/>
                <a:cxnLst>
                  <a:cxn ang="0">
                    <a:pos x="connsiteX0" y="connsiteY0"/>
                  </a:cxn>
                  <a:cxn ang="0">
                    <a:pos x="connsiteX1" y="connsiteY1"/>
                  </a:cxn>
                </a:cxnLst>
                <a:rect l="l" t="t" r="r" b="b"/>
                <a:pathLst>
                  <a:path w="74940" h="10583">
                    <a:moveTo>
                      <a:pt x="0" y="0"/>
                    </a:moveTo>
                    <a:lnTo>
                      <a:pt x="74940" y="0"/>
                    </a:lnTo>
                  </a:path>
                </a:pathLst>
              </a:custGeom>
              <a:ln w="12700" cap="sq">
                <a:solidFill>
                  <a:srgbClr val="002985"/>
                </a:solidFill>
                <a:prstDash val="solid"/>
                <a:miter/>
              </a:ln>
            </p:spPr>
            <p:txBody>
              <a:bodyPr rtlCol="0" anchor="ctr"/>
              <a:lstStyle/>
              <a:p>
                <a:endParaRPr lang="en-US" sz="1800"/>
              </a:p>
            </p:txBody>
          </p:sp>
          <p:sp>
            <p:nvSpPr>
              <p:cNvPr id="1297" name="Freeform 256">
                <a:extLst>
                  <a:ext uri="{FF2B5EF4-FFF2-40B4-BE49-F238E27FC236}">
                    <a16:creationId xmlns:a16="http://schemas.microsoft.com/office/drawing/2014/main" id="{94212A6B-24B3-8824-23AE-89B623D9A7C7}"/>
                  </a:ext>
                </a:extLst>
              </p:cNvPr>
              <p:cNvSpPr/>
              <p:nvPr/>
            </p:nvSpPr>
            <p:spPr>
              <a:xfrm>
                <a:off x="8016652" y="3062276"/>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002985"/>
                </a:solidFill>
                <a:prstDash val="solid"/>
                <a:miter/>
              </a:ln>
            </p:spPr>
            <p:txBody>
              <a:bodyPr rtlCol="0" anchor="ctr"/>
              <a:lstStyle/>
              <a:p>
                <a:endParaRPr lang="en-US" sz="1800"/>
              </a:p>
            </p:txBody>
          </p:sp>
          <p:sp>
            <p:nvSpPr>
              <p:cNvPr id="1298" name="Freeform 257">
                <a:extLst>
                  <a:ext uri="{FF2B5EF4-FFF2-40B4-BE49-F238E27FC236}">
                    <a16:creationId xmlns:a16="http://schemas.microsoft.com/office/drawing/2014/main" id="{6F131E13-682E-15EA-65BC-4CF4E6C83E7F}"/>
                  </a:ext>
                </a:extLst>
              </p:cNvPr>
              <p:cNvSpPr/>
              <p:nvPr/>
            </p:nvSpPr>
            <p:spPr>
              <a:xfrm>
                <a:off x="7993835" y="3087560"/>
                <a:ext cx="74940" cy="10583"/>
              </a:xfrm>
              <a:custGeom>
                <a:avLst/>
                <a:gdLst>
                  <a:gd name="connsiteX0" fmla="*/ 0 w 74940"/>
                  <a:gd name="connsiteY0" fmla="*/ 0 h 10583"/>
                  <a:gd name="connsiteX1" fmla="*/ 74940 w 74940"/>
                  <a:gd name="connsiteY1" fmla="*/ 0 h 10583"/>
                </a:gdLst>
                <a:ahLst/>
                <a:cxnLst>
                  <a:cxn ang="0">
                    <a:pos x="connsiteX0" y="connsiteY0"/>
                  </a:cxn>
                  <a:cxn ang="0">
                    <a:pos x="connsiteX1" y="connsiteY1"/>
                  </a:cxn>
                </a:cxnLst>
                <a:rect l="l" t="t" r="r" b="b"/>
                <a:pathLst>
                  <a:path w="74940" h="10583">
                    <a:moveTo>
                      <a:pt x="0" y="0"/>
                    </a:moveTo>
                    <a:lnTo>
                      <a:pt x="74940" y="0"/>
                    </a:lnTo>
                  </a:path>
                </a:pathLst>
              </a:custGeom>
              <a:ln w="12700" cap="sq">
                <a:solidFill>
                  <a:srgbClr val="002985"/>
                </a:solidFill>
                <a:prstDash val="solid"/>
                <a:miter/>
              </a:ln>
            </p:spPr>
            <p:txBody>
              <a:bodyPr rtlCol="0" anchor="ctr"/>
              <a:lstStyle/>
              <a:p>
                <a:endParaRPr lang="en-US" sz="1800"/>
              </a:p>
            </p:txBody>
          </p:sp>
          <p:sp>
            <p:nvSpPr>
              <p:cNvPr id="1299" name="Freeform 258">
                <a:extLst>
                  <a:ext uri="{FF2B5EF4-FFF2-40B4-BE49-F238E27FC236}">
                    <a16:creationId xmlns:a16="http://schemas.microsoft.com/office/drawing/2014/main" id="{C3095600-7162-D7EC-1A34-D952774DD9B1}"/>
                  </a:ext>
                </a:extLst>
              </p:cNvPr>
              <p:cNvSpPr/>
              <p:nvPr/>
            </p:nvSpPr>
            <p:spPr>
              <a:xfrm>
                <a:off x="8031300" y="3062276"/>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002985"/>
                </a:solidFill>
                <a:prstDash val="solid"/>
                <a:miter/>
              </a:ln>
            </p:spPr>
            <p:txBody>
              <a:bodyPr rtlCol="0" anchor="ctr"/>
              <a:lstStyle/>
              <a:p>
                <a:endParaRPr lang="en-US" sz="1800"/>
              </a:p>
            </p:txBody>
          </p:sp>
          <p:sp>
            <p:nvSpPr>
              <p:cNvPr id="1300" name="Freeform 259">
                <a:extLst>
                  <a:ext uri="{FF2B5EF4-FFF2-40B4-BE49-F238E27FC236}">
                    <a16:creationId xmlns:a16="http://schemas.microsoft.com/office/drawing/2014/main" id="{16558017-E766-3CAC-48E0-276238A37E21}"/>
                  </a:ext>
                </a:extLst>
              </p:cNvPr>
              <p:cNvSpPr/>
              <p:nvPr/>
            </p:nvSpPr>
            <p:spPr>
              <a:xfrm>
                <a:off x="8030305" y="3087560"/>
                <a:ext cx="74940" cy="10583"/>
              </a:xfrm>
              <a:custGeom>
                <a:avLst/>
                <a:gdLst>
                  <a:gd name="connsiteX0" fmla="*/ 0 w 74940"/>
                  <a:gd name="connsiteY0" fmla="*/ 0 h 10583"/>
                  <a:gd name="connsiteX1" fmla="*/ 74940 w 74940"/>
                  <a:gd name="connsiteY1" fmla="*/ 0 h 10583"/>
                </a:gdLst>
                <a:ahLst/>
                <a:cxnLst>
                  <a:cxn ang="0">
                    <a:pos x="connsiteX0" y="connsiteY0"/>
                  </a:cxn>
                  <a:cxn ang="0">
                    <a:pos x="connsiteX1" y="connsiteY1"/>
                  </a:cxn>
                </a:cxnLst>
                <a:rect l="l" t="t" r="r" b="b"/>
                <a:pathLst>
                  <a:path w="74940" h="10583">
                    <a:moveTo>
                      <a:pt x="0" y="0"/>
                    </a:moveTo>
                    <a:lnTo>
                      <a:pt x="74940" y="0"/>
                    </a:lnTo>
                  </a:path>
                </a:pathLst>
              </a:custGeom>
              <a:ln w="12700" cap="sq">
                <a:solidFill>
                  <a:srgbClr val="002985"/>
                </a:solidFill>
                <a:prstDash val="solid"/>
                <a:miter/>
              </a:ln>
            </p:spPr>
            <p:txBody>
              <a:bodyPr rtlCol="0" anchor="ctr"/>
              <a:lstStyle/>
              <a:p>
                <a:endParaRPr lang="en-US" sz="1800"/>
              </a:p>
            </p:txBody>
          </p:sp>
          <p:sp>
            <p:nvSpPr>
              <p:cNvPr id="1301" name="Freeform 260">
                <a:extLst>
                  <a:ext uri="{FF2B5EF4-FFF2-40B4-BE49-F238E27FC236}">
                    <a16:creationId xmlns:a16="http://schemas.microsoft.com/office/drawing/2014/main" id="{B5533956-AB8A-77E5-3B7E-DBF37FF9F550}"/>
                  </a:ext>
                </a:extLst>
              </p:cNvPr>
              <p:cNvSpPr/>
              <p:nvPr/>
            </p:nvSpPr>
            <p:spPr>
              <a:xfrm>
                <a:off x="8067770" y="3062276"/>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002985"/>
                </a:solidFill>
                <a:prstDash val="solid"/>
                <a:miter/>
              </a:ln>
            </p:spPr>
            <p:txBody>
              <a:bodyPr rtlCol="0" anchor="ctr"/>
              <a:lstStyle/>
              <a:p>
                <a:endParaRPr lang="en-US" sz="1800"/>
              </a:p>
            </p:txBody>
          </p:sp>
          <p:sp>
            <p:nvSpPr>
              <p:cNvPr id="1302" name="Freeform 261">
                <a:extLst>
                  <a:ext uri="{FF2B5EF4-FFF2-40B4-BE49-F238E27FC236}">
                    <a16:creationId xmlns:a16="http://schemas.microsoft.com/office/drawing/2014/main" id="{6E71E0DF-E1B8-9ACA-A8E6-44E032BE4BE7}"/>
                  </a:ext>
                </a:extLst>
              </p:cNvPr>
              <p:cNvSpPr/>
              <p:nvPr/>
            </p:nvSpPr>
            <p:spPr>
              <a:xfrm>
                <a:off x="8096080" y="3087560"/>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endParaRPr lang="en-US" sz="1800"/>
              </a:p>
            </p:txBody>
          </p:sp>
          <p:sp>
            <p:nvSpPr>
              <p:cNvPr id="1303" name="Freeform 262">
                <a:extLst>
                  <a:ext uri="{FF2B5EF4-FFF2-40B4-BE49-F238E27FC236}">
                    <a16:creationId xmlns:a16="http://schemas.microsoft.com/office/drawing/2014/main" id="{6E878262-27B1-D349-B031-4A8FAD1DEFE3}"/>
                  </a:ext>
                </a:extLst>
              </p:cNvPr>
              <p:cNvSpPr/>
              <p:nvPr/>
            </p:nvSpPr>
            <p:spPr>
              <a:xfrm>
                <a:off x="8133556" y="3062276"/>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002985"/>
                </a:solidFill>
                <a:prstDash val="solid"/>
                <a:miter/>
              </a:ln>
            </p:spPr>
            <p:txBody>
              <a:bodyPr rtlCol="0" anchor="ctr"/>
              <a:lstStyle/>
              <a:p>
                <a:endParaRPr lang="en-US" sz="1800"/>
              </a:p>
            </p:txBody>
          </p:sp>
          <p:sp>
            <p:nvSpPr>
              <p:cNvPr id="1304" name="Freeform 263">
                <a:extLst>
                  <a:ext uri="{FF2B5EF4-FFF2-40B4-BE49-F238E27FC236}">
                    <a16:creationId xmlns:a16="http://schemas.microsoft.com/office/drawing/2014/main" id="{355A46AB-E544-07EE-7867-E7AAAB440A10}"/>
                  </a:ext>
                </a:extLst>
              </p:cNvPr>
              <p:cNvSpPr/>
              <p:nvPr/>
            </p:nvSpPr>
            <p:spPr>
              <a:xfrm>
                <a:off x="8110569" y="3087560"/>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endParaRPr lang="en-US" sz="1800"/>
              </a:p>
            </p:txBody>
          </p:sp>
          <p:sp>
            <p:nvSpPr>
              <p:cNvPr id="1305" name="Freeform 264">
                <a:extLst>
                  <a:ext uri="{FF2B5EF4-FFF2-40B4-BE49-F238E27FC236}">
                    <a16:creationId xmlns:a16="http://schemas.microsoft.com/office/drawing/2014/main" id="{802BC298-998C-8F9F-542D-F944019098BD}"/>
                  </a:ext>
                </a:extLst>
              </p:cNvPr>
              <p:cNvSpPr/>
              <p:nvPr/>
            </p:nvSpPr>
            <p:spPr>
              <a:xfrm>
                <a:off x="8148044" y="3062276"/>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002985"/>
                </a:solidFill>
                <a:prstDash val="solid"/>
                <a:miter/>
              </a:ln>
            </p:spPr>
            <p:txBody>
              <a:bodyPr rtlCol="0" anchor="ctr"/>
              <a:lstStyle/>
              <a:p>
                <a:endParaRPr lang="en-US" sz="1800"/>
              </a:p>
            </p:txBody>
          </p:sp>
          <p:sp>
            <p:nvSpPr>
              <p:cNvPr id="1306" name="Freeform 265">
                <a:extLst>
                  <a:ext uri="{FF2B5EF4-FFF2-40B4-BE49-F238E27FC236}">
                    <a16:creationId xmlns:a16="http://schemas.microsoft.com/office/drawing/2014/main" id="{1DA9FDF5-DA62-52D7-600F-3BC3C649502B}"/>
                  </a:ext>
                </a:extLst>
              </p:cNvPr>
              <p:cNvSpPr/>
              <p:nvPr/>
            </p:nvSpPr>
            <p:spPr>
              <a:xfrm>
                <a:off x="8147208" y="3087560"/>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endParaRPr lang="en-US" sz="1800"/>
              </a:p>
            </p:txBody>
          </p:sp>
          <p:sp>
            <p:nvSpPr>
              <p:cNvPr id="1307" name="Freeform 266">
                <a:extLst>
                  <a:ext uri="{FF2B5EF4-FFF2-40B4-BE49-F238E27FC236}">
                    <a16:creationId xmlns:a16="http://schemas.microsoft.com/office/drawing/2014/main" id="{BFFC26C5-4C14-1774-3164-26C0314E632C}"/>
                  </a:ext>
                </a:extLst>
              </p:cNvPr>
              <p:cNvSpPr/>
              <p:nvPr/>
            </p:nvSpPr>
            <p:spPr>
              <a:xfrm>
                <a:off x="8184684" y="3062276"/>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002985"/>
                </a:solidFill>
                <a:prstDash val="solid"/>
                <a:miter/>
              </a:ln>
            </p:spPr>
            <p:txBody>
              <a:bodyPr rtlCol="0" anchor="ctr"/>
              <a:lstStyle/>
              <a:p>
                <a:endParaRPr lang="en-US" sz="1800"/>
              </a:p>
            </p:txBody>
          </p:sp>
          <p:sp>
            <p:nvSpPr>
              <p:cNvPr id="1308" name="Freeform 267">
                <a:extLst>
                  <a:ext uri="{FF2B5EF4-FFF2-40B4-BE49-F238E27FC236}">
                    <a16:creationId xmlns:a16="http://schemas.microsoft.com/office/drawing/2014/main" id="{98DBE449-C504-DC29-77B0-F75665607DBB}"/>
                  </a:ext>
                </a:extLst>
              </p:cNvPr>
              <p:cNvSpPr/>
              <p:nvPr/>
            </p:nvSpPr>
            <p:spPr>
              <a:xfrm>
                <a:off x="8205660" y="3087560"/>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endParaRPr lang="en-US" sz="1800"/>
              </a:p>
            </p:txBody>
          </p:sp>
          <p:sp>
            <p:nvSpPr>
              <p:cNvPr id="1309" name="Freeform 268">
                <a:extLst>
                  <a:ext uri="{FF2B5EF4-FFF2-40B4-BE49-F238E27FC236}">
                    <a16:creationId xmlns:a16="http://schemas.microsoft.com/office/drawing/2014/main" id="{9E24502C-0A0E-195C-4AFC-78D8DFBCE394}"/>
                  </a:ext>
                </a:extLst>
              </p:cNvPr>
              <p:cNvSpPr/>
              <p:nvPr/>
            </p:nvSpPr>
            <p:spPr>
              <a:xfrm>
                <a:off x="8243136" y="3062276"/>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002985"/>
                </a:solidFill>
                <a:prstDash val="solid"/>
                <a:miter/>
              </a:ln>
            </p:spPr>
            <p:txBody>
              <a:bodyPr rtlCol="0" anchor="ctr"/>
              <a:lstStyle/>
              <a:p>
                <a:endParaRPr lang="en-US" sz="1800"/>
              </a:p>
            </p:txBody>
          </p:sp>
          <p:sp>
            <p:nvSpPr>
              <p:cNvPr id="1310" name="Freeform 269">
                <a:extLst>
                  <a:ext uri="{FF2B5EF4-FFF2-40B4-BE49-F238E27FC236}">
                    <a16:creationId xmlns:a16="http://schemas.microsoft.com/office/drawing/2014/main" id="{AAAA8DE0-A8BF-6DB2-CAEE-DEA5F68F6C36}"/>
                  </a:ext>
                </a:extLst>
              </p:cNvPr>
              <p:cNvSpPr/>
              <p:nvPr/>
            </p:nvSpPr>
            <p:spPr>
              <a:xfrm>
                <a:off x="8220149" y="3087560"/>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endParaRPr lang="en-US" sz="1800"/>
              </a:p>
            </p:txBody>
          </p:sp>
          <p:sp>
            <p:nvSpPr>
              <p:cNvPr id="1311" name="Freeform 270">
                <a:extLst>
                  <a:ext uri="{FF2B5EF4-FFF2-40B4-BE49-F238E27FC236}">
                    <a16:creationId xmlns:a16="http://schemas.microsoft.com/office/drawing/2014/main" id="{EB327C74-24F5-E4ED-0A9B-3F6338A200DA}"/>
                  </a:ext>
                </a:extLst>
              </p:cNvPr>
              <p:cNvSpPr/>
              <p:nvPr/>
            </p:nvSpPr>
            <p:spPr>
              <a:xfrm>
                <a:off x="8257624" y="3062276"/>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002985"/>
                </a:solidFill>
                <a:prstDash val="solid"/>
                <a:miter/>
              </a:ln>
            </p:spPr>
            <p:txBody>
              <a:bodyPr rtlCol="0" anchor="ctr"/>
              <a:lstStyle/>
              <a:p>
                <a:endParaRPr lang="en-US" sz="1800"/>
              </a:p>
            </p:txBody>
          </p:sp>
          <p:sp>
            <p:nvSpPr>
              <p:cNvPr id="1312" name="Freeform 271">
                <a:extLst>
                  <a:ext uri="{FF2B5EF4-FFF2-40B4-BE49-F238E27FC236}">
                    <a16:creationId xmlns:a16="http://schemas.microsoft.com/office/drawing/2014/main" id="{F80CC336-E40F-3171-569C-DA1E0C3C9CDF}"/>
                  </a:ext>
                </a:extLst>
              </p:cNvPr>
              <p:cNvSpPr/>
              <p:nvPr/>
            </p:nvSpPr>
            <p:spPr>
              <a:xfrm>
                <a:off x="8242130" y="3120612"/>
                <a:ext cx="74940" cy="10583"/>
              </a:xfrm>
              <a:custGeom>
                <a:avLst/>
                <a:gdLst>
                  <a:gd name="connsiteX0" fmla="*/ 0 w 74940"/>
                  <a:gd name="connsiteY0" fmla="*/ 0 h 10583"/>
                  <a:gd name="connsiteX1" fmla="*/ 74940 w 74940"/>
                  <a:gd name="connsiteY1" fmla="*/ 0 h 10583"/>
                </a:gdLst>
                <a:ahLst/>
                <a:cxnLst>
                  <a:cxn ang="0">
                    <a:pos x="connsiteX0" y="connsiteY0"/>
                  </a:cxn>
                  <a:cxn ang="0">
                    <a:pos x="connsiteX1" y="connsiteY1"/>
                  </a:cxn>
                </a:cxnLst>
                <a:rect l="l" t="t" r="r" b="b"/>
                <a:pathLst>
                  <a:path w="74940" h="10583">
                    <a:moveTo>
                      <a:pt x="0" y="0"/>
                    </a:moveTo>
                    <a:lnTo>
                      <a:pt x="74940" y="0"/>
                    </a:lnTo>
                  </a:path>
                </a:pathLst>
              </a:custGeom>
              <a:ln w="12700" cap="sq">
                <a:solidFill>
                  <a:srgbClr val="002985"/>
                </a:solidFill>
                <a:prstDash val="solid"/>
                <a:miter/>
              </a:ln>
            </p:spPr>
            <p:txBody>
              <a:bodyPr rtlCol="0" anchor="ctr"/>
              <a:lstStyle/>
              <a:p>
                <a:endParaRPr lang="en-US" sz="1800"/>
              </a:p>
            </p:txBody>
          </p:sp>
          <p:sp>
            <p:nvSpPr>
              <p:cNvPr id="1313" name="Freeform 272">
                <a:extLst>
                  <a:ext uri="{FF2B5EF4-FFF2-40B4-BE49-F238E27FC236}">
                    <a16:creationId xmlns:a16="http://schemas.microsoft.com/office/drawing/2014/main" id="{1BD0CBED-1A9C-BE08-A652-FEE15EA6F0BF}"/>
                  </a:ext>
                </a:extLst>
              </p:cNvPr>
              <p:cNvSpPr/>
              <p:nvPr/>
            </p:nvSpPr>
            <p:spPr>
              <a:xfrm>
                <a:off x="8279606" y="3095318"/>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endParaRPr lang="en-US" sz="1800"/>
              </a:p>
            </p:txBody>
          </p:sp>
          <p:sp>
            <p:nvSpPr>
              <p:cNvPr id="1314" name="Freeform 273">
                <a:extLst>
                  <a:ext uri="{FF2B5EF4-FFF2-40B4-BE49-F238E27FC236}">
                    <a16:creationId xmlns:a16="http://schemas.microsoft.com/office/drawing/2014/main" id="{AB2E93D3-25FD-2A27-E137-C1B73A271FDB}"/>
                  </a:ext>
                </a:extLst>
              </p:cNvPr>
              <p:cNvSpPr/>
              <p:nvPr/>
            </p:nvSpPr>
            <p:spPr>
              <a:xfrm>
                <a:off x="8242130" y="3120612"/>
                <a:ext cx="74940" cy="10583"/>
              </a:xfrm>
              <a:custGeom>
                <a:avLst/>
                <a:gdLst>
                  <a:gd name="connsiteX0" fmla="*/ 0 w 74940"/>
                  <a:gd name="connsiteY0" fmla="*/ 0 h 10583"/>
                  <a:gd name="connsiteX1" fmla="*/ 74940 w 74940"/>
                  <a:gd name="connsiteY1" fmla="*/ 0 h 10583"/>
                </a:gdLst>
                <a:ahLst/>
                <a:cxnLst>
                  <a:cxn ang="0">
                    <a:pos x="connsiteX0" y="connsiteY0"/>
                  </a:cxn>
                  <a:cxn ang="0">
                    <a:pos x="connsiteX1" y="connsiteY1"/>
                  </a:cxn>
                </a:cxnLst>
                <a:rect l="l" t="t" r="r" b="b"/>
                <a:pathLst>
                  <a:path w="74940" h="10583">
                    <a:moveTo>
                      <a:pt x="0" y="0"/>
                    </a:moveTo>
                    <a:lnTo>
                      <a:pt x="74940" y="0"/>
                    </a:lnTo>
                  </a:path>
                </a:pathLst>
              </a:custGeom>
              <a:ln w="12700" cap="sq">
                <a:solidFill>
                  <a:srgbClr val="002985"/>
                </a:solidFill>
                <a:prstDash val="solid"/>
                <a:miter/>
              </a:ln>
            </p:spPr>
            <p:txBody>
              <a:bodyPr rtlCol="0" anchor="ctr"/>
              <a:lstStyle/>
              <a:p>
                <a:endParaRPr lang="en-US" sz="1800"/>
              </a:p>
            </p:txBody>
          </p:sp>
          <p:sp>
            <p:nvSpPr>
              <p:cNvPr id="1315" name="Freeform 274">
                <a:extLst>
                  <a:ext uri="{FF2B5EF4-FFF2-40B4-BE49-F238E27FC236}">
                    <a16:creationId xmlns:a16="http://schemas.microsoft.com/office/drawing/2014/main" id="{B9AA26F7-ECAA-79C5-86DE-453A3BC522F4}"/>
                  </a:ext>
                </a:extLst>
              </p:cNvPr>
              <p:cNvSpPr/>
              <p:nvPr/>
            </p:nvSpPr>
            <p:spPr>
              <a:xfrm>
                <a:off x="8279606" y="3095318"/>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endParaRPr lang="en-US" sz="1800"/>
              </a:p>
            </p:txBody>
          </p:sp>
          <p:sp>
            <p:nvSpPr>
              <p:cNvPr id="1316" name="Freeform 275">
                <a:extLst>
                  <a:ext uri="{FF2B5EF4-FFF2-40B4-BE49-F238E27FC236}">
                    <a16:creationId xmlns:a16="http://schemas.microsoft.com/office/drawing/2014/main" id="{2009F879-F295-8A82-F720-2ABBC9B3C611}"/>
                  </a:ext>
                </a:extLst>
              </p:cNvPr>
              <p:cNvSpPr/>
              <p:nvPr/>
            </p:nvSpPr>
            <p:spPr>
              <a:xfrm>
                <a:off x="8264122" y="3155008"/>
                <a:ext cx="74930" cy="10583"/>
              </a:xfrm>
              <a:custGeom>
                <a:avLst/>
                <a:gdLst>
                  <a:gd name="connsiteX0" fmla="*/ 0 w 74930"/>
                  <a:gd name="connsiteY0" fmla="*/ 0 h 10583"/>
                  <a:gd name="connsiteX1" fmla="*/ 74930 w 74930"/>
                  <a:gd name="connsiteY1" fmla="*/ 0 h 10583"/>
                </a:gdLst>
                <a:ahLst/>
                <a:cxnLst>
                  <a:cxn ang="0">
                    <a:pos x="connsiteX0" y="connsiteY0"/>
                  </a:cxn>
                  <a:cxn ang="0">
                    <a:pos x="connsiteX1" y="connsiteY1"/>
                  </a:cxn>
                </a:cxnLst>
                <a:rect l="l" t="t" r="r" b="b"/>
                <a:pathLst>
                  <a:path w="74930" h="10583">
                    <a:moveTo>
                      <a:pt x="0" y="0"/>
                    </a:moveTo>
                    <a:lnTo>
                      <a:pt x="74930" y="0"/>
                    </a:lnTo>
                  </a:path>
                </a:pathLst>
              </a:custGeom>
              <a:ln w="12700" cap="sq">
                <a:solidFill>
                  <a:srgbClr val="002985"/>
                </a:solidFill>
                <a:prstDash val="solid"/>
                <a:miter/>
              </a:ln>
            </p:spPr>
            <p:txBody>
              <a:bodyPr rtlCol="0" anchor="ctr"/>
              <a:lstStyle/>
              <a:p>
                <a:endParaRPr lang="en-US" sz="1800"/>
              </a:p>
            </p:txBody>
          </p:sp>
          <p:sp>
            <p:nvSpPr>
              <p:cNvPr id="1317" name="Freeform 276">
                <a:extLst>
                  <a:ext uri="{FF2B5EF4-FFF2-40B4-BE49-F238E27FC236}">
                    <a16:creationId xmlns:a16="http://schemas.microsoft.com/office/drawing/2014/main" id="{9B2AE4CB-CDFD-28A5-308E-3747D3190430}"/>
                  </a:ext>
                </a:extLst>
              </p:cNvPr>
              <p:cNvSpPr/>
              <p:nvPr/>
            </p:nvSpPr>
            <p:spPr>
              <a:xfrm>
                <a:off x="8301587" y="3129713"/>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endParaRPr lang="en-US" sz="1800"/>
              </a:p>
            </p:txBody>
          </p:sp>
          <p:sp>
            <p:nvSpPr>
              <p:cNvPr id="1318" name="Freeform 277">
                <a:extLst>
                  <a:ext uri="{FF2B5EF4-FFF2-40B4-BE49-F238E27FC236}">
                    <a16:creationId xmlns:a16="http://schemas.microsoft.com/office/drawing/2014/main" id="{E50F3B58-D918-E04F-4B94-97BDA7D1E321}"/>
                  </a:ext>
                </a:extLst>
              </p:cNvPr>
              <p:cNvSpPr/>
              <p:nvPr/>
            </p:nvSpPr>
            <p:spPr>
              <a:xfrm>
                <a:off x="8271277" y="3155008"/>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endParaRPr lang="en-US" sz="1800"/>
              </a:p>
            </p:txBody>
          </p:sp>
          <p:sp>
            <p:nvSpPr>
              <p:cNvPr id="1319" name="Freeform 278">
                <a:extLst>
                  <a:ext uri="{FF2B5EF4-FFF2-40B4-BE49-F238E27FC236}">
                    <a16:creationId xmlns:a16="http://schemas.microsoft.com/office/drawing/2014/main" id="{F1AAC58F-32A4-AAE7-C954-F7E37BC19764}"/>
                  </a:ext>
                </a:extLst>
              </p:cNvPr>
              <p:cNvSpPr/>
              <p:nvPr/>
            </p:nvSpPr>
            <p:spPr>
              <a:xfrm>
                <a:off x="8308752" y="3129713"/>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endParaRPr lang="en-US" sz="1800"/>
              </a:p>
            </p:txBody>
          </p:sp>
          <p:sp>
            <p:nvSpPr>
              <p:cNvPr id="1320" name="Freeform 279">
                <a:extLst>
                  <a:ext uri="{FF2B5EF4-FFF2-40B4-BE49-F238E27FC236}">
                    <a16:creationId xmlns:a16="http://schemas.microsoft.com/office/drawing/2014/main" id="{FC7FB647-4CA9-0AA9-03F8-401D2C48D763}"/>
                  </a:ext>
                </a:extLst>
              </p:cNvPr>
              <p:cNvSpPr/>
              <p:nvPr/>
            </p:nvSpPr>
            <p:spPr>
              <a:xfrm>
                <a:off x="8278600" y="3155008"/>
                <a:ext cx="74940" cy="10583"/>
              </a:xfrm>
              <a:custGeom>
                <a:avLst/>
                <a:gdLst>
                  <a:gd name="connsiteX0" fmla="*/ 0 w 74940"/>
                  <a:gd name="connsiteY0" fmla="*/ 0 h 10583"/>
                  <a:gd name="connsiteX1" fmla="*/ 74940 w 74940"/>
                  <a:gd name="connsiteY1" fmla="*/ 0 h 10583"/>
                </a:gdLst>
                <a:ahLst/>
                <a:cxnLst>
                  <a:cxn ang="0">
                    <a:pos x="connsiteX0" y="connsiteY0"/>
                  </a:cxn>
                  <a:cxn ang="0">
                    <a:pos x="connsiteX1" y="connsiteY1"/>
                  </a:cxn>
                </a:cxnLst>
                <a:rect l="l" t="t" r="r" b="b"/>
                <a:pathLst>
                  <a:path w="74940" h="10583">
                    <a:moveTo>
                      <a:pt x="0" y="0"/>
                    </a:moveTo>
                    <a:lnTo>
                      <a:pt x="74940" y="0"/>
                    </a:lnTo>
                  </a:path>
                </a:pathLst>
              </a:custGeom>
              <a:ln w="12700" cap="sq">
                <a:solidFill>
                  <a:srgbClr val="002985"/>
                </a:solidFill>
                <a:prstDash val="solid"/>
                <a:miter/>
              </a:ln>
            </p:spPr>
            <p:txBody>
              <a:bodyPr rtlCol="0" anchor="ctr"/>
              <a:lstStyle/>
              <a:p>
                <a:endParaRPr lang="en-US" sz="1800"/>
              </a:p>
            </p:txBody>
          </p:sp>
          <p:sp>
            <p:nvSpPr>
              <p:cNvPr id="1321" name="Freeform 280">
                <a:extLst>
                  <a:ext uri="{FF2B5EF4-FFF2-40B4-BE49-F238E27FC236}">
                    <a16:creationId xmlns:a16="http://schemas.microsoft.com/office/drawing/2014/main" id="{74B3FAE8-D065-B1A5-BACE-A7D9B2141650}"/>
                  </a:ext>
                </a:extLst>
              </p:cNvPr>
              <p:cNvSpPr/>
              <p:nvPr/>
            </p:nvSpPr>
            <p:spPr>
              <a:xfrm>
                <a:off x="8316076" y="3129713"/>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endParaRPr lang="en-US" sz="1800"/>
              </a:p>
            </p:txBody>
          </p:sp>
          <p:sp>
            <p:nvSpPr>
              <p:cNvPr id="1322" name="Freeform 281">
                <a:extLst>
                  <a:ext uri="{FF2B5EF4-FFF2-40B4-BE49-F238E27FC236}">
                    <a16:creationId xmlns:a16="http://schemas.microsoft.com/office/drawing/2014/main" id="{83293E05-602D-0E00-A0CF-E453D48B484B}"/>
                  </a:ext>
                </a:extLst>
              </p:cNvPr>
              <p:cNvSpPr/>
              <p:nvPr/>
            </p:nvSpPr>
            <p:spPr>
              <a:xfrm>
                <a:off x="8285935" y="3155008"/>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endParaRPr lang="en-US" sz="1800"/>
              </a:p>
            </p:txBody>
          </p:sp>
          <p:sp>
            <p:nvSpPr>
              <p:cNvPr id="1323" name="Freeform 282">
                <a:extLst>
                  <a:ext uri="{FF2B5EF4-FFF2-40B4-BE49-F238E27FC236}">
                    <a16:creationId xmlns:a16="http://schemas.microsoft.com/office/drawing/2014/main" id="{1EC97F3E-36ED-7279-A3FC-9084B9DF24D9}"/>
                  </a:ext>
                </a:extLst>
              </p:cNvPr>
              <p:cNvSpPr/>
              <p:nvPr/>
            </p:nvSpPr>
            <p:spPr>
              <a:xfrm>
                <a:off x="8323400" y="3129713"/>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endParaRPr lang="en-US" sz="1800"/>
              </a:p>
            </p:txBody>
          </p:sp>
          <p:sp>
            <p:nvSpPr>
              <p:cNvPr id="1324" name="Freeform 283">
                <a:extLst>
                  <a:ext uri="{FF2B5EF4-FFF2-40B4-BE49-F238E27FC236}">
                    <a16:creationId xmlns:a16="http://schemas.microsoft.com/office/drawing/2014/main" id="{AB440734-0963-A589-F1F9-4C5F023BDF34}"/>
                  </a:ext>
                </a:extLst>
              </p:cNvPr>
              <p:cNvSpPr/>
              <p:nvPr/>
            </p:nvSpPr>
            <p:spPr>
              <a:xfrm>
                <a:off x="8293258" y="3155008"/>
                <a:ext cx="74940" cy="10583"/>
              </a:xfrm>
              <a:custGeom>
                <a:avLst/>
                <a:gdLst>
                  <a:gd name="connsiteX0" fmla="*/ 0 w 74940"/>
                  <a:gd name="connsiteY0" fmla="*/ 0 h 10583"/>
                  <a:gd name="connsiteX1" fmla="*/ 74940 w 74940"/>
                  <a:gd name="connsiteY1" fmla="*/ 0 h 10583"/>
                </a:gdLst>
                <a:ahLst/>
                <a:cxnLst>
                  <a:cxn ang="0">
                    <a:pos x="connsiteX0" y="connsiteY0"/>
                  </a:cxn>
                  <a:cxn ang="0">
                    <a:pos x="connsiteX1" y="connsiteY1"/>
                  </a:cxn>
                </a:cxnLst>
                <a:rect l="l" t="t" r="r" b="b"/>
                <a:pathLst>
                  <a:path w="74940" h="10583">
                    <a:moveTo>
                      <a:pt x="0" y="0"/>
                    </a:moveTo>
                    <a:lnTo>
                      <a:pt x="74940" y="0"/>
                    </a:lnTo>
                  </a:path>
                </a:pathLst>
              </a:custGeom>
              <a:ln w="12700" cap="sq">
                <a:solidFill>
                  <a:srgbClr val="002985"/>
                </a:solidFill>
                <a:prstDash val="solid"/>
                <a:miter/>
              </a:ln>
            </p:spPr>
            <p:txBody>
              <a:bodyPr rtlCol="0" anchor="ctr"/>
              <a:lstStyle/>
              <a:p>
                <a:endParaRPr lang="en-US" sz="1800"/>
              </a:p>
            </p:txBody>
          </p:sp>
          <p:sp>
            <p:nvSpPr>
              <p:cNvPr id="1325" name="Freeform 284">
                <a:extLst>
                  <a:ext uri="{FF2B5EF4-FFF2-40B4-BE49-F238E27FC236}">
                    <a16:creationId xmlns:a16="http://schemas.microsoft.com/office/drawing/2014/main" id="{9D878CAA-84C5-A699-8BA5-0C944130D825}"/>
                  </a:ext>
                </a:extLst>
              </p:cNvPr>
              <p:cNvSpPr/>
              <p:nvPr/>
            </p:nvSpPr>
            <p:spPr>
              <a:xfrm>
                <a:off x="8330734" y="3129713"/>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endParaRPr lang="en-US" sz="1800"/>
              </a:p>
            </p:txBody>
          </p:sp>
          <p:sp>
            <p:nvSpPr>
              <p:cNvPr id="1326" name="Freeform 285">
                <a:extLst>
                  <a:ext uri="{FF2B5EF4-FFF2-40B4-BE49-F238E27FC236}">
                    <a16:creationId xmlns:a16="http://schemas.microsoft.com/office/drawing/2014/main" id="{EB9DEE59-0F01-C79A-6E94-A4321882A576}"/>
                  </a:ext>
                </a:extLst>
              </p:cNvPr>
              <p:cNvSpPr/>
              <p:nvPr/>
            </p:nvSpPr>
            <p:spPr>
              <a:xfrm>
                <a:off x="8315240" y="3155008"/>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endParaRPr lang="en-US" sz="1800"/>
              </a:p>
            </p:txBody>
          </p:sp>
          <p:sp>
            <p:nvSpPr>
              <p:cNvPr id="1327" name="Freeform 286">
                <a:extLst>
                  <a:ext uri="{FF2B5EF4-FFF2-40B4-BE49-F238E27FC236}">
                    <a16:creationId xmlns:a16="http://schemas.microsoft.com/office/drawing/2014/main" id="{DF991604-0BE0-00B9-D5F9-A9C53FBDB754}"/>
                  </a:ext>
                </a:extLst>
              </p:cNvPr>
              <p:cNvSpPr/>
              <p:nvPr/>
            </p:nvSpPr>
            <p:spPr>
              <a:xfrm>
                <a:off x="8352715" y="3129713"/>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endParaRPr lang="en-US" sz="1800"/>
              </a:p>
            </p:txBody>
          </p:sp>
          <p:sp>
            <p:nvSpPr>
              <p:cNvPr id="1328" name="Freeform 287">
                <a:extLst>
                  <a:ext uri="{FF2B5EF4-FFF2-40B4-BE49-F238E27FC236}">
                    <a16:creationId xmlns:a16="http://schemas.microsoft.com/office/drawing/2014/main" id="{EA16C5CD-966B-3279-3F3F-73C3AFAE1BD0}"/>
                  </a:ext>
                </a:extLst>
              </p:cNvPr>
              <p:cNvSpPr/>
              <p:nvPr/>
            </p:nvSpPr>
            <p:spPr>
              <a:xfrm>
                <a:off x="8344386" y="3155008"/>
                <a:ext cx="74940" cy="10583"/>
              </a:xfrm>
              <a:custGeom>
                <a:avLst/>
                <a:gdLst>
                  <a:gd name="connsiteX0" fmla="*/ 0 w 74940"/>
                  <a:gd name="connsiteY0" fmla="*/ 0 h 10583"/>
                  <a:gd name="connsiteX1" fmla="*/ 74940 w 74940"/>
                  <a:gd name="connsiteY1" fmla="*/ 0 h 10583"/>
                </a:gdLst>
                <a:ahLst/>
                <a:cxnLst>
                  <a:cxn ang="0">
                    <a:pos x="connsiteX0" y="connsiteY0"/>
                  </a:cxn>
                  <a:cxn ang="0">
                    <a:pos x="connsiteX1" y="connsiteY1"/>
                  </a:cxn>
                </a:cxnLst>
                <a:rect l="l" t="t" r="r" b="b"/>
                <a:pathLst>
                  <a:path w="74940" h="10583">
                    <a:moveTo>
                      <a:pt x="0" y="0"/>
                    </a:moveTo>
                    <a:lnTo>
                      <a:pt x="74940" y="0"/>
                    </a:lnTo>
                  </a:path>
                </a:pathLst>
              </a:custGeom>
              <a:ln w="12700" cap="sq">
                <a:solidFill>
                  <a:srgbClr val="002985"/>
                </a:solidFill>
                <a:prstDash val="solid"/>
                <a:miter/>
              </a:ln>
            </p:spPr>
            <p:txBody>
              <a:bodyPr rtlCol="0" anchor="ctr"/>
              <a:lstStyle/>
              <a:p>
                <a:endParaRPr lang="en-US" sz="1800"/>
              </a:p>
            </p:txBody>
          </p:sp>
          <p:sp>
            <p:nvSpPr>
              <p:cNvPr id="1329" name="Freeform 288">
                <a:extLst>
                  <a:ext uri="{FF2B5EF4-FFF2-40B4-BE49-F238E27FC236}">
                    <a16:creationId xmlns:a16="http://schemas.microsoft.com/office/drawing/2014/main" id="{8DBCB7F0-0939-68B1-9D0A-62A8CB677E8D}"/>
                  </a:ext>
                </a:extLst>
              </p:cNvPr>
              <p:cNvSpPr/>
              <p:nvPr/>
            </p:nvSpPr>
            <p:spPr>
              <a:xfrm>
                <a:off x="8381851" y="3129713"/>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endParaRPr lang="en-US" sz="1800"/>
              </a:p>
            </p:txBody>
          </p:sp>
          <p:sp>
            <p:nvSpPr>
              <p:cNvPr id="1330" name="Freeform 289">
                <a:extLst>
                  <a:ext uri="{FF2B5EF4-FFF2-40B4-BE49-F238E27FC236}">
                    <a16:creationId xmlns:a16="http://schemas.microsoft.com/office/drawing/2014/main" id="{2E0FA659-90B9-01AC-E2BA-DDDA311C724F}"/>
                  </a:ext>
                </a:extLst>
              </p:cNvPr>
              <p:cNvSpPr/>
              <p:nvPr/>
            </p:nvSpPr>
            <p:spPr>
              <a:xfrm>
                <a:off x="8373692" y="3155008"/>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endParaRPr lang="en-US" sz="1800"/>
              </a:p>
            </p:txBody>
          </p:sp>
          <p:sp>
            <p:nvSpPr>
              <p:cNvPr id="1331" name="Freeform 290">
                <a:extLst>
                  <a:ext uri="{FF2B5EF4-FFF2-40B4-BE49-F238E27FC236}">
                    <a16:creationId xmlns:a16="http://schemas.microsoft.com/office/drawing/2014/main" id="{EAC0FB95-D715-9DFE-27F7-4D0B5679C4FB}"/>
                  </a:ext>
                </a:extLst>
              </p:cNvPr>
              <p:cNvSpPr/>
              <p:nvPr/>
            </p:nvSpPr>
            <p:spPr>
              <a:xfrm>
                <a:off x="8411167" y="3129713"/>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endParaRPr lang="en-US" sz="1800"/>
              </a:p>
            </p:txBody>
          </p:sp>
          <p:sp>
            <p:nvSpPr>
              <p:cNvPr id="1332" name="Freeform 291">
                <a:extLst>
                  <a:ext uri="{FF2B5EF4-FFF2-40B4-BE49-F238E27FC236}">
                    <a16:creationId xmlns:a16="http://schemas.microsoft.com/office/drawing/2014/main" id="{598D5673-DE7E-C7B8-8A32-23FD895DFF80}"/>
                  </a:ext>
                </a:extLst>
              </p:cNvPr>
              <p:cNvSpPr/>
              <p:nvPr/>
            </p:nvSpPr>
            <p:spPr>
              <a:xfrm>
                <a:off x="8417496" y="3155008"/>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endParaRPr lang="en-US" sz="1800"/>
              </a:p>
            </p:txBody>
          </p:sp>
          <p:sp>
            <p:nvSpPr>
              <p:cNvPr id="1333" name="Freeform 292">
                <a:extLst>
                  <a:ext uri="{FF2B5EF4-FFF2-40B4-BE49-F238E27FC236}">
                    <a16:creationId xmlns:a16="http://schemas.microsoft.com/office/drawing/2014/main" id="{0DCB3FE5-3EDE-6E97-99B6-EB1F66AD2DBE}"/>
                  </a:ext>
                </a:extLst>
              </p:cNvPr>
              <p:cNvSpPr/>
              <p:nvPr/>
            </p:nvSpPr>
            <p:spPr>
              <a:xfrm>
                <a:off x="8454961" y="3129713"/>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endParaRPr lang="en-US" sz="1800"/>
              </a:p>
            </p:txBody>
          </p:sp>
          <p:sp>
            <p:nvSpPr>
              <p:cNvPr id="1334" name="Freeform 293">
                <a:extLst>
                  <a:ext uri="{FF2B5EF4-FFF2-40B4-BE49-F238E27FC236}">
                    <a16:creationId xmlns:a16="http://schemas.microsoft.com/office/drawing/2014/main" id="{54D70025-22C6-A4F8-54EF-02F89643EF99}"/>
                  </a:ext>
                </a:extLst>
              </p:cNvPr>
              <p:cNvSpPr/>
              <p:nvPr/>
            </p:nvSpPr>
            <p:spPr>
              <a:xfrm>
                <a:off x="8497760" y="3155008"/>
                <a:ext cx="74940" cy="10583"/>
              </a:xfrm>
              <a:custGeom>
                <a:avLst/>
                <a:gdLst>
                  <a:gd name="connsiteX0" fmla="*/ 0 w 74940"/>
                  <a:gd name="connsiteY0" fmla="*/ 0 h 10583"/>
                  <a:gd name="connsiteX1" fmla="*/ 74940 w 74940"/>
                  <a:gd name="connsiteY1" fmla="*/ 0 h 10583"/>
                </a:gdLst>
                <a:ahLst/>
                <a:cxnLst>
                  <a:cxn ang="0">
                    <a:pos x="connsiteX0" y="connsiteY0"/>
                  </a:cxn>
                  <a:cxn ang="0">
                    <a:pos x="connsiteX1" y="connsiteY1"/>
                  </a:cxn>
                </a:cxnLst>
                <a:rect l="l" t="t" r="r" b="b"/>
                <a:pathLst>
                  <a:path w="74940" h="10583">
                    <a:moveTo>
                      <a:pt x="0" y="0"/>
                    </a:moveTo>
                    <a:lnTo>
                      <a:pt x="74940" y="0"/>
                    </a:lnTo>
                  </a:path>
                </a:pathLst>
              </a:custGeom>
              <a:ln w="12700" cap="sq">
                <a:solidFill>
                  <a:srgbClr val="002985"/>
                </a:solidFill>
                <a:prstDash val="solid"/>
                <a:miter/>
              </a:ln>
            </p:spPr>
            <p:txBody>
              <a:bodyPr rtlCol="0" anchor="ctr"/>
              <a:lstStyle/>
              <a:p>
                <a:endParaRPr lang="en-US" sz="1800"/>
              </a:p>
            </p:txBody>
          </p:sp>
          <p:sp>
            <p:nvSpPr>
              <p:cNvPr id="1335" name="Freeform 294">
                <a:extLst>
                  <a:ext uri="{FF2B5EF4-FFF2-40B4-BE49-F238E27FC236}">
                    <a16:creationId xmlns:a16="http://schemas.microsoft.com/office/drawing/2014/main" id="{4CE8E5B6-06D8-A8E4-410E-247DBFAD2FBA}"/>
                  </a:ext>
                </a:extLst>
              </p:cNvPr>
              <p:cNvSpPr/>
              <p:nvPr/>
            </p:nvSpPr>
            <p:spPr>
              <a:xfrm>
                <a:off x="8535236" y="3129713"/>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endParaRPr lang="en-US" sz="1800"/>
              </a:p>
            </p:txBody>
          </p:sp>
          <p:sp>
            <p:nvSpPr>
              <p:cNvPr id="1336" name="Freeform 295">
                <a:extLst>
                  <a:ext uri="{FF2B5EF4-FFF2-40B4-BE49-F238E27FC236}">
                    <a16:creationId xmlns:a16="http://schemas.microsoft.com/office/drawing/2014/main" id="{DFE3E4CE-26E9-A5BB-B34F-1F570C80E9C3}"/>
                  </a:ext>
                </a:extLst>
              </p:cNvPr>
              <p:cNvSpPr/>
              <p:nvPr/>
            </p:nvSpPr>
            <p:spPr>
              <a:xfrm>
                <a:off x="8505094" y="3155008"/>
                <a:ext cx="74930" cy="10583"/>
              </a:xfrm>
              <a:custGeom>
                <a:avLst/>
                <a:gdLst>
                  <a:gd name="connsiteX0" fmla="*/ 0 w 74930"/>
                  <a:gd name="connsiteY0" fmla="*/ 0 h 10583"/>
                  <a:gd name="connsiteX1" fmla="*/ 74930 w 74930"/>
                  <a:gd name="connsiteY1" fmla="*/ 0 h 10583"/>
                </a:gdLst>
                <a:ahLst/>
                <a:cxnLst>
                  <a:cxn ang="0">
                    <a:pos x="connsiteX0" y="connsiteY0"/>
                  </a:cxn>
                  <a:cxn ang="0">
                    <a:pos x="connsiteX1" y="connsiteY1"/>
                  </a:cxn>
                </a:cxnLst>
                <a:rect l="l" t="t" r="r" b="b"/>
                <a:pathLst>
                  <a:path w="74930" h="10583">
                    <a:moveTo>
                      <a:pt x="0" y="0"/>
                    </a:moveTo>
                    <a:lnTo>
                      <a:pt x="74930" y="0"/>
                    </a:lnTo>
                  </a:path>
                </a:pathLst>
              </a:custGeom>
              <a:ln w="12700" cap="sq">
                <a:solidFill>
                  <a:srgbClr val="002985"/>
                </a:solidFill>
                <a:prstDash val="solid"/>
                <a:miter/>
              </a:ln>
            </p:spPr>
            <p:txBody>
              <a:bodyPr rtlCol="0" anchor="ctr"/>
              <a:lstStyle/>
              <a:p>
                <a:endParaRPr lang="en-US" sz="1800"/>
              </a:p>
            </p:txBody>
          </p:sp>
          <p:sp>
            <p:nvSpPr>
              <p:cNvPr id="1337" name="Freeform 296">
                <a:extLst>
                  <a:ext uri="{FF2B5EF4-FFF2-40B4-BE49-F238E27FC236}">
                    <a16:creationId xmlns:a16="http://schemas.microsoft.com/office/drawing/2014/main" id="{D144F6BC-1DD2-3D91-7589-7094E4F8F9B2}"/>
                  </a:ext>
                </a:extLst>
              </p:cNvPr>
              <p:cNvSpPr/>
              <p:nvPr/>
            </p:nvSpPr>
            <p:spPr>
              <a:xfrm>
                <a:off x="8542559" y="3129713"/>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endParaRPr lang="en-US" sz="1800"/>
              </a:p>
            </p:txBody>
          </p:sp>
          <p:sp>
            <p:nvSpPr>
              <p:cNvPr id="1338" name="Freeform 297">
                <a:extLst>
                  <a:ext uri="{FF2B5EF4-FFF2-40B4-BE49-F238E27FC236}">
                    <a16:creationId xmlns:a16="http://schemas.microsoft.com/office/drawing/2014/main" id="{793996CB-5CA9-BE31-FC00-548C350307AC}"/>
                  </a:ext>
                </a:extLst>
              </p:cNvPr>
              <p:cNvSpPr/>
              <p:nvPr/>
            </p:nvSpPr>
            <p:spPr>
              <a:xfrm>
                <a:off x="8512418" y="3155008"/>
                <a:ext cx="74940" cy="10583"/>
              </a:xfrm>
              <a:custGeom>
                <a:avLst/>
                <a:gdLst>
                  <a:gd name="connsiteX0" fmla="*/ 0 w 74940"/>
                  <a:gd name="connsiteY0" fmla="*/ 0 h 10583"/>
                  <a:gd name="connsiteX1" fmla="*/ 74940 w 74940"/>
                  <a:gd name="connsiteY1" fmla="*/ 0 h 10583"/>
                </a:gdLst>
                <a:ahLst/>
                <a:cxnLst>
                  <a:cxn ang="0">
                    <a:pos x="connsiteX0" y="connsiteY0"/>
                  </a:cxn>
                  <a:cxn ang="0">
                    <a:pos x="connsiteX1" y="connsiteY1"/>
                  </a:cxn>
                </a:cxnLst>
                <a:rect l="l" t="t" r="r" b="b"/>
                <a:pathLst>
                  <a:path w="74940" h="10583">
                    <a:moveTo>
                      <a:pt x="0" y="0"/>
                    </a:moveTo>
                    <a:lnTo>
                      <a:pt x="74940" y="0"/>
                    </a:lnTo>
                  </a:path>
                </a:pathLst>
              </a:custGeom>
              <a:ln w="12700" cap="sq">
                <a:solidFill>
                  <a:srgbClr val="002985"/>
                </a:solidFill>
                <a:prstDash val="solid"/>
                <a:miter/>
              </a:ln>
            </p:spPr>
            <p:txBody>
              <a:bodyPr rtlCol="0" anchor="ctr"/>
              <a:lstStyle/>
              <a:p>
                <a:endParaRPr lang="en-US" sz="1800"/>
              </a:p>
            </p:txBody>
          </p:sp>
          <p:sp>
            <p:nvSpPr>
              <p:cNvPr id="1339" name="Freeform 298">
                <a:extLst>
                  <a:ext uri="{FF2B5EF4-FFF2-40B4-BE49-F238E27FC236}">
                    <a16:creationId xmlns:a16="http://schemas.microsoft.com/office/drawing/2014/main" id="{5229BA3F-1F11-F809-0E9F-0EF0D2D54C81}"/>
                  </a:ext>
                </a:extLst>
              </p:cNvPr>
              <p:cNvSpPr/>
              <p:nvPr/>
            </p:nvSpPr>
            <p:spPr>
              <a:xfrm>
                <a:off x="8549883" y="3129713"/>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endParaRPr lang="en-US" sz="1800"/>
              </a:p>
            </p:txBody>
          </p:sp>
          <p:sp>
            <p:nvSpPr>
              <p:cNvPr id="1340" name="Freeform 299">
                <a:extLst>
                  <a:ext uri="{FF2B5EF4-FFF2-40B4-BE49-F238E27FC236}">
                    <a16:creationId xmlns:a16="http://schemas.microsoft.com/office/drawing/2014/main" id="{B044F40C-A0F3-DF77-885E-45F654D64FEA}"/>
                  </a:ext>
                </a:extLst>
              </p:cNvPr>
              <p:cNvSpPr/>
              <p:nvPr/>
            </p:nvSpPr>
            <p:spPr>
              <a:xfrm>
                <a:off x="8548888" y="3155008"/>
                <a:ext cx="74940" cy="10583"/>
              </a:xfrm>
              <a:custGeom>
                <a:avLst/>
                <a:gdLst>
                  <a:gd name="connsiteX0" fmla="*/ 0 w 74940"/>
                  <a:gd name="connsiteY0" fmla="*/ 0 h 10583"/>
                  <a:gd name="connsiteX1" fmla="*/ 74940 w 74940"/>
                  <a:gd name="connsiteY1" fmla="*/ 0 h 10583"/>
                </a:gdLst>
                <a:ahLst/>
                <a:cxnLst>
                  <a:cxn ang="0">
                    <a:pos x="connsiteX0" y="connsiteY0"/>
                  </a:cxn>
                  <a:cxn ang="0">
                    <a:pos x="connsiteX1" y="connsiteY1"/>
                  </a:cxn>
                </a:cxnLst>
                <a:rect l="l" t="t" r="r" b="b"/>
                <a:pathLst>
                  <a:path w="74940" h="10583">
                    <a:moveTo>
                      <a:pt x="0" y="0"/>
                    </a:moveTo>
                    <a:lnTo>
                      <a:pt x="74940" y="0"/>
                    </a:lnTo>
                  </a:path>
                </a:pathLst>
              </a:custGeom>
              <a:ln w="12700" cap="sq">
                <a:solidFill>
                  <a:srgbClr val="002985"/>
                </a:solidFill>
                <a:prstDash val="solid"/>
                <a:miter/>
              </a:ln>
            </p:spPr>
            <p:txBody>
              <a:bodyPr rtlCol="0" anchor="ctr"/>
              <a:lstStyle/>
              <a:p>
                <a:endParaRPr lang="en-US" sz="1800"/>
              </a:p>
            </p:txBody>
          </p:sp>
          <p:sp>
            <p:nvSpPr>
              <p:cNvPr id="1341" name="Freeform 300">
                <a:extLst>
                  <a:ext uri="{FF2B5EF4-FFF2-40B4-BE49-F238E27FC236}">
                    <a16:creationId xmlns:a16="http://schemas.microsoft.com/office/drawing/2014/main" id="{25F101DC-83CC-95EA-5512-E59D71A4E17C}"/>
                  </a:ext>
                </a:extLst>
              </p:cNvPr>
              <p:cNvSpPr/>
              <p:nvPr/>
            </p:nvSpPr>
            <p:spPr>
              <a:xfrm>
                <a:off x="8586353" y="3129713"/>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endParaRPr lang="en-US" sz="1800"/>
              </a:p>
            </p:txBody>
          </p:sp>
          <p:sp>
            <p:nvSpPr>
              <p:cNvPr id="1342" name="Freeform 301">
                <a:extLst>
                  <a:ext uri="{FF2B5EF4-FFF2-40B4-BE49-F238E27FC236}">
                    <a16:creationId xmlns:a16="http://schemas.microsoft.com/office/drawing/2014/main" id="{9F7B0AA2-E200-8803-3F53-8F5054E6F2C3}"/>
                  </a:ext>
                </a:extLst>
              </p:cNvPr>
              <p:cNvSpPr/>
              <p:nvPr/>
            </p:nvSpPr>
            <p:spPr>
              <a:xfrm>
                <a:off x="8570870" y="3155008"/>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endParaRPr lang="en-US" sz="1800"/>
              </a:p>
            </p:txBody>
          </p:sp>
          <p:sp>
            <p:nvSpPr>
              <p:cNvPr id="1343" name="Freeform 302">
                <a:extLst>
                  <a:ext uri="{FF2B5EF4-FFF2-40B4-BE49-F238E27FC236}">
                    <a16:creationId xmlns:a16="http://schemas.microsoft.com/office/drawing/2014/main" id="{02A884A1-CF84-B361-42F2-B2E99DB9945A}"/>
                  </a:ext>
                </a:extLst>
              </p:cNvPr>
              <p:cNvSpPr/>
              <p:nvPr/>
            </p:nvSpPr>
            <p:spPr>
              <a:xfrm>
                <a:off x="8608335" y="3129713"/>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endParaRPr lang="en-US" sz="1800"/>
              </a:p>
            </p:txBody>
          </p:sp>
          <p:sp>
            <p:nvSpPr>
              <p:cNvPr id="1344" name="Freeform 303">
                <a:extLst>
                  <a:ext uri="{FF2B5EF4-FFF2-40B4-BE49-F238E27FC236}">
                    <a16:creationId xmlns:a16="http://schemas.microsoft.com/office/drawing/2014/main" id="{28BFF9E5-F42A-15C4-E4A7-B0F9673227F0}"/>
                  </a:ext>
                </a:extLst>
              </p:cNvPr>
              <p:cNvSpPr/>
              <p:nvPr/>
            </p:nvSpPr>
            <p:spPr>
              <a:xfrm>
                <a:off x="8585528" y="3155008"/>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endParaRPr lang="en-US" sz="1800"/>
              </a:p>
            </p:txBody>
          </p:sp>
          <p:sp>
            <p:nvSpPr>
              <p:cNvPr id="1345" name="Freeform 304">
                <a:extLst>
                  <a:ext uri="{FF2B5EF4-FFF2-40B4-BE49-F238E27FC236}">
                    <a16:creationId xmlns:a16="http://schemas.microsoft.com/office/drawing/2014/main" id="{7DC6A034-F968-0DDF-35A4-F755A54361AD}"/>
                  </a:ext>
                </a:extLst>
              </p:cNvPr>
              <p:cNvSpPr/>
              <p:nvPr/>
            </p:nvSpPr>
            <p:spPr>
              <a:xfrm>
                <a:off x="8622993" y="3129713"/>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endParaRPr lang="en-US" sz="1800"/>
              </a:p>
            </p:txBody>
          </p:sp>
          <p:sp>
            <p:nvSpPr>
              <p:cNvPr id="1346" name="Freeform 305">
                <a:extLst>
                  <a:ext uri="{FF2B5EF4-FFF2-40B4-BE49-F238E27FC236}">
                    <a16:creationId xmlns:a16="http://schemas.microsoft.com/office/drawing/2014/main" id="{21CB3EC2-AF30-DA11-C0C9-8720F37582D6}"/>
                  </a:ext>
                </a:extLst>
              </p:cNvPr>
              <p:cNvSpPr/>
              <p:nvPr/>
            </p:nvSpPr>
            <p:spPr>
              <a:xfrm>
                <a:off x="8585528" y="3155008"/>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endParaRPr lang="en-US" sz="1800"/>
              </a:p>
            </p:txBody>
          </p:sp>
          <p:sp>
            <p:nvSpPr>
              <p:cNvPr id="1347" name="Freeform 306">
                <a:extLst>
                  <a:ext uri="{FF2B5EF4-FFF2-40B4-BE49-F238E27FC236}">
                    <a16:creationId xmlns:a16="http://schemas.microsoft.com/office/drawing/2014/main" id="{3C5DF056-79B3-9A44-B1BC-452709F38C01}"/>
                  </a:ext>
                </a:extLst>
              </p:cNvPr>
              <p:cNvSpPr/>
              <p:nvPr/>
            </p:nvSpPr>
            <p:spPr>
              <a:xfrm>
                <a:off x="8622993" y="3129713"/>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endParaRPr lang="en-US" sz="1800"/>
              </a:p>
            </p:txBody>
          </p:sp>
          <p:sp>
            <p:nvSpPr>
              <p:cNvPr id="1348" name="Freeform 307">
                <a:extLst>
                  <a:ext uri="{FF2B5EF4-FFF2-40B4-BE49-F238E27FC236}">
                    <a16:creationId xmlns:a16="http://schemas.microsoft.com/office/drawing/2014/main" id="{E6DDA358-7043-E19A-D15B-8CB786397A0C}"/>
                  </a:ext>
                </a:extLst>
              </p:cNvPr>
              <p:cNvSpPr/>
              <p:nvPr/>
            </p:nvSpPr>
            <p:spPr>
              <a:xfrm>
                <a:off x="8592851" y="3155008"/>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endParaRPr lang="en-US" sz="1800"/>
              </a:p>
            </p:txBody>
          </p:sp>
          <p:sp>
            <p:nvSpPr>
              <p:cNvPr id="1349" name="Freeform 308">
                <a:extLst>
                  <a:ext uri="{FF2B5EF4-FFF2-40B4-BE49-F238E27FC236}">
                    <a16:creationId xmlns:a16="http://schemas.microsoft.com/office/drawing/2014/main" id="{81E45956-10BB-85DF-5AEC-570FE7C1B147}"/>
                  </a:ext>
                </a:extLst>
              </p:cNvPr>
              <p:cNvSpPr/>
              <p:nvPr/>
            </p:nvSpPr>
            <p:spPr>
              <a:xfrm>
                <a:off x="8630327" y="3129713"/>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endParaRPr lang="en-US" sz="1800"/>
              </a:p>
            </p:txBody>
          </p:sp>
          <p:sp>
            <p:nvSpPr>
              <p:cNvPr id="1350" name="Freeform 309">
                <a:extLst>
                  <a:ext uri="{FF2B5EF4-FFF2-40B4-BE49-F238E27FC236}">
                    <a16:creationId xmlns:a16="http://schemas.microsoft.com/office/drawing/2014/main" id="{44D3548E-BA1E-5DA1-94D6-0C9329402E45}"/>
                  </a:ext>
                </a:extLst>
              </p:cNvPr>
              <p:cNvSpPr/>
              <p:nvPr/>
            </p:nvSpPr>
            <p:spPr>
              <a:xfrm>
                <a:off x="8607340" y="3155008"/>
                <a:ext cx="74940" cy="10583"/>
              </a:xfrm>
              <a:custGeom>
                <a:avLst/>
                <a:gdLst>
                  <a:gd name="connsiteX0" fmla="*/ 0 w 74940"/>
                  <a:gd name="connsiteY0" fmla="*/ 0 h 10583"/>
                  <a:gd name="connsiteX1" fmla="*/ 74940 w 74940"/>
                  <a:gd name="connsiteY1" fmla="*/ 0 h 10583"/>
                </a:gdLst>
                <a:ahLst/>
                <a:cxnLst>
                  <a:cxn ang="0">
                    <a:pos x="connsiteX0" y="connsiteY0"/>
                  </a:cxn>
                  <a:cxn ang="0">
                    <a:pos x="connsiteX1" y="connsiteY1"/>
                  </a:cxn>
                </a:cxnLst>
                <a:rect l="l" t="t" r="r" b="b"/>
                <a:pathLst>
                  <a:path w="74940" h="10583">
                    <a:moveTo>
                      <a:pt x="0" y="0"/>
                    </a:moveTo>
                    <a:lnTo>
                      <a:pt x="74940" y="0"/>
                    </a:lnTo>
                  </a:path>
                </a:pathLst>
              </a:custGeom>
              <a:ln w="12700" cap="sq">
                <a:solidFill>
                  <a:srgbClr val="002985"/>
                </a:solidFill>
                <a:prstDash val="solid"/>
                <a:miter/>
              </a:ln>
            </p:spPr>
            <p:txBody>
              <a:bodyPr rtlCol="0" anchor="ctr"/>
              <a:lstStyle/>
              <a:p>
                <a:endParaRPr lang="en-US" sz="1800"/>
              </a:p>
            </p:txBody>
          </p:sp>
          <p:sp>
            <p:nvSpPr>
              <p:cNvPr id="1351" name="Freeform 310">
                <a:extLst>
                  <a:ext uri="{FF2B5EF4-FFF2-40B4-BE49-F238E27FC236}">
                    <a16:creationId xmlns:a16="http://schemas.microsoft.com/office/drawing/2014/main" id="{F6128987-6375-EE2F-1B6B-2DC05CBDAC07}"/>
                  </a:ext>
                </a:extLst>
              </p:cNvPr>
              <p:cNvSpPr/>
              <p:nvPr/>
            </p:nvSpPr>
            <p:spPr>
              <a:xfrm>
                <a:off x="8644815" y="3129713"/>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endParaRPr lang="en-US" sz="1800"/>
              </a:p>
            </p:txBody>
          </p:sp>
          <p:sp>
            <p:nvSpPr>
              <p:cNvPr id="1352" name="Freeform 311">
                <a:extLst>
                  <a:ext uri="{FF2B5EF4-FFF2-40B4-BE49-F238E27FC236}">
                    <a16:creationId xmlns:a16="http://schemas.microsoft.com/office/drawing/2014/main" id="{E084A8D8-6742-DE81-BBBB-A5EA830F2C13}"/>
                  </a:ext>
                </a:extLst>
              </p:cNvPr>
              <p:cNvSpPr/>
              <p:nvPr/>
            </p:nvSpPr>
            <p:spPr>
              <a:xfrm>
                <a:off x="8636656" y="3155008"/>
                <a:ext cx="74930" cy="10583"/>
              </a:xfrm>
              <a:custGeom>
                <a:avLst/>
                <a:gdLst>
                  <a:gd name="connsiteX0" fmla="*/ 0 w 74930"/>
                  <a:gd name="connsiteY0" fmla="*/ 0 h 10583"/>
                  <a:gd name="connsiteX1" fmla="*/ 74930 w 74930"/>
                  <a:gd name="connsiteY1" fmla="*/ 0 h 10583"/>
                </a:gdLst>
                <a:ahLst/>
                <a:cxnLst>
                  <a:cxn ang="0">
                    <a:pos x="connsiteX0" y="connsiteY0"/>
                  </a:cxn>
                  <a:cxn ang="0">
                    <a:pos x="connsiteX1" y="connsiteY1"/>
                  </a:cxn>
                </a:cxnLst>
                <a:rect l="l" t="t" r="r" b="b"/>
                <a:pathLst>
                  <a:path w="74930" h="10583">
                    <a:moveTo>
                      <a:pt x="0" y="0"/>
                    </a:moveTo>
                    <a:lnTo>
                      <a:pt x="74930" y="0"/>
                    </a:lnTo>
                  </a:path>
                </a:pathLst>
              </a:custGeom>
              <a:ln w="12700" cap="sq">
                <a:solidFill>
                  <a:srgbClr val="002985"/>
                </a:solidFill>
                <a:prstDash val="solid"/>
                <a:miter/>
              </a:ln>
            </p:spPr>
            <p:txBody>
              <a:bodyPr rtlCol="0" anchor="ctr"/>
              <a:lstStyle/>
              <a:p>
                <a:endParaRPr lang="en-US" sz="1800"/>
              </a:p>
            </p:txBody>
          </p:sp>
          <p:sp>
            <p:nvSpPr>
              <p:cNvPr id="1353" name="Freeform 312">
                <a:extLst>
                  <a:ext uri="{FF2B5EF4-FFF2-40B4-BE49-F238E27FC236}">
                    <a16:creationId xmlns:a16="http://schemas.microsoft.com/office/drawing/2014/main" id="{D5CDBAE5-3493-C0DF-D282-3949129E0008}"/>
                  </a:ext>
                </a:extLst>
              </p:cNvPr>
              <p:cNvSpPr/>
              <p:nvPr/>
            </p:nvSpPr>
            <p:spPr>
              <a:xfrm>
                <a:off x="8674121" y="3129713"/>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endParaRPr lang="en-US" sz="1800"/>
              </a:p>
            </p:txBody>
          </p:sp>
          <p:sp>
            <p:nvSpPr>
              <p:cNvPr id="1354" name="Freeform 313">
                <a:extLst>
                  <a:ext uri="{FF2B5EF4-FFF2-40B4-BE49-F238E27FC236}">
                    <a16:creationId xmlns:a16="http://schemas.microsoft.com/office/drawing/2014/main" id="{FBAB517E-8544-95F9-99B6-3EB2164587CC}"/>
                  </a:ext>
                </a:extLst>
              </p:cNvPr>
              <p:cNvSpPr/>
              <p:nvPr/>
            </p:nvSpPr>
            <p:spPr>
              <a:xfrm>
                <a:off x="8643979" y="3155008"/>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endParaRPr lang="en-US" sz="1800"/>
              </a:p>
            </p:txBody>
          </p:sp>
          <p:sp>
            <p:nvSpPr>
              <p:cNvPr id="1355" name="Freeform 314">
                <a:extLst>
                  <a:ext uri="{FF2B5EF4-FFF2-40B4-BE49-F238E27FC236}">
                    <a16:creationId xmlns:a16="http://schemas.microsoft.com/office/drawing/2014/main" id="{AC073706-E6B5-513D-2F64-3E0CF9448321}"/>
                  </a:ext>
                </a:extLst>
              </p:cNvPr>
              <p:cNvSpPr/>
              <p:nvPr/>
            </p:nvSpPr>
            <p:spPr>
              <a:xfrm>
                <a:off x="8681444" y="3129713"/>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endParaRPr lang="en-US" sz="1800"/>
              </a:p>
            </p:txBody>
          </p:sp>
          <p:sp>
            <p:nvSpPr>
              <p:cNvPr id="1356" name="Freeform 315">
                <a:extLst>
                  <a:ext uri="{FF2B5EF4-FFF2-40B4-BE49-F238E27FC236}">
                    <a16:creationId xmlns:a16="http://schemas.microsoft.com/office/drawing/2014/main" id="{556DD6D5-EF71-C66D-C804-7E54243A0777}"/>
                  </a:ext>
                </a:extLst>
              </p:cNvPr>
              <p:cNvSpPr/>
              <p:nvPr/>
            </p:nvSpPr>
            <p:spPr>
              <a:xfrm>
                <a:off x="8812011" y="3155008"/>
                <a:ext cx="74940" cy="10583"/>
              </a:xfrm>
              <a:custGeom>
                <a:avLst/>
                <a:gdLst>
                  <a:gd name="connsiteX0" fmla="*/ 0 w 74940"/>
                  <a:gd name="connsiteY0" fmla="*/ 0 h 10583"/>
                  <a:gd name="connsiteX1" fmla="*/ 74940 w 74940"/>
                  <a:gd name="connsiteY1" fmla="*/ 0 h 10583"/>
                </a:gdLst>
                <a:ahLst/>
                <a:cxnLst>
                  <a:cxn ang="0">
                    <a:pos x="connsiteX0" y="connsiteY0"/>
                  </a:cxn>
                  <a:cxn ang="0">
                    <a:pos x="connsiteX1" y="connsiteY1"/>
                  </a:cxn>
                </a:cxnLst>
                <a:rect l="l" t="t" r="r" b="b"/>
                <a:pathLst>
                  <a:path w="74940" h="10583">
                    <a:moveTo>
                      <a:pt x="0" y="0"/>
                    </a:moveTo>
                    <a:lnTo>
                      <a:pt x="74940" y="0"/>
                    </a:lnTo>
                  </a:path>
                </a:pathLst>
              </a:custGeom>
              <a:ln w="12700" cap="sq">
                <a:solidFill>
                  <a:srgbClr val="002985"/>
                </a:solidFill>
                <a:prstDash val="solid"/>
                <a:miter/>
              </a:ln>
            </p:spPr>
            <p:txBody>
              <a:bodyPr rtlCol="0" anchor="ctr"/>
              <a:lstStyle/>
              <a:p>
                <a:endParaRPr lang="en-US" sz="1800"/>
              </a:p>
            </p:txBody>
          </p:sp>
          <p:sp>
            <p:nvSpPr>
              <p:cNvPr id="1357" name="Freeform 316">
                <a:extLst>
                  <a:ext uri="{FF2B5EF4-FFF2-40B4-BE49-F238E27FC236}">
                    <a16:creationId xmlns:a16="http://schemas.microsoft.com/office/drawing/2014/main" id="{9C3A7B1E-1D1E-0372-C697-EB37CD4A5EEE}"/>
                  </a:ext>
                </a:extLst>
              </p:cNvPr>
              <p:cNvSpPr/>
              <p:nvPr/>
            </p:nvSpPr>
            <p:spPr>
              <a:xfrm>
                <a:off x="8849476" y="3129713"/>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endParaRPr lang="en-US" sz="1800"/>
              </a:p>
            </p:txBody>
          </p:sp>
          <p:sp>
            <p:nvSpPr>
              <p:cNvPr id="1358" name="Freeform 317">
                <a:extLst>
                  <a:ext uri="{FF2B5EF4-FFF2-40B4-BE49-F238E27FC236}">
                    <a16:creationId xmlns:a16="http://schemas.microsoft.com/office/drawing/2014/main" id="{8F766C68-15EE-14AE-C383-63E8C3590238}"/>
                  </a:ext>
                </a:extLst>
              </p:cNvPr>
              <p:cNvSpPr/>
              <p:nvPr/>
            </p:nvSpPr>
            <p:spPr>
              <a:xfrm>
                <a:off x="8826500" y="3155008"/>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endParaRPr lang="en-US" sz="1800"/>
              </a:p>
            </p:txBody>
          </p:sp>
          <p:sp>
            <p:nvSpPr>
              <p:cNvPr id="1359" name="Freeform 318">
                <a:extLst>
                  <a:ext uri="{FF2B5EF4-FFF2-40B4-BE49-F238E27FC236}">
                    <a16:creationId xmlns:a16="http://schemas.microsoft.com/office/drawing/2014/main" id="{3B757959-5A5A-CD14-F119-A437C59712C0}"/>
                  </a:ext>
                </a:extLst>
              </p:cNvPr>
              <p:cNvSpPr/>
              <p:nvPr/>
            </p:nvSpPr>
            <p:spPr>
              <a:xfrm>
                <a:off x="8863965" y="3129713"/>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endParaRPr lang="en-US" sz="1800"/>
              </a:p>
            </p:txBody>
          </p:sp>
          <p:sp>
            <p:nvSpPr>
              <p:cNvPr id="1360" name="Freeform 319">
                <a:extLst>
                  <a:ext uri="{FF2B5EF4-FFF2-40B4-BE49-F238E27FC236}">
                    <a16:creationId xmlns:a16="http://schemas.microsoft.com/office/drawing/2014/main" id="{9537BD02-BFD2-9CC3-A784-F90612421C36}"/>
                  </a:ext>
                </a:extLst>
              </p:cNvPr>
              <p:cNvSpPr/>
              <p:nvPr/>
            </p:nvSpPr>
            <p:spPr>
              <a:xfrm>
                <a:off x="8833823" y="3155008"/>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endParaRPr lang="en-US" sz="1800"/>
              </a:p>
            </p:txBody>
          </p:sp>
          <p:sp>
            <p:nvSpPr>
              <p:cNvPr id="1361" name="Freeform 320">
                <a:extLst>
                  <a:ext uri="{FF2B5EF4-FFF2-40B4-BE49-F238E27FC236}">
                    <a16:creationId xmlns:a16="http://schemas.microsoft.com/office/drawing/2014/main" id="{50496F4F-1D49-188F-7FAA-EA1695A709C9}"/>
                  </a:ext>
                </a:extLst>
              </p:cNvPr>
              <p:cNvSpPr/>
              <p:nvPr/>
            </p:nvSpPr>
            <p:spPr>
              <a:xfrm>
                <a:off x="8871299" y="3129713"/>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endParaRPr lang="en-US" sz="1800"/>
              </a:p>
            </p:txBody>
          </p:sp>
          <p:sp>
            <p:nvSpPr>
              <p:cNvPr id="1362" name="Freeform 321">
                <a:extLst>
                  <a:ext uri="{FF2B5EF4-FFF2-40B4-BE49-F238E27FC236}">
                    <a16:creationId xmlns:a16="http://schemas.microsoft.com/office/drawing/2014/main" id="{67DA6B89-6797-EB4A-FC05-F29568A2B04F}"/>
                  </a:ext>
                </a:extLst>
              </p:cNvPr>
              <p:cNvSpPr/>
              <p:nvPr/>
            </p:nvSpPr>
            <p:spPr>
              <a:xfrm>
                <a:off x="8863139" y="3155008"/>
                <a:ext cx="74930" cy="10583"/>
              </a:xfrm>
              <a:custGeom>
                <a:avLst/>
                <a:gdLst>
                  <a:gd name="connsiteX0" fmla="*/ 0 w 74930"/>
                  <a:gd name="connsiteY0" fmla="*/ 0 h 10583"/>
                  <a:gd name="connsiteX1" fmla="*/ 74930 w 74930"/>
                  <a:gd name="connsiteY1" fmla="*/ 0 h 10583"/>
                </a:gdLst>
                <a:ahLst/>
                <a:cxnLst>
                  <a:cxn ang="0">
                    <a:pos x="connsiteX0" y="connsiteY0"/>
                  </a:cxn>
                  <a:cxn ang="0">
                    <a:pos x="connsiteX1" y="connsiteY1"/>
                  </a:cxn>
                </a:cxnLst>
                <a:rect l="l" t="t" r="r" b="b"/>
                <a:pathLst>
                  <a:path w="74930" h="10583">
                    <a:moveTo>
                      <a:pt x="0" y="0"/>
                    </a:moveTo>
                    <a:lnTo>
                      <a:pt x="74930" y="0"/>
                    </a:lnTo>
                  </a:path>
                </a:pathLst>
              </a:custGeom>
              <a:ln w="12700" cap="sq">
                <a:solidFill>
                  <a:srgbClr val="002985"/>
                </a:solidFill>
                <a:prstDash val="solid"/>
                <a:miter/>
              </a:ln>
            </p:spPr>
            <p:txBody>
              <a:bodyPr rtlCol="0" anchor="ctr"/>
              <a:lstStyle/>
              <a:p>
                <a:endParaRPr lang="en-US" sz="1800"/>
              </a:p>
            </p:txBody>
          </p:sp>
          <p:sp>
            <p:nvSpPr>
              <p:cNvPr id="1363" name="Freeform 322">
                <a:extLst>
                  <a:ext uri="{FF2B5EF4-FFF2-40B4-BE49-F238E27FC236}">
                    <a16:creationId xmlns:a16="http://schemas.microsoft.com/office/drawing/2014/main" id="{A71344FA-A127-EFC6-E7DB-993A9CB4C506}"/>
                  </a:ext>
                </a:extLst>
              </p:cNvPr>
              <p:cNvSpPr/>
              <p:nvPr/>
            </p:nvSpPr>
            <p:spPr>
              <a:xfrm>
                <a:off x="8900604" y="3129713"/>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endParaRPr lang="en-US" sz="1800"/>
              </a:p>
            </p:txBody>
          </p:sp>
          <p:sp>
            <p:nvSpPr>
              <p:cNvPr id="1364" name="Freeform 323">
                <a:extLst>
                  <a:ext uri="{FF2B5EF4-FFF2-40B4-BE49-F238E27FC236}">
                    <a16:creationId xmlns:a16="http://schemas.microsoft.com/office/drawing/2014/main" id="{A537D416-ED6F-6E6D-A583-D2BAAC5E2232}"/>
                  </a:ext>
                </a:extLst>
              </p:cNvPr>
              <p:cNvSpPr/>
              <p:nvPr/>
            </p:nvSpPr>
            <p:spPr>
              <a:xfrm>
                <a:off x="8884951" y="3155008"/>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endParaRPr lang="en-US" sz="1800"/>
              </a:p>
            </p:txBody>
          </p:sp>
          <p:sp>
            <p:nvSpPr>
              <p:cNvPr id="1365" name="Freeform 324">
                <a:extLst>
                  <a:ext uri="{FF2B5EF4-FFF2-40B4-BE49-F238E27FC236}">
                    <a16:creationId xmlns:a16="http://schemas.microsoft.com/office/drawing/2014/main" id="{3B842D05-F21D-E0C0-79C7-1E013D7DB0E9}"/>
                  </a:ext>
                </a:extLst>
              </p:cNvPr>
              <p:cNvSpPr/>
              <p:nvPr/>
            </p:nvSpPr>
            <p:spPr>
              <a:xfrm>
                <a:off x="8922416" y="3129713"/>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endParaRPr lang="en-US" sz="1800"/>
              </a:p>
            </p:txBody>
          </p:sp>
          <p:sp>
            <p:nvSpPr>
              <p:cNvPr id="1366" name="Freeform 325">
                <a:extLst>
                  <a:ext uri="{FF2B5EF4-FFF2-40B4-BE49-F238E27FC236}">
                    <a16:creationId xmlns:a16="http://schemas.microsoft.com/office/drawing/2014/main" id="{3E3C3D13-2E54-30A7-9C6D-10D1C802C90A}"/>
                  </a:ext>
                </a:extLst>
              </p:cNvPr>
              <p:cNvSpPr/>
              <p:nvPr/>
            </p:nvSpPr>
            <p:spPr>
              <a:xfrm>
                <a:off x="8950727" y="3155008"/>
                <a:ext cx="74940" cy="10583"/>
              </a:xfrm>
              <a:custGeom>
                <a:avLst/>
                <a:gdLst>
                  <a:gd name="connsiteX0" fmla="*/ 0 w 74940"/>
                  <a:gd name="connsiteY0" fmla="*/ 0 h 10583"/>
                  <a:gd name="connsiteX1" fmla="*/ 74940 w 74940"/>
                  <a:gd name="connsiteY1" fmla="*/ 0 h 10583"/>
                </a:gdLst>
                <a:ahLst/>
                <a:cxnLst>
                  <a:cxn ang="0">
                    <a:pos x="connsiteX0" y="connsiteY0"/>
                  </a:cxn>
                  <a:cxn ang="0">
                    <a:pos x="connsiteX1" y="connsiteY1"/>
                  </a:cxn>
                </a:cxnLst>
                <a:rect l="l" t="t" r="r" b="b"/>
                <a:pathLst>
                  <a:path w="74940" h="10583">
                    <a:moveTo>
                      <a:pt x="0" y="0"/>
                    </a:moveTo>
                    <a:lnTo>
                      <a:pt x="74940" y="0"/>
                    </a:lnTo>
                  </a:path>
                </a:pathLst>
              </a:custGeom>
              <a:ln w="12700" cap="sq">
                <a:solidFill>
                  <a:srgbClr val="002985"/>
                </a:solidFill>
                <a:prstDash val="solid"/>
                <a:miter/>
              </a:ln>
            </p:spPr>
            <p:txBody>
              <a:bodyPr rtlCol="0" anchor="ctr"/>
              <a:lstStyle/>
              <a:p>
                <a:endParaRPr lang="en-US" sz="1800"/>
              </a:p>
            </p:txBody>
          </p:sp>
          <p:sp>
            <p:nvSpPr>
              <p:cNvPr id="1367" name="Freeform 326">
                <a:extLst>
                  <a:ext uri="{FF2B5EF4-FFF2-40B4-BE49-F238E27FC236}">
                    <a16:creationId xmlns:a16="http://schemas.microsoft.com/office/drawing/2014/main" id="{FDE1F304-5D5A-456E-DDBF-E84E42FDADB9}"/>
                  </a:ext>
                </a:extLst>
              </p:cNvPr>
              <p:cNvSpPr/>
              <p:nvPr/>
            </p:nvSpPr>
            <p:spPr>
              <a:xfrm>
                <a:off x="8988202" y="3129713"/>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endParaRPr lang="en-US" sz="1800"/>
              </a:p>
            </p:txBody>
          </p:sp>
          <p:sp>
            <p:nvSpPr>
              <p:cNvPr id="1368" name="Freeform 327">
                <a:extLst>
                  <a:ext uri="{FF2B5EF4-FFF2-40B4-BE49-F238E27FC236}">
                    <a16:creationId xmlns:a16="http://schemas.microsoft.com/office/drawing/2014/main" id="{9FB63C57-21E5-3010-B3C1-5E7908940B0C}"/>
                  </a:ext>
                </a:extLst>
              </p:cNvPr>
              <p:cNvSpPr/>
              <p:nvPr/>
            </p:nvSpPr>
            <p:spPr>
              <a:xfrm>
                <a:off x="9074964" y="3155008"/>
                <a:ext cx="74940" cy="10583"/>
              </a:xfrm>
              <a:custGeom>
                <a:avLst/>
                <a:gdLst>
                  <a:gd name="connsiteX0" fmla="*/ 0 w 74940"/>
                  <a:gd name="connsiteY0" fmla="*/ 0 h 10583"/>
                  <a:gd name="connsiteX1" fmla="*/ 74940 w 74940"/>
                  <a:gd name="connsiteY1" fmla="*/ 0 h 10583"/>
                </a:gdLst>
                <a:ahLst/>
                <a:cxnLst>
                  <a:cxn ang="0">
                    <a:pos x="connsiteX0" y="connsiteY0"/>
                  </a:cxn>
                  <a:cxn ang="0">
                    <a:pos x="connsiteX1" y="connsiteY1"/>
                  </a:cxn>
                </a:cxnLst>
                <a:rect l="l" t="t" r="r" b="b"/>
                <a:pathLst>
                  <a:path w="74940" h="10583">
                    <a:moveTo>
                      <a:pt x="0" y="0"/>
                    </a:moveTo>
                    <a:lnTo>
                      <a:pt x="74940" y="0"/>
                    </a:lnTo>
                  </a:path>
                </a:pathLst>
              </a:custGeom>
              <a:ln w="12700" cap="sq">
                <a:solidFill>
                  <a:srgbClr val="002985"/>
                </a:solidFill>
                <a:prstDash val="solid"/>
                <a:miter/>
              </a:ln>
            </p:spPr>
            <p:txBody>
              <a:bodyPr rtlCol="0" anchor="ctr"/>
              <a:lstStyle/>
              <a:p>
                <a:endParaRPr lang="en-US" sz="1800"/>
              </a:p>
            </p:txBody>
          </p:sp>
          <p:sp>
            <p:nvSpPr>
              <p:cNvPr id="1369" name="Freeform 328">
                <a:extLst>
                  <a:ext uri="{FF2B5EF4-FFF2-40B4-BE49-F238E27FC236}">
                    <a16:creationId xmlns:a16="http://schemas.microsoft.com/office/drawing/2014/main" id="{59CF8918-DC57-3BC8-7869-539C342B9C12}"/>
                  </a:ext>
                </a:extLst>
              </p:cNvPr>
              <p:cNvSpPr/>
              <p:nvPr/>
            </p:nvSpPr>
            <p:spPr>
              <a:xfrm>
                <a:off x="9112429" y="3129713"/>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endParaRPr lang="en-US" sz="1800"/>
              </a:p>
            </p:txBody>
          </p:sp>
          <p:sp>
            <p:nvSpPr>
              <p:cNvPr id="1370" name="Freeform 329">
                <a:extLst>
                  <a:ext uri="{FF2B5EF4-FFF2-40B4-BE49-F238E27FC236}">
                    <a16:creationId xmlns:a16="http://schemas.microsoft.com/office/drawing/2014/main" id="{FDBE897F-1D7E-8D57-1E17-DFC723DB2D2C}"/>
                  </a:ext>
                </a:extLst>
              </p:cNvPr>
              <p:cNvSpPr/>
              <p:nvPr/>
            </p:nvSpPr>
            <p:spPr>
              <a:xfrm>
                <a:off x="9140750" y="3155008"/>
                <a:ext cx="74930" cy="10583"/>
              </a:xfrm>
              <a:custGeom>
                <a:avLst/>
                <a:gdLst>
                  <a:gd name="connsiteX0" fmla="*/ 0 w 74930"/>
                  <a:gd name="connsiteY0" fmla="*/ 0 h 10583"/>
                  <a:gd name="connsiteX1" fmla="*/ 74930 w 74930"/>
                  <a:gd name="connsiteY1" fmla="*/ 0 h 10583"/>
                </a:gdLst>
                <a:ahLst/>
                <a:cxnLst>
                  <a:cxn ang="0">
                    <a:pos x="connsiteX0" y="connsiteY0"/>
                  </a:cxn>
                  <a:cxn ang="0">
                    <a:pos x="connsiteX1" y="connsiteY1"/>
                  </a:cxn>
                </a:cxnLst>
                <a:rect l="l" t="t" r="r" b="b"/>
                <a:pathLst>
                  <a:path w="74930" h="10583">
                    <a:moveTo>
                      <a:pt x="0" y="0"/>
                    </a:moveTo>
                    <a:lnTo>
                      <a:pt x="74930" y="0"/>
                    </a:lnTo>
                  </a:path>
                </a:pathLst>
              </a:custGeom>
              <a:ln w="12700" cap="sq">
                <a:solidFill>
                  <a:srgbClr val="002985"/>
                </a:solidFill>
                <a:prstDash val="solid"/>
                <a:miter/>
              </a:ln>
            </p:spPr>
            <p:txBody>
              <a:bodyPr rtlCol="0" anchor="ctr"/>
              <a:lstStyle/>
              <a:p>
                <a:endParaRPr lang="en-US" sz="1800"/>
              </a:p>
            </p:txBody>
          </p:sp>
          <p:sp>
            <p:nvSpPr>
              <p:cNvPr id="1371" name="Freeform 330">
                <a:extLst>
                  <a:ext uri="{FF2B5EF4-FFF2-40B4-BE49-F238E27FC236}">
                    <a16:creationId xmlns:a16="http://schemas.microsoft.com/office/drawing/2014/main" id="{5573D70E-E59E-1088-A0D4-430A674EC018}"/>
                  </a:ext>
                </a:extLst>
              </p:cNvPr>
              <p:cNvSpPr/>
              <p:nvPr/>
            </p:nvSpPr>
            <p:spPr>
              <a:xfrm>
                <a:off x="9178215" y="3129713"/>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endParaRPr lang="en-US" sz="1800"/>
              </a:p>
            </p:txBody>
          </p:sp>
          <p:sp>
            <p:nvSpPr>
              <p:cNvPr id="1372" name="Freeform 331">
                <a:extLst>
                  <a:ext uri="{FF2B5EF4-FFF2-40B4-BE49-F238E27FC236}">
                    <a16:creationId xmlns:a16="http://schemas.microsoft.com/office/drawing/2014/main" id="{DA7FB7E8-18F1-6D84-205A-26F9C2621020}"/>
                  </a:ext>
                </a:extLst>
              </p:cNvPr>
              <p:cNvSpPr/>
              <p:nvPr/>
            </p:nvSpPr>
            <p:spPr>
              <a:xfrm>
                <a:off x="9169886" y="3155008"/>
                <a:ext cx="74940" cy="10583"/>
              </a:xfrm>
              <a:custGeom>
                <a:avLst/>
                <a:gdLst>
                  <a:gd name="connsiteX0" fmla="*/ 0 w 74940"/>
                  <a:gd name="connsiteY0" fmla="*/ 0 h 10583"/>
                  <a:gd name="connsiteX1" fmla="*/ 74940 w 74940"/>
                  <a:gd name="connsiteY1" fmla="*/ 0 h 10583"/>
                </a:gdLst>
                <a:ahLst/>
                <a:cxnLst>
                  <a:cxn ang="0">
                    <a:pos x="connsiteX0" y="connsiteY0"/>
                  </a:cxn>
                  <a:cxn ang="0">
                    <a:pos x="connsiteX1" y="connsiteY1"/>
                  </a:cxn>
                </a:cxnLst>
                <a:rect l="l" t="t" r="r" b="b"/>
                <a:pathLst>
                  <a:path w="74940" h="10583">
                    <a:moveTo>
                      <a:pt x="0" y="0"/>
                    </a:moveTo>
                    <a:lnTo>
                      <a:pt x="74940" y="0"/>
                    </a:lnTo>
                  </a:path>
                </a:pathLst>
              </a:custGeom>
              <a:ln w="12700" cap="sq">
                <a:solidFill>
                  <a:srgbClr val="002985"/>
                </a:solidFill>
                <a:prstDash val="solid"/>
                <a:miter/>
              </a:ln>
            </p:spPr>
            <p:txBody>
              <a:bodyPr rtlCol="0" anchor="ctr"/>
              <a:lstStyle/>
              <a:p>
                <a:endParaRPr lang="en-US" sz="1800"/>
              </a:p>
            </p:txBody>
          </p:sp>
          <p:sp>
            <p:nvSpPr>
              <p:cNvPr id="1373" name="Freeform 332">
                <a:extLst>
                  <a:ext uri="{FF2B5EF4-FFF2-40B4-BE49-F238E27FC236}">
                    <a16:creationId xmlns:a16="http://schemas.microsoft.com/office/drawing/2014/main" id="{B7A88E27-A377-93AC-A581-D259B5028E16}"/>
                  </a:ext>
                </a:extLst>
              </p:cNvPr>
              <p:cNvSpPr/>
              <p:nvPr/>
            </p:nvSpPr>
            <p:spPr>
              <a:xfrm>
                <a:off x="9207362" y="3129713"/>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endParaRPr lang="en-US" sz="1800"/>
              </a:p>
            </p:txBody>
          </p:sp>
          <p:sp>
            <p:nvSpPr>
              <p:cNvPr id="1374" name="Freeform 333">
                <a:extLst>
                  <a:ext uri="{FF2B5EF4-FFF2-40B4-BE49-F238E27FC236}">
                    <a16:creationId xmlns:a16="http://schemas.microsoft.com/office/drawing/2014/main" id="{88CBCB3E-8550-1726-67A8-13191BA0B501}"/>
                  </a:ext>
                </a:extLst>
              </p:cNvPr>
              <p:cNvSpPr/>
              <p:nvPr/>
            </p:nvSpPr>
            <p:spPr>
              <a:xfrm>
                <a:off x="9418351" y="3155008"/>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endParaRPr lang="en-US" sz="1800"/>
              </a:p>
            </p:txBody>
          </p:sp>
          <p:sp>
            <p:nvSpPr>
              <p:cNvPr id="1375" name="Freeform 334">
                <a:extLst>
                  <a:ext uri="{FF2B5EF4-FFF2-40B4-BE49-F238E27FC236}">
                    <a16:creationId xmlns:a16="http://schemas.microsoft.com/office/drawing/2014/main" id="{5AEA1B22-DC51-9E1B-1449-63B46A19B579}"/>
                  </a:ext>
                </a:extLst>
              </p:cNvPr>
              <p:cNvSpPr/>
              <p:nvPr/>
            </p:nvSpPr>
            <p:spPr>
              <a:xfrm>
                <a:off x="9455827" y="3129713"/>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endParaRPr lang="en-US" sz="1800"/>
              </a:p>
            </p:txBody>
          </p:sp>
          <p:sp>
            <p:nvSpPr>
              <p:cNvPr id="1376" name="Freeform 335">
                <a:extLst>
                  <a:ext uri="{FF2B5EF4-FFF2-40B4-BE49-F238E27FC236}">
                    <a16:creationId xmlns:a16="http://schemas.microsoft.com/office/drawing/2014/main" id="{98875168-9549-018B-51E7-A2EF9D86E014}"/>
                  </a:ext>
                </a:extLst>
              </p:cNvPr>
              <p:cNvSpPr/>
              <p:nvPr/>
            </p:nvSpPr>
            <p:spPr>
              <a:xfrm>
                <a:off x="9527931" y="3243696"/>
                <a:ext cx="74940" cy="10583"/>
              </a:xfrm>
              <a:custGeom>
                <a:avLst/>
                <a:gdLst>
                  <a:gd name="connsiteX0" fmla="*/ 0 w 74940"/>
                  <a:gd name="connsiteY0" fmla="*/ 0 h 10583"/>
                  <a:gd name="connsiteX1" fmla="*/ 74940 w 74940"/>
                  <a:gd name="connsiteY1" fmla="*/ 0 h 10583"/>
                </a:gdLst>
                <a:ahLst/>
                <a:cxnLst>
                  <a:cxn ang="0">
                    <a:pos x="connsiteX0" y="connsiteY0"/>
                  </a:cxn>
                  <a:cxn ang="0">
                    <a:pos x="connsiteX1" y="connsiteY1"/>
                  </a:cxn>
                </a:cxnLst>
                <a:rect l="l" t="t" r="r" b="b"/>
                <a:pathLst>
                  <a:path w="74940" h="10583">
                    <a:moveTo>
                      <a:pt x="0" y="0"/>
                    </a:moveTo>
                    <a:lnTo>
                      <a:pt x="74940" y="0"/>
                    </a:lnTo>
                  </a:path>
                </a:pathLst>
              </a:custGeom>
              <a:ln w="12700" cap="sq">
                <a:solidFill>
                  <a:srgbClr val="002985"/>
                </a:solidFill>
                <a:prstDash val="solid"/>
                <a:miter/>
              </a:ln>
            </p:spPr>
            <p:txBody>
              <a:bodyPr rtlCol="0" anchor="ctr"/>
              <a:lstStyle/>
              <a:p>
                <a:endParaRPr lang="en-US" sz="1800"/>
              </a:p>
            </p:txBody>
          </p:sp>
          <p:sp>
            <p:nvSpPr>
              <p:cNvPr id="1377" name="Freeform 336">
                <a:extLst>
                  <a:ext uri="{FF2B5EF4-FFF2-40B4-BE49-F238E27FC236}">
                    <a16:creationId xmlns:a16="http://schemas.microsoft.com/office/drawing/2014/main" id="{66494E69-168B-C6FB-8F53-0736B0791A8F}"/>
                  </a:ext>
                </a:extLst>
              </p:cNvPr>
              <p:cNvSpPr/>
              <p:nvPr/>
            </p:nvSpPr>
            <p:spPr>
              <a:xfrm>
                <a:off x="9565407" y="3218412"/>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002985"/>
                </a:solidFill>
                <a:prstDash val="solid"/>
                <a:miter/>
              </a:ln>
            </p:spPr>
            <p:txBody>
              <a:bodyPr rtlCol="0" anchor="ctr"/>
              <a:lstStyle/>
              <a:p>
                <a:endParaRPr lang="en-US" sz="1800"/>
              </a:p>
            </p:txBody>
          </p:sp>
          <p:sp>
            <p:nvSpPr>
              <p:cNvPr id="1378" name="Freeform 337">
                <a:extLst>
                  <a:ext uri="{FF2B5EF4-FFF2-40B4-BE49-F238E27FC236}">
                    <a16:creationId xmlns:a16="http://schemas.microsoft.com/office/drawing/2014/main" id="{696A7F53-39D8-31D9-3BE3-80209DB1E28E}"/>
                  </a:ext>
                </a:extLst>
              </p:cNvPr>
              <p:cNvSpPr/>
              <p:nvPr/>
            </p:nvSpPr>
            <p:spPr>
              <a:xfrm>
                <a:off x="9564401" y="3243696"/>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endParaRPr lang="en-US" sz="1800"/>
              </a:p>
            </p:txBody>
          </p:sp>
          <p:sp>
            <p:nvSpPr>
              <p:cNvPr id="1379" name="Freeform 338">
                <a:extLst>
                  <a:ext uri="{FF2B5EF4-FFF2-40B4-BE49-F238E27FC236}">
                    <a16:creationId xmlns:a16="http://schemas.microsoft.com/office/drawing/2014/main" id="{8AF42D02-2F8A-C490-F55D-BC3ECBB9F8CA}"/>
                  </a:ext>
                </a:extLst>
              </p:cNvPr>
              <p:cNvSpPr/>
              <p:nvPr/>
            </p:nvSpPr>
            <p:spPr>
              <a:xfrm>
                <a:off x="9601877" y="3218412"/>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002985"/>
                </a:solidFill>
                <a:prstDash val="solid"/>
                <a:miter/>
              </a:ln>
            </p:spPr>
            <p:txBody>
              <a:bodyPr rtlCol="0" anchor="ctr"/>
              <a:lstStyle/>
              <a:p>
                <a:endParaRPr lang="en-US" sz="1800"/>
              </a:p>
            </p:txBody>
          </p:sp>
          <p:sp>
            <p:nvSpPr>
              <p:cNvPr id="1380" name="Freeform 339">
                <a:extLst>
                  <a:ext uri="{FF2B5EF4-FFF2-40B4-BE49-F238E27FC236}">
                    <a16:creationId xmlns:a16="http://schemas.microsoft.com/office/drawing/2014/main" id="{8A7936FA-0DE8-0978-0C1F-566255A1D92C}"/>
                  </a:ext>
                </a:extLst>
              </p:cNvPr>
              <p:cNvSpPr/>
              <p:nvPr/>
            </p:nvSpPr>
            <p:spPr>
              <a:xfrm>
                <a:off x="9608206" y="3243696"/>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endParaRPr lang="en-US" sz="1800"/>
              </a:p>
            </p:txBody>
          </p:sp>
          <p:sp>
            <p:nvSpPr>
              <p:cNvPr id="1381" name="Freeform 340">
                <a:extLst>
                  <a:ext uri="{FF2B5EF4-FFF2-40B4-BE49-F238E27FC236}">
                    <a16:creationId xmlns:a16="http://schemas.microsoft.com/office/drawing/2014/main" id="{862B57A0-0C8E-E12B-BCB8-C466C8704827}"/>
                  </a:ext>
                </a:extLst>
              </p:cNvPr>
              <p:cNvSpPr/>
              <p:nvPr/>
            </p:nvSpPr>
            <p:spPr>
              <a:xfrm>
                <a:off x="9645671" y="3218412"/>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002985"/>
                </a:solidFill>
                <a:prstDash val="solid"/>
                <a:miter/>
              </a:ln>
            </p:spPr>
            <p:txBody>
              <a:bodyPr rtlCol="0" anchor="ctr"/>
              <a:lstStyle/>
              <a:p>
                <a:endParaRPr lang="en-US" sz="1800"/>
              </a:p>
            </p:txBody>
          </p:sp>
          <p:sp>
            <p:nvSpPr>
              <p:cNvPr id="1382" name="Freeform 341">
                <a:extLst>
                  <a:ext uri="{FF2B5EF4-FFF2-40B4-BE49-F238E27FC236}">
                    <a16:creationId xmlns:a16="http://schemas.microsoft.com/office/drawing/2014/main" id="{B984C682-2D2D-7733-BD4E-098B31813EFB}"/>
                  </a:ext>
                </a:extLst>
              </p:cNvPr>
              <p:cNvSpPr/>
              <p:nvPr/>
            </p:nvSpPr>
            <p:spPr>
              <a:xfrm>
                <a:off x="9615529" y="3243696"/>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endParaRPr lang="en-US" sz="1800"/>
              </a:p>
            </p:txBody>
          </p:sp>
          <p:sp>
            <p:nvSpPr>
              <p:cNvPr id="1383" name="Freeform 342">
                <a:extLst>
                  <a:ext uri="{FF2B5EF4-FFF2-40B4-BE49-F238E27FC236}">
                    <a16:creationId xmlns:a16="http://schemas.microsoft.com/office/drawing/2014/main" id="{2DE37670-B00E-177A-FA5D-CC30F2E842F6}"/>
                  </a:ext>
                </a:extLst>
              </p:cNvPr>
              <p:cNvSpPr/>
              <p:nvPr/>
            </p:nvSpPr>
            <p:spPr>
              <a:xfrm>
                <a:off x="9652994" y="3218412"/>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002985"/>
                </a:solidFill>
                <a:prstDash val="solid"/>
                <a:miter/>
              </a:ln>
            </p:spPr>
            <p:txBody>
              <a:bodyPr rtlCol="0" anchor="ctr"/>
              <a:lstStyle/>
              <a:p>
                <a:endParaRPr lang="en-US" sz="1800"/>
              </a:p>
            </p:txBody>
          </p:sp>
          <p:sp>
            <p:nvSpPr>
              <p:cNvPr id="1384" name="Freeform 343">
                <a:extLst>
                  <a:ext uri="{FF2B5EF4-FFF2-40B4-BE49-F238E27FC236}">
                    <a16:creationId xmlns:a16="http://schemas.microsoft.com/office/drawing/2014/main" id="{10B97C1B-64AC-93E2-80E1-9E9B922FC65C}"/>
                  </a:ext>
                </a:extLst>
              </p:cNvPr>
              <p:cNvSpPr/>
              <p:nvPr/>
            </p:nvSpPr>
            <p:spPr>
              <a:xfrm>
                <a:off x="9673981" y="3243696"/>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endParaRPr lang="en-US" sz="1800"/>
              </a:p>
            </p:txBody>
          </p:sp>
          <p:sp>
            <p:nvSpPr>
              <p:cNvPr id="1385" name="Freeform 344">
                <a:extLst>
                  <a:ext uri="{FF2B5EF4-FFF2-40B4-BE49-F238E27FC236}">
                    <a16:creationId xmlns:a16="http://schemas.microsoft.com/office/drawing/2014/main" id="{4D9DE5F7-7355-546C-AE09-6B531A7B693F}"/>
                  </a:ext>
                </a:extLst>
              </p:cNvPr>
              <p:cNvSpPr/>
              <p:nvPr/>
            </p:nvSpPr>
            <p:spPr>
              <a:xfrm>
                <a:off x="9711457" y="3218412"/>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002985"/>
                </a:solidFill>
                <a:prstDash val="solid"/>
                <a:miter/>
              </a:ln>
            </p:spPr>
            <p:txBody>
              <a:bodyPr rtlCol="0" anchor="ctr"/>
              <a:lstStyle/>
              <a:p>
                <a:endParaRPr lang="en-US" sz="1800"/>
              </a:p>
            </p:txBody>
          </p:sp>
          <p:sp>
            <p:nvSpPr>
              <p:cNvPr id="1386" name="Freeform 345">
                <a:extLst>
                  <a:ext uri="{FF2B5EF4-FFF2-40B4-BE49-F238E27FC236}">
                    <a16:creationId xmlns:a16="http://schemas.microsoft.com/office/drawing/2014/main" id="{CD5A5201-3342-23E7-5A3F-D06AADEC88A4}"/>
                  </a:ext>
                </a:extLst>
              </p:cNvPr>
              <p:cNvSpPr/>
              <p:nvPr/>
            </p:nvSpPr>
            <p:spPr>
              <a:xfrm>
                <a:off x="9776237" y="3366452"/>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endParaRPr lang="en-US" sz="1800"/>
              </a:p>
            </p:txBody>
          </p:sp>
          <p:sp>
            <p:nvSpPr>
              <p:cNvPr id="1387" name="Freeform 346">
                <a:extLst>
                  <a:ext uri="{FF2B5EF4-FFF2-40B4-BE49-F238E27FC236}">
                    <a16:creationId xmlns:a16="http://schemas.microsoft.com/office/drawing/2014/main" id="{F89652B2-CCE7-4726-A282-88B7E93D7F75}"/>
                  </a:ext>
                </a:extLst>
              </p:cNvPr>
              <p:cNvSpPr/>
              <p:nvPr/>
            </p:nvSpPr>
            <p:spPr>
              <a:xfrm>
                <a:off x="9813702" y="3341158"/>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endParaRPr lang="en-US" sz="1800"/>
              </a:p>
            </p:txBody>
          </p:sp>
          <p:sp>
            <p:nvSpPr>
              <p:cNvPr id="1388" name="Freeform 347">
                <a:extLst>
                  <a:ext uri="{FF2B5EF4-FFF2-40B4-BE49-F238E27FC236}">
                    <a16:creationId xmlns:a16="http://schemas.microsoft.com/office/drawing/2014/main" id="{BA612EE6-C239-0CC7-0085-06516E449B1D}"/>
                  </a:ext>
                </a:extLst>
              </p:cNvPr>
              <p:cNvSpPr/>
              <p:nvPr/>
            </p:nvSpPr>
            <p:spPr>
              <a:xfrm>
                <a:off x="9820031" y="3366452"/>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endParaRPr lang="en-US" sz="1800"/>
              </a:p>
            </p:txBody>
          </p:sp>
          <p:sp>
            <p:nvSpPr>
              <p:cNvPr id="1389" name="Freeform 348">
                <a:extLst>
                  <a:ext uri="{FF2B5EF4-FFF2-40B4-BE49-F238E27FC236}">
                    <a16:creationId xmlns:a16="http://schemas.microsoft.com/office/drawing/2014/main" id="{0600DEAF-7F8C-2EA7-8959-F9DE539CB621}"/>
                  </a:ext>
                </a:extLst>
              </p:cNvPr>
              <p:cNvSpPr/>
              <p:nvPr/>
            </p:nvSpPr>
            <p:spPr>
              <a:xfrm>
                <a:off x="9857496" y="3341158"/>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endParaRPr lang="en-US" sz="1800"/>
              </a:p>
            </p:txBody>
          </p:sp>
          <p:sp>
            <p:nvSpPr>
              <p:cNvPr id="1390" name="Freeform 349">
                <a:extLst>
                  <a:ext uri="{FF2B5EF4-FFF2-40B4-BE49-F238E27FC236}">
                    <a16:creationId xmlns:a16="http://schemas.microsoft.com/office/drawing/2014/main" id="{8094D13A-D322-669D-7A54-28A0E88FFCDF}"/>
                  </a:ext>
                </a:extLst>
              </p:cNvPr>
              <p:cNvSpPr/>
              <p:nvPr/>
            </p:nvSpPr>
            <p:spPr>
              <a:xfrm>
                <a:off x="9849336" y="3366452"/>
                <a:ext cx="74940" cy="10583"/>
              </a:xfrm>
              <a:custGeom>
                <a:avLst/>
                <a:gdLst>
                  <a:gd name="connsiteX0" fmla="*/ 0 w 74940"/>
                  <a:gd name="connsiteY0" fmla="*/ 0 h 10583"/>
                  <a:gd name="connsiteX1" fmla="*/ 74940 w 74940"/>
                  <a:gd name="connsiteY1" fmla="*/ 0 h 10583"/>
                </a:gdLst>
                <a:ahLst/>
                <a:cxnLst>
                  <a:cxn ang="0">
                    <a:pos x="connsiteX0" y="connsiteY0"/>
                  </a:cxn>
                  <a:cxn ang="0">
                    <a:pos x="connsiteX1" y="connsiteY1"/>
                  </a:cxn>
                </a:cxnLst>
                <a:rect l="l" t="t" r="r" b="b"/>
                <a:pathLst>
                  <a:path w="74940" h="10583">
                    <a:moveTo>
                      <a:pt x="0" y="0"/>
                    </a:moveTo>
                    <a:lnTo>
                      <a:pt x="74940" y="0"/>
                    </a:lnTo>
                  </a:path>
                </a:pathLst>
              </a:custGeom>
              <a:ln w="12700" cap="sq">
                <a:solidFill>
                  <a:srgbClr val="002985"/>
                </a:solidFill>
                <a:prstDash val="solid"/>
                <a:miter/>
              </a:ln>
            </p:spPr>
            <p:txBody>
              <a:bodyPr rtlCol="0" anchor="ctr"/>
              <a:lstStyle/>
              <a:p>
                <a:endParaRPr lang="en-US" sz="1800"/>
              </a:p>
            </p:txBody>
          </p:sp>
          <p:sp>
            <p:nvSpPr>
              <p:cNvPr id="1391" name="Freeform 350">
                <a:extLst>
                  <a:ext uri="{FF2B5EF4-FFF2-40B4-BE49-F238E27FC236}">
                    <a16:creationId xmlns:a16="http://schemas.microsoft.com/office/drawing/2014/main" id="{56463EB3-18F2-4F91-E006-3009E7257567}"/>
                  </a:ext>
                </a:extLst>
              </p:cNvPr>
              <p:cNvSpPr/>
              <p:nvPr/>
            </p:nvSpPr>
            <p:spPr>
              <a:xfrm>
                <a:off x="9886812" y="3341158"/>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endParaRPr lang="en-US" sz="1800"/>
              </a:p>
            </p:txBody>
          </p:sp>
          <p:sp>
            <p:nvSpPr>
              <p:cNvPr id="1392" name="Freeform 351">
                <a:extLst>
                  <a:ext uri="{FF2B5EF4-FFF2-40B4-BE49-F238E27FC236}">
                    <a16:creationId xmlns:a16="http://schemas.microsoft.com/office/drawing/2014/main" id="{B9838792-A39C-B811-CCCC-302B8FF2BBCA}"/>
                  </a:ext>
                </a:extLst>
              </p:cNvPr>
              <p:cNvSpPr/>
              <p:nvPr/>
            </p:nvSpPr>
            <p:spPr>
              <a:xfrm>
                <a:off x="9929611" y="3530123"/>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endParaRPr lang="en-US" sz="1800"/>
              </a:p>
            </p:txBody>
          </p:sp>
          <p:sp>
            <p:nvSpPr>
              <p:cNvPr id="1393" name="Freeform 352">
                <a:extLst>
                  <a:ext uri="{FF2B5EF4-FFF2-40B4-BE49-F238E27FC236}">
                    <a16:creationId xmlns:a16="http://schemas.microsoft.com/office/drawing/2014/main" id="{1C668BA7-C461-6D84-E313-F511D2A0D417}"/>
                  </a:ext>
                </a:extLst>
              </p:cNvPr>
              <p:cNvSpPr/>
              <p:nvPr/>
            </p:nvSpPr>
            <p:spPr>
              <a:xfrm>
                <a:off x="9967076" y="3504829"/>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endParaRPr lang="en-US" sz="1800"/>
              </a:p>
            </p:txBody>
          </p:sp>
          <p:sp>
            <p:nvSpPr>
              <p:cNvPr id="1394" name="Freeform 353">
                <a:extLst>
                  <a:ext uri="{FF2B5EF4-FFF2-40B4-BE49-F238E27FC236}">
                    <a16:creationId xmlns:a16="http://schemas.microsoft.com/office/drawing/2014/main" id="{08C3ADD3-0175-5916-9AE7-50DBCFBBD7BC}"/>
                  </a:ext>
                </a:extLst>
              </p:cNvPr>
              <p:cNvSpPr/>
              <p:nvPr/>
            </p:nvSpPr>
            <p:spPr>
              <a:xfrm>
                <a:off x="10039191" y="3530123"/>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endParaRPr lang="en-US" sz="1800"/>
              </a:p>
            </p:txBody>
          </p:sp>
          <p:sp>
            <p:nvSpPr>
              <p:cNvPr id="1395" name="Freeform 354">
                <a:extLst>
                  <a:ext uri="{FF2B5EF4-FFF2-40B4-BE49-F238E27FC236}">
                    <a16:creationId xmlns:a16="http://schemas.microsoft.com/office/drawing/2014/main" id="{85080839-87A1-B44B-233C-3B12654C9FA5}"/>
                  </a:ext>
                </a:extLst>
              </p:cNvPr>
              <p:cNvSpPr/>
              <p:nvPr/>
            </p:nvSpPr>
            <p:spPr>
              <a:xfrm>
                <a:off x="10076656" y="3504829"/>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endParaRPr lang="en-US" sz="1800"/>
              </a:p>
            </p:txBody>
          </p:sp>
          <p:sp>
            <p:nvSpPr>
              <p:cNvPr id="1396" name="Freeform 355">
                <a:extLst>
                  <a:ext uri="{FF2B5EF4-FFF2-40B4-BE49-F238E27FC236}">
                    <a16:creationId xmlns:a16="http://schemas.microsoft.com/office/drawing/2014/main" id="{8CE09624-2236-B2D2-3A08-1A545A764C66}"/>
                  </a:ext>
                </a:extLst>
              </p:cNvPr>
              <p:cNvSpPr/>
              <p:nvPr/>
            </p:nvSpPr>
            <p:spPr>
              <a:xfrm>
                <a:off x="10141606" y="3530123"/>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endParaRPr lang="en-US" sz="1800"/>
              </a:p>
            </p:txBody>
          </p:sp>
          <p:sp>
            <p:nvSpPr>
              <p:cNvPr id="1397" name="Freeform 356">
                <a:extLst>
                  <a:ext uri="{FF2B5EF4-FFF2-40B4-BE49-F238E27FC236}">
                    <a16:creationId xmlns:a16="http://schemas.microsoft.com/office/drawing/2014/main" id="{CD6F3BC1-039B-3296-251C-E452E75A61E5}"/>
                  </a:ext>
                </a:extLst>
              </p:cNvPr>
              <p:cNvSpPr/>
              <p:nvPr/>
            </p:nvSpPr>
            <p:spPr>
              <a:xfrm>
                <a:off x="10179071" y="3504829"/>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endParaRPr lang="en-US" sz="1800"/>
              </a:p>
            </p:txBody>
          </p:sp>
          <p:sp>
            <p:nvSpPr>
              <p:cNvPr id="1398" name="Freeform 357">
                <a:extLst>
                  <a:ext uri="{FF2B5EF4-FFF2-40B4-BE49-F238E27FC236}">
                    <a16:creationId xmlns:a16="http://schemas.microsoft.com/office/drawing/2014/main" id="{CA4D3576-C271-1958-AC91-6CDBF38C017F}"/>
                  </a:ext>
                </a:extLst>
              </p:cNvPr>
              <p:cNvSpPr/>
              <p:nvPr/>
            </p:nvSpPr>
            <p:spPr>
              <a:xfrm>
                <a:off x="10185400" y="3530123"/>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endParaRPr lang="en-US" sz="1800"/>
              </a:p>
            </p:txBody>
          </p:sp>
          <p:sp>
            <p:nvSpPr>
              <p:cNvPr id="1399" name="Freeform 358">
                <a:extLst>
                  <a:ext uri="{FF2B5EF4-FFF2-40B4-BE49-F238E27FC236}">
                    <a16:creationId xmlns:a16="http://schemas.microsoft.com/office/drawing/2014/main" id="{5E483C37-9F06-BD4C-DF7B-D115A8F44BE6}"/>
                  </a:ext>
                </a:extLst>
              </p:cNvPr>
              <p:cNvSpPr/>
              <p:nvPr/>
            </p:nvSpPr>
            <p:spPr>
              <a:xfrm>
                <a:off x="10222875" y="3504829"/>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endParaRPr lang="en-US" sz="1800"/>
              </a:p>
            </p:txBody>
          </p:sp>
          <p:sp>
            <p:nvSpPr>
              <p:cNvPr id="1400" name="Freeform 359">
                <a:extLst>
                  <a:ext uri="{FF2B5EF4-FFF2-40B4-BE49-F238E27FC236}">
                    <a16:creationId xmlns:a16="http://schemas.microsoft.com/office/drawing/2014/main" id="{D1230B1E-8823-13E8-022F-803D46371B03}"/>
                  </a:ext>
                </a:extLst>
              </p:cNvPr>
              <p:cNvSpPr/>
              <p:nvPr/>
            </p:nvSpPr>
            <p:spPr>
              <a:xfrm>
                <a:off x="10404559" y="3530123"/>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endParaRPr lang="en-US" sz="1800"/>
              </a:p>
            </p:txBody>
          </p:sp>
          <p:sp>
            <p:nvSpPr>
              <p:cNvPr id="1401" name="Freeform 360">
                <a:extLst>
                  <a:ext uri="{FF2B5EF4-FFF2-40B4-BE49-F238E27FC236}">
                    <a16:creationId xmlns:a16="http://schemas.microsoft.com/office/drawing/2014/main" id="{88C5DA4C-5DD7-C183-5CF7-F7E111B4E9D0}"/>
                  </a:ext>
                </a:extLst>
              </p:cNvPr>
              <p:cNvSpPr/>
              <p:nvPr/>
            </p:nvSpPr>
            <p:spPr>
              <a:xfrm>
                <a:off x="10442035" y="3504829"/>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endParaRPr lang="en-US" sz="1800"/>
              </a:p>
            </p:txBody>
          </p:sp>
          <p:sp>
            <p:nvSpPr>
              <p:cNvPr id="1402" name="Freeform 361">
                <a:extLst>
                  <a:ext uri="{FF2B5EF4-FFF2-40B4-BE49-F238E27FC236}">
                    <a16:creationId xmlns:a16="http://schemas.microsoft.com/office/drawing/2014/main" id="{6B6A3A89-67F8-AC4C-7F8C-7F9423D059FE}"/>
                  </a:ext>
                </a:extLst>
              </p:cNvPr>
              <p:cNvSpPr/>
              <p:nvPr/>
            </p:nvSpPr>
            <p:spPr>
              <a:xfrm>
                <a:off x="10411893" y="3530123"/>
                <a:ext cx="74929" cy="10583"/>
              </a:xfrm>
              <a:custGeom>
                <a:avLst/>
                <a:gdLst>
                  <a:gd name="connsiteX0" fmla="*/ 0 w 74929"/>
                  <a:gd name="connsiteY0" fmla="*/ 0 h 10583"/>
                  <a:gd name="connsiteX1" fmla="*/ 74930 w 74929"/>
                  <a:gd name="connsiteY1" fmla="*/ 0 h 10583"/>
                </a:gdLst>
                <a:ahLst/>
                <a:cxnLst>
                  <a:cxn ang="0">
                    <a:pos x="connsiteX0" y="connsiteY0"/>
                  </a:cxn>
                  <a:cxn ang="0">
                    <a:pos x="connsiteX1" y="connsiteY1"/>
                  </a:cxn>
                </a:cxnLst>
                <a:rect l="l" t="t" r="r" b="b"/>
                <a:pathLst>
                  <a:path w="74929" h="10583">
                    <a:moveTo>
                      <a:pt x="0" y="0"/>
                    </a:moveTo>
                    <a:lnTo>
                      <a:pt x="74930" y="0"/>
                    </a:lnTo>
                  </a:path>
                </a:pathLst>
              </a:custGeom>
              <a:ln w="12700" cap="sq">
                <a:solidFill>
                  <a:srgbClr val="002985"/>
                </a:solidFill>
                <a:prstDash val="solid"/>
                <a:miter/>
              </a:ln>
            </p:spPr>
            <p:txBody>
              <a:bodyPr rtlCol="0" anchor="ctr"/>
              <a:lstStyle/>
              <a:p>
                <a:endParaRPr lang="en-US" sz="1800"/>
              </a:p>
            </p:txBody>
          </p:sp>
          <p:sp>
            <p:nvSpPr>
              <p:cNvPr id="1403" name="Freeform 362">
                <a:extLst>
                  <a:ext uri="{FF2B5EF4-FFF2-40B4-BE49-F238E27FC236}">
                    <a16:creationId xmlns:a16="http://schemas.microsoft.com/office/drawing/2014/main" id="{3A899E71-67D9-D01A-AB14-27FB52510B69}"/>
                  </a:ext>
                </a:extLst>
              </p:cNvPr>
              <p:cNvSpPr/>
              <p:nvPr/>
            </p:nvSpPr>
            <p:spPr>
              <a:xfrm>
                <a:off x="10449358" y="3504829"/>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endParaRPr lang="en-US" sz="1800"/>
              </a:p>
            </p:txBody>
          </p:sp>
          <p:sp>
            <p:nvSpPr>
              <p:cNvPr id="1404" name="Freeform 363">
                <a:extLst>
                  <a:ext uri="{FF2B5EF4-FFF2-40B4-BE49-F238E27FC236}">
                    <a16:creationId xmlns:a16="http://schemas.microsoft.com/office/drawing/2014/main" id="{C425D56E-8D6A-EB52-B6F6-3DB073045107}"/>
                  </a:ext>
                </a:extLst>
              </p:cNvPr>
              <p:cNvSpPr/>
              <p:nvPr/>
            </p:nvSpPr>
            <p:spPr>
              <a:xfrm>
                <a:off x="10638366" y="3530123"/>
                <a:ext cx="74929" cy="10583"/>
              </a:xfrm>
              <a:custGeom>
                <a:avLst/>
                <a:gdLst>
                  <a:gd name="connsiteX0" fmla="*/ 0 w 74929"/>
                  <a:gd name="connsiteY0" fmla="*/ 0 h 10583"/>
                  <a:gd name="connsiteX1" fmla="*/ 74930 w 74929"/>
                  <a:gd name="connsiteY1" fmla="*/ 0 h 10583"/>
                </a:gdLst>
                <a:ahLst/>
                <a:cxnLst>
                  <a:cxn ang="0">
                    <a:pos x="connsiteX0" y="connsiteY0"/>
                  </a:cxn>
                  <a:cxn ang="0">
                    <a:pos x="connsiteX1" y="connsiteY1"/>
                  </a:cxn>
                </a:cxnLst>
                <a:rect l="l" t="t" r="r" b="b"/>
                <a:pathLst>
                  <a:path w="74929" h="10583">
                    <a:moveTo>
                      <a:pt x="0" y="0"/>
                    </a:moveTo>
                    <a:lnTo>
                      <a:pt x="74930" y="0"/>
                    </a:lnTo>
                  </a:path>
                </a:pathLst>
              </a:custGeom>
              <a:ln w="12700" cap="sq">
                <a:solidFill>
                  <a:srgbClr val="002985"/>
                </a:solidFill>
                <a:prstDash val="solid"/>
                <a:miter/>
              </a:ln>
            </p:spPr>
            <p:txBody>
              <a:bodyPr rtlCol="0" anchor="ctr"/>
              <a:lstStyle/>
              <a:p>
                <a:endParaRPr lang="en-US" sz="1800"/>
              </a:p>
            </p:txBody>
          </p:sp>
          <p:sp>
            <p:nvSpPr>
              <p:cNvPr id="1405" name="Freeform 364">
                <a:extLst>
                  <a:ext uri="{FF2B5EF4-FFF2-40B4-BE49-F238E27FC236}">
                    <a16:creationId xmlns:a16="http://schemas.microsoft.com/office/drawing/2014/main" id="{F01F392C-7011-0EEA-DE48-DE0263770FB8}"/>
                  </a:ext>
                </a:extLst>
              </p:cNvPr>
              <p:cNvSpPr/>
              <p:nvPr/>
            </p:nvSpPr>
            <p:spPr>
              <a:xfrm>
                <a:off x="10675831" y="3504829"/>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endParaRPr lang="en-US" sz="1800"/>
              </a:p>
            </p:txBody>
          </p:sp>
          <p:sp>
            <p:nvSpPr>
              <p:cNvPr id="1406" name="Freeform 365">
                <a:extLst>
                  <a:ext uri="{FF2B5EF4-FFF2-40B4-BE49-F238E27FC236}">
                    <a16:creationId xmlns:a16="http://schemas.microsoft.com/office/drawing/2014/main" id="{B2BDE353-9FA6-E710-D308-379E9131A33E}"/>
                  </a:ext>
                </a:extLst>
              </p:cNvPr>
              <p:cNvSpPr/>
              <p:nvPr/>
            </p:nvSpPr>
            <p:spPr>
              <a:xfrm>
                <a:off x="11032701" y="3530123"/>
                <a:ext cx="74929" cy="10583"/>
              </a:xfrm>
              <a:custGeom>
                <a:avLst/>
                <a:gdLst>
                  <a:gd name="connsiteX0" fmla="*/ 0 w 74929"/>
                  <a:gd name="connsiteY0" fmla="*/ 0 h 10583"/>
                  <a:gd name="connsiteX1" fmla="*/ 74930 w 74929"/>
                  <a:gd name="connsiteY1" fmla="*/ 0 h 10583"/>
                </a:gdLst>
                <a:ahLst/>
                <a:cxnLst>
                  <a:cxn ang="0">
                    <a:pos x="connsiteX0" y="connsiteY0"/>
                  </a:cxn>
                  <a:cxn ang="0">
                    <a:pos x="connsiteX1" y="connsiteY1"/>
                  </a:cxn>
                </a:cxnLst>
                <a:rect l="l" t="t" r="r" b="b"/>
                <a:pathLst>
                  <a:path w="74929" h="10583">
                    <a:moveTo>
                      <a:pt x="0" y="0"/>
                    </a:moveTo>
                    <a:lnTo>
                      <a:pt x="74930" y="0"/>
                    </a:lnTo>
                  </a:path>
                </a:pathLst>
              </a:custGeom>
              <a:ln w="12700" cap="sq">
                <a:solidFill>
                  <a:srgbClr val="002985"/>
                </a:solidFill>
                <a:prstDash val="solid"/>
                <a:miter/>
              </a:ln>
            </p:spPr>
            <p:txBody>
              <a:bodyPr rtlCol="0" anchor="ctr"/>
              <a:lstStyle/>
              <a:p>
                <a:endParaRPr lang="en-US" sz="1800"/>
              </a:p>
            </p:txBody>
          </p:sp>
          <p:sp>
            <p:nvSpPr>
              <p:cNvPr id="1407" name="Freeform 366">
                <a:extLst>
                  <a:ext uri="{FF2B5EF4-FFF2-40B4-BE49-F238E27FC236}">
                    <a16:creationId xmlns:a16="http://schemas.microsoft.com/office/drawing/2014/main" id="{27B1D733-FFD7-645F-BF09-F0EE5CE0E852}"/>
                  </a:ext>
                </a:extLst>
              </p:cNvPr>
              <p:cNvSpPr/>
              <p:nvPr/>
            </p:nvSpPr>
            <p:spPr>
              <a:xfrm>
                <a:off x="11070166" y="3504829"/>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endParaRPr lang="en-US" sz="1800"/>
              </a:p>
            </p:txBody>
          </p:sp>
        </p:grpSp>
        <p:grpSp>
          <p:nvGrpSpPr>
            <p:cNvPr id="721" name="Graphic 3">
              <a:extLst>
                <a:ext uri="{FF2B5EF4-FFF2-40B4-BE49-F238E27FC236}">
                  <a16:creationId xmlns:a16="http://schemas.microsoft.com/office/drawing/2014/main" id="{6B47B3AF-0E6D-2657-C97C-EF347D9436EA}"/>
                </a:ext>
              </a:extLst>
            </p:cNvPr>
            <p:cNvGrpSpPr/>
            <p:nvPr/>
          </p:nvGrpSpPr>
          <p:grpSpPr>
            <a:xfrm>
              <a:off x="1569879" y="1276700"/>
              <a:ext cx="8983937" cy="3132426"/>
              <a:chOff x="1491985" y="1205155"/>
              <a:chExt cx="9995482" cy="3206486"/>
            </a:xfrm>
            <a:noFill/>
          </p:grpSpPr>
          <p:sp>
            <p:nvSpPr>
              <p:cNvPr id="933" name="Freeform 368">
                <a:extLst>
                  <a:ext uri="{FF2B5EF4-FFF2-40B4-BE49-F238E27FC236}">
                    <a16:creationId xmlns:a16="http://schemas.microsoft.com/office/drawing/2014/main" id="{540B520A-F4A1-3D87-8DCC-1057C84A355D}"/>
                  </a:ext>
                </a:extLst>
              </p:cNvPr>
              <p:cNvSpPr/>
              <p:nvPr/>
            </p:nvSpPr>
            <p:spPr>
              <a:xfrm>
                <a:off x="1522137" y="1230450"/>
                <a:ext cx="9927971" cy="3155897"/>
              </a:xfrm>
              <a:custGeom>
                <a:avLst/>
                <a:gdLst>
                  <a:gd name="connsiteX0" fmla="*/ 0 w 9927971"/>
                  <a:gd name="connsiteY0" fmla="*/ 0 h 3155897"/>
                  <a:gd name="connsiteX1" fmla="*/ 58462 w 9927971"/>
                  <a:gd name="connsiteY1" fmla="*/ 0 h 3155897"/>
                  <a:gd name="connsiteX2" fmla="*/ 58462 w 9927971"/>
                  <a:gd name="connsiteY2" fmla="*/ 14044 h 3155897"/>
                  <a:gd name="connsiteX3" fmla="*/ 189950 w 9927971"/>
                  <a:gd name="connsiteY3" fmla="*/ 14044 h 3155897"/>
                  <a:gd name="connsiteX4" fmla="*/ 189950 w 9927971"/>
                  <a:gd name="connsiteY4" fmla="*/ 28099 h 3155897"/>
                  <a:gd name="connsiteX5" fmla="*/ 211868 w 9927971"/>
                  <a:gd name="connsiteY5" fmla="*/ 28099 h 3155897"/>
                  <a:gd name="connsiteX6" fmla="*/ 211868 w 9927971"/>
                  <a:gd name="connsiteY6" fmla="*/ 42153 h 3155897"/>
                  <a:gd name="connsiteX7" fmla="*/ 233786 w 9927971"/>
                  <a:gd name="connsiteY7" fmla="*/ 42153 h 3155897"/>
                  <a:gd name="connsiteX8" fmla="*/ 233786 w 9927971"/>
                  <a:gd name="connsiteY8" fmla="*/ 56314 h 3155897"/>
                  <a:gd name="connsiteX9" fmla="*/ 270351 w 9927971"/>
                  <a:gd name="connsiteY9" fmla="*/ 56314 h 3155897"/>
                  <a:gd name="connsiteX10" fmla="*/ 270351 w 9927971"/>
                  <a:gd name="connsiteY10" fmla="*/ 70369 h 3155897"/>
                  <a:gd name="connsiteX11" fmla="*/ 277685 w 9927971"/>
                  <a:gd name="connsiteY11" fmla="*/ 70369 h 3155897"/>
                  <a:gd name="connsiteX12" fmla="*/ 277685 w 9927971"/>
                  <a:gd name="connsiteY12" fmla="*/ 112850 h 3155897"/>
                  <a:gd name="connsiteX13" fmla="*/ 284840 w 9927971"/>
                  <a:gd name="connsiteY13" fmla="*/ 112850 h 3155897"/>
                  <a:gd name="connsiteX14" fmla="*/ 284840 w 9927971"/>
                  <a:gd name="connsiteY14" fmla="*/ 183674 h 3155897"/>
                  <a:gd name="connsiteX15" fmla="*/ 292174 w 9927971"/>
                  <a:gd name="connsiteY15" fmla="*/ 183674 h 3155897"/>
                  <a:gd name="connsiteX16" fmla="*/ 292174 w 9927971"/>
                  <a:gd name="connsiteY16" fmla="*/ 197834 h 3155897"/>
                  <a:gd name="connsiteX17" fmla="*/ 299498 w 9927971"/>
                  <a:gd name="connsiteY17" fmla="*/ 197834 h 3155897"/>
                  <a:gd name="connsiteX18" fmla="*/ 299498 w 9927971"/>
                  <a:gd name="connsiteY18" fmla="*/ 325755 h 3155897"/>
                  <a:gd name="connsiteX19" fmla="*/ 306821 w 9927971"/>
                  <a:gd name="connsiteY19" fmla="*/ 325755 h 3155897"/>
                  <a:gd name="connsiteX20" fmla="*/ 306821 w 9927971"/>
                  <a:gd name="connsiteY20" fmla="*/ 368586 h 3155897"/>
                  <a:gd name="connsiteX21" fmla="*/ 314156 w 9927971"/>
                  <a:gd name="connsiteY21" fmla="*/ 368586 h 3155897"/>
                  <a:gd name="connsiteX22" fmla="*/ 314156 w 9927971"/>
                  <a:gd name="connsiteY22" fmla="*/ 440976 h 3155897"/>
                  <a:gd name="connsiteX23" fmla="*/ 321479 w 9927971"/>
                  <a:gd name="connsiteY23" fmla="*/ 440976 h 3155897"/>
                  <a:gd name="connsiteX24" fmla="*/ 321479 w 9927971"/>
                  <a:gd name="connsiteY24" fmla="*/ 455475 h 3155897"/>
                  <a:gd name="connsiteX25" fmla="*/ 328803 w 9927971"/>
                  <a:gd name="connsiteY25" fmla="*/ 455475 h 3155897"/>
                  <a:gd name="connsiteX26" fmla="*/ 328803 w 9927971"/>
                  <a:gd name="connsiteY26" fmla="*/ 499322 h 3155897"/>
                  <a:gd name="connsiteX27" fmla="*/ 336137 w 9927971"/>
                  <a:gd name="connsiteY27" fmla="*/ 499322 h 3155897"/>
                  <a:gd name="connsiteX28" fmla="*/ 336137 w 9927971"/>
                  <a:gd name="connsiteY28" fmla="*/ 513821 h 3155897"/>
                  <a:gd name="connsiteX29" fmla="*/ 343292 w 9927971"/>
                  <a:gd name="connsiteY29" fmla="*/ 513821 h 3155897"/>
                  <a:gd name="connsiteX30" fmla="*/ 343292 w 9927971"/>
                  <a:gd name="connsiteY30" fmla="*/ 543041 h 3155897"/>
                  <a:gd name="connsiteX31" fmla="*/ 357949 w 9927971"/>
                  <a:gd name="connsiteY31" fmla="*/ 543041 h 3155897"/>
                  <a:gd name="connsiteX32" fmla="*/ 357949 w 9927971"/>
                  <a:gd name="connsiteY32" fmla="*/ 557773 h 3155897"/>
                  <a:gd name="connsiteX33" fmla="*/ 365273 w 9927971"/>
                  <a:gd name="connsiteY33" fmla="*/ 557773 h 3155897"/>
                  <a:gd name="connsiteX34" fmla="*/ 365273 w 9927971"/>
                  <a:gd name="connsiteY34" fmla="*/ 587111 h 3155897"/>
                  <a:gd name="connsiteX35" fmla="*/ 372607 w 9927971"/>
                  <a:gd name="connsiteY35" fmla="*/ 587111 h 3155897"/>
                  <a:gd name="connsiteX36" fmla="*/ 372607 w 9927971"/>
                  <a:gd name="connsiteY36" fmla="*/ 601726 h 3155897"/>
                  <a:gd name="connsiteX37" fmla="*/ 416401 w 9927971"/>
                  <a:gd name="connsiteY37" fmla="*/ 601726 h 3155897"/>
                  <a:gd name="connsiteX38" fmla="*/ 416401 w 9927971"/>
                  <a:gd name="connsiteY38" fmla="*/ 616447 h 3155897"/>
                  <a:gd name="connsiteX39" fmla="*/ 423735 w 9927971"/>
                  <a:gd name="connsiteY39" fmla="*/ 616447 h 3155897"/>
                  <a:gd name="connsiteX40" fmla="*/ 423735 w 9927971"/>
                  <a:gd name="connsiteY40" fmla="*/ 631063 h 3155897"/>
                  <a:gd name="connsiteX41" fmla="*/ 438383 w 9927971"/>
                  <a:gd name="connsiteY41" fmla="*/ 631063 h 3155897"/>
                  <a:gd name="connsiteX42" fmla="*/ 438383 w 9927971"/>
                  <a:gd name="connsiteY42" fmla="*/ 645901 h 3155897"/>
                  <a:gd name="connsiteX43" fmla="*/ 467529 w 9927971"/>
                  <a:gd name="connsiteY43" fmla="*/ 645901 h 3155897"/>
                  <a:gd name="connsiteX44" fmla="*/ 467529 w 9927971"/>
                  <a:gd name="connsiteY44" fmla="*/ 660622 h 3155897"/>
                  <a:gd name="connsiteX45" fmla="*/ 569775 w 9927971"/>
                  <a:gd name="connsiteY45" fmla="*/ 660622 h 3155897"/>
                  <a:gd name="connsiteX46" fmla="*/ 569775 w 9927971"/>
                  <a:gd name="connsiteY46" fmla="*/ 675460 h 3155897"/>
                  <a:gd name="connsiteX47" fmla="*/ 577109 w 9927971"/>
                  <a:gd name="connsiteY47" fmla="*/ 675460 h 3155897"/>
                  <a:gd name="connsiteX48" fmla="*/ 577109 w 9927971"/>
                  <a:gd name="connsiteY48" fmla="*/ 749543 h 3155897"/>
                  <a:gd name="connsiteX49" fmla="*/ 584433 w 9927971"/>
                  <a:gd name="connsiteY49" fmla="*/ 749543 h 3155897"/>
                  <a:gd name="connsiteX50" fmla="*/ 584433 w 9927971"/>
                  <a:gd name="connsiteY50" fmla="*/ 779219 h 3155897"/>
                  <a:gd name="connsiteX51" fmla="*/ 591757 w 9927971"/>
                  <a:gd name="connsiteY51" fmla="*/ 779219 h 3155897"/>
                  <a:gd name="connsiteX52" fmla="*/ 591757 w 9927971"/>
                  <a:gd name="connsiteY52" fmla="*/ 853292 h 3155897"/>
                  <a:gd name="connsiteX53" fmla="*/ 599091 w 9927971"/>
                  <a:gd name="connsiteY53" fmla="*/ 853292 h 3155897"/>
                  <a:gd name="connsiteX54" fmla="*/ 599091 w 9927971"/>
                  <a:gd name="connsiteY54" fmla="*/ 868246 h 3155897"/>
                  <a:gd name="connsiteX55" fmla="*/ 606414 w 9927971"/>
                  <a:gd name="connsiteY55" fmla="*/ 868246 h 3155897"/>
                  <a:gd name="connsiteX56" fmla="*/ 606414 w 9927971"/>
                  <a:gd name="connsiteY56" fmla="*/ 883306 h 3155897"/>
                  <a:gd name="connsiteX57" fmla="*/ 613579 w 9927971"/>
                  <a:gd name="connsiteY57" fmla="*/ 883306 h 3155897"/>
                  <a:gd name="connsiteX58" fmla="*/ 613579 w 9927971"/>
                  <a:gd name="connsiteY58" fmla="*/ 913437 h 3155897"/>
                  <a:gd name="connsiteX59" fmla="*/ 620903 w 9927971"/>
                  <a:gd name="connsiteY59" fmla="*/ 913437 h 3155897"/>
                  <a:gd name="connsiteX60" fmla="*/ 620903 w 9927971"/>
                  <a:gd name="connsiteY60" fmla="*/ 943557 h 3155897"/>
                  <a:gd name="connsiteX61" fmla="*/ 628237 w 9927971"/>
                  <a:gd name="connsiteY61" fmla="*/ 943557 h 3155897"/>
                  <a:gd name="connsiteX62" fmla="*/ 628237 w 9927971"/>
                  <a:gd name="connsiteY62" fmla="*/ 1004147 h 3155897"/>
                  <a:gd name="connsiteX63" fmla="*/ 642885 w 9927971"/>
                  <a:gd name="connsiteY63" fmla="*/ 1004147 h 3155897"/>
                  <a:gd name="connsiteX64" fmla="*/ 642885 w 9927971"/>
                  <a:gd name="connsiteY64" fmla="*/ 1034838 h 3155897"/>
                  <a:gd name="connsiteX65" fmla="*/ 650219 w 9927971"/>
                  <a:gd name="connsiteY65" fmla="*/ 1034838 h 3155897"/>
                  <a:gd name="connsiteX66" fmla="*/ 650219 w 9927971"/>
                  <a:gd name="connsiteY66" fmla="*/ 1050121 h 3155897"/>
                  <a:gd name="connsiteX67" fmla="*/ 657542 w 9927971"/>
                  <a:gd name="connsiteY67" fmla="*/ 1050121 h 3155897"/>
                  <a:gd name="connsiteX68" fmla="*/ 657542 w 9927971"/>
                  <a:gd name="connsiteY68" fmla="*/ 1080812 h 3155897"/>
                  <a:gd name="connsiteX69" fmla="*/ 664866 w 9927971"/>
                  <a:gd name="connsiteY69" fmla="*/ 1080812 h 3155897"/>
                  <a:gd name="connsiteX70" fmla="*/ 664866 w 9927971"/>
                  <a:gd name="connsiteY70" fmla="*/ 1096105 h 3155897"/>
                  <a:gd name="connsiteX71" fmla="*/ 672031 w 9927971"/>
                  <a:gd name="connsiteY71" fmla="*/ 1096105 h 3155897"/>
                  <a:gd name="connsiteX72" fmla="*/ 672031 w 9927971"/>
                  <a:gd name="connsiteY72" fmla="*/ 1111504 h 3155897"/>
                  <a:gd name="connsiteX73" fmla="*/ 686689 w 9927971"/>
                  <a:gd name="connsiteY73" fmla="*/ 1111504 h 3155897"/>
                  <a:gd name="connsiteX74" fmla="*/ 686689 w 9927971"/>
                  <a:gd name="connsiteY74" fmla="*/ 1126903 h 3155897"/>
                  <a:gd name="connsiteX75" fmla="*/ 701336 w 9927971"/>
                  <a:gd name="connsiteY75" fmla="*/ 1126903 h 3155897"/>
                  <a:gd name="connsiteX76" fmla="*/ 701336 w 9927971"/>
                  <a:gd name="connsiteY76" fmla="*/ 1142302 h 3155897"/>
                  <a:gd name="connsiteX77" fmla="*/ 737806 w 9927971"/>
                  <a:gd name="connsiteY77" fmla="*/ 1142302 h 3155897"/>
                  <a:gd name="connsiteX78" fmla="*/ 737806 w 9927971"/>
                  <a:gd name="connsiteY78" fmla="*/ 1157700 h 3155897"/>
                  <a:gd name="connsiteX79" fmla="*/ 869368 w 9927971"/>
                  <a:gd name="connsiteY79" fmla="*/ 1157700 h 3155897"/>
                  <a:gd name="connsiteX80" fmla="*/ 869368 w 9927971"/>
                  <a:gd name="connsiteY80" fmla="*/ 1173099 h 3155897"/>
                  <a:gd name="connsiteX81" fmla="*/ 876702 w 9927971"/>
                  <a:gd name="connsiteY81" fmla="*/ 1173099 h 3155897"/>
                  <a:gd name="connsiteX82" fmla="*/ 876702 w 9927971"/>
                  <a:gd name="connsiteY82" fmla="*/ 1188498 h 3155897"/>
                  <a:gd name="connsiteX83" fmla="*/ 884026 w 9927971"/>
                  <a:gd name="connsiteY83" fmla="*/ 1188498 h 3155897"/>
                  <a:gd name="connsiteX84" fmla="*/ 884026 w 9927971"/>
                  <a:gd name="connsiteY84" fmla="*/ 1204013 h 3155897"/>
                  <a:gd name="connsiteX85" fmla="*/ 891191 w 9927971"/>
                  <a:gd name="connsiteY85" fmla="*/ 1204013 h 3155897"/>
                  <a:gd name="connsiteX86" fmla="*/ 891191 w 9927971"/>
                  <a:gd name="connsiteY86" fmla="*/ 1219412 h 3155897"/>
                  <a:gd name="connsiteX87" fmla="*/ 905838 w 9927971"/>
                  <a:gd name="connsiteY87" fmla="*/ 1219412 h 3155897"/>
                  <a:gd name="connsiteX88" fmla="*/ 905838 w 9927971"/>
                  <a:gd name="connsiteY88" fmla="*/ 1234811 h 3155897"/>
                  <a:gd name="connsiteX89" fmla="*/ 913172 w 9927971"/>
                  <a:gd name="connsiteY89" fmla="*/ 1234811 h 3155897"/>
                  <a:gd name="connsiteX90" fmla="*/ 913172 w 9927971"/>
                  <a:gd name="connsiteY90" fmla="*/ 1265841 h 3155897"/>
                  <a:gd name="connsiteX91" fmla="*/ 920496 w 9927971"/>
                  <a:gd name="connsiteY91" fmla="*/ 1265841 h 3155897"/>
                  <a:gd name="connsiteX92" fmla="*/ 920496 w 9927971"/>
                  <a:gd name="connsiteY92" fmla="*/ 1281356 h 3155897"/>
                  <a:gd name="connsiteX93" fmla="*/ 927820 w 9927971"/>
                  <a:gd name="connsiteY93" fmla="*/ 1281356 h 3155897"/>
                  <a:gd name="connsiteX94" fmla="*/ 927820 w 9927971"/>
                  <a:gd name="connsiteY94" fmla="*/ 1359472 h 3155897"/>
                  <a:gd name="connsiteX95" fmla="*/ 935154 w 9927971"/>
                  <a:gd name="connsiteY95" fmla="*/ 1359472 h 3155897"/>
                  <a:gd name="connsiteX96" fmla="*/ 935154 w 9927971"/>
                  <a:gd name="connsiteY96" fmla="*/ 1421977 h 3155897"/>
                  <a:gd name="connsiteX97" fmla="*/ 942478 w 9927971"/>
                  <a:gd name="connsiteY97" fmla="*/ 1421977 h 3155897"/>
                  <a:gd name="connsiteX98" fmla="*/ 942478 w 9927971"/>
                  <a:gd name="connsiteY98" fmla="*/ 1437598 h 3155897"/>
                  <a:gd name="connsiteX99" fmla="*/ 956966 w 9927971"/>
                  <a:gd name="connsiteY99" fmla="*/ 1437598 h 3155897"/>
                  <a:gd name="connsiteX100" fmla="*/ 956966 w 9927971"/>
                  <a:gd name="connsiteY100" fmla="*/ 1453335 h 3155897"/>
                  <a:gd name="connsiteX101" fmla="*/ 978948 w 9927971"/>
                  <a:gd name="connsiteY101" fmla="*/ 1453335 h 3155897"/>
                  <a:gd name="connsiteX102" fmla="*/ 978948 w 9927971"/>
                  <a:gd name="connsiteY102" fmla="*/ 1469073 h 3155897"/>
                  <a:gd name="connsiteX103" fmla="*/ 986282 w 9927971"/>
                  <a:gd name="connsiteY103" fmla="*/ 1469073 h 3155897"/>
                  <a:gd name="connsiteX104" fmla="*/ 986282 w 9927971"/>
                  <a:gd name="connsiteY104" fmla="*/ 1484927 h 3155897"/>
                  <a:gd name="connsiteX105" fmla="*/ 1198107 w 9927971"/>
                  <a:gd name="connsiteY105" fmla="*/ 1484927 h 3155897"/>
                  <a:gd name="connsiteX106" fmla="*/ 1198107 w 9927971"/>
                  <a:gd name="connsiteY106" fmla="*/ 1532816 h 3155897"/>
                  <a:gd name="connsiteX107" fmla="*/ 1205431 w 9927971"/>
                  <a:gd name="connsiteY107" fmla="*/ 1532816 h 3155897"/>
                  <a:gd name="connsiteX108" fmla="*/ 1205431 w 9927971"/>
                  <a:gd name="connsiteY108" fmla="*/ 1548892 h 3155897"/>
                  <a:gd name="connsiteX109" fmla="*/ 1227254 w 9927971"/>
                  <a:gd name="connsiteY109" fmla="*/ 1548892 h 3155897"/>
                  <a:gd name="connsiteX110" fmla="*/ 1227254 w 9927971"/>
                  <a:gd name="connsiteY110" fmla="*/ 1564958 h 3155897"/>
                  <a:gd name="connsiteX111" fmla="*/ 1234577 w 9927971"/>
                  <a:gd name="connsiteY111" fmla="*/ 1564958 h 3155897"/>
                  <a:gd name="connsiteX112" fmla="*/ 1234577 w 9927971"/>
                  <a:gd name="connsiteY112" fmla="*/ 1597671 h 3155897"/>
                  <a:gd name="connsiteX113" fmla="*/ 1241901 w 9927971"/>
                  <a:gd name="connsiteY113" fmla="*/ 1597671 h 3155897"/>
                  <a:gd name="connsiteX114" fmla="*/ 1241901 w 9927971"/>
                  <a:gd name="connsiteY114" fmla="*/ 1614308 h 3155897"/>
                  <a:gd name="connsiteX115" fmla="*/ 1249236 w 9927971"/>
                  <a:gd name="connsiteY115" fmla="*/ 1614308 h 3155897"/>
                  <a:gd name="connsiteX116" fmla="*/ 1249236 w 9927971"/>
                  <a:gd name="connsiteY116" fmla="*/ 1647582 h 3155897"/>
                  <a:gd name="connsiteX117" fmla="*/ 1256559 w 9927971"/>
                  <a:gd name="connsiteY117" fmla="*/ 1647582 h 3155897"/>
                  <a:gd name="connsiteX118" fmla="*/ 1256559 w 9927971"/>
                  <a:gd name="connsiteY118" fmla="*/ 1680739 h 3155897"/>
                  <a:gd name="connsiteX119" fmla="*/ 1263883 w 9927971"/>
                  <a:gd name="connsiteY119" fmla="*/ 1680739 h 3155897"/>
                  <a:gd name="connsiteX120" fmla="*/ 1263883 w 9927971"/>
                  <a:gd name="connsiteY120" fmla="*/ 1697376 h 3155897"/>
                  <a:gd name="connsiteX121" fmla="*/ 1278371 w 9927971"/>
                  <a:gd name="connsiteY121" fmla="*/ 1697376 h 3155897"/>
                  <a:gd name="connsiteX122" fmla="*/ 1278371 w 9927971"/>
                  <a:gd name="connsiteY122" fmla="*/ 1730650 h 3155897"/>
                  <a:gd name="connsiteX123" fmla="*/ 1285706 w 9927971"/>
                  <a:gd name="connsiteY123" fmla="*/ 1730650 h 3155897"/>
                  <a:gd name="connsiteX124" fmla="*/ 1285706 w 9927971"/>
                  <a:gd name="connsiteY124" fmla="*/ 1747404 h 3155897"/>
                  <a:gd name="connsiteX125" fmla="*/ 1504865 w 9927971"/>
                  <a:gd name="connsiteY125" fmla="*/ 1747404 h 3155897"/>
                  <a:gd name="connsiteX126" fmla="*/ 1504865 w 9927971"/>
                  <a:gd name="connsiteY126" fmla="*/ 1797759 h 3155897"/>
                  <a:gd name="connsiteX127" fmla="*/ 1519513 w 9927971"/>
                  <a:gd name="connsiteY127" fmla="*/ 1797759 h 3155897"/>
                  <a:gd name="connsiteX128" fmla="*/ 1519513 w 9927971"/>
                  <a:gd name="connsiteY128" fmla="*/ 1814513 h 3155897"/>
                  <a:gd name="connsiteX129" fmla="*/ 1526847 w 9927971"/>
                  <a:gd name="connsiteY129" fmla="*/ 1814513 h 3155897"/>
                  <a:gd name="connsiteX130" fmla="*/ 1526847 w 9927971"/>
                  <a:gd name="connsiteY130" fmla="*/ 1831256 h 3155897"/>
                  <a:gd name="connsiteX131" fmla="*/ 1541494 w 9927971"/>
                  <a:gd name="connsiteY131" fmla="*/ 1831256 h 3155897"/>
                  <a:gd name="connsiteX132" fmla="*/ 1541494 w 9927971"/>
                  <a:gd name="connsiteY132" fmla="*/ 1848231 h 3155897"/>
                  <a:gd name="connsiteX133" fmla="*/ 1548829 w 9927971"/>
                  <a:gd name="connsiteY133" fmla="*/ 1848231 h 3155897"/>
                  <a:gd name="connsiteX134" fmla="*/ 1548829 w 9927971"/>
                  <a:gd name="connsiteY134" fmla="*/ 1899042 h 3155897"/>
                  <a:gd name="connsiteX135" fmla="*/ 1555983 w 9927971"/>
                  <a:gd name="connsiteY135" fmla="*/ 1899042 h 3155897"/>
                  <a:gd name="connsiteX136" fmla="*/ 1555983 w 9927971"/>
                  <a:gd name="connsiteY136" fmla="*/ 1916017 h 3155897"/>
                  <a:gd name="connsiteX137" fmla="*/ 1563317 w 9927971"/>
                  <a:gd name="connsiteY137" fmla="*/ 1916017 h 3155897"/>
                  <a:gd name="connsiteX138" fmla="*/ 1563317 w 9927971"/>
                  <a:gd name="connsiteY138" fmla="*/ 1933099 h 3155897"/>
                  <a:gd name="connsiteX139" fmla="*/ 1577964 w 9927971"/>
                  <a:gd name="connsiteY139" fmla="*/ 1933099 h 3155897"/>
                  <a:gd name="connsiteX140" fmla="*/ 1577964 w 9927971"/>
                  <a:gd name="connsiteY140" fmla="*/ 1967272 h 3155897"/>
                  <a:gd name="connsiteX141" fmla="*/ 1789800 w 9927971"/>
                  <a:gd name="connsiteY141" fmla="*/ 1967272 h 3155897"/>
                  <a:gd name="connsiteX142" fmla="*/ 1789800 w 9927971"/>
                  <a:gd name="connsiteY142" fmla="*/ 1984364 h 3155897"/>
                  <a:gd name="connsiteX143" fmla="*/ 1804448 w 9927971"/>
                  <a:gd name="connsiteY143" fmla="*/ 1984364 h 3155897"/>
                  <a:gd name="connsiteX144" fmla="*/ 1804448 w 9927971"/>
                  <a:gd name="connsiteY144" fmla="*/ 2001562 h 3155897"/>
                  <a:gd name="connsiteX145" fmla="*/ 1811782 w 9927971"/>
                  <a:gd name="connsiteY145" fmla="*/ 2001562 h 3155897"/>
                  <a:gd name="connsiteX146" fmla="*/ 1811782 w 9927971"/>
                  <a:gd name="connsiteY146" fmla="*/ 2018644 h 3155897"/>
                  <a:gd name="connsiteX147" fmla="*/ 1826271 w 9927971"/>
                  <a:gd name="connsiteY147" fmla="*/ 2018644 h 3155897"/>
                  <a:gd name="connsiteX148" fmla="*/ 1826271 w 9927971"/>
                  <a:gd name="connsiteY148" fmla="*/ 2035736 h 3155897"/>
                  <a:gd name="connsiteX149" fmla="*/ 1833594 w 9927971"/>
                  <a:gd name="connsiteY149" fmla="*/ 2035736 h 3155897"/>
                  <a:gd name="connsiteX150" fmla="*/ 1833594 w 9927971"/>
                  <a:gd name="connsiteY150" fmla="*/ 2053040 h 3155897"/>
                  <a:gd name="connsiteX151" fmla="*/ 1848252 w 9927971"/>
                  <a:gd name="connsiteY151" fmla="*/ 2053040 h 3155897"/>
                  <a:gd name="connsiteX152" fmla="*/ 1848252 w 9927971"/>
                  <a:gd name="connsiteY152" fmla="*/ 2070693 h 3155897"/>
                  <a:gd name="connsiteX153" fmla="*/ 1855576 w 9927971"/>
                  <a:gd name="connsiteY153" fmla="*/ 2070693 h 3155897"/>
                  <a:gd name="connsiteX154" fmla="*/ 1855576 w 9927971"/>
                  <a:gd name="connsiteY154" fmla="*/ 2088346 h 3155897"/>
                  <a:gd name="connsiteX155" fmla="*/ 1877557 w 9927971"/>
                  <a:gd name="connsiteY155" fmla="*/ 2088346 h 3155897"/>
                  <a:gd name="connsiteX156" fmla="*/ 1877557 w 9927971"/>
                  <a:gd name="connsiteY156" fmla="*/ 2106105 h 3155897"/>
                  <a:gd name="connsiteX157" fmla="*/ 1899380 w 9927971"/>
                  <a:gd name="connsiteY157" fmla="*/ 2106105 h 3155897"/>
                  <a:gd name="connsiteX158" fmla="*/ 1899380 w 9927971"/>
                  <a:gd name="connsiteY158" fmla="*/ 2123747 h 3155897"/>
                  <a:gd name="connsiteX159" fmla="*/ 2103882 w 9927971"/>
                  <a:gd name="connsiteY159" fmla="*/ 2123747 h 3155897"/>
                  <a:gd name="connsiteX160" fmla="*/ 2103882 w 9927971"/>
                  <a:gd name="connsiteY160" fmla="*/ 2142077 h 3155897"/>
                  <a:gd name="connsiteX161" fmla="*/ 2147845 w 9927971"/>
                  <a:gd name="connsiteY161" fmla="*/ 2142077 h 3155897"/>
                  <a:gd name="connsiteX162" fmla="*/ 2147845 w 9927971"/>
                  <a:gd name="connsiteY162" fmla="*/ 2178833 h 3155897"/>
                  <a:gd name="connsiteX163" fmla="*/ 2155169 w 9927971"/>
                  <a:gd name="connsiteY163" fmla="*/ 2178833 h 3155897"/>
                  <a:gd name="connsiteX164" fmla="*/ 2155169 w 9927971"/>
                  <a:gd name="connsiteY164" fmla="*/ 2233803 h 3155897"/>
                  <a:gd name="connsiteX165" fmla="*/ 2162334 w 9927971"/>
                  <a:gd name="connsiteY165" fmla="*/ 2233803 h 3155897"/>
                  <a:gd name="connsiteX166" fmla="*/ 2162334 w 9927971"/>
                  <a:gd name="connsiteY166" fmla="*/ 2252123 h 3155897"/>
                  <a:gd name="connsiteX167" fmla="*/ 2176981 w 9927971"/>
                  <a:gd name="connsiteY167" fmla="*/ 2252123 h 3155897"/>
                  <a:gd name="connsiteX168" fmla="*/ 2176981 w 9927971"/>
                  <a:gd name="connsiteY168" fmla="*/ 2271004 h 3155897"/>
                  <a:gd name="connsiteX169" fmla="*/ 2191639 w 9927971"/>
                  <a:gd name="connsiteY169" fmla="*/ 2271004 h 3155897"/>
                  <a:gd name="connsiteX170" fmla="*/ 2191639 w 9927971"/>
                  <a:gd name="connsiteY170" fmla="*/ 2290117 h 3155897"/>
                  <a:gd name="connsiteX171" fmla="*/ 2228109 w 9927971"/>
                  <a:gd name="connsiteY171" fmla="*/ 2290117 h 3155897"/>
                  <a:gd name="connsiteX172" fmla="*/ 2228109 w 9927971"/>
                  <a:gd name="connsiteY172" fmla="*/ 2309231 h 3155897"/>
                  <a:gd name="connsiteX173" fmla="*/ 2432611 w 9927971"/>
                  <a:gd name="connsiteY173" fmla="*/ 2309231 h 3155897"/>
                  <a:gd name="connsiteX174" fmla="*/ 2432611 w 9927971"/>
                  <a:gd name="connsiteY174" fmla="*/ 2328333 h 3155897"/>
                  <a:gd name="connsiteX175" fmla="*/ 2454593 w 9927971"/>
                  <a:gd name="connsiteY175" fmla="*/ 2328333 h 3155897"/>
                  <a:gd name="connsiteX176" fmla="*/ 2454593 w 9927971"/>
                  <a:gd name="connsiteY176" fmla="*/ 2347447 h 3155897"/>
                  <a:gd name="connsiteX177" fmla="*/ 2461927 w 9927971"/>
                  <a:gd name="connsiteY177" fmla="*/ 2347447 h 3155897"/>
                  <a:gd name="connsiteX178" fmla="*/ 2461927 w 9927971"/>
                  <a:gd name="connsiteY178" fmla="*/ 2366550 h 3155897"/>
                  <a:gd name="connsiteX179" fmla="*/ 2513044 w 9927971"/>
                  <a:gd name="connsiteY179" fmla="*/ 2366550 h 3155897"/>
                  <a:gd name="connsiteX180" fmla="*/ 2513044 w 9927971"/>
                  <a:gd name="connsiteY180" fmla="*/ 2386002 h 3155897"/>
                  <a:gd name="connsiteX181" fmla="*/ 2673752 w 9927971"/>
                  <a:gd name="connsiteY181" fmla="*/ 2386002 h 3155897"/>
                  <a:gd name="connsiteX182" fmla="*/ 2673752 w 9927971"/>
                  <a:gd name="connsiteY182" fmla="*/ 2405444 h 3155897"/>
                  <a:gd name="connsiteX183" fmla="*/ 2688410 w 9927971"/>
                  <a:gd name="connsiteY183" fmla="*/ 2405444 h 3155897"/>
                  <a:gd name="connsiteX184" fmla="*/ 2688410 w 9927971"/>
                  <a:gd name="connsiteY184" fmla="*/ 2424896 h 3155897"/>
                  <a:gd name="connsiteX185" fmla="*/ 2761520 w 9927971"/>
                  <a:gd name="connsiteY185" fmla="*/ 2424896 h 3155897"/>
                  <a:gd name="connsiteX186" fmla="*/ 2761520 w 9927971"/>
                  <a:gd name="connsiteY186" fmla="*/ 2444337 h 3155897"/>
                  <a:gd name="connsiteX187" fmla="*/ 2805314 w 9927971"/>
                  <a:gd name="connsiteY187" fmla="*/ 2444337 h 3155897"/>
                  <a:gd name="connsiteX188" fmla="*/ 2805314 w 9927971"/>
                  <a:gd name="connsiteY188" fmla="*/ 2464012 h 3155897"/>
                  <a:gd name="connsiteX189" fmla="*/ 3104737 w 9927971"/>
                  <a:gd name="connsiteY189" fmla="*/ 2464012 h 3155897"/>
                  <a:gd name="connsiteX190" fmla="*/ 3104737 w 9927971"/>
                  <a:gd name="connsiteY190" fmla="*/ 2484469 h 3155897"/>
                  <a:gd name="connsiteX191" fmla="*/ 3119395 w 9927971"/>
                  <a:gd name="connsiteY191" fmla="*/ 2484469 h 3155897"/>
                  <a:gd name="connsiteX192" fmla="*/ 3119395 w 9927971"/>
                  <a:gd name="connsiteY192" fmla="*/ 2505265 h 3155897"/>
                  <a:gd name="connsiteX193" fmla="*/ 3141377 w 9927971"/>
                  <a:gd name="connsiteY193" fmla="*/ 2505265 h 3155897"/>
                  <a:gd name="connsiteX194" fmla="*/ 3141377 w 9927971"/>
                  <a:gd name="connsiteY194" fmla="*/ 2526178 h 3155897"/>
                  <a:gd name="connsiteX195" fmla="*/ 3375025 w 9927971"/>
                  <a:gd name="connsiteY195" fmla="*/ 2526178 h 3155897"/>
                  <a:gd name="connsiteX196" fmla="*/ 3375025 w 9927971"/>
                  <a:gd name="connsiteY196" fmla="*/ 2547419 h 3155897"/>
                  <a:gd name="connsiteX197" fmla="*/ 3440800 w 9927971"/>
                  <a:gd name="connsiteY197" fmla="*/ 2547419 h 3155897"/>
                  <a:gd name="connsiteX198" fmla="*/ 3440800 w 9927971"/>
                  <a:gd name="connsiteY198" fmla="*/ 2568670 h 3155897"/>
                  <a:gd name="connsiteX199" fmla="*/ 3996023 w 9927971"/>
                  <a:gd name="connsiteY199" fmla="*/ 2568670 h 3155897"/>
                  <a:gd name="connsiteX200" fmla="*/ 3996023 w 9927971"/>
                  <a:gd name="connsiteY200" fmla="*/ 2590366 h 3155897"/>
                  <a:gd name="connsiteX201" fmla="*/ 4251653 w 9927971"/>
                  <a:gd name="connsiteY201" fmla="*/ 2590366 h 3155897"/>
                  <a:gd name="connsiteX202" fmla="*/ 4251653 w 9927971"/>
                  <a:gd name="connsiteY202" fmla="*/ 2612062 h 3155897"/>
                  <a:gd name="connsiteX203" fmla="*/ 4324763 w 9927971"/>
                  <a:gd name="connsiteY203" fmla="*/ 2612062 h 3155897"/>
                  <a:gd name="connsiteX204" fmla="*/ 4324763 w 9927971"/>
                  <a:gd name="connsiteY204" fmla="*/ 2634647 h 3155897"/>
                  <a:gd name="connsiteX205" fmla="*/ 4346744 w 9927971"/>
                  <a:gd name="connsiteY205" fmla="*/ 2634647 h 3155897"/>
                  <a:gd name="connsiteX206" fmla="*/ 4346744 w 9927971"/>
                  <a:gd name="connsiteY206" fmla="*/ 2657359 h 3155897"/>
                  <a:gd name="connsiteX207" fmla="*/ 5661681 w 9927971"/>
                  <a:gd name="connsiteY207" fmla="*/ 2657359 h 3155897"/>
                  <a:gd name="connsiteX208" fmla="*/ 5661681 w 9927971"/>
                  <a:gd name="connsiteY208" fmla="*/ 2689056 h 3155897"/>
                  <a:gd name="connsiteX209" fmla="*/ 5720133 w 9927971"/>
                  <a:gd name="connsiteY209" fmla="*/ 2689056 h 3155897"/>
                  <a:gd name="connsiteX210" fmla="*/ 5720133 w 9927971"/>
                  <a:gd name="connsiteY210" fmla="*/ 2720869 h 3155897"/>
                  <a:gd name="connsiteX211" fmla="*/ 6450711 w 9927971"/>
                  <a:gd name="connsiteY211" fmla="*/ 2720869 h 3155897"/>
                  <a:gd name="connsiteX212" fmla="*/ 6450711 w 9927971"/>
                  <a:gd name="connsiteY212" fmla="*/ 2767637 h 3155897"/>
                  <a:gd name="connsiteX213" fmla="*/ 7035081 w 9927971"/>
                  <a:gd name="connsiteY213" fmla="*/ 2767637 h 3155897"/>
                  <a:gd name="connsiteX214" fmla="*/ 7035081 w 9927971"/>
                  <a:gd name="connsiteY214" fmla="*/ 2844070 h 3155897"/>
                  <a:gd name="connsiteX215" fmla="*/ 7071551 w 9927971"/>
                  <a:gd name="connsiteY215" fmla="*/ 2844070 h 3155897"/>
                  <a:gd name="connsiteX216" fmla="*/ 7071551 w 9927971"/>
                  <a:gd name="connsiteY216" fmla="*/ 2929160 h 3155897"/>
                  <a:gd name="connsiteX217" fmla="*/ 7984818 w 9927971"/>
                  <a:gd name="connsiteY217" fmla="*/ 2929160 h 3155897"/>
                  <a:gd name="connsiteX218" fmla="*/ 7984818 w 9927971"/>
                  <a:gd name="connsiteY218" fmla="*/ 3155897 h 3155897"/>
                  <a:gd name="connsiteX219" fmla="*/ 9927971 w 9927971"/>
                  <a:gd name="connsiteY219" fmla="*/ 3155897 h 3155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Lst>
                <a:rect l="l" t="t" r="r" b="b"/>
                <a:pathLst>
                  <a:path w="9927971" h="3155897">
                    <a:moveTo>
                      <a:pt x="0" y="0"/>
                    </a:moveTo>
                    <a:lnTo>
                      <a:pt x="58462" y="0"/>
                    </a:lnTo>
                    <a:lnTo>
                      <a:pt x="58462" y="14044"/>
                    </a:lnTo>
                    <a:lnTo>
                      <a:pt x="189950" y="14044"/>
                    </a:lnTo>
                    <a:lnTo>
                      <a:pt x="189950" y="28099"/>
                    </a:lnTo>
                    <a:lnTo>
                      <a:pt x="211868" y="28099"/>
                    </a:lnTo>
                    <a:lnTo>
                      <a:pt x="211868" y="42153"/>
                    </a:lnTo>
                    <a:lnTo>
                      <a:pt x="233786" y="42153"/>
                    </a:lnTo>
                    <a:lnTo>
                      <a:pt x="233786" y="56314"/>
                    </a:lnTo>
                    <a:lnTo>
                      <a:pt x="270351" y="56314"/>
                    </a:lnTo>
                    <a:lnTo>
                      <a:pt x="270351" y="70369"/>
                    </a:lnTo>
                    <a:lnTo>
                      <a:pt x="277685" y="70369"/>
                    </a:lnTo>
                    <a:lnTo>
                      <a:pt x="277685" y="112850"/>
                    </a:lnTo>
                    <a:lnTo>
                      <a:pt x="284840" y="112850"/>
                    </a:lnTo>
                    <a:lnTo>
                      <a:pt x="284840" y="183674"/>
                    </a:lnTo>
                    <a:lnTo>
                      <a:pt x="292174" y="183674"/>
                    </a:lnTo>
                    <a:lnTo>
                      <a:pt x="292174" y="197834"/>
                    </a:lnTo>
                    <a:lnTo>
                      <a:pt x="299498" y="197834"/>
                    </a:lnTo>
                    <a:lnTo>
                      <a:pt x="299498" y="325755"/>
                    </a:lnTo>
                    <a:lnTo>
                      <a:pt x="306821" y="325755"/>
                    </a:lnTo>
                    <a:lnTo>
                      <a:pt x="306821" y="368586"/>
                    </a:lnTo>
                    <a:lnTo>
                      <a:pt x="314156" y="368586"/>
                    </a:lnTo>
                    <a:lnTo>
                      <a:pt x="314156" y="440976"/>
                    </a:lnTo>
                    <a:lnTo>
                      <a:pt x="321479" y="440976"/>
                    </a:lnTo>
                    <a:lnTo>
                      <a:pt x="321479" y="455475"/>
                    </a:lnTo>
                    <a:lnTo>
                      <a:pt x="328803" y="455475"/>
                    </a:lnTo>
                    <a:lnTo>
                      <a:pt x="328803" y="499322"/>
                    </a:lnTo>
                    <a:lnTo>
                      <a:pt x="336137" y="499322"/>
                    </a:lnTo>
                    <a:lnTo>
                      <a:pt x="336137" y="513821"/>
                    </a:lnTo>
                    <a:lnTo>
                      <a:pt x="343292" y="513821"/>
                    </a:lnTo>
                    <a:lnTo>
                      <a:pt x="343292" y="543041"/>
                    </a:lnTo>
                    <a:lnTo>
                      <a:pt x="357949" y="543041"/>
                    </a:lnTo>
                    <a:lnTo>
                      <a:pt x="357949" y="557773"/>
                    </a:lnTo>
                    <a:lnTo>
                      <a:pt x="365273" y="557773"/>
                    </a:lnTo>
                    <a:lnTo>
                      <a:pt x="365273" y="587111"/>
                    </a:lnTo>
                    <a:lnTo>
                      <a:pt x="372607" y="587111"/>
                    </a:lnTo>
                    <a:lnTo>
                      <a:pt x="372607" y="601726"/>
                    </a:lnTo>
                    <a:lnTo>
                      <a:pt x="416401" y="601726"/>
                    </a:lnTo>
                    <a:lnTo>
                      <a:pt x="416401" y="616447"/>
                    </a:lnTo>
                    <a:lnTo>
                      <a:pt x="423735" y="616447"/>
                    </a:lnTo>
                    <a:lnTo>
                      <a:pt x="423735" y="631063"/>
                    </a:lnTo>
                    <a:lnTo>
                      <a:pt x="438383" y="631063"/>
                    </a:lnTo>
                    <a:lnTo>
                      <a:pt x="438383" y="645901"/>
                    </a:lnTo>
                    <a:lnTo>
                      <a:pt x="467529" y="645901"/>
                    </a:lnTo>
                    <a:lnTo>
                      <a:pt x="467529" y="660622"/>
                    </a:lnTo>
                    <a:lnTo>
                      <a:pt x="569775" y="660622"/>
                    </a:lnTo>
                    <a:lnTo>
                      <a:pt x="569775" y="675460"/>
                    </a:lnTo>
                    <a:lnTo>
                      <a:pt x="577109" y="675460"/>
                    </a:lnTo>
                    <a:lnTo>
                      <a:pt x="577109" y="749543"/>
                    </a:lnTo>
                    <a:lnTo>
                      <a:pt x="584433" y="749543"/>
                    </a:lnTo>
                    <a:lnTo>
                      <a:pt x="584433" y="779219"/>
                    </a:lnTo>
                    <a:lnTo>
                      <a:pt x="591757" y="779219"/>
                    </a:lnTo>
                    <a:lnTo>
                      <a:pt x="591757" y="853292"/>
                    </a:lnTo>
                    <a:lnTo>
                      <a:pt x="599091" y="853292"/>
                    </a:lnTo>
                    <a:lnTo>
                      <a:pt x="599091" y="868246"/>
                    </a:lnTo>
                    <a:lnTo>
                      <a:pt x="606414" y="868246"/>
                    </a:lnTo>
                    <a:lnTo>
                      <a:pt x="606414" y="883306"/>
                    </a:lnTo>
                    <a:lnTo>
                      <a:pt x="613579" y="883306"/>
                    </a:lnTo>
                    <a:lnTo>
                      <a:pt x="613579" y="913437"/>
                    </a:lnTo>
                    <a:lnTo>
                      <a:pt x="620903" y="913437"/>
                    </a:lnTo>
                    <a:lnTo>
                      <a:pt x="620903" y="943557"/>
                    </a:lnTo>
                    <a:lnTo>
                      <a:pt x="628237" y="943557"/>
                    </a:lnTo>
                    <a:lnTo>
                      <a:pt x="628237" y="1004147"/>
                    </a:lnTo>
                    <a:lnTo>
                      <a:pt x="642885" y="1004147"/>
                    </a:lnTo>
                    <a:lnTo>
                      <a:pt x="642885" y="1034838"/>
                    </a:lnTo>
                    <a:lnTo>
                      <a:pt x="650219" y="1034838"/>
                    </a:lnTo>
                    <a:lnTo>
                      <a:pt x="650219" y="1050121"/>
                    </a:lnTo>
                    <a:lnTo>
                      <a:pt x="657542" y="1050121"/>
                    </a:lnTo>
                    <a:lnTo>
                      <a:pt x="657542" y="1080812"/>
                    </a:lnTo>
                    <a:lnTo>
                      <a:pt x="664866" y="1080812"/>
                    </a:lnTo>
                    <a:lnTo>
                      <a:pt x="664866" y="1096105"/>
                    </a:lnTo>
                    <a:lnTo>
                      <a:pt x="672031" y="1096105"/>
                    </a:lnTo>
                    <a:lnTo>
                      <a:pt x="672031" y="1111504"/>
                    </a:lnTo>
                    <a:lnTo>
                      <a:pt x="686689" y="1111504"/>
                    </a:lnTo>
                    <a:lnTo>
                      <a:pt x="686689" y="1126903"/>
                    </a:lnTo>
                    <a:lnTo>
                      <a:pt x="701336" y="1126903"/>
                    </a:lnTo>
                    <a:lnTo>
                      <a:pt x="701336" y="1142302"/>
                    </a:lnTo>
                    <a:lnTo>
                      <a:pt x="737806" y="1142302"/>
                    </a:lnTo>
                    <a:lnTo>
                      <a:pt x="737806" y="1157700"/>
                    </a:lnTo>
                    <a:lnTo>
                      <a:pt x="869368" y="1157700"/>
                    </a:lnTo>
                    <a:lnTo>
                      <a:pt x="869368" y="1173099"/>
                    </a:lnTo>
                    <a:lnTo>
                      <a:pt x="876702" y="1173099"/>
                    </a:lnTo>
                    <a:lnTo>
                      <a:pt x="876702" y="1188498"/>
                    </a:lnTo>
                    <a:lnTo>
                      <a:pt x="884026" y="1188498"/>
                    </a:lnTo>
                    <a:lnTo>
                      <a:pt x="884026" y="1204013"/>
                    </a:lnTo>
                    <a:lnTo>
                      <a:pt x="891191" y="1204013"/>
                    </a:lnTo>
                    <a:lnTo>
                      <a:pt x="891191" y="1219412"/>
                    </a:lnTo>
                    <a:lnTo>
                      <a:pt x="905838" y="1219412"/>
                    </a:lnTo>
                    <a:lnTo>
                      <a:pt x="905838" y="1234811"/>
                    </a:lnTo>
                    <a:lnTo>
                      <a:pt x="913172" y="1234811"/>
                    </a:lnTo>
                    <a:lnTo>
                      <a:pt x="913172" y="1265841"/>
                    </a:lnTo>
                    <a:lnTo>
                      <a:pt x="920496" y="1265841"/>
                    </a:lnTo>
                    <a:lnTo>
                      <a:pt x="920496" y="1281356"/>
                    </a:lnTo>
                    <a:lnTo>
                      <a:pt x="927820" y="1281356"/>
                    </a:lnTo>
                    <a:lnTo>
                      <a:pt x="927820" y="1359472"/>
                    </a:lnTo>
                    <a:lnTo>
                      <a:pt x="935154" y="1359472"/>
                    </a:lnTo>
                    <a:lnTo>
                      <a:pt x="935154" y="1421977"/>
                    </a:lnTo>
                    <a:lnTo>
                      <a:pt x="942478" y="1421977"/>
                    </a:lnTo>
                    <a:lnTo>
                      <a:pt x="942478" y="1437598"/>
                    </a:lnTo>
                    <a:lnTo>
                      <a:pt x="956966" y="1437598"/>
                    </a:lnTo>
                    <a:lnTo>
                      <a:pt x="956966" y="1453335"/>
                    </a:lnTo>
                    <a:lnTo>
                      <a:pt x="978948" y="1453335"/>
                    </a:lnTo>
                    <a:lnTo>
                      <a:pt x="978948" y="1469073"/>
                    </a:lnTo>
                    <a:lnTo>
                      <a:pt x="986282" y="1469073"/>
                    </a:lnTo>
                    <a:lnTo>
                      <a:pt x="986282" y="1484927"/>
                    </a:lnTo>
                    <a:lnTo>
                      <a:pt x="1198107" y="1484927"/>
                    </a:lnTo>
                    <a:lnTo>
                      <a:pt x="1198107" y="1532816"/>
                    </a:lnTo>
                    <a:lnTo>
                      <a:pt x="1205431" y="1532816"/>
                    </a:lnTo>
                    <a:lnTo>
                      <a:pt x="1205431" y="1548892"/>
                    </a:lnTo>
                    <a:lnTo>
                      <a:pt x="1227254" y="1548892"/>
                    </a:lnTo>
                    <a:lnTo>
                      <a:pt x="1227254" y="1564958"/>
                    </a:lnTo>
                    <a:lnTo>
                      <a:pt x="1234577" y="1564958"/>
                    </a:lnTo>
                    <a:lnTo>
                      <a:pt x="1234577" y="1597671"/>
                    </a:lnTo>
                    <a:lnTo>
                      <a:pt x="1241901" y="1597671"/>
                    </a:lnTo>
                    <a:lnTo>
                      <a:pt x="1241901" y="1614308"/>
                    </a:lnTo>
                    <a:lnTo>
                      <a:pt x="1249236" y="1614308"/>
                    </a:lnTo>
                    <a:lnTo>
                      <a:pt x="1249236" y="1647582"/>
                    </a:lnTo>
                    <a:lnTo>
                      <a:pt x="1256559" y="1647582"/>
                    </a:lnTo>
                    <a:lnTo>
                      <a:pt x="1256559" y="1680739"/>
                    </a:lnTo>
                    <a:lnTo>
                      <a:pt x="1263883" y="1680739"/>
                    </a:lnTo>
                    <a:lnTo>
                      <a:pt x="1263883" y="1697376"/>
                    </a:lnTo>
                    <a:lnTo>
                      <a:pt x="1278371" y="1697376"/>
                    </a:lnTo>
                    <a:lnTo>
                      <a:pt x="1278371" y="1730650"/>
                    </a:lnTo>
                    <a:lnTo>
                      <a:pt x="1285706" y="1730650"/>
                    </a:lnTo>
                    <a:lnTo>
                      <a:pt x="1285706" y="1747404"/>
                    </a:lnTo>
                    <a:lnTo>
                      <a:pt x="1504865" y="1747404"/>
                    </a:lnTo>
                    <a:lnTo>
                      <a:pt x="1504865" y="1797759"/>
                    </a:lnTo>
                    <a:lnTo>
                      <a:pt x="1519513" y="1797759"/>
                    </a:lnTo>
                    <a:lnTo>
                      <a:pt x="1519513" y="1814513"/>
                    </a:lnTo>
                    <a:lnTo>
                      <a:pt x="1526847" y="1814513"/>
                    </a:lnTo>
                    <a:lnTo>
                      <a:pt x="1526847" y="1831256"/>
                    </a:lnTo>
                    <a:lnTo>
                      <a:pt x="1541494" y="1831256"/>
                    </a:lnTo>
                    <a:lnTo>
                      <a:pt x="1541494" y="1848231"/>
                    </a:lnTo>
                    <a:lnTo>
                      <a:pt x="1548829" y="1848231"/>
                    </a:lnTo>
                    <a:lnTo>
                      <a:pt x="1548829" y="1899042"/>
                    </a:lnTo>
                    <a:lnTo>
                      <a:pt x="1555983" y="1899042"/>
                    </a:lnTo>
                    <a:lnTo>
                      <a:pt x="1555983" y="1916017"/>
                    </a:lnTo>
                    <a:lnTo>
                      <a:pt x="1563317" y="1916017"/>
                    </a:lnTo>
                    <a:lnTo>
                      <a:pt x="1563317" y="1933099"/>
                    </a:lnTo>
                    <a:lnTo>
                      <a:pt x="1577964" y="1933099"/>
                    </a:lnTo>
                    <a:lnTo>
                      <a:pt x="1577964" y="1967272"/>
                    </a:lnTo>
                    <a:lnTo>
                      <a:pt x="1789800" y="1967272"/>
                    </a:lnTo>
                    <a:lnTo>
                      <a:pt x="1789800" y="1984364"/>
                    </a:lnTo>
                    <a:lnTo>
                      <a:pt x="1804448" y="1984364"/>
                    </a:lnTo>
                    <a:lnTo>
                      <a:pt x="1804448" y="2001562"/>
                    </a:lnTo>
                    <a:lnTo>
                      <a:pt x="1811782" y="2001562"/>
                    </a:lnTo>
                    <a:lnTo>
                      <a:pt x="1811782" y="2018644"/>
                    </a:lnTo>
                    <a:lnTo>
                      <a:pt x="1826271" y="2018644"/>
                    </a:lnTo>
                    <a:lnTo>
                      <a:pt x="1826271" y="2035736"/>
                    </a:lnTo>
                    <a:lnTo>
                      <a:pt x="1833594" y="2035736"/>
                    </a:lnTo>
                    <a:lnTo>
                      <a:pt x="1833594" y="2053040"/>
                    </a:lnTo>
                    <a:lnTo>
                      <a:pt x="1848252" y="2053040"/>
                    </a:lnTo>
                    <a:lnTo>
                      <a:pt x="1848252" y="2070693"/>
                    </a:lnTo>
                    <a:lnTo>
                      <a:pt x="1855576" y="2070693"/>
                    </a:lnTo>
                    <a:lnTo>
                      <a:pt x="1855576" y="2088346"/>
                    </a:lnTo>
                    <a:lnTo>
                      <a:pt x="1877557" y="2088346"/>
                    </a:lnTo>
                    <a:lnTo>
                      <a:pt x="1877557" y="2106105"/>
                    </a:lnTo>
                    <a:lnTo>
                      <a:pt x="1899380" y="2106105"/>
                    </a:lnTo>
                    <a:lnTo>
                      <a:pt x="1899380" y="2123747"/>
                    </a:lnTo>
                    <a:lnTo>
                      <a:pt x="2103882" y="2123747"/>
                    </a:lnTo>
                    <a:lnTo>
                      <a:pt x="2103882" y="2142077"/>
                    </a:lnTo>
                    <a:lnTo>
                      <a:pt x="2147845" y="2142077"/>
                    </a:lnTo>
                    <a:lnTo>
                      <a:pt x="2147845" y="2178833"/>
                    </a:lnTo>
                    <a:lnTo>
                      <a:pt x="2155169" y="2178833"/>
                    </a:lnTo>
                    <a:lnTo>
                      <a:pt x="2155169" y="2233803"/>
                    </a:lnTo>
                    <a:lnTo>
                      <a:pt x="2162334" y="2233803"/>
                    </a:lnTo>
                    <a:lnTo>
                      <a:pt x="2162334" y="2252123"/>
                    </a:lnTo>
                    <a:lnTo>
                      <a:pt x="2176981" y="2252123"/>
                    </a:lnTo>
                    <a:lnTo>
                      <a:pt x="2176981" y="2271004"/>
                    </a:lnTo>
                    <a:lnTo>
                      <a:pt x="2191639" y="2271004"/>
                    </a:lnTo>
                    <a:lnTo>
                      <a:pt x="2191639" y="2290117"/>
                    </a:lnTo>
                    <a:lnTo>
                      <a:pt x="2228109" y="2290117"/>
                    </a:lnTo>
                    <a:lnTo>
                      <a:pt x="2228109" y="2309231"/>
                    </a:lnTo>
                    <a:lnTo>
                      <a:pt x="2432611" y="2309231"/>
                    </a:lnTo>
                    <a:lnTo>
                      <a:pt x="2432611" y="2328333"/>
                    </a:lnTo>
                    <a:lnTo>
                      <a:pt x="2454593" y="2328333"/>
                    </a:lnTo>
                    <a:lnTo>
                      <a:pt x="2454593" y="2347447"/>
                    </a:lnTo>
                    <a:lnTo>
                      <a:pt x="2461927" y="2347447"/>
                    </a:lnTo>
                    <a:lnTo>
                      <a:pt x="2461927" y="2366550"/>
                    </a:lnTo>
                    <a:lnTo>
                      <a:pt x="2513044" y="2366550"/>
                    </a:lnTo>
                    <a:lnTo>
                      <a:pt x="2513044" y="2386002"/>
                    </a:lnTo>
                    <a:lnTo>
                      <a:pt x="2673752" y="2386002"/>
                    </a:lnTo>
                    <a:lnTo>
                      <a:pt x="2673752" y="2405444"/>
                    </a:lnTo>
                    <a:lnTo>
                      <a:pt x="2688410" y="2405444"/>
                    </a:lnTo>
                    <a:lnTo>
                      <a:pt x="2688410" y="2424896"/>
                    </a:lnTo>
                    <a:lnTo>
                      <a:pt x="2761520" y="2424896"/>
                    </a:lnTo>
                    <a:lnTo>
                      <a:pt x="2761520" y="2444337"/>
                    </a:lnTo>
                    <a:lnTo>
                      <a:pt x="2805314" y="2444337"/>
                    </a:lnTo>
                    <a:lnTo>
                      <a:pt x="2805314" y="2464012"/>
                    </a:lnTo>
                    <a:lnTo>
                      <a:pt x="3104737" y="2464012"/>
                    </a:lnTo>
                    <a:lnTo>
                      <a:pt x="3104737" y="2484469"/>
                    </a:lnTo>
                    <a:lnTo>
                      <a:pt x="3119395" y="2484469"/>
                    </a:lnTo>
                    <a:lnTo>
                      <a:pt x="3119395" y="2505265"/>
                    </a:lnTo>
                    <a:lnTo>
                      <a:pt x="3141377" y="2505265"/>
                    </a:lnTo>
                    <a:lnTo>
                      <a:pt x="3141377" y="2526178"/>
                    </a:lnTo>
                    <a:lnTo>
                      <a:pt x="3375025" y="2526178"/>
                    </a:lnTo>
                    <a:lnTo>
                      <a:pt x="3375025" y="2547419"/>
                    </a:lnTo>
                    <a:lnTo>
                      <a:pt x="3440800" y="2547419"/>
                    </a:lnTo>
                    <a:lnTo>
                      <a:pt x="3440800" y="2568670"/>
                    </a:lnTo>
                    <a:lnTo>
                      <a:pt x="3996023" y="2568670"/>
                    </a:lnTo>
                    <a:lnTo>
                      <a:pt x="3996023" y="2590366"/>
                    </a:lnTo>
                    <a:lnTo>
                      <a:pt x="4251653" y="2590366"/>
                    </a:lnTo>
                    <a:lnTo>
                      <a:pt x="4251653" y="2612062"/>
                    </a:lnTo>
                    <a:lnTo>
                      <a:pt x="4324763" y="2612062"/>
                    </a:lnTo>
                    <a:lnTo>
                      <a:pt x="4324763" y="2634647"/>
                    </a:lnTo>
                    <a:lnTo>
                      <a:pt x="4346744" y="2634647"/>
                    </a:lnTo>
                    <a:lnTo>
                      <a:pt x="4346744" y="2657359"/>
                    </a:lnTo>
                    <a:lnTo>
                      <a:pt x="5661681" y="2657359"/>
                    </a:lnTo>
                    <a:lnTo>
                      <a:pt x="5661681" y="2689056"/>
                    </a:lnTo>
                    <a:lnTo>
                      <a:pt x="5720133" y="2689056"/>
                    </a:lnTo>
                    <a:lnTo>
                      <a:pt x="5720133" y="2720869"/>
                    </a:lnTo>
                    <a:lnTo>
                      <a:pt x="6450711" y="2720869"/>
                    </a:lnTo>
                    <a:lnTo>
                      <a:pt x="6450711" y="2767637"/>
                    </a:lnTo>
                    <a:lnTo>
                      <a:pt x="7035081" y="2767637"/>
                    </a:lnTo>
                    <a:lnTo>
                      <a:pt x="7035081" y="2844070"/>
                    </a:lnTo>
                    <a:lnTo>
                      <a:pt x="7071551" y="2844070"/>
                    </a:lnTo>
                    <a:lnTo>
                      <a:pt x="7071551" y="2929160"/>
                    </a:lnTo>
                    <a:lnTo>
                      <a:pt x="7984818" y="2929160"/>
                    </a:lnTo>
                    <a:lnTo>
                      <a:pt x="7984818" y="3155897"/>
                    </a:lnTo>
                    <a:lnTo>
                      <a:pt x="9927971" y="3155897"/>
                    </a:lnTo>
                  </a:path>
                </a:pathLst>
              </a:custGeom>
              <a:noFill/>
              <a:ln w="12700" cap="flat">
                <a:solidFill>
                  <a:srgbClr val="929294"/>
                </a:solidFill>
                <a:custDash>
                  <a:ds d="872632" sp="290880"/>
                </a:custDash>
                <a:miter/>
              </a:ln>
            </p:spPr>
            <p:txBody>
              <a:bodyPr rtlCol="0" anchor="ctr"/>
              <a:lstStyle/>
              <a:p>
                <a:endParaRPr lang="en-US" sz="1800"/>
              </a:p>
            </p:txBody>
          </p:sp>
          <p:sp>
            <p:nvSpPr>
              <p:cNvPr id="934" name="Freeform 369">
                <a:extLst>
                  <a:ext uri="{FF2B5EF4-FFF2-40B4-BE49-F238E27FC236}">
                    <a16:creationId xmlns:a16="http://schemas.microsoft.com/office/drawing/2014/main" id="{C73EC6CD-4E5B-E2B2-E705-052CC376FF2D}"/>
                  </a:ext>
                </a:extLst>
              </p:cNvPr>
              <p:cNvSpPr/>
              <p:nvPr/>
            </p:nvSpPr>
            <p:spPr>
              <a:xfrm>
                <a:off x="11450002" y="4383648"/>
                <a:ext cx="3069" cy="2698"/>
              </a:xfrm>
              <a:custGeom>
                <a:avLst/>
                <a:gdLst>
                  <a:gd name="connsiteX0" fmla="*/ 3070 w 3069"/>
                  <a:gd name="connsiteY0" fmla="*/ 0 h 2698"/>
                  <a:gd name="connsiteX1" fmla="*/ 0 w 3069"/>
                  <a:gd name="connsiteY1" fmla="*/ 2699 h 2698"/>
                </a:gdLst>
                <a:ahLst/>
                <a:cxnLst>
                  <a:cxn ang="0">
                    <a:pos x="connsiteX0" y="connsiteY0"/>
                  </a:cxn>
                  <a:cxn ang="0">
                    <a:pos x="connsiteX1" y="connsiteY1"/>
                  </a:cxn>
                </a:cxnLst>
                <a:rect l="l" t="t" r="r" b="b"/>
                <a:pathLst>
                  <a:path w="3069" h="2698">
                    <a:moveTo>
                      <a:pt x="3070" y="0"/>
                    </a:moveTo>
                    <a:lnTo>
                      <a:pt x="0" y="2699"/>
                    </a:lnTo>
                  </a:path>
                </a:pathLst>
              </a:custGeom>
              <a:ln w="12700" cap="flat">
                <a:solidFill>
                  <a:srgbClr val="929294"/>
                </a:solidFill>
                <a:prstDash val="solid"/>
                <a:miter/>
              </a:ln>
            </p:spPr>
            <p:txBody>
              <a:bodyPr rtlCol="0" anchor="ctr"/>
              <a:lstStyle/>
              <a:p>
                <a:endParaRPr lang="en-US" sz="1800"/>
              </a:p>
            </p:txBody>
          </p:sp>
          <p:sp>
            <p:nvSpPr>
              <p:cNvPr id="935" name="Freeform 370">
                <a:extLst>
                  <a:ext uri="{FF2B5EF4-FFF2-40B4-BE49-F238E27FC236}">
                    <a16:creationId xmlns:a16="http://schemas.microsoft.com/office/drawing/2014/main" id="{C409D749-FA3F-11C9-E28F-90DA96688F3E}"/>
                  </a:ext>
                </a:extLst>
              </p:cNvPr>
              <p:cNvSpPr/>
              <p:nvPr/>
            </p:nvSpPr>
            <p:spPr>
              <a:xfrm>
                <a:off x="1491985" y="1230450"/>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929294"/>
                </a:solidFill>
                <a:prstDash val="solid"/>
                <a:miter/>
              </a:ln>
            </p:spPr>
            <p:txBody>
              <a:bodyPr rtlCol="0" anchor="ctr"/>
              <a:lstStyle/>
              <a:p>
                <a:endParaRPr lang="en-US" sz="1800"/>
              </a:p>
            </p:txBody>
          </p:sp>
          <p:sp>
            <p:nvSpPr>
              <p:cNvPr id="936" name="Freeform 371">
                <a:extLst>
                  <a:ext uri="{FF2B5EF4-FFF2-40B4-BE49-F238E27FC236}">
                    <a16:creationId xmlns:a16="http://schemas.microsoft.com/office/drawing/2014/main" id="{00423991-CEB5-9188-A309-55A55F1E832D}"/>
                  </a:ext>
                </a:extLst>
              </p:cNvPr>
              <p:cNvSpPr/>
              <p:nvPr/>
            </p:nvSpPr>
            <p:spPr>
              <a:xfrm>
                <a:off x="1529450" y="1205155"/>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929294"/>
                </a:solidFill>
                <a:prstDash val="solid"/>
                <a:miter/>
              </a:ln>
            </p:spPr>
            <p:txBody>
              <a:bodyPr rtlCol="0" anchor="ctr"/>
              <a:lstStyle/>
              <a:p>
                <a:endParaRPr lang="en-US" sz="1800"/>
              </a:p>
            </p:txBody>
          </p:sp>
          <p:sp>
            <p:nvSpPr>
              <p:cNvPr id="937" name="Freeform 372">
                <a:extLst>
                  <a:ext uri="{FF2B5EF4-FFF2-40B4-BE49-F238E27FC236}">
                    <a16:creationId xmlns:a16="http://schemas.microsoft.com/office/drawing/2014/main" id="{8EA1B348-6B61-D8F4-3557-65ED9FEA84AB}"/>
                  </a:ext>
                </a:extLst>
              </p:cNvPr>
              <p:cNvSpPr/>
              <p:nvPr/>
            </p:nvSpPr>
            <p:spPr>
              <a:xfrm>
                <a:off x="1491985" y="1230450"/>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929294"/>
                </a:solidFill>
                <a:prstDash val="solid"/>
                <a:miter/>
              </a:ln>
            </p:spPr>
            <p:txBody>
              <a:bodyPr rtlCol="0" anchor="ctr"/>
              <a:lstStyle/>
              <a:p>
                <a:endParaRPr lang="en-US" sz="1800"/>
              </a:p>
            </p:txBody>
          </p:sp>
          <p:sp>
            <p:nvSpPr>
              <p:cNvPr id="938" name="Freeform 373">
                <a:extLst>
                  <a:ext uri="{FF2B5EF4-FFF2-40B4-BE49-F238E27FC236}">
                    <a16:creationId xmlns:a16="http://schemas.microsoft.com/office/drawing/2014/main" id="{CFCE34E9-5359-5C4D-0485-5E6AA0866A6C}"/>
                  </a:ext>
                </a:extLst>
              </p:cNvPr>
              <p:cNvSpPr/>
              <p:nvPr/>
            </p:nvSpPr>
            <p:spPr>
              <a:xfrm>
                <a:off x="1529450" y="1205155"/>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929294"/>
                </a:solidFill>
                <a:prstDash val="solid"/>
                <a:miter/>
              </a:ln>
            </p:spPr>
            <p:txBody>
              <a:bodyPr rtlCol="0" anchor="ctr"/>
              <a:lstStyle/>
              <a:p>
                <a:endParaRPr lang="en-US" sz="1800"/>
              </a:p>
            </p:txBody>
          </p:sp>
          <p:sp>
            <p:nvSpPr>
              <p:cNvPr id="939" name="Freeform 374">
                <a:extLst>
                  <a:ext uri="{FF2B5EF4-FFF2-40B4-BE49-F238E27FC236}">
                    <a16:creationId xmlns:a16="http://schemas.microsoft.com/office/drawing/2014/main" id="{21FC92A8-E2F5-8685-E88C-01D6922D8E2F}"/>
                  </a:ext>
                </a:extLst>
              </p:cNvPr>
              <p:cNvSpPr/>
              <p:nvPr/>
            </p:nvSpPr>
            <p:spPr>
              <a:xfrm>
                <a:off x="1491985" y="1230450"/>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929294"/>
                </a:solidFill>
                <a:prstDash val="solid"/>
                <a:miter/>
              </a:ln>
            </p:spPr>
            <p:txBody>
              <a:bodyPr rtlCol="0" anchor="ctr"/>
              <a:lstStyle/>
              <a:p>
                <a:endParaRPr lang="en-US" sz="1800"/>
              </a:p>
            </p:txBody>
          </p:sp>
          <p:sp>
            <p:nvSpPr>
              <p:cNvPr id="940" name="Freeform 375">
                <a:extLst>
                  <a:ext uri="{FF2B5EF4-FFF2-40B4-BE49-F238E27FC236}">
                    <a16:creationId xmlns:a16="http://schemas.microsoft.com/office/drawing/2014/main" id="{99B83B6D-8471-5661-3F0C-217A412053AB}"/>
                  </a:ext>
                </a:extLst>
              </p:cNvPr>
              <p:cNvSpPr/>
              <p:nvPr/>
            </p:nvSpPr>
            <p:spPr>
              <a:xfrm>
                <a:off x="1529450" y="1205155"/>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929294"/>
                </a:solidFill>
                <a:prstDash val="solid"/>
                <a:miter/>
              </a:ln>
            </p:spPr>
            <p:txBody>
              <a:bodyPr rtlCol="0" anchor="ctr"/>
              <a:lstStyle/>
              <a:p>
                <a:endParaRPr lang="en-US" sz="1800"/>
              </a:p>
            </p:txBody>
          </p:sp>
          <p:sp>
            <p:nvSpPr>
              <p:cNvPr id="941" name="Freeform 376">
                <a:extLst>
                  <a:ext uri="{FF2B5EF4-FFF2-40B4-BE49-F238E27FC236}">
                    <a16:creationId xmlns:a16="http://schemas.microsoft.com/office/drawing/2014/main" id="{7ADA9DA1-3AD3-3263-88FC-CDA2C039B49A}"/>
                  </a:ext>
                </a:extLst>
              </p:cNvPr>
              <p:cNvSpPr/>
              <p:nvPr/>
            </p:nvSpPr>
            <p:spPr>
              <a:xfrm>
                <a:off x="1491985" y="1230450"/>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929294"/>
                </a:solidFill>
                <a:prstDash val="solid"/>
                <a:miter/>
              </a:ln>
            </p:spPr>
            <p:txBody>
              <a:bodyPr rtlCol="0" anchor="ctr"/>
              <a:lstStyle/>
              <a:p>
                <a:endParaRPr lang="en-US" sz="1800"/>
              </a:p>
            </p:txBody>
          </p:sp>
          <p:sp>
            <p:nvSpPr>
              <p:cNvPr id="942" name="Freeform 377">
                <a:extLst>
                  <a:ext uri="{FF2B5EF4-FFF2-40B4-BE49-F238E27FC236}">
                    <a16:creationId xmlns:a16="http://schemas.microsoft.com/office/drawing/2014/main" id="{6821DDEF-D57B-DE84-36F0-DED98D7EB91E}"/>
                  </a:ext>
                </a:extLst>
              </p:cNvPr>
              <p:cNvSpPr/>
              <p:nvPr/>
            </p:nvSpPr>
            <p:spPr>
              <a:xfrm>
                <a:off x="1529450" y="1205155"/>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929294"/>
                </a:solidFill>
                <a:prstDash val="solid"/>
                <a:miter/>
              </a:ln>
            </p:spPr>
            <p:txBody>
              <a:bodyPr rtlCol="0" anchor="ctr"/>
              <a:lstStyle/>
              <a:p>
                <a:endParaRPr lang="en-US" sz="1800"/>
              </a:p>
            </p:txBody>
          </p:sp>
          <p:sp>
            <p:nvSpPr>
              <p:cNvPr id="943" name="Freeform 378">
                <a:extLst>
                  <a:ext uri="{FF2B5EF4-FFF2-40B4-BE49-F238E27FC236}">
                    <a16:creationId xmlns:a16="http://schemas.microsoft.com/office/drawing/2014/main" id="{57F7AD7B-B2B7-F935-000C-64DA67FA0759}"/>
                  </a:ext>
                </a:extLst>
              </p:cNvPr>
              <p:cNvSpPr/>
              <p:nvPr/>
            </p:nvSpPr>
            <p:spPr>
              <a:xfrm>
                <a:off x="1491985" y="1230450"/>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929294"/>
                </a:solidFill>
                <a:prstDash val="solid"/>
                <a:miter/>
              </a:ln>
            </p:spPr>
            <p:txBody>
              <a:bodyPr rtlCol="0" anchor="ctr"/>
              <a:lstStyle/>
              <a:p>
                <a:endParaRPr lang="en-US" sz="1800"/>
              </a:p>
            </p:txBody>
          </p:sp>
          <p:sp>
            <p:nvSpPr>
              <p:cNvPr id="944" name="Freeform 379">
                <a:extLst>
                  <a:ext uri="{FF2B5EF4-FFF2-40B4-BE49-F238E27FC236}">
                    <a16:creationId xmlns:a16="http://schemas.microsoft.com/office/drawing/2014/main" id="{222149DD-F2CA-3F93-C186-3D05C8160571}"/>
                  </a:ext>
                </a:extLst>
              </p:cNvPr>
              <p:cNvSpPr/>
              <p:nvPr/>
            </p:nvSpPr>
            <p:spPr>
              <a:xfrm>
                <a:off x="1529450" y="1205155"/>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929294"/>
                </a:solidFill>
                <a:prstDash val="solid"/>
                <a:miter/>
              </a:ln>
            </p:spPr>
            <p:txBody>
              <a:bodyPr rtlCol="0" anchor="ctr"/>
              <a:lstStyle/>
              <a:p>
                <a:endParaRPr lang="en-US" sz="1800"/>
              </a:p>
            </p:txBody>
          </p:sp>
          <p:sp>
            <p:nvSpPr>
              <p:cNvPr id="945" name="Freeform 380">
                <a:extLst>
                  <a:ext uri="{FF2B5EF4-FFF2-40B4-BE49-F238E27FC236}">
                    <a16:creationId xmlns:a16="http://schemas.microsoft.com/office/drawing/2014/main" id="{FAB93B11-D0F3-319C-A281-48C3EAA61B5A}"/>
                  </a:ext>
                </a:extLst>
              </p:cNvPr>
              <p:cNvSpPr/>
              <p:nvPr/>
            </p:nvSpPr>
            <p:spPr>
              <a:xfrm>
                <a:off x="1491985" y="1230450"/>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929294"/>
                </a:solidFill>
                <a:prstDash val="solid"/>
                <a:miter/>
              </a:ln>
            </p:spPr>
            <p:txBody>
              <a:bodyPr rtlCol="0" anchor="ctr"/>
              <a:lstStyle/>
              <a:p>
                <a:endParaRPr lang="en-US" sz="1800"/>
              </a:p>
            </p:txBody>
          </p:sp>
          <p:sp>
            <p:nvSpPr>
              <p:cNvPr id="946" name="Freeform 381">
                <a:extLst>
                  <a:ext uri="{FF2B5EF4-FFF2-40B4-BE49-F238E27FC236}">
                    <a16:creationId xmlns:a16="http://schemas.microsoft.com/office/drawing/2014/main" id="{5E200E6F-6105-E537-8286-AC0080B121AE}"/>
                  </a:ext>
                </a:extLst>
              </p:cNvPr>
              <p:cNvSpPr/>
              <p:nvPr/>
            </p:nvSpPr>
            <p:spPr>
              <a:xfrm>
                <a:off x="1529450" y="1205155"/>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929294"/>
                </a:solidFill>
                <a:prstDash val="solid"/>
                <a:miter/>
              </a:ln>
            </p:spPr>
            <p:txBody>
              <a:bodyPr rtlCol="0" anchor="ctr"/>
              <a:lstStyle/>
              <a:p>
                <a:endParaRPr lang="en-US" sz="1800"/>
              </a:p>
            </p:txBody>
          </p:sp>
          <p:sp>
            <p:nvSpPr>
              <p:cNvPr id="947" name="Freeform 382">
                <a:extLst>
                  <a:ext uri="{FF2B5EF4-FFF2-40B4-BE49-F238E27FC236}">
                    <a16:creationId xmlns:a16="http://schemas.microsoft.com/office/drawing/2014/main" id="{711CAD51-FFEC-91DA-2A51-9E6D92F46909}"/>
                  </a:ext>
                </a:extLst>
              </p:cNvPr>
              <p:cNvSpPr/>
              <p:nvPr/>
            </p:nvSpPr>
            <p:spPr>
              <a:xfrm>
                <a:off x="1696540" y="1272603"/>
                <a:ext cx="74930" cy="10583"/>
              </a:xfrm>
              <a:custGeom>
                <a:avLst/>
                <a:gdLst>
                  <a:gd name="connsiteX0" fmla="*/ 0 w 74930"/>
                  <a:gd name="connsiteY0" fmla="*/ 0 h 10583"/>
                  <a:gd name="connsiteX1" fmla="*/ 74930 w 74930"/>
                  <a:gd name="connsiteY1" fmla="*/ 0 h 10583"/>
                </a:gdLst>
                <a:ahLst/>
                <a:cxnLst>
                  <a:cxn ang="0">
                    <a:pos x="connsiteX0" y="connsiteY0"/>
                  </a:cxn>
                  <a:cxn ang="0">
                    <a:pos x="connsiteX1" y="connsiteY1"/>
                  </a:cxn>
                </a:cxnLst>
                <a:rect l="l" t="t" r="r" b="b"/>
                <a:pathLst>
                  <a:path w="74930" h="10583">
                    <a:moveTo>
                      <a:pt x="0" y="0"/>
                    </a:moveTo>
                    <a:lnTo>
                      <a:pt x="74930" y="0"/>
                    </a:lnTo>
                  </a:path>
                </a:pathLst>
              </a:custGeom>
              <a:ln w="12700" cap="sq">
                <a:solidFill>
                  <a:srgbClr val="929294"/>
                </a:solidFill>
                <a:prstDash val="solid"/>
                <a:miter/>
              </a:ln>
            </p:spPr>
            <p:txBody>
              <a:bodyPr rtlCol="0" anchor="ctr"/>
              <a:lstStyle/>
              <a:p>
                <a:endParaRPr lang="en-US" sz="1800"/>
              </a:p>
            </p:txBody>
          </p:sp>
          <p:sp>
            <p:nvSpPr>
              <p:cNvPr id="948" name="Freeform 383">
                <a:extLst>
                  <a:ext uri="{FF2B5EF4-FFF2-40B4-BE49-F238E27FC236}">
                    <a16:creationId xmlns:a16="http://schemas.microsoft.com/office/drawing/2014/main" id="{AA9A607C-0859-E1D0-4803-55CC86A5A480}"/>
                  </a:ext>
                </a:extLst>
              </p:cNvPr>
              <p:cNvSpPr/>
              <p:nvPr/>
            </p:nvSpPr>
            <p:spPr>
              <a:xfrm>
                <a:off x="1734005" y="1247309"/>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929294"/>
                </a:solidFill>
                <a:prstDash val="solid"/>
                <a:miter/>
              </a:ln>
            </p:spPr>
            <p:txBody>
              <a:bodyPr rtlCol="0" anchor="ctr"/>
              <a:lstStyle/>
              <a:p>
                <a:endParaRPr lang="en-US" sz="1800"/>
              </a:p>
            </p:txBody>
          </p:sp>
          <p:sp>
            <p:nvSpPr>
              <p:cNvPr id="949" name="Freeform 384">
                <a:extLst>
                  <a:ext uri="{FF2B5EF4-FFF2-40B4-BE49-F238E27FC236}">
                    <a16:creationId xmlns:a16="http://schemas.microsoft.com/office/drawing/2014/main" id="{43DD040B-D294-C4FE-13C2-9EF4C452905F}"/>
                  </a:ext>
                </a:extLst>
              </p:cNvPr>
              <p:cNvSpPr/>
              <p:nvPr/>
            </p:nvSpPr>
            <p:spPr>
              <a:xfrm>
                <a:off x="1711145" y="1272603"/>
                <a:ext cx="75014" cy="10583"/>
              </a:xfrm>
              <a:custGeom>
                <a:avLst/>
                <a:gdLst>
                  <a:gd name="connsiteX0" fmla="*/ 0 w 75014"/>
                  <a:gd name="connsiteY0" fmla="*/ 0 h 10583"/>
                  <a:gd name="connsiteX1" fmla="*/ 75015 w 75014"/>
                  <a:gd name="connsiteY1" fmla="*/ 0 h 10583"/>
                </a:gdLst>
                <a:ahLst/>
                <a:cxnLst>
                  <a:cxn ang="0">
                    <a:pos x="connsiteX0" y="connsiteY0"/>
                  </a:cxn>
                  <a:cxn ang="0">
                    <a:pos x="connsiteX1" y="connsiteY1"/>
                  </a:cxn>
                </a:cxnLst>
                <a:rect l="l" t="t" r="r" b="b"/>
                <a:pathLst>
                  <a:path w="75014" h="10583">
                    <a:moveTo>
                      <a:pt x="0" y="0"/>
                    </a:moveTo>
                    <a:lnTo>
                      <a:pt x="75015" y="0"/>
                    </a:lnTo>
                  </a:path>
                </a:pathLst>
              </a:custGeom>
              <a:ln w="12700" cap="sq">
                <a:solidFill>
                  <a:srgbClr val="929294"/>
                </a:solidFill>
                <a:prstDash val="solid"/>
                <a:miter/>
              </a:ln>
            </p:spPr>
            <p:txBody>
              <a:bodyPr rtlCol="0" anchor="ctr"/>
              <a:lstStyle/>
              <a:p>
                <a:endParaRPr lang="en-US" sz="1800"/>
              </a:p>
            </p:txBody>
          </p:sp>
          <p:sp>
            <p:nvSpPr>
              <p:cNvPr id="950" name="Freeform 385">
                <a:extLst>
                  <a:ext uri="{FF2B5EF4-FFF2-40B4-BE49-F238E27FC236}">
                    <a16:creationId xmlns:a16="http://schemas.microsoft.com/office/drawing/2014/main" id="{55F28CE1-AAD2-7B51-1E87-B4E43F479D0D}"/>
                  </a:ext>
                </a:extLst>
              </p:cNvPr>
              <p:cNvSpPr/>
              <p:nvPr/>
            </p:nvSpPr>
            <p:spPr>
              <a:xfrm>
                <a:off x="1748610" y="1247309"/>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929294"/>
                </a:solidFill>
                <a:prstDash val="solid"/>
                <a:miter/>
              </a:ln>
            </p:spPr>
            <p:txBody>
              <a:bodyPr rtlCol="0" anchor="ctr"/>
              <a:lstStyle/>
              <a:p>
                <a:endParaRPr lang="en-US" sz="1800"/>
              </a:p>
            </p:txBody>
          </p:sp>
          <p:sp>
            <p:nvSpPr>
              <p:cNvPr id="951" name="Freeform 386">
                <a:extLst>
                  <a:ext uri="{FF2B5EF4-FFF2-40B4-BE49-F238E27FC236}">
                    <a16:creationId xmlns:a16="http://schemas.microsoft.com/office/drawing/2014/main" id="{EEAEBA60-FD8A-E532-2CE4-E9E8DE7A5B70}"/>
                  </a:ext>
                </a:extLst>
              </p:cNvPr>
              <p:cNvSpPr/>
              <p:nvPr/>
            </p:nvSpPr>
            <p:spPr>
              <a:xfrm>
                <a:off x="1776888" y="1428284"/>
                <a:ext cx="74887" cy="10583"/>
              </a:xfrm>
              <a:custGeom>
                <a:avLst/>
                <a:gdLst>
                  <a:gd name="connsiteX0" fmla="*/ 0 w 74887"/>
                  <a:gd name="connsiteY0" fmla="*/ 0 h 10583"/>
                  <a:gd name="connsiteX1" fmla="*/ 74888 w 74887"/>
                  <a:gd name="connsiteY1" fmla="*/ 0 h 10583"/>
                </a:gdLst>
                <a:ahLst/>
                <a:cxnLst>
                  <a:cxn ang="0">
                    <a:pos x="connsiteX0" y="connsiteY0"/>
                  </a:cxn>
                  <a:cxn ang="0">
                    <a:pos x="connsiteX1" y="connsiteY1"/>
                  </a:cxn>
                </a:cxnLst>
                <a:rect l="l" t="t" r="r" b="b"/>
                <a:pathLst>
                  <a:path w="74887" h="10583">
                    <a:moveTo>
                      <a:pt x="0" y="0"/>
                    </a:moveTo>
                    <a:lnTo>
                      <a:pt x="74888" y="0"/>
                    </a:lnTo>
                  </a:path>
                </a:pathLst>
              </a:custGeom>
              <a:ln w="12700" cap="sq">
                <a:solidFill>
                  <a:srgbClr val="929294"/>
                </a:solidFill>
                <a:prstDash val="solid"/>
                <a:miter/>
              </a:ln>
            </p:spPr>
            <p:txBody>
              <a:bodyPr rtlCol="0" anchor="ctr"/>
              <a:lstStyle/>
              <a:p>
                <a:endParaRPr lang="en-US" sz="1800"/>
              </a:p>
            </p:txBody>
          </p:sp>
          <p:sp>
            <p:nvSpPr>
              <p:cNvPr id="952" name="Freeform 387">
                <a:extLst>
                  <a:ext uri="{FF2B5EF4-FFF2-40B4-BE49-F238E27FC236}">
                    <a16:creationId xmlns:a16="http://schemas.microsoft.com/office/drawing/2014/main" id="{ECC3D48E-1A3E-8D08-65C2-C983A4374D97}"/>
                  </a:ext>
                </a:extLst>
              </p:cNvPr>
              <p:cNvSpPr/>
              <p:nvPr/>
            </p:nvSpPr>
            <p:spPr>
              <a:xfrm>
                <a:off x="1814311" y="1402990"/>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929294"/>
                </a:solidFill>
                <a:prstDash val="solid"/>
                <a:miter/>
              </a:ln>
            </p:spPr>
            <p:txBody>
              <a:bodyPr rtlCol="0" anchor="ctr"/>
              <a:lstStyle/>
              <a:p>
                <a:endParaRPr lang="en-US" sz="1800"/>
              </a:p>
            </p:txBody>
          </p:sp>
          <p:sp>
            <p:nvSpPr>
              <p:cNvPr id="953" name="Freeform 388">
                <a:extLst>
                  <a:ext uri="{FF2B5EF4-FFF2-40B4-BE49-F238E27FC236}">
                    <a16:creationId xmlns:a16="http://schemas.microsoft.com/office/drawing/2014/main" id="{B309751F-D48E-7FBE-5285-C4D90B996B5A}"/>
                  </a:ext>
                </a:extLst>
              </p:cNvPr>
              <p:cNvSpPr/>
              <p:nvPr/>
            </p:nvSpPr>
            <p:spPr>
              <a:xfrm>
                <a:off x="1784159" y="1556205"/>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929294"/>
                </a:solidFill>
                <a:prstDash val="solid"/>
                <a:miter/>
              </a:ln>
            </p:spPr>
            <p:txBody>
              <a:bodyPr rtlCol="0" anchor="ctr"/>
              <a:lstStyle/>
              <a:p>
                <a:endParaRPr lang="en-US" sz="1800"/>
              </a:p>
            </p:txBody>
          </p:sp>
          <p:sp>
            <p:nvSpPr>
              <p:cNvPr id="954" name="Freeform 389">
                <a:extLst>
                  <a:ext uri="{FF2B5EF4-FFF2-40B4-BE49-F238E27FC236}">
                    <a16:creationId xmlns:a16="http://schemas.microsoft.com/office/drawing/2014/main" id="{17AB9B42-BD58-667B-0827-AE1E665236D7}"/>
                  </a:ext>
                </a:extLst>
              </p:cNvPr>
              <p:cNvSpPr/>
              <p:nvPr/>
            </p:nvSpPr>
            <p:spPr>
              <a:xfrm>
                <a:off x="1821635" y="1530921"/>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929294"/>
                </a:solidFill>
                <a:prstDash val="solid"/>
                <a:miter/>
              </a:ln>
            </p:spPr>
            <p:txBody>
              <a:bodyPr rtlCol="0" anchor="ctr"/>
              <a:lstStyle/>
              <a:p>
                <a:endParaRPr lang="en-US" sz="1800"/>
              </a:p>
            </p:txBody>
          </p:sp>
          <p:sp>
            <p:nvSpPr>
              <p:cNvPr id="955" name="Freeform 390">
                <a:extLst>
                  <a:ext uri="{FF2B5EF4-FFF2-40B4-BE49-F238E27FC236}">
                    <a16:creationId xmlns:a16="http://schemas.microsoft.com/office/drawing/2014/main" id="{B7046706-1FD6-3842-22C3-F2FF4CBFBE53}"/>
                  </a:ext>
                </a:extLst>
              </p:cNvPr>
              <p:cNvSpPr/>
              <p:nvPr/>
            </p:nvSpPr>
            <p:spPr>
              <a:xfrm>
                <a:off x="1791493" y="1599035"/>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929294"/>
                </a:solidFill>
                <a:prstDash val="solid"/>
                <a:miter/>
              </a:ln>
            </p:spPr>
            <p:txBody>
              <a:bodyPr rtlCol="0" anchor="ctr"/>
              <a:lstStyle/>
              <a:p>
                <a:endParaRPr lang="en-US" sz="1800"/>
              </a:p>
            </p:txBody>
          </p:sp>
          <p:sp>
            <p:nvSpPr>
              <p:cNvPr id="956" name="Freeform 391">
                <a:extLst>
                  <a:ext uri="{FF2B5EF4-FFF2-40B4-BE49-F238E27FC236}">
                    <a16:creationId xmlns:a16="http://schemas.microsoft.com/office/drawing/2014/main" id="{94A0DE16-F823-1609-FF18-E0A4813BEA50}"/>
                  </a:ext>
                </a:extLst>
              </p:cNvPr>
              <p:cNvSpPr/>
              <p:nvPr/>
            </p:nvSpPr>
            <p:spPr>
              <a:xfrm>
                <a:off x="1828958" y="1573741"/>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929294"/>
                </a:solidFill>
                <a:prstDash val="solid"/>
                <a:miter/>
              </a:ln>
            </p:spPr>
            <p:txBody>
              <a:bodyPr rtlCol="0" anchor="ctr"/>
              <a:lstStyle/>
              <a:p>
                <a:endParaRPr lang="en-US" sz="1800"/>
              </a:p>
            </p:txBody>
          </p:sp>
          <p:sp>
            <p:nvSpPr>
              <p:cNvPr id="957" name="Freeform 392">
                <a:extLst>
                  <a:ext uri="{FF2B5EF4-FFF2-40B4-BE49-F238E27FC236}">
                    <a16:creationId xmlns:a16="http://schemas.microsoft.com/office/drawing/2014/main" id="{BFF5F7B5-7015-3D88-5162-ADC1BF2F48F2}"/>
                  </a:ext>
                </a:extLst>
              </p:cNvPr>
              <p:cNvSpPr/>
              <p:nvPr/>
            </p:nvSpPr>
            <p:spPr>
              <a:xfrm>
                <a:off x="1791493" y="1599035"/>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929294"/>
                </a:solidFill>
                <a:prstDash val="solid"/>
                <a:miter/>
              </a:ln>
            </p:spPr>
            <p:txBody>
              <a:bodyPr rtlCol="0" anchor="ctr"/>
              <a:lstStyle/>
              <a:p>
                <a:endParaRPr lang="en-US" sz="1800"/>
              </a:p>
            </p:txBody>
          </p:sp>
          <p:sp>
            <p:nvSpPr>
              <p:cNvPr id="958" name="Freeform 393">
                <a:extLst>
                  <a:ext uri="{FF2B5EF4-FFF2-40B4-BE49-F238E27FC236}">
                    <a16:creationId xmlns:a16="http://schemas.microsoft.com/office/drawing/2014/main" id="{B1097BC5-9173-EFFC-8F87-8996F8021137}"/>
                  </a:ext>
                </a:extLst>
              </p:cNvPr>
              <p:cNvSpPr/>
              <p:nvPr/>
            </p:nvSpPr>
            <p:spPr>
              <a:xfrm>
                <a:off x="1828958" y="1573741"/>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929294"/>
                </a:solidFill>
                <a:prstDash val="solid"/>
                <a:miter/>
              </a:ln>
            </p:spPr>
            <p:txBody>
              <a:bodyPr rtlCol="0" anchor="ctr"/>
              <a:lstStyle/>
              <a:p>
                <a:endParaRPr lang="en-US" sz="1800"/>
              </a:p>
            </p:txBody>
          </p:sp>
          <p:sp>
            <p:nvSpPr>
              <p:cNvPr id="959" name="Freeform 394">
                <a:extLst>
                  <a:ext uri="{FF2B5EF4-FFF2-40B4-BE49-F238E27FC236}">
                    <a16:creationId xmlns:a16="http://schemas.microsoft.com/office/drawing/2014/main" id="{13A18BE8-1BED-CAB0-DAB4-8290F03B6099}"/>
                  </a:ext>
                </a:extLst>
              </p:cNvPr>
              <p:cNvSpPr/>
              <p:nvPr/>
            </p:nvSpPr>
            <p:spPr>
              <a:xfrm>
                <a:off x="1791493" y="1599035"/>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929294"/>
                </a:solidFill>
                <a:prstDash val="solid"/>
                <a:miter/>
              </a:ln>
            </p:spPr>
            <p:txBody>
              <a:bodyPr rtlCol="0" anchor="ctr"/>
              <a:lstStyle/>
              <a:p>
                <a:endParaRPr lang="en-US" sz="1800"/>
              </a:p>
            </p:txBody>
          </p:sp>
          <p:sp>
            <p:nvSpPr>
              <p:cNvPr id="960" name="Freeform 395">
                <a:extLst>
                  <a:ext uri="{FF2B5EF4-FFF2-40B4-BE49-F238E27FC236}">
                    <a16:creationId xmlns:a16="http://schemas.microsoft.com/office/drawing/2014/main" id="{499C9CDE-E34B-266F-A16B-C9A0D5CC9C05}"/>
                  </a:ext>
                </a:extLst>
              </p:cNvPr>
              <p:cNvSpPr/>
              <p:nvPr/>
            </p:nvSpPr>
            <p:spPr>
              <a:xfrm>
                <a:off x="1828958" y="1573741"/>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929294"/>
                </a:solidFill>
                <a:prstDash val="solid"/>
                <a:miter/>
              </a:ln>
            </p:spPr>
            <p:txBody>
              <a:bodyPr rtlCol="0" anchor="ctr"/>
              <a:lstStyle/>
              <a:p>
                <a:endParaRPr lang="en-US" sz="1800"/>
              </a:p>
            </p:txBody>
          </p:sp>
          <p:sp>
            <p:nvSpPr>
              <p:cNvPr id="961" name="Freeform 396">
                <a:extLst>
                  <a:ext uri="{FF2B5EF4-FFF2-40B4-BE49-F238E27FC236}">
                    <a16:creationId xmlns:a16="http://schemas.microsoft.com/office/drawing/2014/main" id="{448ADC87-AE39-2DC8-EB19-9CC1FFF57EE2}"/>
                  </a:ext>
                </a:extLst>
              </p:cNvPr>
              <p:cNvSpPr/>
              <p:nvPr/>
            </p:nvSpPr>
            <p:spPr>
              <a:xfrm>
                <a:off x="1798817" y="1671425"/>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929294"/>
                </a:solidFill>
                <a:prstDash val="solid"/>
                <a:miter/>
              </a:ln>
            </p:spPr>
            <p:txBody>
              <a:bodyPr rtlCol="0" anchor="ctr"/>
              <a:lstStyle/>
              <a:p>
                <a:endParaRPr lang="en-US" sz="1800"/>
              </a:p>
            </p:txBody>
          </p:sp>
          <p:sp>
            <p:nvSpPr>
              <p:cNvPr id="962" name="Freeform 397">
                <a:extLst>
                  <a:ext uri="{FF2B5EF4-FFF2-40B4-BE49-F238E27FC236}">
                    <a16:creationId xmlns:a16="http://schemas.microsoft.com/office/drawing/2014/main" id="{62165E37-8EC6-4FF9-E57A-4DED9153A257}"/>
                  </a:ext>
                </a:extLst>
              </p:cNvPr>
              <p:cNvSpPr/>
              <p:nvPr/>
            </p:nvSpPr>
            <p:spPr>
              <a:xfrm>
                <a:off x="1836293" y="1646131"/>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929294"/>
                </a:solidFill>
                <a:prstDash val="solid"/>
                <a:miter/>
              </a:ln>
            </p:spPr>
            <p:txBody>
              <a:bodyPr rtlCol="0" anchor="ctr"/>
              <a:lstStyle/>
              <a:p>
                <a:endParaRPr lang="en-US" sz="1800"/>
              </a:p>
            </p:txBody>
          </p:sp>
          <p:sp>
            <p:nvSpPr>
              <p:cNvPr id="963" name="Freeform 398">
                <a:extLst>
                  <a:ext uri="{FF2B5EF4-FFF2-40B4-BE49-F238E27FC236}">
                    <a16:creationId xmlns:a16="http://schemas.microsoft.com/office/drawing/2014/main" id="{76E727A7-F555-FAA1-F9BD-96F0E05811FF}"/>
                  </a:ext>
                </a:extLst>
              </p:cNvPr>
              <p:cNvSpPr/>
              <p:nvPr/>
            </p:nvSpPr>
            <p:spPr>
              <a:xfrm>
                <a:off x="1806151" y="1685925"/>
                <a:ext cx="74930" cy="10583"/>
              </a:xfrm>
              <a:custGeom>
                <a:avLst/>
                <a:gdLst>
                  <a:gd name="connsiteX0" fmla="*/ 0 w 74930"/>
                  <a:gd name="connsiteY0" fmla="*/ 0 h 10583"/>
                  <a:gd name="connsiteX1" fmla="*/ 74930 w 74930"/>
                  <a:gd name="connsiteY1" fmla="*/ 0 h 10583"/>
                </a:gdLst>
                <a:ahLst/>
                <a:cxnLst>
                  <a:cxn ang="0">
                    <a:pos x="connsiteX0" y="connsiteY0"/>
                  </a:cxn>
                  <a:cxn ang="0">
                    <a:pos x="connsiteX1" y="connsiteY1"/>
                  </a:cxn>
                </a:cxnLst>
                <a:rect l="l" t="t" r="r" b="b"/>
                <a:pathLst>
                  <a:path w="74930" h="10583">
                    <a:moveTo>
                      <a:pt x="0" y="0"/>
                    </a:moveTo>
                    <a:lnTo>
                      <a:pt x="74930" y="0"/>
                    </a:lnTo>
                  </a:path>
                </a:pathLst>
              </a:custGeom>
              <a:ln w="12700" cap="sq">
                <a:solidFill>
                  <a:srgbClr val="929294"/>
                </a:solidFill>
                <a:prstDash val="solid"/>
                <a:miter/>
              </a:ln>
            </p:spPr>
            <p:txBody>
              <a:bodyPr rtlCol="0" anchor="ctr"/>
              <a:lstStyle/>
              <a:p>
                <a:endParaRPr lang="en-US" sz="1800"/>
              </a:p>
            </p:txBody>
          </p:sp>
          <p:sp>
            <p:nvSpPr>
              <p:cNvPr id="964" name="Freeform 399">
                <a:extLst>
                  <a:ext uri="{FF2B5EF4-FFF2-40B4-BE49-F238E27FC236}">
                    <a16:creationId xmlns:a16="http://schemas.microsoft.com/office/drawing/2014/main" id="{4B7E5682-50D8-7779-8CB3-2D10EE61CE3A}"/>
                  </a:ext>
                </a:extLst>
              </p:cNvPr>
              <p:cNvSpPr/>
              <p:nvPr/>
            </p:nvSpPr>
            <p:spPr>
              <a:xfrm>
                <a:off x="1843616" y="1660641"/>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929294"/>
                </a:solidFill>
                <a:prstDash val="solid"/>
                <a:miter/>
              </a:ln>
            </p:spPr>
            <p:txBody>
              <a:bodyPr rtlCol="0" anchor="ctr"/>
              <a:lstStyle/>
              <a:p>
                <a:endParaRPr lang="en-US" sz="1800"/>
              </a:p>
            </p:txBody>
          </p:sp>
          <p:sp>
            <p:nvSpPr>
              <p:cNvPr id="965" name="Freeform 400">
                <a:extLst>
                  <a:ext uri="{FF2B5EF4-FFF2-40B4-BE49-F238E27FC236}">
                    <a16:creationId xmlns:a16="http://schemas.microsoft.com/office/drawing/2014/main" id="{03B74657-42F0-1A1F-3212-3D0803AC173F}"/>
                  </a:ext>
                </a:extLst>
              </p:cNvPr>
              <p:cNvSpPr/>
              <p:nvPr/>
            </p:nvSpPr>
            <p:spPr>
              <a:xfrm>
                <a:off x="1827963" y="1773491"/>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929294"/>
                </a:solidFill>
                <a:prstDash val="solid"/>
                <a:miter/>
              </a:ln>
            </p:spPr>
            <p:txBody>
              <a:bodyPr rtlCol="0" anchor="ctr"/>
              <a:lstStyle/>
              <a:p>
                <a:endParaRPr lang="en-US" sz="1800"/>
              </a:p>
            </p:txBody>
          </p:sp>
          <p:sp>
            <p:nvSpPr>
              <p:cNvPr id="966" name="Freeform 401">
                <a:extLst>
                  <a:ext uri="{FF2B5EF4-FFF2-40B4-BE49-F238E27FC236}">
                    <a16:creationId xmlns:a16="http://schemas.microsoft.com/office/drawing/2014/main" id="{D4E41305-F9D5-FD04-C951-4F62C4A169EF}"/>
                  </a:ext>
                </a:extLst>
              </p:cNvPr>
              <p:cNvSpPr/>
              <p:nvPr/>
            </p:nvSpPr>
            <p:spPr>
              <a:xfrm>
                <a:off x="1865428" y="1748207"/>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929294"/>
                </a:solidFill>
                <a:prstDash val="solid"/>
                <a:miter/>
              </a:ln>
            </p:spPr>
            <p:txBody>
              <a:bodyPr rtlCol="0" anchor="ctr"/>
              <a:lstStyle/>
              <a:p>
                <a:endParaRPr lang="en-US" sz="1800"/>
              </a:p>
            </p:txBody>
          </p:sp>
          <p:sp>
            <p:nvSpPr>
              <p:cNvPr id="967" name="Freeform 402">
                <a:extLst>
                  <a:ext uri="{FF2B5EF4-FFF2-40B4-BE49-F238E27FC236}">
                    <a16:creationId xmlns:a16="http://schemas.microsoft.com/office/drawing/2014/main" id="{302F5D9B-9530-617A-15A8-7006F21481DB}"/>
                  </a:ext>
                </a:extLst>
              </p:cNvPr>
              <p:cNvSpPr/>
              <p:nvPr/>
            </p:nvSpPr>
            <p:spPr>
              <a:xfrm>
                <a:off x="1908397" y="1861513"/>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929294"/>
                </a:solidFill>
                <a:prstDash val="solid"/>
                <a:miter/>
              </a:ln>
            </p:spPr>
            <p:txBody>
              <a:bodyPr rtlCol="0" anchor="ctr"/>
              <a:lstStyle/>
              <a:p>
                <a:endParaRPr lang="en-US" sz="1800"/>
              </a:p>
            </p:txBody>
          </p:sp>
          <p:sp>
            <p:nvSpPr>
              <p:cNvPr id="968" name="Freeform 403">
                <a:extLst>
                  <a:ext uri="{FF2B5EF4-FFF2-40B4-BE49-F238E27FC236}">
                    <a16:creationId xmlns:a16="http://schemas.microsoft.com/office/drawing/2014/main" id="{CE479098-8119-3708-3389-783EB85F4E63}"/>
                  </a:ext>
                </a:extLst>
              </p:cNvPr>
              <p:cNvSpPr/>
              <p:nvPr/>
            </p:nvSpPr>
            <p:spPr>
              <a:xfrm>
                <a:off x="1945872" y="1836218"/>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929294"/>
                </a:solidFill>
                <a:prstDash val="solid"/>
                <a:miter/>
              </a:ln>
            </p:spPr>
            <p:txBody>
              <a:bodyPr rtlCol="0" anchor="ctr"/>
              <a:lstStyle/>
              <a:p>
                <a:endParaRPr lang="en-US" sz="1800"/>
              </a:p>
            </p:txBody>
          </p:sp>
          <p:sp>
            <p:nvSpPr>
              <p:cNvPr id="969" name="Freeform 404">
                <a:extLst>
                  <a:ext uri="{FF2B5EF4-FFF2-40B4-BE49-F238E27FC236}">
                    <a16:creationId xmlns:a16="http://schemas.microsoft.com/office/drawing/2014/main" id="{70FFD819-F468-2C7C-9E75-40EC93D9A571}"/>
                  </a:ext>
                </a:extLst>
              </p:cNvPr>
              <p:cNvSpPr/>
              <p:nvPr/>
            </p:nvSpPr>
            <p:spPr>
              <a:xfrm>
                <a:off x="1937543" y="1876350"/>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929294"/>
                </a:solidFill>
                <a:prstDash val="solid"/>
                <a:miter/>
              </a:ln>
            </p:spPr>
            <p:txBody>
              <a:bodyPr rtlCol="0" anchor="ctr"/>
              <a:lstStyle/>
              <a:p>
                <a:endParaRPr lang="en-US" sz="1800"/>
              </a:p>
            </p:txBody>
          </p:sp>
          <p:sp>
            <p:nvSpPr>
              <p:cNvPr id="970" name="Freeform 405">
                <a:extLst>
                  <a:ext uri="{FF2B5EF4-FFF2-40B4-BE49-F238E27FC236}">
                    <a16:creationId xmlns:a16="http://schemas.microsoft.com/office/drawing/2014/main" id="{567FD93E-9F85-DB52-97B3-68C209801366}"/>
                  </a:ext>
                </a:extLst>
              </p:cNvPr>
              <p:cNvSpPr/>
              <p:nvPr/>
            </p:nvSpPr>
            <p:spPr>
              <a:xfrm>
                <a:off x="1975008" y="1851056"/>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929294"/>
                </a:solidFill>
                <a:prstDash val="solid"/>
                <a:miter/>
              </a:ln>
            </p:spPr>
            <p:txBody>
              <a:bodyPr rtlCol="0" anchor="ctr"/>
              <a:lstStyle/>
              <a:p>
                <a:endParaRPr lang="en-US" sz="1800"/>
              </a:p>
            </p:txBody>
          </p:sp>
          <p:sp>
            <p:nvSpPr>
              <p:cNvPr id="971" name="Freeform 406">
                <a:extLst>
                  <a:ext uri="{FF2B5EF4-FFF2-40B4-BE49-F238E27FC236}">
                    <a16:creationId xmlns:a16="http://schemas.microsoft.com/office/drawing/2014/main" id="{E5AAC41C-C3A0-9A96-2729-F72B98D73D52}"/>
                  </a:ext>
                </a:extLst>
              </p:cNvPr>
              <p:cNvSpPr/>
              <p:nvPr/>
            </p:nvSpPr>
            <p:spPr>
              <a:xfrm>
                <a:off x="2076428" y="2083741"/>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929294"/>
                </a:solidFill>
                <a:prstDash val="solid"/>
                <a:miter/>
              </a:ln>
            </p:spPr>
            <p:txBody>
              <a:bodyPr rtlCol="0" anchor="ctr"/>
              <a:lstStyle/>
              <a:p>
                <a:endParaRPr lang="en-US" sz="1800"/>
              </a:p>
            </p:txBody>
          </p:sp>
          <p:sp>
            <p:nvSpPr>
              <p:cNvPr id="972" name="Freeform 407">
                <a:extLst>
                  <a:ext uri="{FF2B5EF4-FFF2-40B4-BE49-F238E27FC236}">
                    <a16:creationId xmlns:a16="http://schemas.microsoft.com/office/drawing/2014/main" id="{5BC692BE-CFD2-587A-CA3A-DF5C4113AD2F}"/>
                  </a:ext>
                </a:extLst>
              </p:cNvPr>
              <p:cNvSpPr/>
              <p:nvPr/>
            </p:nvSpPr>
            <p:spPr>
              <a:xfrm>
                <a:off x="2113893" y="2058458"/>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929294"/>
                </a:solidFill>
                <a:prstDash val="solid"/>
                <a:miter/>
              </a:ln>
            </p:spPr>
            <p:txBody>
              <a:bodyPr rtlCol="0" anchor="ctr"/>
              <a:lstStyle/>
              <a:p>
                <a:endParaRPr lang="en-US" sz="1800"/>
              </a:p>
            </p:txBody>
          </p:sp>
          <p:sp>
            <p:nvSpPr>
              <p:cNvPr id="973" name="Freeform 408">
                <a:extLst>
                  <a:ext uri="{FF2B5EF4-FFF2-40B4-BE49-F238E27FC236}">
                    <a16:creationId xmlns:a16="http://schemas.microsoft.com/office/drawing/2014/main" id="{4DC4387F-3E46-D390-ADAB-30DA16FF0AB5}"/>
                  </a:ext>
                </a:extLst>
              </p:cNvPr>
              <p:cNvSpPr/>
              <p:nvPr/>
            </p:nvSpPr>
            <p:spPr>
              <a:xfrm>
                <a:off x="2076428" y="2083741"/>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929294"/>
                </a:solidFill>
                <a:prstDash val="solid"/>
                <a:miter/>
              </a:ln>
            </p:spPr>
            <p:txBody>
              <a:bodyPr rtlCol="0" anchor="ctr"/>
              <a:lstStyle/>
              <a:p>
                <a:endParaRPr lang="en-US" sz="1800"/>
              </a:p>
            </p:txBody>
          </p:sp>
          <p:sp>
            <p:nvSpPr>
              <p:cNvPr id="974" name="Freeform 409">
                <a:extLst>
                  <a:ext uri="{FF2B5EF4-FFF2-40B4-BE49-F238E27FC236}">
                    <a16:creationId xmlns:a16="http://schemas.microsoft.com/office/drawing/2014/main" id="{975FC65C-ABD9-07A7-88D4-39FB37DB681C}"/>
                  </a:ext>
                </a:extLst>
              </p:cNvPr>
              <p:cNvSpPr/>
              <p:nvPr/>
            </p:nvSpPr>
            <p:spPr>
              <a:xfrm>
                <a:off x="2113893" y="2058458"/>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929294"/>
                </a:solidFill>
                <a:prstDash val="solid"/>
                <a:miter/>
              </a:ln>
            </p:spPr>
            <p:txBody>
              <a:bodyPr rtlCol="0" anchor="ctr"/>
              <a:lstStyle/>
              <a:p>
                <a:endParaRPr lang="en-US" sz="1800"/>
              </a:p>
            </p:txBody>
          </p:sp>
          <p:sp>
            <p:nvSpPr>
              <p:cNvPr id="975" name="Freeform 410">
                <a:extLst>
                  <a:ext uri="{FF2B5EF4-FFF2-40B4-BE49-F238E27FC236}">
                    <a16:creationId xmlns:a16="http://schemas.microsoft.com/office/drawing/2014/main" id="{C0D988FA-0DDE-E707-0CC1-D9A330A5FFF4}"/>
                  </a:ext>
                </a:extLst>
              </p:cNvPr>
              <p:cNvSpPr/>
              <p:nvPr/>
            </p:nvSpPr>
            <p:spPr>
              <a:xfrm>
                <a:off x="2083752" y="2098696"/>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929294"/>
                </a:solidFill>
                <a:prstDash val="solid"/>
                <a:miter/>
              </a:ln>
            </p:spPr>
            <p:txBody>
              <a:bodyPr rtlCol="0" anchor="ctr"/>
              <a:lstStyle/>
              <a:p>
                <a:endParaRPr lang="en-US" sz="1800"/>
              </a:p>
            </p:txBody>
          </p:sp>
          <p:sp>
            <p:nvSpPr>
              <p:cNvPr id="976" name="Freeform 411">
                <a:extLst>
                  <a:ext uri="{FF2B5EF4-FFF2-40B4-BE49-F238E27FC236}">
                    <a16:creationId xmlns:a16="http://schemas.microsoft.com/office/drawing/2014/main" id="{5FDFECED-AE76-D0F4-C6B6-B75F73E13232}"/>
                  </a:ext>
                </a:extLst>
              </p:cNvPr>
              <p:cNvSpPr/>
              <p:nvPr/>
            </p:nvSpPr>
            <p:spPr>
              <a:xfrm>
                <a:off x="2121228" y="2073402"/>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929294"/>
                </a:solidFill>
                <a:prstDash val="solid"/>
                <a:miter/>
              </a:ln>
            </p:spPr>
            <p:txBody>
              <a:bodyPr rtlCol="0" anchor="ctr"/>
              <a:lstStyle/>
              <a:p>
                <a:endParaRPr lang="en-US" sz="1800"/>
              </a:p>
            </p:txBody>
          </p:sp>
          <p:sp>
            <p:nvSpPr>
              <p:cNvPr id="977" name="Freeform 412">
                <a:extLst>
                  <a:ext uri="{FF2B5EF4-FFF2-40B4-BE49-F238E27FC236}">
                    <a16:creationId xmlns:a16="http://schemas.microsoft.com/office/drawing/2014/main" id="{7D1C9043-B731-2B78-1359-38C3D99AE5EB}"/>
                  </a:ext>
                </a:extLst>
              </p:cNvPr>
              <p:cNvSpPr/>
              <p:nvPr/>
            </p:nvSpPr>
            <p:spPr>
              <a:xfrm>
                <a:off x="2105575" y="2174007"/>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929294"/>
                </a:solidFill>
                <a:prstDash val="solid"/>
                <a:miter/>
              </a:ln>
            </p:spPr>
            <p:txBody>
              <a:bodyPr rtlCol="0" anchor="ctr"/>
              <a:lstStyle/>
              <a:p>
                <a:endParaRPr lang="en-US" sz="1800"/>
              </a:p>
            </p:txBody>
          </p:sp>
          <p:sp>
            <p:nvSpPr>
              <p:cNvPr id="978" name="Freeform 413">
                <a:extLst>
                  <a:ext uri="{FF2B5EF4-FFF2-40B4-BE49-F238E27FC236}">
                    <a16:creationId xmlns:a16="http://schemas.microsoft.com/office/drawing/2014/main" id="{86047EE5-BFD5-0755-9ADC-5072154DB045}"/>
                  </a:ext>
                </a:extLst>
              </p:cNvPr>
              <p:cNvSpPr/>
              <p:nvPr/>
            </p:nvSpPr>
            <p:spPr>
              <a:xfrm>
                <a:off x="2143040" y="2148723"/>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929294"/>
                </a:solidFill>
                <a:prstDash val="solid"/>
                <a:miter/>
              </a:ln>
            </p:spPr>
            <p:txBody>
              <a:bodyPr rtlCol="0" anchor="ctr"/>
              <a:lstStyle/>
              <a:p>
                <a:endParaRPr lang="en-US" sz="1800"/>
              </a:p>
            </p:txBody>
          </p:sp>
          <p:sp>
            <p:nvSpPr>
              <p:cNvPr id="979" name="Freeform 414">
                <a:extLst>
                  <a:ext uri="{FF2B5EF4-FFF2-40B4-BE49-F238E27FC236}">
                    <a16:creationId xmlns:a16="http://schemas.microsoft.com/office/drawing/2014/main" id="{3A997080-DD09-BEDC-8250-7005B0E8D533}"/>
                  </a:ext>
                </a:extLst>
              </p:cNvPr>
              <p:cNvSpPr/>
              <p:nvPr/>
            </p:nvSpPr>
            <p:spPr>
              <a:xfrm>
                <a:off x="2112899" y="2234596"/>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929294"/>
                </a:solidFill>
                <a:prstDash val="solid"/>
                <a:miter/>
              </a:ln>
            </p:spPr>
            <p:txBody>
              <a:bodyPr rtlCol="0" anchor="ctr"/>
              <a:lstStyle/>
              <a:p>
                <a:endParaRPr lang="en-US" sz="1800"/>
              </a:p>
            </p:txBody>
          </p:sp>
          <p:sp>
            <p:nvSpPr>
              <p:cNvPr id="980" name="Freeform 415">
                <a:extLst>
                  <a:ext uri="{FF2B5EF4-FFF2-40B4-BE49-F238E27FC236}">
                    <a16:creationId xmlns:a16="http://schemas.microsoft.com/office/drawing/2014/main" id="{A452A4FE-432F-D202-E85E-847C476D9937}"/>
                  </a:ext>
                </a:extLst>
              </p:cNvPr>
              <p:cNvSpPr/>
              <p:nvPr/>
            </p:nvSpPr>
            <p:spPr>
              <a:xfrm>
                <a:off x="2150374" y="2209313"/>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929294"/>
                </a:solidFill>
                <a:prstDash val="solid"/>
                <a:miter/>
              </a:ln>
            </p:spPr>
            <p:txBody>
              <a:bodyPr rtlCol="0" anchor="ctr"/>
              <a:lstStyle/>
              <a:p>
                <a:endParaRPr lang="en-US" sz="1800"/>
              </a:p>
            </p:txBody>
          </p:sp>
          <p:sp>
            <p:nvSpPr>
              <p:cNvPr id="981" name="Freeform 416">
                <a:extLst>
                  <a:ext uri="{FF2B5EF4-FFF2-40B4-BE49-F238E27FC236}">
                    <a16:creationId xmlns:a16="http://schemas.microsoft.com/office/drawing/2014/main" id="{D35483D7-E010-D7C8-29E6-8C352F1FC09B}"/>
                  </a:ext>
                </a:extLst>
              </p:cNvPr>
              <p:cNvSpPr/>
              <p:nvPr/>
            </p:nvSpPr>
            <p:spPr>
              <a:xfrm>
                <a:off x="2120222" y="2234596"/>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929294"/>
                </a:solidFill>
                <a:prstDash val="solid"/>
                <a:miter/>
              </a:ln>
            </p:spPr>
            <p:txBody>
              <a:bodyPr rtlCol="0" anchor="ctr"/>
              <a:lstStyle/>
              <a:p>
                <a:endParaRPr lang="en-US" sz="1800"/>
              </a:p>
            </p:txBody>
          </p:sp>
          <p:sp>
            <p:nvSpPr>
              <p:cNvPr id="982" name="Freeform 417">
                <a:extLst>
                  <a:ext uri="{FF2B5EF4-FFF2-40B4-BE49-F238E27FC236}">
                    <a16:creationId xmlns:a16="http://schemas.microsoft.com/office/drawing/2014/main" id="{9B1D21DC-DA96-4F67-9D24-DDFABCFF49A1}"/>
                  </a:ext>
                </a:extLst>
              </p:cNvPr>
              <p:cNvSpPr/>
              <p:nvPr/>
            </p:nvSpPr>
            <p:spPr>
              <a:xfrm>
                <a:off x="2157698" y="2209313"/>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929294"/>
                </a:solidFill>
                <a:prstDash val="solid"/>
                <a:miter/>
              </a:ln>
            </p:spPr>
            <p:txBody>
              <a:bodyPr rtlCol="0" anchor="ctr"/>
              <a:lstStyle/>
              <a:p>
                <a:endParaRPr lang="en-US" sz="1800"/>
              </a:p>
            </p:txBody>
          </p:sp>
          <p:sp>
            <p:nvSpPr>
              <p:cNvPr id="983" name="Freeform 418">
                <a:extLst>
                  <a:ext uri="{FF2B5EF4-FFF2-40B4-BE49-F238E27FC236}">
                    <a16:creationId xmlns:a16="http://schemas.microsoft.com/office/drawing/2014/main" id="{D1E652C2-6A18-B10A-903A-45467A578B78}"/>
                  </a:ext>
                </a:extLst>
              </p:cNvPr>
              <p:cNvSpPr/>
              <p:nvPr/>
            </p:nvSpPr>
            <p:spPr>
              <a:xfrm>
                <a:off x="2156692" y="2341954"/>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929294"/>
                </a:solidFill>
                <a:prstDash val="solid"/>
                <a:miter/>
              </a:ln>
            </p:spPr>
            <p:txBody>
              <a:bodyPr rtlCol="0" anchor="ctr"/>
              <a:lstStyle/>
              <a:p>
                <a:endParaRPr lang="en-US" sz="1800"/>
              </a:p>
            </p:txBody>
          </p:sp>
          <p:sp>
            <p:nvSpPr>
              <p:cNvPr id="984" name="Freeform 419">
                <a:extLst>
                  <a:ext uri="{FF2B5EF4-FFF2-40B4-BE49-F238E27FC236}">
                    <a16:creationId xmlns:a16="http://schemas.microsoft.com/office/drawing/2014/main" id="{C428FA67-F0EF-CD71-D8C6-D2EBBC6FF198}"/>
                  </a:ext>
                </a:extLst>
              </p:cNvPr>
              <p:cNvSpPr/>
              <p:nvPr/>
            </p:nvSpPr>
            <p:spPr>
              <a:xfrm>
                <a:off x="2194168" y="2316659"/>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929294"/>
                </a:solidFill>
                <a:prstDash val="solid"/>
                <a:miter/>
              </a:ln>
            </p:spPr>
            <p:txBody>
              <a:bodyPr rtlCol="0" anchor="ctr"/>
              <a:lstStyle/>
              <a:p>
                <a:endParaRPr lang="en-US" sz="1800"/>
              </a:p>
            </p:txBody>
          </p:sp>
          <p:sp>
            <p:nvSpPr>
              <p:cNvPr id="985" name="Freeform 420">
                <a:extLst>
                  <a:ext uri="{FF2B5EF4-FFF2-40B4-BE49-F238E27FC236}">
                    <a16:creationId xmlns:a16="http://schemas.microsoft.com/office/drawing/2014/main" id="{F22CFBF5-16C9-14CB-43A8-AEB19FC7C3B7}"/>
                  </a:ext>
                </a:extLst>
              </p:cNvPr>
              <p:cNvSpPr/>
              <p:nvPr/>
            </p:nvSpPr>
            <p:spPr>
              <a:xfrm>
                <a:off x="2390510" y="2465260"/>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929294"/>
                </a:solidFill>
                <a:prstDash val="solid"/>
                <a:miter/>
              </a:ln>
            </p:spPr>
            <p:txBody>
              <a:bodyPr rtlCol="0" anchor="ctr"/>
              <a:lstStyle/>
              <a:p>
                <a:endParaRPr lang="en-US" sz="1800"/>
              </a:p>
            </p:txBody>
          </p:sp>
          <p:sp>
            <p:nvSpPr>
              <p:cNvPr id="986" name="Freeform 421">
                <a:extLst>
                  <a:ext uri="{FF2B5EF4-FFF2-40B4-BE49-F238E27FC236}">
                    <a16:creationId xmlns:a16="http://schemas.microsoft.com/office/drawing/2014/main" id="{86B3533A-5AFD-712C-A944-2431A6987D05}"/>
                  </a:ext>
                </a:extLst>
              </p:cNvPr>
              <p:cNvSpPr/>
              <p:nvPr/>
            </p:nvSpPr>
            <p:spPr>
              <a:xfrm>
                <a:off x="2427975" y="2439976"/>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929294"/>
                </a:solidFill>
                <a:prstDash val="solid"/>
                <a:miter/>
              </a:ln>
            </p:spPr>
            <p:txBody>
              <a:bodyPr rtlCol="0" anchor="ctr"/>
              <a:lstStyle/>
              <a:p>
                <a:endParaRPr lang="en-US" sz="1800"/>
              </a:p>
            </p:txBody>
          </p:sp>
          <p:sp>
            <p:nvSpPr>
              <p:cNvPr id="987" name="Freeform 422">
                <a:extLst>
                  <a:ext uri="{FF2B5EF4-FFF2-40B4-BE49-F238E27FC236}">
                    <a16:creationId xmlns:a16="http://schemas.microsoft.com/office/drawing/2014/main" id="{E465E378-DD1E-8E7A-5C7A-859731FD6498}"/>
                  </a:ext>
                </a:extLst>
              </p:cNvPr>
              <p:cNvSpPr/>
              <p:nvPr/>
            </p:nvSpPr>
            <p:spPr>
              <a:xfrm>
                <a:off x="2405168" y="2511806"/>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929294"/>
                </a:solidFill>
                <a:prstDash val="solid"/>
                <a:miter/>
              </a:ln>
            </p:spPr>
            <p:txBody>
              <a:bodyPr rtlCol="0" anchor="ctr"/>
              <a:lstStyle/>
              <a:p>
                <a:endParaRPr lang="en-US" sz="1800"/>
              </a:p>
            </p:txBody>
          </p:sp>
          <p:sp>
            <p:nvSpPr>
              <p:cNvPr id="988" name="Freeform 423">
                <a:extLst>
                  <a:ext uri="{FF2B5EF4-FFF2-40B4-BE49-F238E27FC236}">
                    <a16:creationId xmlns:a16="http://schemas.microsoft.com/office/drawing/2014/main" id="{EA5A165C-0116-1AF7-AECD-5CDBA0D7B5A0}"/>
                  </a:ext>
                </a:extLst>
              </p:cNvPr>
              <p:cNvSpPr/>
              <p:nvPr/>
            </p:nvSpPr>
            <p:spPr>
              <a:xfrm>
                <a:off x="2442633" y="2486511"/>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929294"/>
                </a:solidFill>
                <a:prstDash val="solid"/>
                <a:miter/>
              </a:ln>
            </p:spPr>
            <p:txBody>
              <a:bodyPr rtlCol="0" anchor="ctr"/>
              <a:lstStyle/>
              <a:p>
                <a:endParaRPr lang="en-US" sz="1800"/>
              </a:p>
            </p:txBody>
          </p:sp>
          <p:sp>
            <p:nvSpPr>
              <p:cNvPr id="989" name="Freeform 424">
                <a:extLst>
                  <a:ext uri="{FF2B5EF4-FFF2-40B4-BE49-F238E27FC236}">
                    <a16:creationId xmlns:a16="http://schemas.microsoft.com/office/drawing/2014/main" id="{CB54BE38-9E0A-3A0F-A4FE-3176F18140BA}"/>
                  </a:ext>
                </a:extLst>
              </p:cNvPr>
              <p:cNvSpPr/>
              <p:nvPr/>
            </p:nvSpPr>
            <p:spPr>
              <a:xfrm>
                <a:off x="2427149" y="2668047"/>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929294"/>
                </a:solidFill>
                <a:prstDash val="solid"/>
                <a:miter/>
              </a:ln>
            </p:spPr>
            <p:txBody>
              <a:bodyPr rtlCol="0" anchor="ctr"/>
              <a:lstStyle/>
              <a:p>
                <a:endParaRPr lang="en-US" sz="1800"/>
              </a:p>
            </p:txBody>
          </p:sp>
          <p:sp>
            <p:nvSpPr>
              <p:cNvPr id="990" name="Freeform 425">
                <a:extLst>
                  <a:ext uri="{FF2B5EF4-FFF2-40B4-BE49-F238E27FC236}">
                    <a16:creationId xmlns:a16="http://schemas.microsoft.com/office/drawing/2014/main" id="{110CFBC7-3F0B-BB48-A2B1-673F15AF0451}"/>
                  </a:ext>
                </a:extLst>
              </p:cNvPr>
              <p:cNvSpPr/>
              <p:nvPr/>
            </p:nvSpPr>
            <p:spPr>
              <a:xfrm>
                <a:off x="2464614" y="2642764"/>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929294"/>
                </a:solidFill>
                <a:prstDash val="solid"/>
                <a:miter/>
              </a:ln>
            </p:spPr>
            <p:txBody>
              <a:bodyPr rtlCol="0" anchor="ctr"/>
              <a:lstStyle/>
              <a:p>
                <a:endParaRPr lang="en-US" sz="1800"/>
              </a:p>
            </p:txBody>
          </p:sp>
          <p:sp>
            <p:nvSpPr>
              <p:cNvPr id="991" name="Freeform 426">
                <a:extLst>
                  <a:ext uri="{FF2B5EF4-FFF2-40B4-BE49-F238E27FC236}">
                    <a16:creationId xmlns:a16="http://schemas.microsoft.com/office/drawing/2014/main" id="{36D2C710-1D65-5796-CA04-C2C67BFC643E}"/>
                  </a:ext>
                </a:extLst>
              </p:cNvPr>
              <p:cNvSpPr/>
              <p:nvPr/>
            </p:nvSpPr>
            <p:spPr>
              <a:xfrm>
                <a:off x="2463620" y="2699522"/>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929294"/>
                </a:solidFill>
                <a:prstDash val="solid"/>
                <a:miter/>
              </a:ln>
            </p:spPr>
            <p:txBody>
              <a:bodyPr rtlCol="0" anchor="ctr"/>
              <a:lstStyle/>
              <a:p>
                <a:endParaRPr lang="en-US" sz="1800"/>
              </a:p>
            </p:txBody>
          </p:sp>
          <p:sp>
            <p:nvSpPr>
              <p:cNvPr id="992" name="Freeform 427">
                <a:extLst>
                  <a:ext uri="{FF2B5EF4-FFF2-40B4-BE49-F238E27FC236}">
                    <a16:creationId xmlns:a16="http://schemas.microsoft.com/office/drawing/2014/main" id="{230933F7-FD24-ACD0-74CE-621FDA6896A1}"/>
                  </a:ext>
                </a:extLst>
              </p:cNvPr>
              <p:cNvSpPr/>
              <p:nvPr/>
            </p:nvSpPr>
            <p:spPr>
              <a:xfrm>
                <a:off x="2501085" y="2674239"/>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929294"/>
                </a:solidFill>
                <a:prstDash val="solid"/>
                <a:miter/>
              </a:ln>
            </p:spPr>
            <p:txBody>
              <a:bodyPr rtlCol="0" anchor="ctr"/>
              <a:lstStyle/>
              <a:p>
                <a:endParaRPr lang="en-US" sz="1800"/>
              </a:p>
            </p:txBody>
          </p:sp>
          <p:sp>
            <p:nvSpPr>
              <p:cNvPr id="993" name="Freeform 428">
                <a:extLst>
                  <a:ext uri="{FF2B5EF4-FFF2-40B4-BE49-F238E27FC236}">
                    <a16:creationId xmlns:a16="http://schemas.microsoft.com/office/drawing/2014/main" id="{6748D28C-7060-D58E-7261-1E7A18719C94}"/>
                  </a:ext>
                </a:extLst>
              </p:cNvPr>
              <p:cNvSpPr/>
              <p:nvPr/>
            </p:nvSpPr>
            <p:spPr>
              <a:xfrm>
                <a:off x="2660787" y="2715376"/>
                <a:ext cx="74940" cy="10583"/>
              </a:xfrm>
              <a:custGeom>
                <a:avLst/>
                <a:gdLst>
                  <a:gd name="connsiteX0" fmla="*/ 0 w 74940"/>
                  <a:gd name="connsiteY0" fmla="*/ 0 h 10583"/>
                  <a:gd name="connsiteX1" fmla="*/ 74940 w 74940"/>
                  <a:gd name="connsiteY1" fmla="*/ 0 h 10583"/>
                </a:gdLst>
                <a:ahLst/>
                <a:cxnLst>
                  <a:cxn ang="0">
                    <a:pos x="connsiteX0" y="connsiteY0"/>
                  </a:cxn>
                  <a:cxn ang="0">
                    <a:pos x="connsiteX1" y="connsiteY1"/>
                  </a:cxn>
                </a:cxnLst>
                <a:rect l="l" t="t" r="r" b="b"/>
                <a:pathLst>
                  <a:path w="74940" h="10583">
                    <a:moveTo>
                      <a:pt x="0" y="0"/>
                    </a:moveTo>
                    <a:lnTo>
                      <a:pt x="74940" y="0"/>
                    </a:lnTo>
                  </a:path>
                </a:pathLst>
              </a:custGeom>
              <a:ln w="12700" cap="sq">
                <a:solidFill>
                  <a:srgbClr val="929294"/>
                </a:solidFill>
                <a:prstDash val="solid"/>
                <a:miter/>
              </a:ln>
            </p:spPr>
            <p:txBody>
              <a:bodyPr rtlCol="0" anchor="ctr"/>
              <a:lstStyle/>
              <a:p>
                <a:endParaRPr lang="en-US" sz="1800"/>
              </a:p>
            </p:txBody>
          </p:sp>
          <p:sp>
            <p:nvSpPr>
              <p:cNvPr id="994" name="Freeform 429">
                <a:extLst>
                  <a:ext uri="{FF2B5EF4-FFF2-40B4-BE49-F238E27FC236}">
                    <a16:creationId xmlns:a16="http://schemas.microsoft.com/office/drawing/2014/main" id="{F1366F69-FB42-C97F-B48F-6A6BDB3C8DF9}"/>
                  </a:ext>
                </a:extLst>
              </p:cNvPr>
              <p:cNvSpPr/>
              <p:nvPr/>
            </p:nvSpPr>
            <p:spPr>
              <a:xfrm>
                <a:off x="2698263" y="2690082"/>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929294"/>
                </a:solidFill>
                <a:prstDash val="solid"/>
                <a:miter/>
              </a:ln>
            </p:spPr>
            <p:txBody>
              <a:bodyPr rtlCol="0" anchor="ctr"/>
              <a:lstStyle/>
              <a:p>
                <a:endParaRPr lang="en-US" sz="1800"/>
              </a:p>
            </p:txBody>
          </p:sp>
          <p:sp>
            <p:nvSpPr>
              <p:cNvPr id="995" name="Freeform 430">
                <a:extLst>
                  <a:ext uri="{FF2B5EF4-FFF2-40B4-BE49-F238E27FC236}">
                    <a16:creationId xmlns:a16="http://schemas.microsoft.com/office/drawing/2014/main" id="{53AA1782-FF2C-C921-0BE9-6E9CA6232908}"/>
                  </a:ext>
                </a:extLst>
              </p:cNvPr>
              <p:cNvSpPr/>
              <p:nvPr/>
            </p:nvSpPr>
            <p:spPr>
              <a:xfrm>
                <a:off x="2704592" y="2779342"/>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929294"/>
                </a:solidFill>
                <a:prstDash val="solid"/>
                <a:miter/>
              </a:ln>
            </p:spPr>
            <p:txBody>
              <a:bodyPr rtlCol="0" anchor="ctr"/>
              <a:lstStyle/>
              <a:p>
                <a:endParaRPr lang="en-US" sz="1800"/>
              </a:p>
            </p:txBody>
          </p:sp>
          <p:sp>
            <p:nvSpPr>
              <p:cNvPr id="996" name="Freeform 431">
                <a:extLst>
                  <a:ext uri="{FF2B5EF4-FFF2-40B4-BE49-F238E27FC236}">
                    <a16:creationId xmlns:a16="http://schemas.microsoft.com/office/drawing/2014/main" id="{39560DC2-719B-DC46-9B2D-59613851C923}"/>
                  </a:ext>
                </a:extLst>
              </p:cNvPr>
              <p:cNvSpPr/>
              <p:nvPr/>
            </p:nvSpPr>
            <p:spPr>
              <a:xfrm>
                <a:off x="2742057" y="2754047"/>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929294"/>
                </a:solidFill>
                <a:prstDash val="solid"/>
                <a:miter/>
              </a:ln>
            </p:spPr>
            <p:txBody>
              <a:bodyPr rtlCol="0" anchor="ctr"/>
              <a:lstStyle/>
              <a:p>
                <a:endParaRPr lang="en-US" sz="1800"/>
              </a:p>
            </p:txBody>
          </p:sp>
          <p:sp>
            <p:nvSpPr>
              <p:cNvPr id="997" name="Freeform 432">
                <a:extLst>
                  <a:ext uri="{FF2B5EF4-FFF2-40B4-BE49-F238E27FC236}">
                    <a16:creationId xmlns:a16="http://schemas.microsoft.com/office/drawing/2014/main" id="{100A6D31-A03D-8B82-CB81-210188DD1986}"/>
                  </a:ext>
                </a:extLst>
              </p:cNvPr>
              <p:cNvSpPr/>
              <p:nvPr/>
            </p:nvSpPr>
            <p:spPr>
              <a:xfrm>
                <a:off x="2711915" y="2795407"/>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929294"/>
                </a:solidFill>
                <a:prstDash val="solid"/>
                <a:miter/>
              </a:ln>
            </p:spPr>
            <p:txBody>
              <a:bodyPr rtlCol="0" anchor="ctr"/>
              <a:lstStyle/>
              <a:p>
                <a:endParaRPr lang="en-US" sz="1800"/>
              </a:p>
            </p:txBody>
          </p:sp>
          <p:sp>
            <p:nvSpPr>
              <p:cNvPr id="998" name="Freeform 433">
                <a:extLst>
                  <a:ext uri="{FF2B5EF4-FFF2-40B4-BE49-F238E27FC236}">
                    <a16:creationId xmlns:a16="http://schemas.microsoft.com/office/drawing/2014/main" id="{4995980D-6807-7351-518A-17DE79CC7F7B}"/>
                  </a:ext>
                </a:extLst>
              </p:cNvPr>
              <p:cNvSpPr/>
              <p:nvPr/>
            </p:nvSpPr>
            <p:spPr>
              <a:xfrm>
                <a:off x="2749391" y="2770124"/>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929294"/>
                </a:solidFill>
                <a:prstDash val="solid"/>
                <a:miter/>
              </a:ln>
            </p:spPr>
            <p:txBody>
              <a:bodyPr rtlCol="0" anchor="ctr"/>
              <a:lstStyle/>
              <a:p>
                <a:endParaRPr lang="en-US" sz="1800"/>
              </a:p>
            </p:txBody>
          </p:sp>
          <p:sp>
            <p:nvSpPr>
              <p:cNvPr id="999" name="Freeform 434">
                <a:extLst>
                  <a:ext uri="{FF2B5EF4-FFF2-40B4-BE49-F238E27FC236}">
                    <a16:creationId xmlns:a16="http://schemas.microsoft.com/office/drawing/2014/main" id="{553D73CE-5B11-7CB1-0804-5C7F66216913}"/>
                  </a:ext>
                </a:extLst>
              </p:cNvPr>
              <p:cNvSpPr/>
              <p:nvPr/>
            </p:nvSpPr>
            <p:spPr>
              <a:xfrm>
                <a:off x="2711915" y="2795407"/>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929294"/>
                </a:solidFill>
                <a:prstDash val="solid"/>
                <a:miter/>
              </a:ln>
            </p:spPr>
            <p:txBody>
              <a:bodyPr rtlCol="0" anchor="ctr"/>
              <a:lstStyle/>
              <a:p>
                <a:endParaRPr lang="en-US" sz="1800"/>
              </a:p>
            </p:txBody>
          </p:sp>
          <p:sp>
            <p:nvSpPr>
              <p:cNvPr id="1000" name="Freeform 435">
                <a:extLst>
                  <a:ext uri="{FF2B5EF4-FFF2-40B4-BE49-F238E27FC236}">
                    <a16:creationId xmlns:a16="http://schemas.microsoft.com/office/drawing/2014/main" id="{BFB166F4-E4C3-CA63-92CE-5A83C595A179}"/>
                  </a:ext>
                </a:extLst>
              </p:cNvPr>
              <p:cNvSpPr/>
              <p:nvPr/>
            </p:nvSpPr>
            <p:spPr>
              <a:xfrm>
                <a:off x="2749391" y="2770124"/>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929294"/>
                </a:solidFill>
                <a:prstDash val="solid"/>
                <a:miter/>
              </a:ln>
            </p:spPr>
            <p:txBody>
              <a:bodyPr rtlCol="0" anchor="ctr"/>
              <a:lstStyle/>
              <a:p>
                <a:endParaRPr lang="en-US" sz="1800"/>
              </a:p>
            </p:txBody>
          </p:sp>
          <p:sp>
            <p:nvSpPr>
              <p:cNvPr id="1001" name="Freeform 436">
                <a:extLst>
                  <a:ext uri="{FF2B5EF4-FFF2-40B4-BE49-F238E27FC236}">
                    <a16:creationId xmlns:a16="http://schemas.microsoft.com/office/drawing/2014/main" id="{0E8B6798-7AE2-740C-2546-E831BEF6D36E}"/>
                  </a:ext>
                </a:extLst>
              </p:cNvPr>
              <p:cNvSpPr/>
              <p:nvPr/>
            </p:nvSpPr>
            <p:spPr>
              <a:xfrm>
                <a:off x="2719249" y="2828120"/>
                <a:ext cx="74929" cy="10583"/>
              </a:xfrm>
              <a:custGeom>
                <a:avLst/>
                <a:gdLst>
                  <a:gd name="connsiteX0" fmla="*/ 0 w 74929"/>
                  <a:gd name="connsiteY0" fmla="*/ 0 h 10583"/>
                  <a:gd name="connsiteX1" fmla="*/ 74930 w 74929"/>
                  <a:gd name="connsiteY1" fmla="*/ 0 h 10583"/>
                </a:gdLst>
                <a:ahLst/>
                <a:cxnLst>
                  <a:cxn ang="0">
                    <a:pos x="connsiteX0" y="connsiteY0"/>
                  </a:cxn>
                  <a:cxn ang="0">
                    <a:pos x="connsiteX1" y="connsiteY1"/>
                  </a:cxn>
                </a:cxnLst>
                <a:rect l="l" t="t" r="r" b="b"/>
                <a:pathLst>
                  <a:path w="74929" h="10583">
                    <a:moveTo>
                      <a:pt x="0" y="0"/>
                    </a:moveTo>
                    <a:lnTo>
                      <a:pt x="74930" y="0"/>
                    </a:lnTo>
                  </a:path>
                </a:pathLst>
              </a:custGeom>
              <a:ln w="12700" cap="sq">
                <a:solidFill>
                  <a:srgbClr val="929294"/>
                </a:solidFill>
                <a:prstDash val="solid"/>
                <a:miter/>
              </a:ln>
            </p:spPr>
            <p:txBody>
              <a:bodyPr rtlCol="0" anchor="ctr"/>
              <a:lstStyle/>
              <a:p>
                <a:endParaRPr lang="en-US" sz="1800"/>
              </a:p>
            </p:txBody>
          </p:sp>
          <p:sp>
            <p:nvSpPr>
              <p:cNvPr id="1002" name="Freeform 437">
                <a:extLst>
                  <a:ext uri="{FF2B5EF4-FFF2-40B4-BE49-F238E27FC236}">
                    <a16:creationId xmlns:a16="http://schemas.microsoft.com/office/drawing/2014/main" id="{CE992315-0C0C-B1AD-F6E4-59A9326B2679}"/>
                  </a:ext>
                </a:extLst>
              </p:cNvPr>
              <p:cNvSpPr/>
              <p:nvPr/>
            </p:nvSpPr>
            <p:spPr>
              <a:xfrm>
                <a:off x="2756714" y="2802826"/>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929294"/>
                </a:solidFill>
                <a:prstDash val="solid"/>
                <a:miter/>
              </a:ln>
            </p:spPr>
            <p:txBody>
              <a:bodyPr rtlCol="0" anchor="ctr"/>
              <a:lstStyle/>
              <a:p>
                <a:endParaRPr lang="en-US" sz="1800"/>
              </a:p>
            </p:txBody>
          </p:sp>
          <p:sp>
            <p:nvSpPr>
              <p:cNvPr id="1003" name="Freeform 438">
                <a:extLst>
                  <a:ext uri="{FF2B5EF4-FFF2-40B4-BE49-F238E27FC236}">
                    <a16:creationId xmlns:a16="http://schemas.microsoft.com/office/drawing/2014/main" id="{B4A08CD4-BF7C-892B-7D2E-8BB85DDA3B36}"/>
                  </a:ext>
                </a:extLst>
              </p:cNvPr>
              <p:cNvSpPr/>
              <p:nvPr/>
            </p:nvSpPr>
            <p:spPr>
              <a:xfrm>
                <a:off x="2719249" y="2828120"/>
                <a:ext cx="74929" cy="10583"/>
              </a:xfrm>
              <a:custGeom>
                <a:avLst/>
                <a:gdLst>
                  <a:gd name="connsiteX0" fmla="*/ 0 w 74929"/>
                  <a:gd name="connsiteY0" fmla="*/ 0 h 10583"/>
                  <a:gd name="connsiteX1" fmla="*/ 74930 w 74929"/>
                  <a:gd name="connsiteY1" fmla="*/ 0 h 10583"/>
                </a:gdLst>
                <a:ahLst/>
                <a:cxnLst>
                  <a:cxn ang="0">
                    <a:pos x="connsiteX0" y="connsiteY0"/>
                  </a:cxn>
                  <a:cxn ang="0">
                    <a:pos x="connsiteX1" y="connsiteY1"/>
                  </a:cxn>
                </a:cxnLst>
                <a:rect l="l" t="t" r="r" b="b"/>
                <a:pathLst>
                  <a:path w="74929" h="10583">
                    <a:moveTo>
                      <a:pt x="0" y="0"/>
                    </a:moveTo>
                    <a:lnTo>
                      <a:pt x="74930" y="0"/>
                    </a:lnTo>
                  </a:path>
                </a:pathLst>
              </a:custGeom>
              <a:ln w="12700" cap="sq">
                <a:solidFill>
                  <a:srgbClr val="929294"/>
                </a:solidFill>
                <a:prstDash val="solid"/>
                <a:miter/>
              </a:ln>
            </p:spPr>
            <p:txBody>
              <a:bodyPr rtlCol="0" anchor="ctr"/>
              <a:lstStyle/>
              <a:p>
                <a:endParaRPr lang="en-US" sz="1800"/>
              </a:p>
            </p:txBody>
          </p:sp>
          <p:sp>
            <p:nvSpPr>
              <p:cNvPr id="1004" name="Freeform 439">
                <a:extLst>
                  <a:ext uri="{FF2B5EF4-FFF2-40B4-BE49-F238E27FC236}">
                    <a16:creationId xmlns:a16="http://schemas.microsoft.com/office/drawing/2014/main" id="{1DEAB8C5-44F5-49D4-A169-F5A77C6F185E}"/>
                  </a:ext>
                </a:extLst>
              </p:cNvPr>
              <p:cNvSpPr/>
              <p:nvPr/>
            </p:nvSpPr>
            <p:spPr>
              <a:xfrm>
                <a:off x="2756714" y="2802826"/>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929294"/>
                </a:solidFill>
                <a:prstDash val="solid"/>
                <a:miter/>
              </a:ln>
            </p:spPr>
            <p:txBody>
              <a:bodyPr rtlCol="0" anchor="ctr"/>
              <a:lstStyle/>
              <a:p>
                <a:endParaRPr lang="en-US" sz="1800"/>
              </a:p>
            </p:txBody>
          </p:sp>
          <p:sp>
            <p:nvSpPr>
              <p:cNvPr id="1005" name="Freeform 440">
                <a:extLst>
                  <a:ext uri="{FF2B5EF4-FFF2-40B4-BE49-F238E27FC236}">
                    <a16:creationId xmlns:a16="http://schemas.microsoft.com/office/drawing/2014/main" id="{A4556B73-7B7D-3551-E450-5760E3EE2CC9}"/>
                  </a:ext>
                </a:extLst>
              </p:cNvPr>
              <p:cNvSpPr/>
              <p:nvPr/>
            </p:nvSpPr>
            <p:spPr>
              <a:xfrm>
                <a:off x="2763043" y="2961100"/>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929294"/>
                </a:solidFill>
                <a:prstDash val="solid"/>
                <a:miter/>
              </a:ln>
            </p:spPr>
            <p:txBody>
              <a:bodyPr rtlCol="0" anchor="ctr"/>
              <a:lstStyle/>
              <a:p>
                <a:endParaRPr lang="en-US" sz="1800"/>
              </a:p>
            </p:txBody>
          </p:sp>
          <p:sp>
            <p:nvSpPr>
              <p:cNvPr id="1006" name="Freeform 441">
                <a:extLst>
                  <a:ext uri="{FF2B5EF4-FFF2-40B4-BE49-F238E27FC236}">
                    <a16:creationId xmlns:a16="http://schemas.microsoft.com/office/drawing/2014/main" id="{F07CD3F5-DEC5-B032-E34D-13A9BE640791}"/>
                  </a:ext>
                </a:extLst>
              </p:cNvPr>
              <p:cNvSpPr/>
              <p:nvPr/>
            </p:nvSpPr>
            <p:spPr>
              <a:xfrm>
                <a:off x="2800508" y="2935816"/>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929294"/>
                </a:solidFill>
                <a:prstDash val="solid"/>
                <a:miter/>
              </a:ln>
            </p:spPr>
            <p:txBody>
              <a:bodyPr rtlCol="0" anchor="ctr"/>
              <a:lstStyle/>
              <a:p>
                <a:endParaRPr lang="en-US" sz="1800"/>
              </a:p>
            </p:txBody>
          </p:sp>
          <p:sp>
            <p:nvSpPr>
              <p:cNvPr id="1007" name="Freeform 442">
                <a:extLst>
                  <a:ext uri="{FF2B5EF4-FFF2-40B4-BE49-F238E27FC236}">
                    <a16:creationId xmlns:a16="http://schemas.microsoft.com/office/drawing/2014/main" id="{BFEDD4E6-6E7D-64F6-FA16-3DFED2C3CD98}"/>
                  </a:ext>
                </a:extLst>
              </p:cNvPr>
              <p:cNvSpPr/>
              <p:nvPr/>
            </p:nvSpPr>
            <p:spPr>
              <a:xfrm>
                <a:off x="3011508" y="3061705"/>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929294"/>
                </a:solidFill>
                <a:prstDash val="solid"/>
                <a:miter/>
              </a:ln>
            </p:spPr>
            <p:txBody>
              <a:bodyPr rtlCol="0" anchor="ctr"/>
              <a:lstStyle/>
              <a:p>
                <a:endParaRPr lang="en-US" sz="1800"/>
              </a:p>
            </p:txBody>
          </p:sp>
          <p:sp>
            <p:nvSpPr>
              <p:cNvPr id="1008" name="Freeform 443">
                <a:extLst>
                  <a:ext uri="{FF2B5EF4-FFF2-40B4-BE49-F238E27FC236}">
                    <a16:creationId xmlns:a16="http://schemas.microsoft.com/office/drawing/2014/main" id="{5D800208-CD4A-F603-4803-90CEC577FDA0}"/>
                  </a:ext>
                </a:extLst>
              </p:cNvPr>
              <p:cNvSpPr/>
              <p:nvPr/>
            </p:nvSpPr>
            <p:spPr>
              <a:xfrm>
                <a:off x="3048984" y="3036421"/>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929294"/>
                </a:solidFill>
                <a:prstDash val="solid"/>
                <a:miter/>
              </a:ln>
            </p:spPr>
            <p:txBody>
              <a:bodyPr rtlCol="0" anchor="ctr"/>
              <a:lstStyle/>
              <a:p>
                <a:endParaRPr lang="en-US" sz="1800"/>
              </a:p>
            </p:txBody>
          </p:sp>
          <p:sp>
            <p:nvSpPr>
              <p:cNvPr id="1009" name="Freeform 444">
                <a:extLst>
                  <a:ext uri="{FF2B5EF4-FFF2-40B4-BE49-F238E27FC236}">
                    <a16:creationId xmlns:a16="http://schemas.microsoft.com/office/drawing/2014/main" id="{BF87FA41-6DE4-987D-F865-8DF12AA1ABF4}"/>
                  </a:ext>
                </a:extLst>
              </p:cNvPr>
              <p:cNvSpPr/>
              <p:nvPr/>
            </p:nvSpPr>
            <p:spPr>
              <a:xfrm>
                <a:off x="3040655" y="3146467"/>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929294"/>
                </a:solidFill>
                <a:prstDash val="solid"/>
                <a:miter/>
              </a:ln>
            </p:spPr>
            <p:txBody>
              <a:bodyPr rtlCol="0" anchor="ctr"/>
              <a:lstStyle/>
              <a:p>
                <a:endParaRPr lang="en-US" sz="1800"/>
              </a:p>
            </p:txBody>
          </p:sp>
          <p:sp>
            <p:nvSpPr>
              <p:cNvPr id="1010" name="Freeform 445">
                <a:extLst>
                  <a:ext uri="{FF2B5EF4-FFF2-40B4-BE49-F238E27FC236}">
                    <a16:creationId xmlns:a16="http://schemas.microsoft.com/office/drawing/2014/main" id="{87A7EFC1-B993-FBE3-464A-11945AA7E498}"/>
                  </a:ext>
                </a:extLst>
              </p:cNvPr>
              <p:cNvSpPr/>
              <p:nvPr/>
            </p:nvSpPr>
            <p:spPr>
              <a:xfrm>
                <a:off x="3078120" y="3121173"/>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929294"/>
                </a:solidFill>
                <a:prstDash val="solid"/>
                <a:miter/>
              </a:ln>
            </p:spPr>
            <p:txBody>
              <a:bodyPr rtlCol="0" anchor="ctr"/>
              <a:lstStyle/>
              <a:p>
                <a:endParaRPr lang="en-US" sz="1800"/>
              </a:p>
            </p:txBody>
          </p:sp>
          <p:sp>
            <p:nvSpPr>
              <p:cNvPr id="1011" name="Freeform 446">
                <a:extLst>
                  <a:ext uri="{FF2B5EF4-FFF2-40B4-BE49-F238E27FC236}">
                    <a16:creationId xmlns:a16="http://schemas.microsoft.com/office/drawing/2014/main" id="{6AB2F25B-C53B-C8DF-B46B-3C98A178038D}"/>
                  </a:ext>
                </a:extLst>
              </p:cNvPr>
              <p:cNvSpPr/>
              <p:nvPr/>
            </p:nvSpPr>
            <p:spPr>
              <a:xfrm>
                <a:off x="3310932" y="3266186"/>
                <a:ext cx="74940" cy="10583"/>
              </a:xfrm>
              <a:custGeom>
                <a:avLst/>
                <a:gdLst>
                  <a:gd name="connsiteX0" fmla="*/ 0 w 74940"/>
                  <a:gd name="connsiteY0" fmla="*/ 0 h 10583"/>
                  <a:gd name="connsiteX1" fmla="*/ 74940 w 74940"/>
                  <a:gd name="connsiteY1" fmla="*/ 0 h 10583"/>
                </a:gdLst>
                <a:ahLst/>
                <a:cxnLst>
                  <a:cxn ang="0">
                    <a:pos x="connsiteX0" y="connsiteY0"/>
                  </a:cxn>
                  <a:cxn ang="0">
                    <a:pos x="connsiteX1" y="connsiteY1"/>
                  </a:cxn>
                </a:cxnLst>
                <a:rect l="l" t="t" r="r" b="b"/>
                <a:pathLst>
                  <a:path w="74940" h="10583">
                    <a:moveTo>
                      <a:pt x="0" y="0"/>
                    </a:moveTo>
                    <a:lnTo>
                      <a:pt x="74940" y="0"/>
                    </a:lnTo>
                  </a:path>
                </a:pathLst>
              </a:custGeom>
              <a:ln w="12700" cap="sq">
                <a:solidFill>
                  <a:srgbClr val="929294"/>
                </a:solidFill>
                <a:prstDash val="solid"/>
                <a:miter/>
              </a:ln>
            </p:spPr>
            <p:txBody>
              <a:bodyPr rtlCol="0" anchor="ctr"/>
              <a:lstStyle/>
              <a:p>
                <a:endParaRPr lang="en-US" sz="1800"/>
              </a:p>
            </p:txBody>
          </p:sp>
          <p:sp>
            <p:nvSpPr>
              <p:cNvPr id="1012" name="Freeform 447">
                <a:extLst>
                  <a:ext uri="{FF2B5EF4-FFF2-40B4-BE49-F238E27FC236}">
                    <a16:creationId xmlns:a16="http://schemas.microsoft.com/office/drawing/2014/main" id="{E7B3AB94-FFFE-86AE-D28C-501294741D7E}"/>
                  </a:ext>
                </a:extLst>
              </p:cNvPr>
              <p:cNvSpPr/>
              <p:nvPr/>
            </p:nvSpPr>
            <p:spPr>
              <a:xfrm>
                <a:off x="3348407" y="3240891"/>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929294"/>
                </a:solidFill>
                <a:prstDash val="solid"/>
                <a:miter/>
              </a:ln>
            </p:spPr>
            <p:txBody>
              <a:bodyPr rtlCol="0" anchor="ctr"/>
              <a:lstStyle/>
              <a:p>
                <a:endParaRPr lang="en-US" sz="1800"/>
              </a:p>
            </p:txBody>
          </p:sp>
          <p:sp>
            <p:nvSpPr>
              <p:cNvPr id="1013" name="Freeform 448">
                <a:extLst>
                  <a:ext uri="{FF2B5EF4-FFF2-40B4-BE49-F238E27FC236}">
                    <a16:creationId xmlns:a16="http://schemas.microsoft.com/office/drawing/2014/main" id="{1E7746F5-A72E-5898-75A4-1A87D7C9FCA3}"/>
                  </a:ext>
                </a:extLst>
              </p:cNvPr>
              <p:cNvSpPr/>
              <p:nvPr/>
            </p:nvSpPr>
            <p:spPr>
              <a:xfrm>
                <a:off x="3318266" y="3283489"/>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929294"/>
                </a:solidFill>
                <a:prstDash val="solid"/>
                <a:miter/>
              </a:ln>
            </p:spPr>
            <p:txBody>
              <a:bodyPr rtlCol="0" anchor="ctr"/>
              <a:lstStyle/>
              <a:p>
                <a:endParaRPr lang="en-US" sz="1800"/>
              </a:p>
            </p:txBody>
          </p:sp>
          <p:sp>
            <p:nvSpPr>
              <p:cNvPr id="1014" name="Freeform 449">
                <a:extLst>
                  <a:ext uri="{FF2B5EF4-FFF2-40B4-BE49-F238E27FC236}">
                    <a16:creationId xmlns:a16="http://schemas.microsoft.com/office/drawing/2014/main" id="{7651F296-CB2D-582E-8681-49FF8C5EEDF2}"/>
                  </a:ext>
                </a:extLst>
              </p:cNvPr>
              <p:cNvSpPr/>
              <p:nvPr/>
            </p:nvSpPr>
            <p:spPr>
              <a:xfrm>
                <a:off x="3355731" y="3258206"/>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929294"/>
                </a:solidFill>
                <a:prstDash val="solid"/>
                <a:miter/>
              </a:ln>
            </p:spPr>
            <p:txBody>
              <a:bodyPr rtlCol="0" anchor="ctr"/>
              <a:lstStyle/>
              <a:p>
                <a:endParaRPr lang="en-US" sz="1800"/>
              </a:p>
            </p:txBody>
          </p:sp>
          <p:sp>
            <p:nvSpPr>
              <p:cNvPr id="1015" name="Freeform 450">
                <a:extLst>
                  <a:ext uri="{FF2B5EF4-FFF2-40B4-BE49-F238E27FC236}">
                    <a16:creationId xmlns:a16="http://schemas.microsoft.com/office/drawing/2014/main" id="{4CE24A46-33BB-A3DD-1F7F-82C2C62A82A5}"/>
                  </a:ext>
                </a:extLst>
              </p:cNvPr>
              <p:cNvSpPr/>
              <p:nvPr/>
            </p:nvSpPr>
            <p:spPr>
              <a:xfrm>
                <a:off x="3318266" y="3283489"/>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929294"/>
                </a:solidFill>
                <a:prstDash val="solid"/>
                <a:miter/>
              </a:ln>
            </p:spPr>
            <p:txBody>
              <a:bodyPr rtlCol="0" anchor="ctr"/>
              <a:lstStyle/>
              <a:p>
                <a:endParaRPr lang="en-US" sz="1800"/>
              </a:p>
            </p:txBody>
          </p:sp>
          <p:sp>
            <p:nvSpPr>
              <p:cNvPr id="1016" name="Freeform 451">
                <a:extLst>
                  <a:ext uri="{FF2B5EF4-FFF2-40B4-BE49-F238E27FC236}">
                    <a16:creationId xmlns:a16="http://schemas.microsoft.com/office/drawing/2014/main" id="{22BA8376-2239-B465-686F-C0B1779B66BB}"/>
                  </a:ext>
                </a:extLst>
              </p:cNvPr>
              <p:cNvSpPr/>
              <p:nvPr/>
            </p:nvSpPr>
            <p:spPr>
              <a:xfrm>
                <a:off x="3355731" y="3258206"/>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929294"/>
                </a:solidFill>
                <a:prstDash val="solid"/>
                <a:miter/>
              </a:ln>
            </p:spPr>
            <p:txBody>
              <a:bodyPr rtlCol="0" anchor="ctr"/>
              <a:lstStyle/>
              <a:p>
                <a:endParaRPr lang="en-US" sz="1800"/>
              </a:p>
            </p:txBody>
          </p:sp>
          <p:sp>
            <p:nvSpPr>
              <p:cNvPr id="1017" name="Freeform 452">
                <a:extLst>
                  <a:ext uri="{FF2B5EF4-FFF2-40B4-BE49-F238E27FC236}">
                    <a16:creationId xmlns:a16="http://schemas.microsoft.com/office/drawing/2014/main" id="{F882E274-370E-BF89-7720-486B484A7174}"/>
                  </a:ext>
                </a:extLst>
              </p:cNvPr>
              <p:cNvSpPr/>
              <p:nvPr/>
            </p:nvSpPr>
            <p:spPr>
              <a:xfrm>
                <a:off x="3391376" y="3354197"/>
                <a:ext cx="74929" cy="10583"/>
              </a:xfrm>
              <a:custGeom>
                <a:avLst/>
                <a:gdLst>
                  <a:gd name="connsiteX0" fmla="*/ 0 w 74929"/>
                  <a:gd name="connsiteY0" fmla="*/ 0 h 10583"/>
                  <a:gd name="connsiteX1" fmla="*/ 74930 w 74929"/>
                  <a:gd name="connsiteY1" fmla="*/ 0 h 10583"/>
                </a:gdLst>
                <a:ahLst/>
                <a:cxnLst>
                  <a:cxn ang="0">
                    <a:pos x="connsiteX0" y="connsiteY0"/>
                  </a:cxn>
                  <a:cxn ang="0">
                    <a:pos x="connsiteX1" y="connsiteY1"/>
                  </a:cxn>
                </a:cxnLst>
                <a:rect l="l" t="t" r="r" b="b"/>
                <a:pathLst>
                  <a:path w="74929" h="10583">
                    <a:moveTo>
                      <a:pt x="0" y="0"/>
                    </a:moveTo>
                    <a:lnTo>
                      <a:pt x="74930" y="0"/>
                    </a:lnTo>
                  </a:path>
                </a:pathLst>
              </a:custGeom>
              <a:ln w="12700" cap="sq">
                <a:solidFill>
                  <a:srgbClr val="929294"/>
                </a:solidFill>
                <a:prstDash val="solid"/>
                <a:miter/>
              </a:ln>
            </p:spPr>
            <p:txBody>
              <a:bodyPr rtlCol="0" anchor="ctr"/>
              <a:lstStyle/>
              <a:p>
                <a:endParaRPr lang="en-US" sz="1800"/>
              </a:p>
            </p:txBody>
          </p:sp>
          <p:sp>
            <p:nvSpPr>
              <p:cNvPr id="1018" name="Freeform 453">
                <a:extLst>
                  <a:ext uri="{FF2B5EF4-FFF2-40B4-BE49-F238E27FC236}">
                    <a16:creationId xmlns:a16="http://schemas.microsoft.com/office/drawing/2014/main" id="{056BF1B0-863B-C940-38C9-3E834390ACF4}"/>
                  </a:ext>
                </a:extLst>
              </p:cNvPr>
              <p:cNvSpPr/>
              <p:nvPr/>
            </p:nvSpPr>
            <p:spPr>
              <a:xfrm>
                <a:off x="3428841" y="3328902"/>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929294"/>
                </a:solidFill>
                <a:prstDash val="solid"/>
                <a:miter/>
              </a:ln>
            </p:spPr>
            <p:txBody>
              <a:bodyPr rtlCol="0" anchor="ctr"/>
              <a:lstStyle/>
              <a:p>
                <a:endParaRPr lang="en-US" sz="1800"/>
              </a:p>
            </p:txBody>
          </p:sp>
          <p:sp>
            <p:nvSpPr>
              <p:cNvPr id="1019" name="Freeform 454">
                <a:extLst>
                  <a:ext uri="{FF2B5EF4-FFF2-40B4-BE49-F238E27FC236}">
                    <a16:creationId xmlns:a16="http://schemas.microsoft.com/office/drawing/2014/main" id="{E11D42F7-A2D1-5234-0990-0CDB138B735C}"/>
                  </a:ext>
                </a:extLst>
              </p:cNvPr>
              <p:cNvSpPr/>
              <p:nvPr/>
            </p:nvSpPr>
            <p:spPr>
              <a:xfrm>
                <a:off x="3413357" y="3354197"/>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929294"/>
                </a:solidFill>
                <a:prstDash val="solid"/>
                <a:miter/>
              </a:ln>
            </p:spPr>
            <p:txBody>
              <a:bodyPr rtlCol="0" anchor="ctr"/>
              <a:lstStyle/>
              <a:p>
                <a:endParaRPr lang="en-US" sz="1800"/>
              </a:p>
            </p:txBody>
          </p:sp>
          <p:sp>
            <p:nvSpPr>
              <p:cNvPr id="1020" name="Freeform 455">
                <a:extLst>
                  <a:ext uri="{FF2B5EF4-FFF2-40B4-BE49-F238E27FC236}">
                    <a16:creationId xmlns:a16="http://schemas.microsoft.com/office/drawing/2014/main" id="{CD6FDDE5-175A-FB46-6A3F-EA9B96CBC8A9}"/>
                  </a:ext>
                </a:extLst>
              </p:cNvPr>
              <p:cNvSpPr/>
              <p:nvPr/>
            </p:nvSpPr>
            <p:spPr>
              <a:xfrm>
                <a:off x="3450822" y="3328902"/>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929294"/>
                </a:solidFill>
                <a:prstDash val="solid"/>
                <a:miter/>
              </a:ln>
            </p:spPr>
            <p:txBody>
              <a:bodyPr rtlCol="0" anchor="ctr"/>
              <a:lstStyle/>
              <a:p>
                <a:endParaRPr lang="en-US" sz="1800"/>
              </a:p>
            </p:txBody>
          </p:sp>
          <p:sp>
            <p:nvSpPr>
              <p:cNvPr id="1021" name="Freeform 456">
                <a:extLst>
                  <a:ext uri="{FF2B5EF4-FFF2-40B4-BE49-F238E27FC236}">
                    <a16:creationId xmlns:a16="http://schemas.microsoft.com/office/drawing/2014/main" id="{8738DBEF-17DD-1F08-D327-4D34138E8C7C}"/>
                  </a:ext>
                </a:extLst>
              </p:cNvPr>
              <p:cNvSpPr/>
              <p:nvPr/>
            </p:nvSpPr>
            <p:spPr>
              <a:xfrm>
                <a:off x="3471809" y="3354197"/>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929294"/>
                </a:solidFill>
                <a:prstDash val="solid"/>
                <a:miter/>
              </a:ln>
            </p:spPr>
            <p:txBody>
              <a:bodyPr rtlCol="0" anchor="ctr"/>
              <a:lstStyle/>
              <a:p>
                <a:endParaRPr lang="en-US" sz="1800"/>
              </a:p>
            </p:txBody>
          </p:sp>
          <p:sp>
            <p:nvSpPr>
              <p:cNvPr id="1022" name="Freeform 457">
                <a:extLst>
                  <a:ext uri="{FF2B5EF4-FFF2-40B4-BE49-F238E27FC236}">
                    <a16:creationId xmlns:a16="http://schemas.microsoft.com/office/drawing/2014/main" id="{B272D111-1F5D-21A1-6868-85E1D6F42A23}"/>
                  </a:ext>
                </a:extLst>
              </p:cNvPr>
              <p:cNvSpPr/>
              <p:nvPr/>
            </p:nvSpPr>
            <p:spPr>
              <a:xfrm>
                <a:off x="3509274" y="3328902"/>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929294"/>
                </a:solidFill>
                <a:prstDash val="solid"/>
                <a:miter/>
              </a:ln>
            </p:spPr>
            <p:txBody>
              <a:bodyPr rtlCol="0" anchor="ctr"/>
              <a:lstStyle/>
              <a:p>
                <a:endParaRPr lang="en-US" sz="1800"/>
              </a:p>
            </p:txBody>
          </p:sp>
          <p:sp>
            <p:nvSpPr>
              <p:cNvPr id="1023" name="Freeform 458">
                <a:extLst>
                  <a:ext uri="{FF2B5EF4-FFF2-40B4-BE49-F238E27FC236}">
                    <a16:creationId xmlns:a16="http://schemas.microsoft.com/office/drawing/2014/main" id="{52074A76-2263-1074-8036-7FD6BEE6F98C}"/>
                  </a:ext>
                </a:extLst>
              </p:cNvPr>
              <p:cNvSpPr/>
              <p:nvPr/>
            </p:nvSpPr>
            <p:spPr>
              <a:xfrm>
                <a:off x="3646995" y="3482572"/>
                <a:ext cx="74940" cy="10583"/>
              </a:xfrm>
              <a:custGeom>
                <a:avLst/>
                <a:gdLst>
                  <a:gd name="connsiteX0" fmla="*/ 0 w 74940"/>
                  <a:gd name="connsiteY0" fmla="*/ 0 h 10583"/>
                  <a:gd name="connsiteX1" fmla="*/ 74940 w 74940"/>
                  <a:gd name="connsiteY1" fmla="*/ 0 h 10583"/>
                </a:gdLst>
                <a:ahLst/>
                <a:cxnLst>
                  <a:cxn ang="0">
                    <a:pos x="connsiteX0" y="connsiteY0"/>
                  </a:cxn>
                  <a:cxn ang="0">
                    <a:pos x="connsiteX1" y="connsiteY1"/>
                  </a:cxn>
                </a:cxnLst>
                <a:rect l="l" t="t" r="r" b="b"/>
                <a:pathLst>
                  <a:path w="74940" h="10583">
                    <a:moveTo>
                      <a:pt x="0" y="0"/>
                    </a:moveTo>
                    <a:lnTo>
                      <a:pt x="74940" y="0"/>
                    </a:lnTo>
                  </a:path>
                </a:pathLst>
              </a:custGeom>
              <a:ln w="12700" cap="sq">
                <a:solidFill>
                  <a:srgbClr val="929294"/>
                </a:solidFill>
                <a:prstDash val="solid"/>
                <a:miter/>
              </a:ln>
            </p:spPr>
            <p:txBody>
              <a:bodyPr rtlCol="0" anchor="ctr"/>
              <a:lstStyle/>
              <a:p>
                <a:endParaRPr lang="en-US" sz="1800"/>
              </a:p>
            </p:txBody>
          </p:sp>
          <p:sp>
            <p:nvSpPr>
              <p:cNvPr id="1024" name="Freeform 459">
                <a:extLst>
                  <a:ext uri="{FF2B5EF4-FFF2-40B4-BE49-F238E27FC236}">
                    <a16:creationId xmlns:a16="http://schemas.microsoft.com/office/drawing/2014/main" id="{22AAC5E6-E03A-C7C2-5DFB-9E22987FB8A1}"/>
                  </a:ext>
                </a:extLst>
              </p:cNvPr>
              <p:cNvSpPr/>
              <p:nvPr/>
            </p:nvSpPr>
            <p:spPr>
              <a:xfrm>
                <a:off x="3684471" y="3457278"/>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929294"/>
                </a:solidFill>
                <a:prstDash val="solid"/>
                <a:miter/>
              </a:ln>
            </p:spPr>
            <p:txBody>
              <a:bodyPr rtlCol="0" anchor="ctr"/>
              <a:lstStyle/>
              <a:p>
                <a:endParaRPr lang="en-US" sz="1800"/>
              </a:p>
            </p:txBody>
          </p:sp>
          <p:sp>
            <p:nvSpPr>
              <p:cNvPr id="1025" name="Freeform 460">
                <a:extLst>
                  <a:ext uri="{FF2B5EF4-FFF2-40B4-BE49-F238E27FC236}">
                    <a16:creationId xmlns:a16="http://schemas.microsoft.com/office/drawing/2014/main" id="{5B47F9CE-E96C-CE2B-3CE9-9A80AB2CAD8A}"/>
                  </a:ext>
                </a:extLst>
              </p:cNvPr>
              <p:cNvSpPr/>
              <p:nvPr/>
            </p:nvSpPr>
            <p:spPr>
              <a:xfrm>
                <a:off x="3654329" y="3482572"/>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929294"/>
                </a:solidFill>
                <a:prstDash val="solid"/>
                <a:miter/>
              </a:ln>
            </p:spPr>
            <p:txBody>
              <a:bodyPr rtlCol="0" anchor="ctr"/>
              <a:lstStyle/>
              <a:p>
                <a:endParaRPr lang="en-US" sz="1800"/>
              </a:p>
            </p:txBody>
          </p:sp>
          <p:sp>
            <p:nvSpPr>
              <p:cNvPr id="1026" name="Freeform 461">
                <a:extLst>
                  <a:ext uri="{FF2B5EF4-FFF2-40B4-BE49-F238E27FC236}">
                    <a16:creationId xmlns:a16="http://schemas.microsoft.com/office/drawing/2014/main" id="{CD878AA6-3771-06CB-FB21-EC040B78312B}"/>
                  </a:ext>
                </a:extLst>
              </p:cNvPr>
              <p:cNvSpPr/>
              <p:nvPr/>
            </p:nvSpPr>
            <p:spPr>
              <a:xfrm>
                <a:off x="3691794" y="3457278"/>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929294"/>
                </a:solidFill>
                <a:prstDash val="solid"/>
                <a:miter/>
              </a:ln>
            </p:spPr>
            <p:txBody>
              <a:bodyPr rtlCol="0" anchor="ctr"/>
              <a:lstStyle/>
              <a:p>
                <a:endParaRPr lang="en-US" sz="1800"/>
              </a:p>
            </p:txBody>
          </p:sp>
          <p:sp>
            <p:nvSpPr>
              <p:cNvPr id="1027" name="Freeform 462">
                <a:extLst>
                  <a:ext uri="{FF2B5EF4-FFF2-40B4-BE49-F238E27FC236}">
                    <a16:creationId xmlns:a16="http://schemas.microsoft.com/office/drawing/2014/main" id="{3AA2039C-D985-CAE5-D07B-45591E967DC0}"/>
                  </a:ext>
                </a:extLst>
              </p:cNvPr>
              <p:cNvSpPr/>
              <p:nvPr/>
            </p:nvSpPr>
            <p:spPr>
              <a:xfrm>
                <a:off x="3668977" y="3501453"/>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929294"/>
                </a:solidFill>
                <a:prstDash val="solid"/>
                <a:miter/>
              </a:ln>
            </p:spPr>
            <p:txBody>
              <a:bodyPr rtlCol="0" anchor="ctr"/>
              <a:lstStyle/>
              <a:p>
                <a:endParaRPr lang="en-US" sz="1800"/>
              </a:p>
            </p:txBody>
          </p:sp>
          <p:sp>
            <p:nvSpPr>
              <p:cNvPr id="1028" name="Freeform 463">
                <a:extLst>
                  <a:ext uri="{FF2B5EF4-FFF2-40B4-BE49-F238E27FC236}">
                    <a16:creationId xmlns:a16="http://schemas.microsoft.com/office/drawing/2014/main" id="{1220F3C4-3B55-F673-08B0-10AF275C2EBF}"/>
                  </a:ext>
                </a:extLst>
              </p:cNvPr>
              <p:cNvSpPr/>
              <p:nvPr/>
            </p:nvSpPr>
            <p:spPr>
              <a:xfrm>
                <a:off x="3706452" y="3476159"/>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929294"/>
                </a:solidFill>
                <a:prstDash val="solid"/>
                <a:miter/>
              </a:ln>
            </p:spPr>
            <p:txBody>
              <a:bodyPr rtlCol="0" anchor="ctr"/>
              <a:lstStyle/>
              <a:p>
                <a:endParaRPr lang="en-US" sz="1800"/>
              </a:p>
            </p:txBody>
          </p:sp>
          <p:sp>
            <p:nvSpPr>
              <p:cNvPr id="1029" name="Freeform 464">
                <a:extLst>
                  <a:ext uri="{FF2B5EF4-FFF2-40B4-BE49-F238E27FC236}">
                    <a16:creationId xmlns:a16="http://schemas.microsoft.com/office/drawing/2014/main" id="{6D98A311-1E9A-E599-B63D-E639917B85A2}"/>
                  </a:ext>
                </a:extLst>
              </p:cNvPr>
              <p:cNvSpPr/>
              <p:nvPr/>
            </p:nvSpPr>
            <p:spPr>
              <a:xfrm>
                <a:off x="3990392" y="3596999"/>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929294"/>
                </a:solidFill>
                <a:prstDash val="solid"/>
                <a:miter/>
              </a:ln>
            </p:spPr>
            <p:txBody>
              <a:bodyPr rtlCol="0" anchor="ctr"/>
              <a:lstStyle/>
              <a:p>
                <a:endParaRPr lang="en-US" sz="1800"/>
              </a:p>
            </p:txBody>
          </p:sp>
          <p:sp>
            <p:nvSpPr>
              <p:cNvPr id="1030" name="Freeform 465">
                <a:extLst>
                  <a:ext uri="{FF2B5EF4-FFF2-40B4-BE49-F238E27FC236}">
                    <a16:creationId xmlns:a16="http://schemas.microsoft.com/office/drawing/2014/main" id="{2D1F3107-0AEC-933F-E215-4DF308B1C629}"/>
                  </a:ext>
                </a:extLst>
              </p:cNvPr>
              <p:cNvSpPr/>
              <p:nvPr/>
            </p:nvSpPr>
            <p:spPr>
              <a:xfrm>
                <a:off x="4027857" y="3571716"/>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929294"/>
                </a:solidFill>
                <a:prstDash val="solid"/>
                <a:miter/>
              </a:ln>
            </p:spPr>
            <p:txBody>
              <a:bodyPr rtlCol="0" anchor="ctr"/>
              <a:lstStyle/>
              <a:p>
                <a:endParaRPr lang="en-US" sz="1800"/>
              </a:p>
            </p:txBody>
          </p:sp>
          <p:sp>
            <p:nvSpPr>
              <p:cNvPr id="1031" name="Freeform 466">
                <a:extLst>
                  <a:ext uri="{FF2B5EF4-FFF2-40B4-BE49-F238E27FC236}">
                    <a16:creationId xmlns:a16="http://schemas.microsoft.com/office/drawing/2014/main" id="{D7E5E8AE-40F1-9D26-8393-BA005A1AC4FD}"/>
                  </a:ext>
                </a:extLst>
              </p:cNvPr>
              <p:cNvSpPr/>
              <p:nvPr/>
            </p:nvSpPr>
            <p:spPr>
              <a:xfrm>
                <a:off x="4268004" y="3674787"/>
                <a:ext cx="74929" cy="10583"/>
              </a:xfrm>
              <a:custGeom>
                <a:avLst/>
                <a:gdLst>
                  <a:gd name="connsiteX0" fmla="*/ 0 w 74929"/>
                  <a:gd name="connsiteY0" fmla="*/ 0 h 10583"/>
                  <a:gd name="connsiteX1" fmla="*/ 74930 w 74929"/>
                  <a:gd name="connsiteY1" fmla="*/ 0 h 10583"/>
                </a:gdLst>
                <a:ahLst/>
                <a:cxnLst>
                  <a:cxn ang="0">
                    <a:pos x="connsiteX0" y="connsiteY0"/>
                  </a:cxn>
                  <a:cxn ang="0">
                    <a:pos x="connsiteX1" y="connsiteY1"/>
                  </a:cxn>
                </a:cxnLst>
                <a:rect l="l" t="t" r="r" b="b"/>
                <a:pathLst>
                  <a:path w="74929" h="10583">
                    <a:moveTo>
                      <a:pt x="0" y="0"/>
                    </a:moveTo>
                    <a:lnTo>
                      <a:pt x="74930" y="0"/>
                    </a:lnTo>
                  </a:path>
                </a:pathLst>
              </a:custGeom>
              <a:ln w="12700" cap="sq">
                <a:solidFill>
                  <a:srgbClr val="929294"/>
                </a:solidFill>
                <a:prstDash val="solid"/>
                <a:miter/>
              </a:ln>
            </p:spPr>
            <p:txBody>
              <a:bodyPr rtlCol="0" anchor="ctr"/>
              <a:lstStyle/>
              <a:p>
                <a:endParaRPr lang="en-US" sz="1800"/>
              </a:p>
            </p:txBody>
          </p:sp>
          <p:sp>
            <p:nvSpPr>
              <p:cNvPr id="1032" name="Freeform 467">
                <a:extLst>
                  <a:ext uri="{FF2B5EF4-FFF2-40B4-BE49-F238E27FC236}">
                    <a16:creationId xmlns:a16="http://schemas.microsoft.com/office/drawing/2014/main" id="{C01F5D9F-03D9-8895-0D7D-DD92BF2DDA73}"/>
                  </a:ext>
                </a:extLst>
              </p:cNvPr>
              <p:cNvSpPr/>
              <p:nvPr/>
            </p:nvSpPr>
            <p:spPr>
              <a:xfrm>
                <a:off x="4305469" y="3649503"/>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929294"/>
                </a:solidFill>
                <a:prstDash val="solid"/>
                <a:miter/>
              </a:ln>
            </p:spPr>
            <p:txBody>
              <a:bodyPr rtlCol="0" anchor="ctr"/>
              <a:lstStyle/>
              <a:p>
                <a:endParaRPr lang="en-US" sz="1800"/>
              </a:p>
            </p:txBody>
          </p:sp>
          <p:sp>
            <p:nvSpPr>
              <p:cNvPr id="1033" name="Freeform 468">
                <a:extLst>
                  <a:ext uri="{FF2B5EF4-FFF2-40B4-BE49-F238E27FC236}">
                    <a16:creationId xmlns:a16="http://schemas.microsoft.com/office/drawing/2014/main" id="{CBF56D6A-D332-BD76-E299-BD4C4051E901}"/>
                  </a:ext>
                </a:extLst>
              </p:cNvPr>
              <p:cNvSpPr/>
              <p:nvPr/>
            </p:nvSpPr>
            <p:spPr>
              <a:xfrm>
                <a:off x="4487153" y="3694461"/>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929294"/>
                </a:solidFill>
                <a:prstDash val="solid"/>
                <a:miter/>
              </a:ln>
            </p:spPr>
            <p:txBody>
              <a:bodyPr rtlCol="0" anchor="ctr"/>
              <a:lstStyle/>
              <a:p>
                <a:endParaRPr lang="en-US" sz="1800"/>
              </a:p>
            </p:txBody>
          </p:sp>
          <p:sp>
            <p:nvSpPr>
              <p:cNvPr id="1034" name="Freeform 469">
                <a:extLst>
                  <a:ext uri="{FF2B5EF4-FFF2-40B4-BE49-F238E27FC236}">
                    <a16:creationId xmlns:a16="http://schemas.microsoft.com/office/drawing/2014/main" id="{23558542-2F91-E39E-5034-F17FE39B72B1}"/>
                  </a:ext>
                </a:extLst>
              </p:cNvPr>
              <p:cNvSpPr/>
              <p:nvPr/>
            </p:nvSpPr>
            <p:spPr>
              <a:xfrm>
                <a:off x="4524629" y="3669167"/>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929294"/>
                </a:solidFill>
                <a:prstDash val="solid"/>
                <a:miter/>
              </a:ln>
            </p:spPr>
            <p:txBody>
              <a:bodyPr rtlCol="0" anchor="ctr"/>
              <a:lstStyle/>
              <a:p>
                <a:endParaRPr lang="en-US" sz="1800"/>
              </a:p>
            </p:txBody>
          </p:sp>
          <p:sp>
            <p:nvSpPr>
              <p:cNvPr id="1035" name="Freeform 470">
                <a:extLst>
                  <a:ext uri="{FF2B5EF4-FFF2-40B4-BE49-F238E27FC236}">
                    <a16:creationId xmlns:a16="http://schemas.microsoft.com/office/drawing/2014/main" id="{626BD997-C5EB-599D-A4AF-148D56B23BAF}"/>
                  </a:ext>
                </a:extLst>
              </p:cNvPr>
              <p:cNvSpPr/>
              <p:nvPr/>
            </p:nvSpPr>
            <p:spPr>
              <a:xfrm>
                <a:off x="4574921" y="3694461"/>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929294"/>
                </a:solidFill>
                <a:prstDash val="solid"/>
                <a:miter/>
              </a:ln>
            </p:spPr>
            <p:txBody>
              <a:bodyPr rtlCol="0" anchor="ctr"/>
              <a:lstStyle/>
              <a:p>
                <a:endParaRPr lang="en-US" sz="1800"/>
              </a:p>
            </p:txBody>
          </p:sp>
          <p:sp>
            <p:nvSpPr>
              <p:cNvPr id="1036" name="Freeform 471">
                <a:extLst>
                  <a:ext uri="{FF2B5EF4-FFF2-40B4-BE49-F238E27FC236}">
                    <a16:creationId xmlns:a16="http://schemas.microsoft.com/office/drawing/2014/main" id="{2F1736FB-9CCA-2525-F5EF-42CFCAB769C8}"/>
                  </a:ext>
                </a:extLst>
              </p:cNvPr>
              <p:cNvSpPr/>
              <p:nvPr/>
            </p:nvSpPr>
            <p:spPr>
              <a:xfrm>
                <a:off x="4612386" y="3669167"/>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929294"/>
                </a:solidFill>
                <a:prstDash val="solid"/>
                <a:miter/>
              </a:ln>
            </p:spPr>
            <p:txBody>
              <a:bodyPr rtlCol="0" anchor="ctr"/>
              <a:lstStyle/>
              <a:p>
                <a:endParaRPr lang="en-US" sz="1800"/>
              </a:p>
            </p:txBody>
          </p:sp>
          <p:sp>
            <p:nvSpPr>
              <p:cNvPr id="1037" name="Freeform 472">
                <a:extLst>
                  <a:ext uri="{FF2B5EF4-FFF2-40B4-BE49-F238E27FC236}">
                    <a16:creationId xmlns:a16="http://schemas.microsoft.com/office/drawing/2014/main" id="{264E0DC5-DCF7-4935-69FD-F3B09021144E}"/>
                  </a:ext>
                </a:extLst>
              </p:cNvPr>
              <p:cNvSpPr/>
              <p:nvPr/>
            </p:nvSpPr>
            <p:spPr>
              <a:xfrm>
                <a:off x="4596733" y="3714919"/>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929294"/>
                </a:solidFill>
                <a:prstDash val="solid"/>
                <a:miter/>
              </a:ln>
            </p:spPr>
            <p:txBody>
              <a:bodyPr rtlCol="0" anchor="ctr"/>
              <a:lstStyle/>
              <a:p>
                <a:endParaRPr lang="en-US" sz="1800"/>
              </a:p>
            </p:txBody>
          </p:sp>
          <p:sp>
            <p:nvSpPr>
              <p:cNvPr id="1038" name="Freeform 473">
                <a:extLst>
                  <a:ext uri="{FF2B5EF4-FFF2-40B4-BE49-F238E27FC236}">
                    <a16:creationId xmlns:a16="http://schemas.microsoft.com/office/drawing/2014/main" id="{30F48D63-2C87-3F29-8318-87AA02B4E30E}"/>
                  </a:ext>
                </a:extLst>
              </p:cNvPr>
              <p:cNvSpPr/>
              <p:nvPr/>
            </p:nvSpPr>
            <p:spPr>
              <a:xfrm>
                <a:off x="4634208" y="3689625"/>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929294"/>
                </a:solidFill>
                <a:prstDash val="solid"/>
                <a:miter/>
              </a:ln>
            </p:spPr>
            <p:txBody>
              <a:bodyPr rtlCol="0" anchor="ctr"/>
              <a:lstStyle/>
              <a:p>
                <a:endParaRPr lang="en-US" sz="1800"/>
              </a:p>
            </p:txBody>
          </p:sp>
          <p:sp>
            <p:nvSpPr>
              <p:cNvPr id="1039" name="Freeform 474">
                <a:extLst>
                  <a:ext uri="{FF2B5EF4-FFF2-40B4-BE49-F238E27FC236}">
                    <a16:creationId xmlns:a16="http://schemas.microsoft.com/office/drawing/2014/main" id="{DFA22523-0C10-786E-EF48-F5C49A1DA6B4}"/>
                  </a:ext>
                </a:extLst>
              </p:cNvPr>
              <p:cNvSpPr/>
              <p:nvPr/>
            </p:nvSpPr>
            <p:spPr>
              <a:xfrm>
                <a:off x="4720971" y="3756628"/>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929294"/>
                </a:solidFill>
                <a:prstDash val="solid"/>
                <a:miter/>
              </a:ln>
            </p:spPr>
            <p:txBody>
              <a:bodyPr rtlCol="0" anchor="ctr"/>
              <a:lstStyle/>
              <a:p>
                <a:endParaRPr lang="en-US" sz="1800"/>
              </a:p>
            </p:txBody>
          </p:sp>
          <p:sp>
            <p:nvSpPr>
              <p:cNvPr id="1040" name="Freeform 475">
                <a:extLst>
                  <a:ext uri="{FF2B5EF4-FFF2-40B4-BE49-F238E27FC236}">
                    <a16:creationId xmlns:a16="http://schemas.microsoft.com/office/drawing/2014/main" id="{C84BBA38-30CA-6864-C27A-966A65C072EF}"/>
                  </a:ext>
                </a:extLst>
              </p:cNvPr>
              <p:cNvSpPr/>
              <p:nvPr/>
            </p:nvSpPr>
            <p:spPr>
              <a:xfrm>
                <a:off x="4758436" y="3731334"/>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929294"/>
                </a:solidFill>
                <a:prstDash val="solid"/>
                <a:miter/>
              </a:ln>
            </p:spPr>
            <p:txBody>
              <a:bodyPr rtlCol="0" anchor="ctr"/>
              <a:lstStyle/>
              <a:p>
                <a:endParaRPr lang="en-US" sz="1800"/>
              </a:p>
            </p:txBody>
          </p:sp>
          <p:sp>
            <p:nvSpPr>
              <p:cNvPr id="1041" name="Freeform 476">
                <a:extLst>
                  <a:ext uri="{FF2B5EF4-FFF2-40B4-BE49-F238E27FC236}">
                    <a16:creationId xmlns:a16="http://schemas.microsoft.com/office/drawing/2014/main" id="{834CCC69-3DAF-1C9E-060F-9016791348C9}"/>
                  </a:ext>
                </a:extLst>
              </p:cNvPr>
              <p:cNvSpPr/>
              <p:nvPr/>
            </p:nvSpPr>
            <p:spPr>
              <a:xfrm>
                <a:off x="5451549" y="3799120"/>
                <a:ext cx="74940" cy="10583"/>
              </a:xfrm>
              <a:custGeom>
                <a:avLst/>
                <a:gdLst>
                  <a:gd name="connsiteX0" fmla="*/ 0 w 74940"/>
                  <a:gd name="connsiteY0" fmla="*/ 0 h 10583"/>
                  <a:gd name="connsiteX1" fmla="*/ 74940 w 74940"/>
                  <a:gd name="connsiteY1" fmla="*/ 0 h 10583"/>
                </a:gdLst>
                <a:ahLst/>
                <a:cxnLst>
                  <a:cxn ang="0">
                    <a:pos x="connsiteX0" y="connsiteY0"/>
                  </a:cxn>
                  <a:cxn ang="0">
                    <a:pos x="connsiteX1" y="connsiteY1"/>
                  </a:cxn>
                </a:cxnLst>
                <a:rect l="l" t="t" r="r" b="b"/>
                <a:pathLst>
                  <a:path w="74940" h="10583">
                    <a:moveTo>
                      <a:pt x="0" y="0"/>
                    </a:moveTo>
                    <a:lnTo>
                      <a:pt x="74940" y="0"/>
                    </a:lnTo>
                  </a:path>
                </a:pathLst>
              </a:custGeom>
              <a:ln w="12700" cap="sq">
                <a:solidFill>
                  <a:srgbClr val="929294"/>
                </a:solidFill>
                <a:prstDash val="solid"/>
                <a:miter/>
              </a:ln>
            </p:spPr>
            <p:txBody>
              <a:bodyPr rtlCol="0" anchor="ctr"/>
              <a:lstStyle/>
              <a:p>
                <a:endParaRPr lang="en-US" sz="1800"/>
              </a:p>
            </p:txBody>
          </p:sp>
          <p:sp>
            <p:nvSpPr>
              <p:cNvPr id="1042" name="Freeform 477">
                <a:extLst>
                  <a:ext uri="{FF2B5EF4-FFF2-40B4-BE49-F238E27FC236}">
                    <a16:creationId xmlns:a16="http://schemas.microsoft.com/office/drawing/2014/main" id="{13C6AE7C-54B8-35AE-5832-48CDC361E096}"/>
                  </a:ext>
                </a:extLst>
              </p:cNvPr>
              <p:cNvSpPr/>
              <p:nvPr/>
            </p:nvSpPr>
            <p:spPr>
              <a:xfrm>
                <a:off x="5489014" y="3773826"/>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929294"/>
                </a:solidFill>
                <a:prstDash val="solid"/>
                <a:miter/>
              </a:ln>
            </p:spPr>
            <p:txBody>
              <a:bodyPr rtlCol="0" anchor="ctr"/>
              <a:lstStyle/>
              <a:p>
                <a:endParaRPr lang="en-US" sz="1800"/>
              </a:p>
            </p:txBody>
          </p:sp>
          <p:sp>
            <p:nvSpPr>
              <p:cNvPr id="1043" name="Freeform 478">
                <a:extLst>
                  <a:ext uri="{FF2B5EF4-FFF2-40B4-BE49-F238E27FC236}">
                    <a16:creationId xmlns:a16="http://schemas.microsoft.com/office/drawing/2014/main" id="{D2BC421A-39C7-64FA-17F5-A9F45C94DDED}"/>
                  </a:ext>
                </a:extLst>
              </p:cNvPr>
              <p:cNvSpPr/>
              <p:nvPr/>
            </p:nvSpPr>
            <p:spPr>
              <a:xfrm>
                <a:off x="5787612" y="3842512"/>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929294"/>
                </a:solidFill>
                <a:prstDash val="solid"/>
                <a:miter/>
              </a:ln>
            </p:spPr>
            <p:txBody>
              <a:bodyPr rtlCol="0" anchor="ctr"/>
              <a:lstStyle/>
              <a:p>
                <a:endParaRPr lang="en-US" sz="1800"/>
              </a:p>
            </p:txBody>
          </p:sp>
          <p:sp>
            <p:nvSpPr>
              <p:cNvPr id="1044" name="Freeform 479">
                <a:extLst>
                  <a:ext uri="{FF2B5EF4-FFF2-40B4-BE49-F238E27FC236}">
                    <a16:creationId xmlns:a16="http://schemas.microsoft.com/office/drawing/2014/main" id="{E5E9EE97-D929-C5B2-C342-239DBBA67600}"/>
                  </a:ext>
                </a:extLst>
              </p:cNvPr>
              <p:cNvSpPr/>
              <p:nvPr/>
            </p:nvSpPr>
            <p:spPr>
              <a:xfrm>
                <a:off x="5825077" y="3817217"/>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929294"/>
                </a:solidFill>
                <a:prstDash val="solid"/>
                <a:miter/>
              </a:ln>
            </p:spPr>
            <p:txBody>
              <a:bodyPr rtlCol="0" anchor="ctr"/>
              <a:lstStyle/>
              <a:p>
                <a:endParaRPr lang="en-US" sz="1800"/>
              </a:p>
            </p:txBody>
          </p:sp>
          <p:sp>
            <p:nvSpPr>
              <p:cNvPr id="1045" name="Freeform 480">
                <a:extLst>
                  <a:ext uri="{FF2B5EF4-FFF2-40B4-BE49-F238E27FC236}">
                    <a16:creationId xmlns:a16="http://schemas.microsoft.com/office/drawing/2014/main" id="{17EDFBB2-9406-8E63-B143-0E5EBDB45C49}"/>
                  </a:ext>
                </a:extLst>
              </p:cNvPr>
              <p:cNvSpPr/>
              <p:nvPr/>
            </p:nvSpPr>
            <p:spPr>
              <a:xfrm>
                <a:off x="5802100" y="3842512"/>
                <a:ext cx="74940" cy="10583"/>
              </a:xfrm>
              <a:custGeom>
                <a:avLst/>
                <a:gdLst>
                  <a:gd name="connsiteX0" fmla="*/ 0 w 74940"/>
                  <a:gd name="connsiteY0" fmla="*/ 0 h 10583"/>
                  <a:gd name="connsiteX1" fmla="*/ 74940 w 74940"/>
                  <a:gd name="connsiteY1" fmla="*/ 0 h 10583"/>
                </a:gdLst>
                <a:ahLst/>
                <a:cxnLst>
                  <a:cxn ang="0">
                    <a:pos x="connsiteX0" y="connsiteY0"/>
                  </a:cxn>
                  <a:cxn ang="0">
                    <a:pos x="connsiteX1" y="connsiteY1"/>
                  </a:cxn>
                </a:cxnLst>
                <a:rect l="l" t="t" r="r" b="b"/>
                <a:pathLst>
                  <a:path w="74940" h="10583">
                    <a:moveTo>
                      <a:pt x="0" y="0"/>
                    </a:moveTo>
                    <a:lnTo>
                      <a:pt x="74940" y="0"/>
                    </a:lnTo>
                  </a:path>
                </a:pathLst>
              </a:custGeom>
              <a:ln w="12700" cap="sq">
                <a:solidFill>
                  <a:srgbClr val="929294"/>
                </a:solidFill>
                <a:prstDash val="solid"/>
                <a:miter/>
              </a:ln>
            </p:spPr>
            <p:txBody>
              <a:bodyPr rtlCol="0" anchor="ctr"/>
              <a:lstStyle/>
              <a:p>
                <a:endParaRPr lang="en-US" sz="1800"/>
              </a:p>
            </p:txBody>
          </p:sp>
          <p:sp>
            <p:nvSpPr>
              <p:cNvPr id="1046" name="Freeform 481">
                <a:extLst>
                  <a:ext uri="{FF2B5EF4-FFF2-40B4-BE49-F238E27FC236}">
                    <a16:creationId xmlns:a16="http://schemas.microsoft.com/office/drawing/2014/main" id="{32A033B6-4D09-49DA-71B9-2375C11C3BDE}"/>
                  </a:ext>
                </a:extLst>
              </p:cNvPr>
              <p:cNvSpPr/>
              <p:nvPr/>
            </p:nvSpPr>
            <p:spPr>
              <a:xfrm>
                <a:off x="5839565" y="3817217"/>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929294"/>
                </a:solidFill>
                <a:prstDash val="solid"/>
                <a:miter/>
              </a:ln>
            </p:spPr>
            <p:txBody>
              <a:bodyPr rtlCol="0" anchor="ctr"/>
              <a:lstStyle/>
              <a:p>
                <a:endParaRPr lang="en-US" sz="1800"/>
              </a:p>
            </p:txBody>
          </p:sp>
          <p:sp>
            <p:nvSpPr>
              <p:cNvPr id="1047" name="Freeform 482">
                <a:extLst>
                  <a:ext uri="{FF2B5EF4-FFF2-40B4-BE49-F238E27FC236}">
                    <a16:creationId xmlns:a16="http://schemas.microsoft.com/office/drawing/2014/main" id="{B6C94B59-454E-E5D7-1CF3-AF422F4AE9B7}"/>
                  </a:ext>
                </a:extLst>
              </p:cNvPr>
              <p:cNvSpPr/>
              <p:nvPr/>
            </p:nvSpPr>
            <p:spPr>
              <a:xfrm>
                <a:off x="6021260" y="3887808"/>
                <a:ext cx="74930" cy="10583"/>
              </a:xfrm>
              <a:custGeom>
                <a:avLst/>
                <a:gdLst>
                  <a:gd name="connsiteX0" fmla="*/ 0 w 74930"/>
                  <a:gd name="connsiteY0" fmla="*/ 0 h 10583"/>
                  <a:gd name="connsiteX1" fmla="*/ 74930 w 74930"/>
                  <a:gd name="connsiteY1" fmla="*/ 0 h 10583"/>
                </a:gdLst>
                <a:ahLst/>
                <a:cxnLst>
                  <a:cxn ang="0">
                    <a:pos x="connsiteX0" y="connsiteY0"/>
                  </a:cxn>
                  <a:cxn ang="0">
                    <a:pos x="connsiteX1" y="connsiteY1"/>
                  </a:cxn>
                </a:cxnLst>
                <a:rect l="l" t="t" r="r" b="b"/>
                <a:pathLst>
                  <a:path w="74930" h="10583">
                    <a:moveTo>
                      <a:pt x="0" y="0"/>
                    </a:moveTo>
                    <a:lnTo>
                      <a:pt x="74930" y="0"/>
                    </a:lnTo>
                  </a:path>
                </a:pathLst>
              </a:custGeom>
              <a:ln w="12700" cap="sq">
                <a:solidFill>
                  <a:srgbClr val="929294"/>
                </a:solidFill>
                <a:prstDash val="solid"/>
                <a:miter/>
              </a:ln>
            </p:spPr>
            <p:txBody>
              <a:bodyPr rtlCol="0" anchor="ctr"/>
              <a:lstStyle/>
              <a:p>
                <a:endParaRPr lang="en-US" sz="1800"/>
              </a:p>
            </p:txBody>
          </p:sp>
          <p:sp>
            <p:nvSpPr>
              <p:cNvPr id="1048" name="Freeform 483">
                <a:extLst>
                  <a:ext uri="{FF2B5EF4-FFF2-40B4-BE49-F238E27FC236}">
                    <a16:creationId xmlns:a16="http://schemas.microsoft.com/office/drawing/2014/main" id="{A68F999E-1B43-BB7B-C81E-A6DB7C04CCAB}"/>
                  </a:ext>
                </a:extLst>
              </p:cNvPr>
              <p:cNvSpPr/>
              <p:nvPr/>
            </p:nvSpPr>
            <p:spPr>
              <a:xfrm>
                <a:off x="6058725" y="3862514"/>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929294"/>
                </a:solidFill>
                <a:prstDash val="solid"/>
                <a:miter/>
              </a:ln>
            </p:spPr>
            <p:txBody>
              <a:bodyPr rtlCol="0" anchor="ctr"/>
              <a:lstStyle/>
              <a:p>
                <a:endParaRPr lang="en-US" sz="1800"/>
              </a:p>
            </p:txBody>
          </p:sp>
          <p:sp>
            <p:nvSpPr>
              <p:cNvPr id="1049" name="Freeform 484">
                <a:extLst>
                  <a:ext uri="{FF2B5EF4-FFF2-40B4-BE49-F238E27FC236}">
                    <a16:creationId xmlns:a16="http://schemas.microsoft.com/office/drawing/2014/main" id="{AF3C3D91-F4C5-DAFC-31E8-BC18AAA2618E}"/>
                  </a:ext>
                </a:extLst>
              </p:cNvPr>
              <p:cNvSpPr/>
              <p:nvPr/>
            </p:nvSpPr>
            <p:spPr>
              <a:xfrm>
                <a:off x="6203939" y="3887808"/>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929294"/>
                </a:solidFill>
                <a:prstDash val="solid"/>
                <a:miter/>
              </a:ln>
            </p:spPr>
            <p:txBody>
              <a:bodyPr rtlCol="0" anchor="ctr"/>
              <a:lstStyle/>
              <a:p>
                <a:endParaRPr lang="en-US" sz="1800"/>
              </a:p>
            </p:txBody>
          </p:sp>
          <p:sp>
            <p:nvSpPr>
              <p:cNvPr id="1050" name="Freeform 485">
                <a:extLst>
                  <a:ext uri="{FF2B5EF4-FFF2-40B4-BE49-F238E27FC236}">
                    <a16:creationId xmlns:a16="http://schemas.microsoft.com/office/drawing/2014/main" id="{085184A5-633C-F0CA-ADD1-5C2CEA6A4333}"/>
                  </a:ext>
                </a:extLst>
              </p:cNvPr>
              <p:cNvSpPr/>
              <p:nvPr/>
            </p:nvSpPr>
            <p:spPr>
              <a:xfrm>
                <a:off x="6241415" y="3862514"/>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929294"/>
                </a:solidFill>
                <a:prstDash val="solid"/>
                <a:miter/>
              </a:ln>
            </p:spPr>
            <p:txBody>
              <a:bodyPr rtlCol="0" anchor="ctr"/>
              <a:lstStyle/>
              <a:p>
                <a:endParaRPr lang="en-US" sz="1800"/>
              </a:p>
            </p:txBody>
          </p:sp>
          <p:sp>
            <p:nvSpPr>
              <p:cNvPr id="1051" name="Freeform 486">
                <a:extLst>
                  <a:ext uri="{FF2B5EF4-FFF2-40B4-BE49-F238E27FC236}">
                    <a16:creationId xmlns:a16="http://schemas.microsoft.com/office/drawing/2014/main" id="{E072ED0A-7913-9C11-B3CF-8953753E6E80}"/>
                  </a:ext>
                </a:extLst>
              </p:cNvPr>
              <p:cNvSpPr/>
              <p:nvPr/>
            </p:nvSpPr>
            <p:spPr>
              <a:xfrm>
                <a:off x="6255067" y="3887808"/>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929294"/>
                </a:solidFill>
                <a:prstDash val="solid"/>
                <a:miter/>
              </a:ln>
            </p:spPr>
            <p:txBody>
              <a:bodyPr rtlCol="0" anchor="ctr"/>
              <a:lstStyle/>
              <a:p>
                <a:endParaRPr lang="en-US" sz="1800"/>
              </a:p>
            </p:txBody>
          </p:sp>
          <p:sp>
            <p:nvSpPr>
              <p:cNvPr id="1052" name="Freeform 487">
                <a:extLst>
                  <a:ext uri="{FF2B5EF4-FFF2-40B4-BE49-F238E27FC236}">
                    <a16:creationId xmlns:a16="http://schemas.microsoft.com/office/drawing/2014/main" id="{A50E58D7-A026-C059-81DC-A369C1C15039}"/>
                  </a:ext>
                </a:extLst>
              </p:cNvPr>
              <p:cNvSpPr/>
              <p:nvPr/>
            </p:nvSpPr>
            <p:spPr>
              <a:xfrm>
                <a:off x="6292532" y="3862514"/>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929294"/>
                </a:solidFill>
                <a:prstDash val="solid"/>
                <a:miter/>
              </a:ln>
            </p:spPr>
            <p:txBody>
              <a:bodyPr rtlCol="0" anchor="ctr"/>
              <a:lstStyle/>
              <a:p>
                <a:endParaRPr lang="en-US" sz="1800"/>
              </a:p>
            </p:txBody>
          </p:sp>
          <p:sp>
            <p:nvSpPr>
              <p:cNvPr id="1053" name="Freeform 488">
                <a:extLst>
                  <a:ext uri="{FF2B5EF4-FFF2-40B4-BE49-F238E27FC236}">
                    <a16:creationId xmlns:a16="http://schemas.microsoft.com/office/drawing/2014/main" id="{95B08175-99F7-1A4C-A172-1313FE02742D}"/>
                  </a:ext>
                </a:extLst>
              </p:cNvPr>
              <p:cNvSpPr/>
              <p:nvPr/>
            </p:nvSpPr>
            <p:spPr>
              <a:xfrm>
                <a:off x="6401117" y="3887808"/>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929294"/>
                </a:solidFill>
                <a:prstDash val="solid"/>
                <a:miter/>
              </a:ln>
            </p:spPr>
            <p:txBody>
              <a:bodyPr rtlCol="0" anchor="ctr"/>
              <a:lstStyle/>
              <a:p>
                <a:endParaRPr lang="en-US" sz="1800"/>
              </a:p>
            </p:txBody>
          </p:sp>
          <p:sp>
            <p:nvSpPr>
              <p:cNvPr id="1054" name="Freeform 489">
                <a:extLst>
                  <a:ext uri="{FF2B5EF4-FFF2-40B4-BE49-F238E27FC236}">
                    <a16:creationId xmlns:a16="http://schemas.microsoft.com/office/drawing/2014/main" id="{B110A189-620E-0CCB-88D8-28DD078BC020}"/>
                  </a:ext>
                </a:extLst>
              </p:cNvPr>
              <p:cNvSpPr/>
              <p:nvPr/>
            </p:nvSpPr>
            <p:spPr>
              <a:xfrm>
                <a:off x="6438582" y="3862514"/>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929294"/>
                </a:solidFill>
                <a:prstDash val="solid"/>
                <a:miter/>
              </a:ln>
            </p:spPr>
            <p:txBody>
              <a:bodyPr rtlCol="0" anchor="ctr"/>
              <a:lstStyle/>
              <a:p>
                <a:endParaRPr lang="en-US" sz="1800"/>
              </a:p>
            </p:txBody>
          </p:sp>
          <p:sp>
            <p:nvSpPr>
              <p:cNvPr id="1055" name="Freeform 490">
                <a:extLst>
                  <a:ext uri="{FF2B5EF4-FFF2-40B4-BE49-F238E27FC236}">
                    <a16:creationId xmlns:a16="http://schemas.microsoft.com/office/drawing/2014/main" id="{1F367AB3-C6B3-6E00-2BC1-9F9C56EF6132}"/>
                  </a:ext>
                </a:extLst>
              </p:cNvPr>
              <p:cNvSpPr/>
              <p:nvPr/>
            </p:nvSpPr>
            <p:spPr>
              <a:xfrm>
                <a:off x="6503532" y="3887808"/>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929294"/>
                </a:solidFill>
                <a:prstDash val="solid"/>
                <a:miter/>
              </a:ln>
            </p:spPr>
            <p:txBody>
              <a:bodyPr rtlCol="0" anchor="ctr"/>
              <a:lstStyle/>
              <a:p>
                <a:endParaRPr lang="en-US" sz="1800"/>
              </a:p>
            </p:txBody>
          </p:sp>
          <p:sp>
            <p:nvSpPr>
              <p:cNvPr id="1056" name="Freeform 491">
                <a:extLst>
                  <a:ext uri="{FF2B5EF4-FFF2-40B4-BE49-F238E27FC236}">
                    <a16:creationId xmlns:a16="http://schemas.microsoft.com/office/drawing/2014/main" id="{FAE1515B-F366-6F2F-53F1-256A38D0E619}"/>
                  </a:ext>
                </a:extLst>
              </p:cNvPr>
              <p:cNvSpPr/>
              <p:nvPr/>
            </p:nvSpPr>
            <p:spPr>
              <a:xfrm>
                <a:off x="6541008" y="3862514"/>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929294"/>
                </a:solidFill>
                <a:prstDash val="solid"/>
                <a:miter/>
              </a:ln>
            </p:spPr>
            <p:txBody>
              <a:bodyPr rtlCol="0" anchor="ctr"/>
              <a:lstStyle/>
              <a:p>
                <a:endParaRPr lang="en-US" sz="1800"/>
              </a:p>
            </p:txBody>
          </p:sp>
          <p:sp>
            <p:nvSpPr>
              <p:cNvPr id="1057" name="Freeform 492">
                <a:extLst>
                  <a:ext uri="{FF2B5EF4-FFF2-40B4-BE49-F238E27FC236}">
                    <a16:creationId xmlns:a16="http://schemas.microsoft.com/office/drawing/2014/main" id="{856CE2ED-C587-BA63-8F90-A5F89AA4ED1B}"/>
                  </a:ext>
                </a:extLst>
              </p:cNvPr>
              <p:cNvSpPr/>
              <p:nvPr/>
            </p:nvSpPr>
            <p:spPr>
              <a:xfrm>
                <a:off x="6751838" y="3887808"/>
                <a:ext cx="74929" cy="10583"/>
              </a:xfrm>
              <a:custGeom>
                <a:avLst/>
                <a:gdLst>
                  <a:gd name="connsiteX0" fmla="*/ 0 w 74929"/>
                  <a:gd name="connsiteY0" fmla="*/ 0 h 10583"/>
                  <a:gd name="connsiteX1" fmla="*/ 74930 w 74929"/>
                  <a:gd name="connsiteY1" fmla="*/ 0 h 10583"/>
                </a:gdLst>
                <a:ahLst/>
                <a:cxnLst>
                  <a:cxn ang="0">
                    <a:pos x="connsiteX0" y="connsiteY0"/>
                  </a:cxn>
                  <a:cxn ang="0">
                    <a:pos x="connsiteX1" y="connsiteY1"/>
                  </a:cxn>
                </a:cxnLst>
                <a:rect l="l" t="t" r="r" b="b"/>
                <a:pathLst>
                  <a:path w="74929" h="10583">
                    <a:moveTo>
                      <a:pt x="0" y="0"/>
                    </a:moveTo>
                    <a:lnTo>
                      <a:pt x="74930" y="0"/>
                    </a:lnTo>
                  </a:path>
                </a:pathLst>
              </a:custGeom>
              <a:ln w="12700" cap="sq">
                <a:solidFill>
                  <a:srgbClr val="929294"/>
                </a:solidFill>
                <a:prstDash val="solid"/>
                <a:miter/>
              </a:ln>
            </p:spPr>
            <p:txBody>
              <a:bodyPr rtlCol="0" anchor="ctr"/>
              <a:lstStyle/>
              <a:p>
                <a:endParaRPr lang="en-US" sz="1800"/>
              </a:p>
            </p:txBody>
          </p:sp>
          <p:sp>
            <p:nvSpPr>
              <p:cNvPr id="1058" name="Freeform 493">
                <a:extLst>
                  <a:ext uri="{FF2B5EF4-FFF2-40B4-BE49-F238E27FC236}">
                    <a16:creationId xmlns:a16="http://schemas.microsoft.com/office/drawing/2014/main" id="{A0C4CD48-83CE-1BB1-D7FC-618D2DFEC9B1}"/>
                  </a:ext>
                </a:extLst>
              </p:cNvPr>
              <p:cNvSpPr/>
              <p:nvPr/>
            </p:nvSpPr>
            <p:spPr>
              <a:xfrm>
                <a:off x="6789303" y="3862514"/>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929294"/>
                </a:solidFill>
                <a:prstDash val="solid"/>
                <a:miter/>
              </a:ln>
            </p:spPr>
            <p:txBody>
              <a:bodyPr rtlCol="0" anchor="ctr"/>
              <a:lstStyle/>
              <a:p>
                <a:endParaRPr lang="en-US" sz="1800"/>
              </a:p>
            </p:txBody>
          </p:sp>
          <p:sp>
            <p:nvSpPr>
              <p:cNvPr id="1059" name="Freeform 494">
                <a:extLst>
                  <a:ext uri="{FF2B5EF4-FFF2-40B4-BE49-F238E27FC236}">
                    <a16:creationId xmlns:a16="http://schemas.microsoft.com/office/drawing/2014/main" id="{019EECEF-A593-436E-D0AB-5FDF096833FE}"/>
                  </a:ext>
                </a:extLst>
              </p:cNvPr>
              <p:cNvSpPr/>
              <p:nvPr/>
            </p:nvSpPr>
            <p:spPr>
              <a:xfrm>
                <a:off x="6956340" y="3887808"/>
                <a:ext cx="74940" cy="10583"/>
              </a:xfrm>
              <a:custGeom>
                <a:avLst/>
                <a:gdLst>
                  <a:gd name="connsiteX0" fmla="*/ 0 w 74940"/>
                  <a:gd name="connsiteY0" fmla="*/ 0 h 10583"/>
                  <a:gd name="connsiteX1" fmla="*/ 74940 w 74940"/>
                  <a:gd name="connsiteY1" fmla="*/ 0 h 10583"/>
                </a:gdLst>
                <a:ahLst/>
                <a:cxnLst>
                  <a:cxn ang="0">
                    <a:pos x="connsiteX0" y="connsiteY0"/>
                  </a:cxn>
                  <a:cxn ang="0">
                    <a:pos x="connsiteX1" y="connsiteY1"/>
                  </a:cxn>
                </a:cxnLst>
                <a:rect l="l" t="t" r="r" b="b"/>
                <a:pathLst>
                  <a:path w="74940" h="10583">
                    <a:moveTo>
                      <a:pt x="0" y="0"/>
                    </a:moveTo>
                    <a:lnTo>
                      <a:pt x="74940" y="0"/>
                    </a:lnTo>
                  </a:path>
                </a:pathLst>
              </a:custGeom>
              <a:ln w="12700" cap="sq">
                <a:solidFill>
                  <a:srgbClr val="929294"/>
                </a:solidFill>
                <a:prstDash val="solid"/>
                <a:miter/>
              </a:ln>
            </p:spPr>
            <p:txBody>
              <a:bodyPr rtlCol="0" anchor="ctr"/>
              <a:lstStyle/>
              <a:p>
                <a:endParaRPr lang="en-US" sz="1800"/>
              </a:p>
            </p:txBody>
          </p:sp>
          <p:sp>
            <p:nvSpPr>
              <p:cNvPr id="1060" name="Freeform 495">
                <a:extLst>
                  <a:ext uri="{FF2B5EF4-FFF2-40B4-BE49-F238E27FC236}">
                    <a16:creationId xmlns:a16="http://schemas.microsoft.com/office/drawing/2014/main" id="{C6108D3A-3E27-872D-EB85-94060BF9CB49}"/>
                  </a:ext>
                </a:extLst>
              </p:cNvPr>
              <p:cNvSpPr/>
              <p:nvPr/>
            </p:nvSpPr>
            <p:spPr>
              <a:xfrm>
                <a:off x="6993805" y="3862514"/>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929294"/>
                </a:solidFill>
                <a:prstDash val="solid"/>
                <a:miter/>
              </a:ln>
            </p:spPr>
            <p:txBody>
              <a:bodyPr rtlCol="0" anchor="ctr"/>
              <a:lstStyle/>
              <a:p>
                <a:endParaRPr lang="en-US" sz="1800"/>
              </a:p>
            </p:txBody>
          </p:sp>
          <p:sp>
            <p:nvSpPr>
              <p:cNvPr id="1061" name="Freeform 496">
                <a:extLst>
                  <a:ext uri="{FF2B5EF4-FFF2-40B4-BE49-F238E27FC236}">
                    <a16:creationId xmlns:a16="http://schemas.microsoft.com/office/drawing/2014/main" id="{25568CA1-9D0E-5EB2-96E3-F886B427822F}"/>
                  </a:ext>
                </a:extLst>
              </p:cNvPr>
              <p:cNvSpPr/>
              <p:nvPr/>
            </p:nvSpPr>
            <p:spPr>
              <a:xfrm>
                <a:off x="6970987" y="3887808"/>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929294"/>
                </a:solidFill>
                <a:prstDash val="solid"/>
                <a:miter/>
              </a:ln>
            </p:spPr>
            <p:txBody>
              <a:bodyPr rtlCol="0" anchor="ctr"/>
              <a:lstStyle/>
              <a:p>
                <a:endParaRPr lang="en-US" sz="1800"/>
              </a:p>
            </p:txBody>
          </p:sp>
          <p:sp>
            <p:nvSpPr>
              <p:cNvPr id="1062" name="Freeform 497">
                <a:extLst>
                  <a:ext uri="{FF2B5EF4-FFF2-40B4-BE49-F238E27FC236}">
                    <a16:creationId xmlns:a16="http://schemas.microsoft.com/office/drawing/2014/main" id="{177736A4-8605-751B-9411-262E93325AB1}"/>
                  </a:ext>
                </a:extLst>
              </p:cNvPr>
              <p:cNvSpPr/>
              <p:nvPr/>
            </p:nvSpPr>
            <p:spPr>
              <a:xfrm>
                <a:off x="7008463" y="3862514"/>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929294"/>
                </a:solidFill>
                <a:prstDash val="solid"/>
                <a:miter/>
              </a:ln>
            </p:spPr>
            <p:txBody>
              <a:bodyPr rtlCol="0" anchor="ctr"/>
              <a:lstStyle/>
              <a:p>
                <a:endParaRPr lang="en-US" sz="1800"/>
              </a:p>
            </p:txBody>
          </p:sp>
          <p:sp>
            <p:nvSpPr>
              <p:cNvPr id="1063" name="Freeform 498">
                <a:extLst>
                  <a:ext uri="{FF2B5EF4-FFF2-40B4-BE49-F238E27FC236}">
                    <a16:creationId xmlns:a16="http://schemas.microsoft.com/office/drawing/2014/main" id="{68F88BB2-45E0-E039-0D6F-E9E5222755DC}"/>
                  </a:ext>
                </a:extLst>
              </p:cNvPr>
              <p:cNvSpPr/>
              <p:nvPr/>
            </p:nvSpPr>
            <p:spPr>
              <a:xfrm>
                <a:off x="6992969" y="3887808"/>
                <a:ext cx="74940" cy="10583"/>
              </a:xfrm>
              <a:custGeom>
                <a:avLst/>
                <a:gdLst>
                  <a:gd name="connsiteX0" fmla="*/ 0 w 74940"/>
                  <a:gd name="connsiteY0" fmla="*/ 0 h 10583"/>
                  <a:gd name="connsiteX1" fmla="*/ 74940 w 74940"/>
                  <a:gd name="connsiteY1" fmla="*/ 0 h 10583"/>
                </a:gdLst>
                <a:ahLst/>
                <a:cxnLst>
                  <a:cxn ang="0">
                    <a:pos x="connsiteX0" y="connsiteY0"/>
                  </a:cxn>
                  <a:cxn ang="0">
                    <a:pos x="connsiteX1" y="connsiteY1"/>
                  </a:cxn>
                </a:cxnLst>
                <a:rect l="l" t="t" r="r" b="b"/>
                <a:pathLst>
                  <a:path w="74940" h="10583">
                    <a:moveTo>
                      <a:pt x="0" y="0"/>
                    </a:moveTo>
                    <a:lnTo>
                      <a:pt x="74940" y="0"/>
                    </a:lnTo>
                  </a:path>
                </a:pathLst>
              </a:custGeom>
              <a:ln w="12700" cap="sq">
                <a:solidFill>
                  <a:srgbClr val="929294"/>
                </a:solidFill>
                <a:prstDash val="solid"/>
                <a:miter/>
              </a:ln>
            </p:spPr>
            <p:txBody>
              <a:bodyPr rtlCol="0" anchor="ctr"/>
              <a:lstStyle/>
              <a:p>
                <a:endParaRPr lang="en-US" sz="1800"/>
              </a:p>
            </p:txBody>
          </p:sp>
          <p:sp>
            <p:nvSpPr>
              <p:cNvPr id="1064" name="Freeform 499">
                <a:extLst>
                  <a:ext uri="{FF2B5EF4-FFF2-40B4-BE49-F238E27FC236}">
                    <a16:creationId xmlns:a16="http://schemas.microsoft.com/office/drawing/2014/main" id="{7103923C-C1D7-9B6A-EC65-2A7064DC8892}"/>
                  </a:ext>
                </a:extLst>
              </p:cNvPr>
              <p:cNvSpPr/>
              <p:nvPr/>
            </p:nvSpPr>
            <p:spPr>
              <a:xfrm>
                <a:off x="7030444" y="3862514"/>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929294"/>
                </a:solidFill>
                <a:prstDash val="solid"/>
                <a:miter/>
              </a:ln>
            </p:spPr>
            <p:txBody>
              <a:bodyPr rtlCol="0" anchor="ctr"/>
              <a:lstStyle/>
              <a:p>
                <a:endParaRPr lang="en-US" sz="1800"/>
              </a:p>
            </p:txBody>
          </p:sp>
          <p:sp>
            <p:nvSpPr>
              <p:cNvPr id="1065" name="Freeform 500">
                <a:extLst>
                  <a:ext uri="{FF2B5EF4-FFF2-40B4-BE49-F238E27FC236}">
                    <a16:creationId xmlns:a16="http://schemas.microsoft.com/office/drawing/2014/main" id="{904A9408-B3D2-039C-6BEA-AA62C0B1B09A}"/>
                  </a:ext>
                </a:extLst>
              </p:cNvPr>
              <p:cNvSpPr/>
              <p:nvPr/>
            </p:nvSpPr>
            <p:spPr>
              <a:xfrm>
                <a:off x="7014792" y="3887808"/>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929294"/>
                </a:solidFill>
                <a:prstDash val="solid"/>
                <a:miter/>
              </a:ln>
            </p:spPr>
            <p:txBody>
              <a:bodyPr rtlCol="0" anchor="ctr"/>
              <a:lstStyle/>
              <a:p>
                <a:endParaRPr lang="en-US" sz="1800"/>
              </a:p>
            </p:txBody>
          </p:sp>
          <p:sp>
            <p:nvSpPr>
              <p:cNvPr id="1066" name="Freeform 501">
                <a:extLst>
                  <a:ext uri="{FF2B5EF4-FFF2-40B4-BE49-F238E27FC236}">
                    <a16:creationId xmlns:a16="http://schemas.microsoft.com/office/drawing/2014/main" id="{784F3155-0693-5C8E-17FD-DC2347A4FE11}"/>
                  </a:ext>
                </a:extLst>
              </p:cNvPr>
              <p:cNvSpPr/>
              <p:nvPr/>
            </p:nvSpPr>
            <p:spPr>
              <a:xfrm>
                <a:off x="7052257" y="3862514"/>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929294"/>
                </a:solidFill>
                <a:prstDash val="solid"/>
                <a:miter/>
              </a:ln>
            </p:spPr>
            <p:txBody>
              <a:bodyPr rtlCol="0" anchor="ctr"/>
              <a:lstStyle/>
              <a:p>
                <a:endParaRPr lang="en-US" sz="1800"/>
              </a:p>
            </p:txBody>
          </p:sp>
          <p:sp>
            <p:nvSpPr>
              <p:cNvPr id="1067" name="Freeform 502">
                <a:extLst>
                  <a:ext uri="{FF2B5EF4-FFF2-40B4-BE49-F238E27FC236}">
                    <a16:creationId xmlns:a16="http://schemas.microsoft.com/office/drawing/2014/main" id="{7DC5D557-9A00-5EA6-F313-A7EEDC04EA7D}"/>
                  </a:ext>
                </a:extLst>
              </p:cNvPr>
              <p:cNvSpPr/>
              <p:nvPr/>
            </p:nvSpPr>
            <p:spPr>
              <a:xfrm>
                <a:off x="7065920" y="3887808"/>
                <a:ext cx="74930" cy="10583"/>
              </a:xfrm>
              <a:custGeom>
                <a:avLst/>
                <a:gdLst>
                  <a:gd name="connsiteX0" fmla="*/ 0 w 74930"/>
                  <a:gd name="connsiteY0" fmla="*/ 0 h 10583"/>
                  <a:gd name="connsiteX1" fmla="*/ 74930 w 74930"/>
                  <a:gd name="connsiteY1" fmla="*/ 0 h 10583"/>
                </a:gdLst>
                <a:ahLst/>
                <a:cxnLst>
                  <a:cxn ang="0">
                    <a:pos x="connsiteX0" y="connsiteY0"/>
                  </a:cxn>
                  <a:cxn ang="0">
                    <a:pos x="connsiteX1" y="connsiteY1"/>
                  </a:cxn>
                </a:cxnLst>
                <a:rect l="l" t="t" r="r" b="b"/>
                <a:pathLst>
                  <a:path w="74930" h="10583">
                    <a:moveTo>
                      <a:pt x="0" y="0"/>
                    </a:moveTo>
                    <a:lnTo>
                      <a:pt x="74930" y="0"/>
                    </a:lnTo>
                  </a:path>
                </a:pathLst>
              </a:custGeom>
              <a:ln w="12700" cap="sq">
                <a:solidFill>
                  <a:srgbClr val="929294"/>
                </a:solidFill>
                <a:prstDash val="solid"/>
                <a:miter/>
              </a:ln>
            </p:spPr>
            <p:txBody>
              <a:bodyPr rtlCol="0" anchor="ctr"/>
              <a:lstStyle/>
              <a:p>
                <a:endParaRPr lang="en-US" sz="1800"/>
              </a:p>
            </p:txBody>
          </p:sp>
          <p:sp>
            <p:nvSpPr>
              <p:cNvPr id="1068" name="Freeform 503">
                <a:extLst>
                  <a:ext uri="{FF2B5EF4-FFF2-40B4-BE49-F238E27FC236}">
                    <a16:creationId xmlns:a16="http://schemas.microsoft.com/office/drawing/2014/main" id="{6479B0E1-B716-81B7-3F49-E8BA88990147}"/>
                  </a:ext>
                </a:extLst>
              </p:cNvPr>
              <p:cNvSpPr/>
              <p:nvPr/>
            </p:nvSpPr>
            <p:spPr>
              <a:xfrm>
                <a:off x="7103385" y="3862514"/>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929294"/>
                </a:solidFill>
                <a:prstDash val="solid"/>
                <a:miter/>
              </a:ln>
            </p:spPr>
            <p:txBody>
              <a:bodyPr rtlCol="0" anchor="ctr"/>
              <a:lstStyle/>
              <a:p>
                <a:endParaRPr lang="en-US" sz="1800"/>
              </a:p>
            </p:txBody>
          </p:sp>
          <p:sp>
            <p:nvSpPr>
              <p:cNvPr id="1069" name="Freeform 504">
                <a:extLst>
                  <a:ext uri="{FF2B5EF4-FFF2-40B4-BE49-F238E27FC236}">
                    <a16:creationId xmlns:a16="http://schemas.microsoft.com/office/drawing/2014/main" id="{822AD77F-BE38-58A4-59C5-DE35D18A7AEA}"/>
                  </a:ext>
                </a:extLst>
              </p:cNvPr>
              <p:cNvSpPr/>
              <p:nvPr/>
            </p:nvSpPr>
            <p:spPr>
              <a:xfrm>
                <a:off x="7073243" y="3887808"/>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929294"/>
                </a:solidFill>
                <a:prstDash val="solid"/>
                <a:miter/>
              </a:ln>
            </p:spPr>
            <p:txBody>
              <a:bodyPr rtlCol="0" anchor="ctr"/>
              <a:lstStyle/>
              <a:p>
                <a:endParaRPr lang="en-US" sz="1800"/>
              </a:p>
            </p:txBody>
          </p:sp>
          <p:sp>
            <p:nvSpPr>
              <p:cNvPr id="1070" name="Freeform 505">
                <a:extLst>
                  <a:ext uri="{FF2B5EF4-FFF2-40B4-BE49-F238E27FC236}">
                    <a16:creationId xmlns:a16="http://schemas.microsoft.com/office/drawing/2014/main" id="{004656DA-989E-6629-C48F-179931273D85}"/>
                  </a:ext>
                </a:extLst>
              </p:cNvPr>
              <p:cNvSpPr/>
              <p:nvPr/>
            </p:nvSpPr>
            <p:spPr>
              <a:xfrm>
                <a:off x="7110708" y="3862514"/>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929294"/>
                </a:solidFill>
                <a:prstDash val="solid"/>
                <a:miter/>
              </a:ln>
            </p:spPr>
            <p:txBody>
              <a:bodyPr rtlCol="0" anchor="ctr"/>
              <a:lstStyle/>
              <a:p>
                <a:endParaRPr lang="en-US" sz="1800"/>
              </a:p>
            </p:txBody>
          </p:sp>
          <p:sp>
            <p:nvSpPr>
              <p:cNvPr id="1071" name="Freeform 506">
                <a:extLst>
                  <a:ext uri="{FF2B5EF4-FFF2-40B4-BE49-F238E27FC236}">
                    <a16:creationId xmlns:a16="http://schemas.microsoft.com/office/drawing/2014/main" id="{A6AEFFC2-E0F7-3586-3153-F3A124231C0A}"/>
                  </a:ext>
                </a:extLst>
              </p:cNvPr>
              <p:cNvSpPr/>
              <p:nvPr/>
            </p:nvSpPr>
            <p:spPr>
              <a:xfrm>
                <a:off x="7299727" y="3951319"/>
                <a:ext cx="74940" cy="10583"/>
              </a:xfrm>
              <a:custGeom>
                <a:avLst/>
                <a:gdLst>
                  <a:gd name="connsiteX0" fmla="*/ 0 w 74940"/>
                  <a:gd name="connsiteY0" fmla="*/ 0 h 10583"/>
                  <a:gd name="connsiteX1" fmla="*/ 74940 w 74940"/>
                  <a:gd name="connsiteY1" fmla="*/ 0 h 10583"/>
                </a:gdLst>
                <a:ahLst/>
                <a:cxnLst>
                  <a:cxn ang="0">
                    <a:pos x="connsiteX0" y="connsiteY0"/>
                  </a:cxn>
                  <a:cxn ang="0">
                    <a:pos x="connsiteX1" y="connsiteY1"/>
                  </a:cxn>
                </a:cxnLst>
                <a:rect l="l" t="t" r="r" b="b"/>
                <a:pathLst>
                  <a:path w="74940" h="10583">
                    <a:moveTo>
                      <a:pt x="0" y="0"/>
                    </a:moveTo>
                    <a:lnTo>
                      <a:pt x="74940" y="0"/>
                    </a:lnTo>
                  </a:path>
                </a:pathLst>
              </a:custGeom>
              <a:ln w="12700" cap="sq">
                <a:solidFill>
                  <a:srgbClr val="929294"/>
                </a:solidFill>
                <a:prstDash val="solid"/>
                <a:miter/>
              </a:ln>
            </p:spPr>
            <p:txBody>
              <a:bodyPr rtlCol="0" anchor="ctr"/>
              <a:lstStyle/>
              <a:p>
                <a:endParaRPr lang="en-US" sz="1800"/>
              </a:p>
            </p:txBody>
          </p:sp>
          <p:sp>
            <p:nvSpPr>
              <p:cNvPr id="1072" name="Freeform 507">
                <a:extLst>
                  <a:ext uri="{FF2B5EF4-FFF2-40B4-BE49-F238E27FC236}">
                    <a16:creationId xmlns:a16="http://schemas.microsoft.com/office/drawing/2014/main" id="{F0E0024C-DF6A-AFAB-7D17-A05379DA8E89}"/>
                  </a:ext>
                </a:extLst>
              </p:cNvPr>
              <p:cNvSpPr/>
              <p:nvPr/>
            </p:nvSpPr>
            <p:spPr>
              <a:xfrm>
                <a:off x="7337192" y="3926025"/>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929294"/>
                </a:solidFill>
                <a:prstDash val="solid"/>
                <a:miter/>
              </a:ln>
            </p:spPr>
            <p:txBody>
              <a:bodyPr rtlCol="0" anchor="ctr"/>
              <a:lstStyle/>
              <a:p>
                <a:endParaRPr lang="en-US" sz="1800"/>
              </a:p>
            </p:txBody>
          </p:sp>
          <p:sp>
            <p:nvSpPr>
              <p:cNvPr id="1073" name="Freeform 508">
                <a:extLst>
                  <a:ext uri="{FF2B5EF4-FFF2-40B4-BE49-F238E27FC236}">
                    <a16:creationId xmlns:a16="http://schemas.microsoft.com/office/drawing/2014/main" id="{31D1DAFE-4169-094B-96EA-61E09ADE3795}"/>
                  </a:ext>
                </a:extLst>
              </p:cNvPr>
              <p:cNvSpPr/>
              <p:nvPr/>
            </p:nvSpPr>
            <p:spPr>
              <a:xfrm>
                <a:off x="7577338" y="3951319"/>
                <a:ext cx="74940" cy="10583"/>
              </a:xfrm>
              <a:custGeom>
                <a:avLst/>
                <a:gdLst>
                  <a:gd name="connsiteX0" fmla="*/ 0 w 74940"/>
                  <a:gd name="connsiteY0" fmla="*/ 0 h 10583"/>
                  <a:gd name="connsiteX1" fmla="*/ 74940 w 74940"/>
                  <a:gd name="connsiteY1" fmla="*/ 0 h 10583"/>
                </a:gdLst>
                <a:ahLst/>
                <a:cxnLst>
                  <a:cxn ang="0">
                    <a:pos x="connsiteX0" y="connsiteY0"/>
                  </a:cxn>
                  <a:cxn ang="0">
                    <a:pos x="connsiteX1" y="connsiteY1"/>
                  </a:cxn>
                </a:cxnLst>
                <a:rect l="l" t="t" r="r" b="b"/>
                <a:pathLst>
                  <a:path w="74940" h="10583">
                    <a:moveTo>
                      <a:pt x="0" y="0"/>
                    </a:moveTo>
                    <a:lnTo>
                      <a:pt x="74940" y="0"/>
                    </a:lnTo>
                  </a:path>
                </a:pathLst>
              </a:custGeom>
              <a:ln w="12700" cap="sq">
                <a:solidFill>
                  <a:srgbClr val="929294"/>
                </a:solidFill>
                <a:prstDash val="solid"/>
                <a:miter/>
              </a:ln>
            </p:spPr>
            <p:txBody>
              <a:bodyPr rtlCol="0" anchor="ctr"/>
              <a:lstStyle/>
              <a:p>
                <a:endParaRPr lang="en-US" sz="1800"/>
              </a:p>
            </p:txBody>
          </p:sp>
          <p:sp>
            <p:nvSpPr>
              <p:cNvPr id="1074" name="Freeform 509">
                <a:extLst>
                  <a:ext uri="{FF2B5EF4-FFF2-40B4-BE49-F238E27FC236}">
                    <a16:creationId xmlns:a16="http://schemas.microsoft.com/office/drawing/2014/main" id="{59C42905-9536-DC09-BEB7-A39E7BFF8EEF}"/>
                  </a:ext>
                </a:extLst>
              </p:cNvPr>
              <p:cNvSpPr/>
              <p:nvPr/>
            </p:nvSpPr>
            <p:spPr>
              <a:xfrm>
                <a:off x="7614803" y="3926025"/>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929294"/>
                </a:solidFill>
                <a:prstDash val="solid"/>
                <a:miter/>
              </a:ln>
            </p:spPr>
            <p:txBody>
              <a:bodyPr rtlCol="0" anchor="ctr"/>
              <a:lstStyle/>
              <a:p>
                <a:endParaRPr lang="en-US" sz="1800"/>
              </a:p>
            </p:txBody>
          </p:sp>
          <p:sp>
            <p:nvSpPr>
              <p:cNvPr id="1075" name="Freeform 510">
                <a:extLst>
                  <a:ext uri="{FF2B5EF4-FFF2-40B4-BE49-F238E27FC236}">
                    <a16:creationId xmlns:a16="http://schemas.microsoft.com/office/drawing/2014/main" id="{3FA684F9-5D65-ED9A-7BD0-D3D75EF67C92}"/>
                  </a:ext>
                </a:extLst>
              </p:cNvPr>
              <p:cNvSpPr/>
              <p:nvPr/>
            </p:nvSpPr>
            <p:spPr>
              <a:xfrm>
                <a:off x="7635790" y="3951319"/>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929294"/>
                </a:solidFill>
                <a:prstDash val="solid"/>
                <a:miter/>
              </a:ln>
            </p:spPr>
            <p:txBody>
              <a:bodyPr rtlCol="0" anchor="ctr"/>
              <a:lstStyle/>
              <a:p>
                <a:endParaRPr lang="en-US" sz="1800"/>
              </a:p>
            </p:txBody>
          </p:sp>
          <p:sp>
            <p:nvSpPr>
              <p:cNvPr id="1076" name="Freeform 511">
                <a:extLst>
                  <a:ext uri="{FF2B5EF4-FFF2-40B4-BE49-F238E27FC236}">
                    <a16:creationId xmlns:a16="http://schemas.microsoft.com/office/drawing/2014/main" id="{5D8A8486-BE51-3431-E85D-A81685D7B15E}"/>
                  </a:ext>
                </a:extLst>
              </p:cNvPr>
              <p:cNvSpPr/>
              <p:nvPr/>
            </p:nvSpPr>
            <p:spPr>
              <a:xfrm>
                <a:off x="7673255" y="3926025"/>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929294"/>
                </a:solidFill>
                <a:prstDash val="solid"/>
                <a:miter/>
              </a:ln>
            </p:spPr>
            <p:txBody>
              <a:bodyPr rtlCol="0" anchor="ctr"/>
              <a:lstStyle/>
              <a:p>
                <a:endParaRPr lang="en-US" sz="1800"/>
              </a:p>
            </p:txBody>
          </p:sp>
          <p:sp>
            <p:nvSpPr>
              <p:cNvPr id="1077" name="Freeform 512">
                <a:extLst>
                  <a:ext uri="{FF2B5EF4-FFF2-40B4-BE49-F238E27FC236}">
                    <a16:creationId xmlns:a16="http://schemas.microsoft.com/office/drawing/2014/main" id="{D48304BC-3FDB-3A3F-FBAE-3DAB0C7A3B0D}"/>
                  </a:ext>
                </a:extLst>
              </p:cNvPr>
              <p:cNvSpPr/>
              <p:nvPr/>
            </p:nvSpPr>
            <p:spPr>
              <a:xfrm>
                <a:off x="7679584" y="3951319"/>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929294"/>
                </a:solidFill>
                <a:prstDash val="solid"/>
                <a:miter/>
              </a:ln>
            </p:spPr>
            <p:txBody>
              <a:bodyPr rtlCol="0" anchor="ctr"/>
              <a:lstStyle/>
              <a:p>
                <a:endParaRPr lang="en-US" sz="1800"/>
              </a:p>
            </p:txBody>
          </p:sp>
          <p:sp>
            <p:nvSpPr>
              <p:cNvPr id="1078" name="Freeform 513">
                <a:extLst>
                  <a:ext uri="{FF2B5EF4-FFF2-40B4-BE49-F238E27FC236}">
                    <a16:creationId xmlns:a16="http://schemas.microsoft.com/office/drawing/2014/main" id="{F4514750-9DD5-66BA-D911-94FD628EF684}"/>
                  </a:ext>
                </a:extLst>
              </p:cNvPr>
              <p:cNvSpPr/>
              <p:nvPr/>
            </p:nvSpPr>
            <p:spPr>
              <a:xfrm>
                <a:off x="7717059" y="3926025"/>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929294"/>
                </a:solidFill>
                <a:prstDash val="solid"/>
                <a:miter/>
              </a:ln>
            </p:spPr>
            <p:txBody>
              <a:bodyPr rtlCol="0" anchor="ctr"/>
              <a:lstStyle/>
              <a:p>
                <a:endParaRPr lang="en-US" sz="1800"/>
              </a:p>
            </p:txBody>
          </p:sp>
          <p:sp>
            <p:nvSpPr>
              <p:cNvPr id="1079" name="Freeform 514">
                <a:extLst>
                  <a:ext uri="{FF2B5EF4-FFF2-40B4-BE49-F238E27FC236}">
                    <a16:creationId xmlns:a16="http://schemas.microsoft.com/office/drawing/2014/main" id="{B36E7A96-E5A6-1BA8-D1B9-56405E2C57B7}"/>
                  </a:ext>
                </a:extLst>
              </p:cNvPr>
              <p:cNvSpPr/>
              <p:nvPr/>
            </p:nvSpPr>
            <p:spPr>
              <a:xfrm>
                <a:off x="7679584" y="3951319"/>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929294"/>
                </a:solidFill>
                <a:prstDash val="solid"/>
                <a:miter/>
              </a:ln>
            </p:spPr>
            <p:txBody>
              <a:bodyPr rtlCol="0" anchor="ctr"/>
              <a:lstStyle/>
              <a:p>
                <a:endParaRPr lang="en-US" sz="1800"/>
              </a:p>
            </p:txBody>
          </p:sp>
          <p:sp>
            <p:nvSpPr>
              <p:cNvPr id="1080" name="Freeform 515">
                <a:extLst>
                  <a:ext uri="{FF2B5EF4-FFF2-40B4-BE49-F238E27FC236}">
                    <a16:creationId xmlns:a16="http://schemas.microsoft.com/office/drawing/2014/main" id="{452BA072-C928-903A-AF35-4DDFA60FBC25}"/>
                  </a:ext>
                </a:extLst>
              </p:cNvPr>
              <p:cNvSpPr/>
              <p:nvPr/>
            </p:nvSpPr>
            <p:spPr>
              <a:xfrm>
                <a:off x="7717059" y="3926025"/>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929294"/>
                </a:solidFill>
                <a:prstDash val="solid"/>
                <a:miter/>
              </a:ln>
            </p:spPr>
            <p:txBody>
              <a:bodyPr rtlCol="0" anchor="ctr"/>
              <a:lstStyle/>
              <a:p>
                <a:endParaRPr lang="en-US" sz="1800"/>
              </a:p>
            </p:txBody>
          </p:sp>
          <p:sp>
            <p:nvSpPr>
              <p:cNvPr id="1081" name="Freeform 516">
                <a:extLst>
                  <a:ext uri="{FF2B5EF4-FFF2-40B4-BE49-F238E27FC236}">
                    <a16:creationId xmlns:a16="http://schemas.microsoft.com/office/drawing/2014/main" id="{E518612F-653C-93C6-2716-ADA83DD1498A}"/>
                  </a:ext>
                </a:extLst>
              </p:cNvPr>
              <p:cNvSpPr/>
              <p:nvPr/>
            </p:nvSpPr>
            <p:spPr>
              <a:xfrm>
                <a:off x="7701565" y="3951319"/>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929294"/>
                </a:solidFill>
                <a:prstDash val="solid"/>
                <a:miter/>
              </a:ln>
            </p:spPr>
            <p:txBody>
              <a:bodyPr rtlCol="0" anchor="ctr"/>
              <a:lstStyle/>
              <a:p>
                <a:endParaRPr lang="en-US" sz="1800"/>
              </a:p>
            </p:txBody>
          </p:sp>
          <p:sp>
            <p:nvSpPr>
              <p:cNvPr id="1082" name="Freeform 517">
                <a:extLst>
                  <a:ext uri="{FF2B5EF4-FFF2-40B4-BE49-F238E27FC236}">
                    <a16:creationId xmlns:a16="http://schemas.microsoft.com/office/drawing/2014/main" id="{C5CBBB75-BDEC-2333-212D-8460B9419BF7}"/>
                  </a:ext>
                </a:extLst>
              </p:cNvPr>
              <p:cNvSpPr/>
              <p:nvPr/>
            </p:nvSpPr>
            <p:spPr>
              <a:xfrm>
                <a:off x="7739041" y="3926025"/>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929294"/>
                </a:solidFill>
                <a:prstDash val="solid"/>
                <a:miter/>
              </a:ln>
            </p:spPr>
            <p:txBody>
              <a:bodyPr rtlCol="0" anchor="ctr"/>
              <a:lstStyle/>
              <a:p>
                <a:endParaRPr lang="en-US" sz="1800"/>
              </a:p>
            </p:txBody>
          </p:sp>
          <p:sp>
            <p:nvSpPr>
              <p:cNvPr id="1083" name="Freeform 518">
                <a:extLst>
                  <a:ext uri="{FF2B5EF4-FFF2-40B4-BE49-F238E27FC236}">
                    <a16:creationId xmlns:a16="http://schemas.microsoft.com/office/drawing/2014/main" id="{D49E44BA-F2D9-0C03-1DA0-8568626CC613}"/>
                  </a:ext>
                </a:extLst>
              </p:cNvPr>
              <p:cNvSpPr/>
              <p:nvPr/>
            </p:nvSpPr>
            <p:spPr>
              <a:xfrm>
                <a:off x="7832968" y="3951319"/>
                <a:ext cx="74929" cy="10583"/>
              </a:xfrm>
              <a:custGeom>
                <a:avLst/>
                <a:gdLst>
                  <a:gd name="connsiteX0" fmla="*/ 0 w 74929"/>
                  <a:gd name="connsiteY0" fmla="*/ 0 h 10583"/>
                  <a:gd name="connsiteX1" fmla="*/ 74930 w 74929"/>
                  <a:gd name="connsiteY1" fmla="*/ 0 h 10583"/>
                </a:gdLst>
                <a:ahLst/>
                <a:cxnLst>
                  <a:cxn ang="0">
                    <a:pos x="connsiteX0" y="connsiteY0"/>
                  </a:cxn>
                  <a:cxn ang="0">
                    <a:pos x="connsiteX1" y="connsiteY1"/>
                  </a:cxn>
                </a:cxnLst>
                <a:rect l="l" t="t" r="r" b="b"/>
                <a:pathLst>
                  <a:path w="74929" h="10583">
                    <a:moveTo>
                      <a:pt x="0" y="0"/>
                    </a:moveTo>
                    <a:lnTo>
                      <a:pt x="74930" y="0"/>
                    </a:lnTo>
                  </a:path>
                </a:pathLst>
              </a:custGeom>
              <a:ln w="12700" cap="sq">
                <a:solidFill>
                  <a:srgbClr val="929294"/>
                </a:solidFill>
                <a:prstDash val="solid"/>
                <a:miter/>
              </a:ln>
            </p:spPr>
            <p:txBody>
              <a:bodyPr rtlCol="0" anchor="ctr"/>
              <a:lstStyle/>
              <a:p>
                <a:endParaRPr lang="en-US" sz="1800"/>
              </a:p>
            </p:txBody>
          </p:sp>
          <p:sp>
            <p:nvSpPr>
              <p:cNvPr id="1084" name="Freeform 519">
                <a:extLst>
                  <a:ext uri="{FF2B5EF4-FFF2-40B4-BE49-F238E27FC236}">
                    <a16:creationId xmlns:a16="http://schemas.microsoft.com/office/drawing/2014/main" id="{931E653C-8AA1-7EAC-29F5-ADCF94B89C6D}"/>
                  </a:ext>
                </a:extLst>
              </p:cNvPr>
              <p:cNvSpPr/>
              <p:nvPr/>
            </p:nvSpPr>
            <p:spPr>
              <a:xfrm>
                <a:off x="7870433" y="3926025"/>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929294"/>
                </a:solidFill>
                <a:prstDash val="solid"/>
                <a:miter/>
              </a:ln>
            </p:spPr>
            <p:txBody>
              <a:bodyPr rtlCol="0" anchor="ctr"/>
              <a:lstStyle/>
              <a:p>
                <a:endParaRPr lang="en-US" sz="1800"/>
              </a:p>
            </p:txBody>
          </p:sp>
          <p:sp>
            <p:nvSpPr>
              <p:cNvPr id="1085" name="Freeform 520">
                <a:extLst>
                  <a:ext uri="{FF2B5EF4-FFF2-40B4-BE49-F238E27FC236}">
                    <a16:creationId xmlns:a16="http://schemas.microsoft.com/office/drawing/2014/main" id="{91FAF0FC-0C33-FDED-0DC3-537405F44F87}"/>
                  </a:ext>
                </a:extLst>
              </p:cNvPr>
              <p:cNvSpPr/>
              <p:nvPr/>
            </p:nvSpPr>
            <p:spPr>
              <a:xfrm>
                <a:off x="7891420" y="3951319"/>
                <a:ext cx="74940" cy="10583"/>
              </a:xfrm>
              <a:custGeom>
                <a:avLst/>
                <a:gdLst>
                  <a:gd name="connsiteX0" fmla="*/ 0 w 74940"/>
                  <a:gd name="connsiteY0" fmla="*/ 0 h 10583"/>
                  <a:gd name="connsiteX1" fmla="*/ 74940 w 74940"/>
                  <a:gd name="connsiteY1" fmla="*/ 0 h 10583"/>
                </a:gdLst>
                <a:ahLst/>
                <a:cxnLst>
                  <a:cxn ang="0">
                    <a:pos x="connsiteX0" y="connsiteY0"/>
                  </a:cxn>
                  <a:cxn ang="0">
                    <a:pos x="connsiteX1" y="connsiteY1"/>
                  </a:cxn>
                </a:cxnLst>
                <a:rect l="l" t="t" r="r" b="b"/>
                <a:pathLst>
                  <a:path w="74940" h="10583">
                    <a:moveTo>
                      <a:pt x="0" y="0"/>
                    </a:moveTo>
                    <a:lnTo>
                      <a:pt x="74940" y="0"/>
                    </a:lnTo>
                  </a:path>
                </a:pathLst>
              </a:custGeom>
              <a:ln w="12700" cap="sq">
                <a:solidFill>
                  <a:srgbClr val="929294"/>
                </a:solidFill>
                <a:prstDash val="solid"/>
                <a:miter/>
              </a:ln>
            </p:spPr>
            <p:txBody>
              <a:bodyPr rtlCol="0" anchor="ctr"/>
              <a:lstStyle/>
              <a:p>
                <a:endParaRPr lang="en-US" sz="1800"/>
              </a:p>
            </p:txBody>
          </p:sp>
          <p:sp>
            <p:nvSpPr>
              <p:cNvPr id="1086" name="Freeform 521">
                <a:extLst>
                  <a:ext uri="{FF2B5EF4-FFF2-40B4-BE49-F238E27FC236}">
                    <a16:creationId xmlns:a16="http://schemas.microsoft.com/office/drawing/2014/main" id="{2E44602D-4F85-F1DB-6C31-6610A55DFD03}"/>
                  </a:ext>
                </a:extLst>
              </p:cNvPr>
              <p:cNvSpPr/>
              <p:nvPr/>
            </p:nvSpPr>
            <p:spPr>
              <a:xfrm>
                <a:off x="7928885" y="3926025"/>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929294"/>
                </a:solidFill>
                <a:prstDash val="solid"/>
                <a:miter/>
              </a:ln>
            </p:spPr>
            <p:txBody>
              <a:bodyPr rtlCol="0" anchor="ctr"/>
              <a:lstStyle/>
              <a:p>
                <a:endParaRPr lang="en-US" sz="1800"/>
              </a:p>
            </p:txBody>
          </p:sp>
          <p:sp>
            <p:nvSpPr>
              <p:cNvPr id="1087" name="Freeform 522">
                <a:extLst>
                  <a:ext uri="{FF2B5EF4-FFF2-40B4-BE49-F238E27FC236}">
                    <a16:creationId xmlns:a16="http://schemas.microsoft.com/office/drawing/2014/main" id="{916C2E27-5826-F795-A22B-16BEE3708CB6}"/>
                  </a:ext>
                </a:extLst>
              </p:cNvPr>
              <p:cNvSpPr/>
              <p:nvPr/>
            </p:nvSpPr>
            <p:spPr>
              <a:xfrm>
                <a:off x="7891420" y="3951319"/>
                <a:ext cx="74940" cy="10583"/>
              </a:xfrm>
              <a:custGeom>
                <a:avLst/>
                <a:gdLst>
                  <a:gd name="connsiteX0" fmla="*/ 0 w 74940"/>
                  <a:gd name="connsiteY0" fmla="*/ 0 h 10583"/>
                  <a:gd name="connsiteX1" fmla="*/ 74940 w 74940"/>
                  <a:gd name="connsiteY1" fmla="*/ 0 h 10583"/>
                </a:gdLst>
                <a:ahLst/>
                <a:cxnLst>
                  <a:cxn ang="0">
                    <a:pos x="connsiteX0" y="connsiteY0"/>
                  </a:cxn>
                  <a:cxn ang="0">
                    <a:pos x="connsiteX1" y="connsiteY1"/>
                  </a:cxn>
                </a:cxnLst>
                <a:rect l="l" t="t" r="r" b="b"/>
                <a:pathLst>
                  <a:path w="74940" h="10583">
                    <a:moveTo>
                      <a:pt x="0" y="0"/>
                    </a:moveTo>
                    <a:lnTo>
                      <a:pt x="74940" y="0"/>
                    </a:lnTo>
                  </a:path>
                </a:pathLst>
              </a:custGeom>
              <a:ln w="12700" cap="sq">
                <a:solidFill>
                  <a:srgbClr val="929294"/>
                </a:solidFill>
                <a:prstDash val="solid"/>
                <a:miter/>
              </a:ln>
            </p:spPr>
            <p:txBody>
              <a:bodyPr rtlCol="0" anchor="ctr"/>
              <a:lstStyle/>
              <a:p>
                <a:endParaRPr lang="en-US" sz="1800"/>
              </a:p>
            </p:txBody>
          </p:sp>
          <p:sp>
            <p:nvSpPr>
              <p:cNvPr id="1088" name="Freeform 523">
                <a:extLst>
                  <a:ext uri="{FF2B5EF4-FFF2-40B4-BE49-F238E27FC236}">
                    <a16:creationId xmlns:a16="http://schemas.microsoft.com/office/drawing/2014/main" id="{ACF23243-F89C-13AA-7007-2E8683D97431}"/>
                  </a:ext>
                </a:extLst>
              </p:cNvPr>
              <p:cNvSpPr/>
              <p:nvPr/>
            </p:nvSpPr>
            <p:spPr>
              <a:xfrm>
                <a:off x="7928885" y="3926025"/>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929294"/>
                </a:solidFill>
                <a:prstDash val="solid"/>
                <a:miter/>
              </a:ln>
            </p:spPr>
            <p:txBody>
              <a:bodyPr rtlCol="0" anchor="ctr"/>
              <a:lstStyle/>
              <a:p>
                <a:endParaRPr lang="en-US" sz="1800"/>
              </a:p>
            </p:txBody>
          </p:sp>
          <p:sp>
            <p:nvSpPr>
              <p:cNvPr id="1089" name="Freeform 524">
                <a:extLst>
                  <a:ext uri="{FF2B5EF4-FFF2-40B4-BE49-F238E27FC236}">
                    <a16:creationId xmlns:a16="http://schemas.microsoft.com/office/drawing/2014/main" id="{3EDDB204-B826-A74E-EF39-CD2B86E6657C}"/>
                  </a:ext>
                </a:extLst>
              </p:cNvPr>
              <p:cNvSpPr/>
              <p:nvPr/>
            </p:nvSpPr>
            <p:spPr>
              <a:xfrm>
                <a:off x="7935383" y="3998087"/>
                <a:ext cx="74940" cy="10583"/>
              </a:xfrm>
              <a:custGeom>
                <a:avLst/>
                <a:gdLst>
                  <a:gd name="connsiteX0" fmla="*/ 0 w 74940"/>
                  <a:gd name="connsiteY0" fmla="*/ 0 h 10583"/>
                  <a:gd name="connsiteX1" fmla="*/ 74940 w 74940"/>
                  <a:gd name="connsiteY1" fmla="*/ 0 h 10583"/>
                </a:gdLst>
                <a:ahLst/>
                <a:cxnLst>
                  <a:cxn ang="0">
                    <a:pos x="connsiteX0" y="connsiteY0"/>
                  </a:cxn>
                  <a:cxn ang="0">
                    <a:pos x="connsiteX1" y="connsiteY1"/>
                  </a:cxn>
                </a:cxnLst>
                <a:rect l="l" t="t" r="r" b="b"/>
                <a:pathLst>
                  <a:path w="74940" h="10583">
                    <a:moveTo>
                      <a:pt x="0" y="0"/>
                    </a:moveTo>
                    <a:lnTo>
                      <a:pt x="74940" y="0"/>
                    </a:lnTo>
                  </a:path>
                </a:pathLst>
              </a:custGeom>
              <a:ln w="12700" cap="sq">
                <a:solidFill>
                  <a:srgbClr val="929294"/>
                </a:solidFill>
                <a:prstDash val="solid"/>
                <a:miter/>
              </a:ln>
            </p:spPr>
            <p:txBody>
              <a:bodyPr rtlCol="0" anchor="ctr"/>
              <a:lstStyle/>
              <a:p>
                <a:endParaRPr lang="en-US" sz="1800"/>
              </a:p>
            </p:txBody>
          </p:sp>
          <p:sp>
            <p:nvSpPr>
              <p:cNvPr id="1090" name="Freeform 525">
                <a:extLst>
                  <a:ext uri="{FF2B5EF4-FFF2-40B4-BE49-F238E27FC236}">
                    <a16:creationId xmlns:a16="http://schemas.microsoft.com/office/drawing/2014/main" id="{D4282BC9-A14B-3E0D-4FE1-0957C940764E}"/>
                  </a:ext>
                </a:extLst>
              </p:cNvPr>
              <p:cNvSpPr/>
              <p:nvPr/>
            </p:nvSpPr>
            <p:spPr>
              <a:xfrm>
                <a:off x="7972848" y="3972792"/>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929294"/>
                </a:solidFill>
                <a:prstDash val="solid"/>
                <a:miter/>
              </a:ln>
            </p:spPr>
            <p:txBody>
              <a:bodyPr rtlCol="0" anchor="ctr"/>
              <a:lstStyle/>
              <a:p>
                <a:endParaRPr lang="en-US" sz="1800"/>
              </a:p>
            </p:txBody>
          </p:sp>
          <p:sp>
            <p:nvSpPr>
              <p:cNvPr id="1091" name="Freeform 526">
                <a:extLst>
                  <a:ext uri="{FF2B5EF4-FFF2-40B4-BE49-F238E27FC236}">
                    <a16:creationId xmlns:a16="http://schemas.microsoft.com/office/drawing/2014/main" id="{516FB9CF-5FEA-2C22-6144-4EAC765A4461}"/>
                  </a:ext>
                </a:extLst>
              </p:cNvPr>
              <p:cNvSpPr/>
              <p:nvPr/>
            </p:nvSpPr>
            <p:spPr>
              <a:xfrm>
                <a:off x="7935383" y="3998087"/>
                <a:ext cx="74940" cy="10583"/>
              </a:xfrm>
              <a:custGeom>
                <a:avLst/>
                <a:gdLst>
                  <a:gd name="connsiteX0" fmla="*/ 0 w 74940"/>
                  <a:gd name="connsiteY0" fmla="*/ 0 h 10583"/>
                  <a:gd name="connsiteX1" fmla="*/ 74940 w 74940"/>
                  <a:gd name="connsiteY1" fmla="*/ 0 h 10583"/>
                </a:gdLst>
                <a:ahLst/>
                <a:cxnLst>
                  <a:cxn ang="0">
                    <a:pos x="connsiteX0" y="connsiteY0"/>
                  </a:cxn>
                  <a:cxn ang="0">
                    <a:pos x="connsiteX1" y="connsiteY1"/>
                  </a:cxn>
                </a:cxnLst>
                <a:rect l="l" t="t" r="r" b="b"/>
                <a:pathLst>
                  <a:path w="74940" h="10583">
                    <a:moveTo>
                      <a:pt x="0" y="0"/>
                    </a:moveTo>
                    <a:lnTo>
                      <a:pt x="74940" y="0"/>
                    </a:lnTo>
                  </a:path>
                </a:pathLst>
              </a:custGeom>
              <a:ln w="12700" cap="sq">
                <a:solidFill>
                  <a:srgbClr val="929294"/>
                </a:solidFill>
                <a:prstDash val="solid"/>
                <a:miter/>
              </a:ln>
            </p:spPr>
            <p:txBody>
              <a:bodyPr rtlCol="0" anchor="ctr"/>
              <a:lstStyle/>
              <a:p>
                <a:endParaRPr lang="en-US" sz="1800"/>
              </a:p>
            </p:txBody>
          </p:sp>
          <p:sp>
            <p:nvSpPr>
              <p:cNvPr id="1092" name="Freeform 527">
                <a:extLst>
                  <a:ext uri="{FF2B5EF4-FFF2-40B4-BE49-F238E27FC236}">
                    <a16:creationId xmlns:a16="http://schemas.microsoft.com/office/drawing/2014/main" id="{7AAADC7F-99FD-C366-4C1A-9484AAB69A21}"/>
                  </a:ext>
                </a:extLst>
              </p:cNvPr>
              <p:cNvSpPr/>
              <p:nvPr/>
            </p:nvSpPr>
            <p:spPr>
              <a:xfrm>
                <a:off x="7972848" y="3972792"/>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929294"/>
                </a:solidFill>
                <a:prstDash val="solid"/>
                <a:miter/>
              </a:ln>
            </p:spPr>
            <p:txBody>
              <a:bodyPr rtlCol="0" anchor="ctr"/>
              <a:lstStyle/>
              <a:p>
                <a:endParaRPr lang="en-US" sz="1800"/>
              </a:p>
            </p:txBody>
          </p:sp>
          <p:sp>
            <p:nvSpPr>
              <p:cNvPr id="1093" name="Freeform 528">
                <a:extLst>
                  <a:ext uri="{FF2B5EF4-FFF2-40B4-BE49-F238E27FC236}">
                    <a16:creationId xmlns:a16="http://schemas.microsoft.com/office/drawing/2014/main" id="{A709E48F-64F5-0CB3-AD20-4E5A406801FE}"/>
                  </a:ext>
                </a:extLst>
              </p:cNvPr>
              <p:cNvSpPr/>
              <p:nvPr/>
            </p:nvSpPr>
            <p:spPr>
              <a:xfrm>
                <a:off x="7949871" y="3998087"/>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929294"/>
                </a:solidFill>
                <a:prstDash val="solid"/>
                <a:miter/>
              </a:ln>
            </p:spPr>
            <p:txBody>
              <a:bodyPr rtlCol="0" anchor="ctr"/>
              <a:lstStyle/>
              <a:p>
                <a:endParaRPr lang="en-US" sz="1800"/>
              </a:p>
            </p:txBody>
          </p:sp>
          <p:sp>
            <p:nvSpPr>
              <p:cNvPr id="1094" name="Freeform 529">
                <a:extLst>
                  <a:ext uri="{FF2B5EF4-FFF2-40B4-BE49-F238E27FC236}">
                    <a16:creationId xmlns:a16="http://schemas.microsoft.com/office/drawing/2014/main" id="{38F827BB-6FAE-7F32-1387-230FABDFEEA9}"/>
                  </a:ext>
                </a:extLst>
              </p:cNvPr>
              <p:cNvSpPr/>
              <p:nvPr/>
            </p:nvSpPr>
            <p:spPr>
              <a:xfrm>
                <a:off x="7987336" y="3972792"/>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929294"/>
                </a:solidFill>
                <a:prstDash val="solid"/>
                <a:miter/>
              </a:ln>
            </p:spPr>
            <p:txBody>
              <a:bodyPr rtlCol="0" anchor="ctr"/>
              <a:lstStyle/>
              <a:p>
                <a:endParaRPr lang="en-US" sz="1800"/>
              </a:p>
            </p:txBody>
          </p:sp>
          <p:sp>
            <p:nvSpPr>
              <p:cNvPr id="1095" name="Freeform 530">
                <a:extLst>
                  <a:ext uri="{FF2B5EF4-FFF2-40B4-BE49-F238E27FC236}">
                    <a16:creationId xmlns:a16="http://schemas.microsoft.com/office/drawing/2014/main" id="{229B3BC3-A83B-2656-2D56-DAC67A4C9B3E}"/>
                  </a:ext>
                </a:extLst>
              </p:cNvPr>
              <p:cNvSpPr/>
              <p:nvPr/>
            </p:nvSpPr>
            <p:spPr>
              <a:xfrm>
                <a:off x="8307916" y="3998087"/>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929294"/>
                </a:solidFill>
                <a:prstDash val="solid"/>
                <a:miter/>
              </a:ln>
            </p:spPr>
            <p:txBody>
              <a:bodyPr rtlCol="0" anchor="ctr"/>
              <a:lstStyle/>
              <a:p>
                <a:endParaRPr lang="en-US" sz="1800"/>
              </a:p>
            </p:txBody>
          </p:sp>
          <p:sp>
            <p:nvSpPr>
              <p:cNvPr id="1096" name="Freeform 531">
                <a:extLst>
                  <a:ext uri="{FF2B5EF4-FFF2-40B4-BE49-F238E27FC236}">
                    <a16:creationId xmlns:a16="http://schemas.microsoft.com/office/drawing/2014/main" id="{2B744777-6A27-5F6F-8D2D-16D144993A36}"/>
                  </a:ext>
                </a:extLst>
              </p:cNvPr>
              <p:cNvSpPr/>
              <p:nvPr/>
            </p:nvSpPr>
            <p:spPr>
              <a:xfrm>
                <a:off x="8345381" y="3972792"/>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929294"/>
                </a:solidFill>
                <a:prstDash val="solid"/>
                <a:miter/>
              </a:ln>
            </p:spPr>
            <p:txBody>
              <a:bodyPr rtlCol="0" anchor="ctr"/>
              <a:lstStyle/>
              <a:p>
                <a:endParaRPr lang="en-US" sz="1800"/>
              </a:p>
            </p:txBody>
          </p:sp>
          <p:sp>
            <p:nvSpPr>
              <p:cNvPr id="1097" name="Freeform 532">
                <a:extLst>
                  <a:ext uri="{FF2B5EF4-FFF2-40B4-BE49-F238E27FC236}">
                    <a16:creationId xmlns:a16="http://schemas.microsoft.com/office/drawing/2014/main" id="{F4AC0AE7-E4B2-06AB-448A-871F42C749D6}"/>
                  </a:ext>
                </a:extLst>
              </p:cNvPr>
              <p:cNvSpPr/>
              <p:nvPr/>
            </p:nvSpPr>
            <p:spPr>
              <a:xfrm>
                <a:off x="8424820" y="3998087"/>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929294"/>
                </a:solidFill>
                <a:prstDash val="solid"/>
                <a:miter/>
              </a:ln>
            </p:spPr>
            <p:txBody>
              <a:bodyPr rtlCol="0" anchor="ctr"/>
              <a:lstStyle/>
              <a:p>
                <a:endParaRPr lang="en-US" sz="1800"/>
              </a:p>
            </p:txBody>
          </p:sp>
          <p:sp>
            <p:nvSpPr>
              <p:cNvPr id="1098" name="Freeform 533">
                <a:extLst>
                  <a:ext uri="{FF2B5EF4-FFF2-40B4-BE49-F238E27FC236}">
                    <a16:creationId xmlns:a16="http://schemas.microsoft.com/office/drawing/2014/main" id="{FC4A3488-AB34-2D12-7A76-F7A97AEC5C6F}"/>
                  </a:ext>
                </a:extLst>
              </p:cNvPr>
              <p:cNvSpPr/>
              <p:nvPr/>
            </p:nvSpPr>
            <p:spPr>
              <a:xfrm>
                <a:off x="8462295" y="3972792"/>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929294"/>
                </a:solidFill>
                <a:prstDash val="solid"/>
                <a:miter/>
              </a:ln>
            </p:spPr>
            <p:txBody>
              <a:bodyPr rtlCol="0" anchor="ctr"/>
              <a:lstStyle/>
              <a:p>
                <a:endParaRPr lang="en-US" sz="1800"/>
              </a:p>
            </p:txBody>
          </p:sp>
          <p:sp>
            <p:nvSpPr>
              <p:cNvPr id="1099" name="Freeform 534">
                <a:extLst>
                  <a:ext uri="{FF2B5EF4-FFF2-40B4-BE49-F238E27FC236}">
                    <a16:creationId xmlns:a16="http://schemas.microsoft.com/office/drawing/2014/main" id="{49261B8D-CB3B-9FC2-1959-BE0F02C6207A}"/>
                  </a:ext>
                </a:extLst>
              </p:cNvPr>
              <p:cNvSpPr/>
              <p:nvPr/>
            </p:nvSpPr>
            <p:spPr>
              <a:xfrm>
                <a:off x="8453966" y="3998087"/>
                <a:ext cx="74940" cy="10583"/>
              </a:xfrm>
              <a:custGeom>
                <a:avLst/>
                <a:gdLst>
                  <a:gd name="connsiteX0" fmla="*/ 0 w 74940"/>
                  <a:gd name="connsiteY0" fmla="*/ 0 h 10583"/>
                  <a:gd name="connsiteX1" fmla="*/ 74940 w 74940"/>
                  <a:gd name="connsiteY1" fmla="*/ 0 h 10583"/>
                </a:gdLst>
                <a:ahLst/>
                <a:cxnLst>
                  <a:cxn ang="0">
                    <a:pos x="connsiteX0" y="connsiteY0"/>
                  </a:cxn>
                  <a:cxn ang="0">
                    <a:pos x="connsiteX1" y="connsiteY1"/>
                  </a:cxn>
                </a:cxnLst>
                <a:rect l="l" t="t" r="r" b="b"/>
                <a:pathLst>
                  <a:path w="74940" h="10583">
                    <a:moveTo>
                      <a:pt x="0" y="0"/>
                    </a:moveTo>
                    <a:lnTo>
                      <a:pt x="74940" y="0"/>
                    </a:lnTo>
                  </a:path>
                </a:pathLst>
              </a:custGeom>
              <a:ln w="12700" cap="sq">
                <a:solidFill>
                  <a:srgbClr val="929294"/>
                </a:solidFill>
                <a:prstDash val="solid"/>
                <a:miter/>
              </a:ln>
            </p:spPr>
            <p:txBody>
              <a:bodyPr rtlCol="0" anchor="ctr"/>
              <a:lstStyle/>
              <a:p>
                <a:endParaRPr lang="en-US" sz="1800"/>
              </a:p>
            </p:txBody>
          </p:sp>
          <p:sp>
            <p:nvSpPr>
              <p:cNvPr id="1100" name="Freeform 535">
                <a:extLst>
                  <a:ext uri="{FF2B5EF4-FFF2-40B4-BE49-F238E27FC236}">
                    <a16:creationId xmlns:a16="http://schemas.microsoft.com/office/drawing/2014/main" id="{B74A5EBF-CE3B-761C-75EF-185B786E0576}"/>
                  </a:ext>
                </a:extLst>
              </p:cNvPr>
              <p:cNvSpPr/>
              <p:nvPr/>
            </p:nvSpPr>
            <p:spPr>
              <a:xfrm>
                <a:off x="8491431" y="3972792"/>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929294"/>
                </a:solidFill>
                <a:prstDash val="solid"/>
                <a:miter/>
              </a:ln>
            </p:spPr>
            <p:txBody>
              <a:bodyPr rtlCol="0" anchor="ctr"/>
              <a:lstStyle/>
              <a:p>
                <a:endParaRPr lang="en-US" sz="1800"/>
              </a:p>
            </p:txBody>
          </p:sp>
          <p:sp>
            <p:nvSpPr>
              <p:cNvPr id="1101" name="Freeform 536">
                <a:extLst>
                  <a:ext uri="{FF2B5EF4-FFF2-40B4-BE49-F238E27FC236}">
                    <a16:creationId xmlns:a16="http://schemas.microsoft.com/office/drawing/2014/main" id="{0ECAF32D-A558-305F-DC03-635390A117E0}"/>
                  </a:ext>
                </a:extLst>
              </p:cNvPr>
              <p:cNvSpPr/>
              <p:nvPr/>
            </p:nvSpPr>
            <p:spPr>
              <a:xfrm>
                <a:off x="8505094" y="3998087"/>
                <a:ext cx="74930" cy="10583"/>
              </a:xfrm>
              <a:custGeom>
                <a:avLst/>
                <a:gdLst>
                  <a:gd name="connsiteX0" fmla="*/ 0 w 74930"/>
                  <a:gd name="connsiteY0" fmla="*/ 0 h 10583"/>
                  <a:gd name="connsiteX1" fmla="*/ 74930 w 74930"/>
                  <a:gd name="connsiteY1" fmla="*/ 0 h 10583"/>
                </a:gdLst>
                <a:ahLst/>
                <a:cxnLst>
                  <a:cxn ang="0">
                    <a:pos x="connsiteX0" y="connsiteY0"/>
                  </a:cxn>
                  <a:cxn ang="0">
                    <a:pos x="connsiteX1" y="connsiteY1"/>
                  </a:cxn>
                </a:cxnLst>
                <a:rect l="l" t="t" r="r" b="b"/>
                <a:pathLst>
                  <a:path w="74930" h="10583">
                    <a:moveTo>
                      <a:pt x="0" y="0"/>
                    </a:moveTo>
                    <a:lnTo>
                      <a:pt x="74930" y="0"/>
                    </a:lnTo>
                  </a:path>
                </a:pathLst>
              </a:custGeom>
              <a:ln w="12700" cap="sq">
                <a:solidFill>
                  <a:srgbClr val="929294"/>
                </a:solidFill>
                <a:prstDash val="solid"/>
                <a:miter/>
              </a:ln>
            </p:spPr>
            <p:txBody>
              <a:bodyPr rtlCol="0" anchor="ctr"/>
              <a:lstStyle/>
              <a:p>
                <a:endParaRPr lang="en-US" sz="1800"/>
              </a:p>
            </p:txBody>
          </p:sp>
          <p:sp>
            <p:nvSpPr>
              <p:cNvPr id="1102" name="Freeform 537">
                <a:extLst>
                  <a:ext uri="{FF2B5EF4-FFF2-40B4-BE49-F238E27FC236}">
                    <a16:creationId xmlns:a16="http://schemas.microsoft.com/office/drawing/2014/main" id="{F3F1D5FA-C046-31B8-7F82-14F88CEAD6C9}"/>
                  </a:ext>
                </a:extLst>
              </p:cNvPr>
              <p:cNvSpPr/>
              <p:nvPr/>
            </p:nvSpPr>
            <p:spPr>
              <a:xfrm>
                <a:off x="8542559" y="3972792"/>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929294"/>
                </a:solidFill>
                <a:prstDash val="solid"/>
                <a:miter/>
              </a:ln>
            </p:spPr>
            <p:txBody>
              <a:bodyPr rtlCol="0" anchor="ctr"/>
              <a:lstStyle/>
              <a:p>
                <a:endParaRPr lang="en-US" sz="1800"/>
              </a:p>
            </p:txBody>
          </p:sp>
          <p:sp>
            <p:nvSpPr>
              <p:cNvPr id="1103" name="Freeform 538">
                <a:extLst>
                  <a:ext uri="{FF2B5EF4-FFF2-40B4-BE49-F238E27FC236}">
                    <a16:creationId xmlns:a16="http://schemas.microsoft.com/office/drawing/2014/main" id="{585569EF-4C59-21F1-5F79-3B01A354980D}"/>
                  </a:ext>
                </a:extLst>
              </p:cNvPr>
              <p:cNvSpPr/>
              <p:nvPr/>
            </p:nvSpPr>
            <p:spPr>
              <a:xfrm>
                <a:off x="8548888" y="4074519"/>
                <a:ext cx="74940" cy="10583"/>
              </a:xfrm>
              <a:custGeom>
                <a:avLst/>
                <a:gdLst>
                  <a:gd name="connsiteX0" fmla="*/ 0 w 74940"/>
                  <a:gd name="connsiteY0" fmla="*/ 0 h 10583"/>
                  <a:gd name="connsiteX1" fmla="*/ 74940 w 74940"/>
                  <a:gd name="connsiteY1" fmla="*/ 0 h 10583"/>
                </a:gdLst>
                <a:ahLst/>
                <a:cxnLst>
                  <a:cxn ang="0">
                    <a:pos x="connsiteX0" y="connsiteY0"/>
                  </a:cxn>
                  <a:cxn ang="0">
                    <a:pos x="connsiteX1" y="connsiteY1"/>
                  </a:cxn>
                </a:cxnLst>
                <a:rect l="l" t="t" r="r" b="b"/>
                <a:pathLst>
                  <a:path w="74940" h="10583">
                    <a:moveTo>
                      <a:pt x="0" y="0"/>
                    </a:moveTo>
                    <a:lnTo>
                      <a:pt x="74940" y="0"/>
                    </a:lnTo>
                  </a:path>
                </a:pathLst>
              </a:custGeom>
              <a:ln w="12700" cap="sq">
                <a:solidFill>
                  <a:srgbClr val="929294"/>
                </a:solidFill>
                <a:prstDash val="solid"/>
                <a:miter/>
              </a:ln>
            </p:spPr>
            <p:txBody>
              <a:bodyPr rtlCol="0" anchor="ctr"/>
              <a:lstStyle/>
              <a:p>
                <a:endParaRPr lang="en-US" sz="1800"/>
              </a:p>
            </p:txBody>
          </p:sp>
          <p:sp>
            <p:nvSpPr>
              <p:cNvPr id="1104" name="Freeform 539">
                <a:extLst>
                  <a:ext uri="{FF2B5EF4-FFF2-40B4-BE49-F238E27FC236}">
                    <a16:creationId xmlns:a16="http://schemas.microsoft.com/office/drawing/2014/main" id="{78EF2AB3-0E8E-4F0F-2E2E-B582979B1400}"/>
                  </a:ext>
                </a:extLst>
              </p:cNvPr>
              <p:cNvSpPr/>
              <p:nvPr/>
            </p:nvSpPr>
            <p:spPr>
              <a:xfrm>
                <a:off x="8586353" y="4049225"/>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929294"/>
                </a:solidFill>
                <a:prstDash val="solid"/>
                <a:miter/>
              </a:ln>
            </p:spPr>
            <p:txBody>
              <a:bodyPr rtlCol="0" anchor="ctr"/>
              <a:lstStyle/>
              <a:p>
                <a:endParaRPr lang="en-US" sz="1800"/>
              </a:p>
            </p:txBody>
          </p:sp>
          <p:sp>
            <p:nvSpPr>
              <p:cNvPr id="1105" name="Freeform 540">
                <a:extLst>
                  <a:ext uri="{FF2B5EF4-FFF2-40B4-BE49-F238E27FC236}">
                    <a16:creationId xmlns:a16="http://schemas.microsoft.com/office/drawing/2014/main" id="{9E01E496-DC2C-C782-F1B9-9E2099557530}"/>
                  </a:ext>
                </a:extLst>
              </p:cNvPr>
              <p:cNvSpPr/>
              <p:nvPr/>
            </p:nvSpPr>
            <p:spPr>
              <a:xfrm>
                <a:off x="8600175" y="4159609"/>
                <a:ext cx="74940" cy="10583"/>
              </a:xfrm>
              <a:custGeom>
                <a:avLst/>
                <a:gdLst>
                  <a:gd name="connsiteX0" fmla="*/ 0 w 74940"/>
                  <a:gd name="connsiteY0" fmla="*/ 0 h 10583"/>
                  <a:gd name="connsiteX1" fmla="*/ 74940 w 74940"/>
                  <a:gd name="connsiteY1" fmla="*/ 0 h 10583"/>
                </a:gdLst>
                <a:ahLst/>
                <a:cxnLst>
                  <a:cxn ang="0">
                    <a:pos x="connsiteX0" y="connsiteY0"/>
                  </a:cxn>
                  <a:cxn ang="0">
                    <a:pos x="connsiteX1" y="connsiteY1"/>
                  </a:cxn>
                </a:cxnLst>
                <a:rect l="l" t="t" r="r" b="b"/>
                <a:pathLst>
                  <a:path w="74940" h="10583">
                    <a:moveTo>
                      <a:pt x="0" y="0"/>
                    </a:moveTo>
                    <a:lnTo>
                      <a:pt x="74940" y="0"/>
                    </a:lnTo>
                  </a:path>
                </a:pathLst>
              </a:custGeom>
              <a:ln w="12700" cap="sq">
                <a:solidFill>
                  <a:srgbClr val="929294"/>
                </a:solidFill>
                <a:prstDash val="solid"/>
                <a:miter/>
              </a:ln>
            </p:spPr>
            <p:txBody>
              <a:bodyPr rtlCol="0" anchor="ctr"/>
              <a:lstStyle/>
              <a:p>
                <a:endParaRPr lang="en-US" sz="1800"/>
              </a:p>
            </p:txBody>
          </p:sp>
          <p:sp>
            <p:nvSpPr>
              <p:cNvPr id="1106" name="Freeform 541">
                <a:extLst>
                  <a:ext uri="{FF2B5EF4-FFF2-40B4-BE49-F238E27FC236}">
                    <a16:creationId xmlns:a16="http://schemas.microsoft.com/office/drawing/2014/main" id="{E32FD84B-0C38-7C90-9946-B2DAA02E08F3}"/>
                  </a:ext>
                </a:extLst>
              </p:cNvPr>
              <p:cNvSpPr/>
              <p:nvPr/>
            </p:nvSpPr>
            <p:spPr>
              <a:xfrm>
                <a:off x="8637651" y="4134326"/>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929294"/>
                </a:solidFill>
                <a:prstDash val="solid"/>
                <a:miter/>
              </a:ln>
            </p:spPr>
            <p:txBody>
              <a:bodyPr rtlCol="0" anchor="ctr"/>
              <a:lstStyle/>
              <a:p>
                <a:endParaRPr lang="en-US" sz="1800"/>
              </a:p>
            </p:txBody>
          </p:sp>
          <p:sp>
            <p:nvSpPr>
              <p:cNvPr id="1107" name="Freeform 542">
                <a:extLst>
                  <a:ext uri="{FF2B5EF4-FFF2-40B4-BE49-F238E27FC236}">
                    <a16:creationId xmlns:a16="http://schemas.microsoft.com/office/drawing/2014/main" id="{CE7A4C24-D117-1C4F-3FEA-D746A0A6E78C}"/>
                  </a:ext>
                </a:extLst>
              </p:cNvPr>
              <p:cNvSpPr/>
              <p:nvPr/>
            </p:nvSpPr>
            <p:spPr>
              <a:xfrm>
                <a:off x="8863139" y="4159609"/>
                <a:ext cx="74930" cy="10583"/>
              </a:xfrm>
              <a:custGeom>
                <a:avLst/>
                <a:gdLst>
                  <a:gd name="connsiteX0" fmla="*/ 0 w 74930"/>
                  <a:gd name="connsiteY0" fmla="*/ 0 h 10583"/>
                  <a:gd name="connsiteX1" fmla="*/ 74930 w 74930"/>
                  <a:gd name="connsiteY1" fmla="*/ 0 h 10583"/>
                </a:gdLst>
                <a:ahLst/>
                <a:cxnLst>
                  <a:cxn ang="0">
                    <a:pos x="connsiteX0" y="connsiteY0"/>
                  </a:cxn>
                  <a:cxn ang="0">
                    <a:pos x="connsiteX1" y="connsiteY1"/>
                  </a:cxn>
                </a:cxnLst>
                <a:rect l="l" t="t" r="r" b="b"/>
                <a:pathLst>
                  <a:path w="74930" h="10583">
                    <a:moveTo>
                      <a:pt x="0" y="0"/>
                    </a:moveTo>
                    <a:lnTo>
                      <a:pt x="74930" y="0"/>
                    </a:lnTo>
                  </a:path>
                </a:pathLst>
              </a:custGeom>
              <a:ln w="12700" cap="sq">
                <a:solidFill>
                  <a:srgbClr val="929294"/>
                </a:solidFill>
                <a:prstDash val="solid"/>
                <a:miter/>
              </a:ln>
            </p:spPr>
            <p:txBody>
              <a:bodyPr rtlCol="0" anchor="ctr"/>
              <a:lstStyle/>
              <a:p>
                <a:endParaRPr lang="en-US" sz="1800"/>
              </a:p>
            </p:txBody>
          </p:sp>
          <p:sp>
            <p:nvSpPr>
              <p:cNvPr id="1108" name="Freeform 543">
                <a:extLst>
                  <a:ext uri="{FF2B5EF4-FFF2-40B4-BE49-F238E27FC236}">
                    <a16:creationId xmlns:a16="http://schemas.microsoft.com/office/drawing/2014/main" id="{CD03E843-943B-1A21-B245-65EFA079E012}"/>
                  </a:ext>
                </a:extLst>
              </p:cNvPr>
              <p:cNvSpPr/>
              <p:nvPr/>
            </p:nvSpPr>
            <p:spPr>
              <a:xfrm>
                <a:off x="8900604" y="4134326"/>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929294"/>
                </a:solidFill>
                <a:prstDash val="solid"/>
                <a:miter/>
              </a:ln>
            </p:spPr>
            <p:txBody>
              <a:bodyPr rtlCol="0" anchor="ctr"/>
              <a:lstStyle/>
              <a:p>
                <a:endParaRPr lang="en-US" sz="1800"/>
              </a:p>
            </p:txBody>
          </p:sp>
          <p:sp>
            <p:nvSpPr>
              <p:cNvPr id="1109" name="Freeform 544">
                <a:extLst>
                  <a:ext uri="{FF2B5EF4-FFF2-40B4-BE49-F238E27FC236}">
                    <a16:creationId xmlns:a16="http://schemas.microsoft.com/office/drawing/2014/main" id="{1CA6E687-4C35-373A-AB43-CC011E598F8D}"/>
                  </a:ext>
                </a:extLst>
              </p:cNvPr>
              <p:cNvSpPr/>
              <p:nvPr/>
            </p:nvSpPr>
            <p:spPr>
              <a:xfrm>
                <a:off x="9045659" y="4159609"/>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929294"/>
                </a:solidFill>
                <a:prstDash val="solid"/>
                <a:miter/>
              </a:ln>
            </p:spPr>
            <p:txBody>
              <a:bodyPr rtlCol="0" anchor="ctr"/>
              <a:lstStyle/>
              <a:p>
                <a:endParaRPr lang="en-US" sz="1800"/>
              </a:p>
            </p:txBody>
          </p:sp>
          <p:sp>
            <p:nvSpPr>
              <p:cNvPr id="1110" name="Freeform 545">
                <a:extLst>
                  <a:ext uri="{FF2B5EF4-FFF2-40B4-BE49-F238E27FC236}">
                    <a16:creationId xmlns:a16="http://schemas.microsoft.com/office/drawing/2014/main" id="{A7F38CB3-3150-7E2C-910D-BF96396EDF71}"/>
                  </a:ext>
                </a:extLst>
              </p:cNvPr>
              <p:cNvSpPr/>
              <p:nvPr/>
            </p:nvSpPr>
            <p:spPr>
              <a:xfrm>
                <a:off x="9083124" y="4134326"/>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929294"/>
                </a:solidFill>
                <a:prstDash val="solid"/>
                <a:miter/>
              </a:ln>
            </p:spPr>
            <p:txBody>
              <a:bodyPr rtlCol="0" anchor="ctr"/>
              <a:lstStyle/>
              <a:p>
                <a:endParaRPr lang="en-US" sz="1800"/>
              </a:p>
            </p:txBody>
          </p:sp>
          <p:sp>
            <p:nvSpPr>
              <p:cNvPr id="1111" name="Freeform 546">
                <a:extLst>
                  <a:ext uri="{FF2B5EF4-FFF2-40B4-BE49-F238E27FC236}">
                    <a16:creationId xmlns:a16="http://schemas.microsoft.com/office/drawing/2014/main" id="{F1E22A68-39C6-ABE2-FFC5-4223B72CC2FC}"/>
                  </a:ext>
                </a:extLst>
              </p:cNvPr>
              <p:cNvSpPr/>
              <p:nvPr/>
            </p:nvSpPr>
            <p:spPr>
              <a:xfrm>
                <a:off x="9235672" y="4159609"/>
                <a:ext cx="74929" cy="10583"/>
              </a:xfrm>
              <a:custGeom>
                <a:avLst/>
                <a:gdLst>
                  <a:gd name="connsiteX0" fmla="*/ 0 w 74929"/>
                  <a:gd name="connsiteY0" fmla="*/ 0 h 10583"/>
                  <a:gd name="connsiteX1" fmla="*/ 74930 w 74929"/>
                  <a:gd name="connsiteY1" fmla="*/ 0 h 10583"/>
                </a:gdLst>
                <a:ahLst/>
                <a:cxnLst>
                  <a:cxn ang="0">
                    <a:pos x="connsiteX0" y="connsiteY0"/>
                  </a:cxn>
                  <a:cxn ang="0">
                    <a:pos x="connsiteX1" y="connsiteY1"/>
                  </a:cxn>
                </a:cxnLst>
                <a:rect l="l" t="t" r="r" b="b"/>
                <a:pathLst>
                  <a:path w="74929" h="10583">
                    <a:moveTo>
                      <a:pt x="0" y="0"/>
                    </a:moveTo>
                    <a:lnTo>
                      <a:pt x="74930" y="0"/>
                    </a:lnTo>
                  </a:path>
                </a:pathLst>
              </a:custGeom>
              <a:ln w="12700" cap="sq">
                <a:solidFill>
                  <a:srgbClr val="929294"/>
                </a:solidFill>
                <a:prstDash val="solid"/>
                <a:miter/>
              </a:ln>
            </p:spPr>
            <p:txBody>
              <a:bodyPr rtlCol="0" anchor="ctr"/>
              <a:lstStyle/>
              <a:p>
                <a:endParaRPr lang="en-US" sz="1800"/>
              </a:p>
            </p:txBody>
          </p:sp>
          <p:sp>
            <p:nvSpPr>
              <p:cNvPr id="1112" name="Freeform 547">
                <a:extLst>
                  <a:ext uri="{FF2B5EF4-FFF2-40B4-BE49-F238E27FC236}">
                    <a16:creationId xmlns:a16="http://schemas.microsoft.com/office/drawing/2014/main" id="{3A1FB80C-14E6-A37B-1F28-5AAB1F28B4F9}"/>
                  </a:ext>
                </a:extLst>
              </p:cNvPr>
              <p:cNvSpPr/>
              <p:nvPr/>
            </p:nvSpPr>
            <p:spPr>
              <a:xfrm>
                <a:off x="9273137" y="4134326"/>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929294"/>
                </a:solidFill>
                <a:prstDash val="solid"/>
                <a:miter/>
              </a:ln>
            </p:spPr>
            <p:txBody>
              <a:bodyPr rtlCol="0" anchor="ctr"/>
              <a:lstStyle/>
              <a:p>
                <a:endParaRPr lang="en-US" sz="1800"/>
              </a:p>
            </p:txBody>
          </p:sp>
          <p:sp>
            <p:nvSpPr>
              <p:cNvPr id="1113" name="Freeform 548">
                <a:extLst>
                  <a:ext uri="{FF2B5EF4-FFF2-40B4-BE49-F238E27FC236}">
                    <a16:creationId xmlns:a16="http://schemas.microsoft.com/office/drawing/2014/main" id="{91833FD2-3E99-AFB6-E616-7AE0E6466363}"/>
                  </a:ext>
                </a:extLst>
              </p:cNvPr>
              <p:cNvSpPr/>
              <p:nvPr/>
            </p:nvSpPr>
            <p:spPr>
              <a:xfrm>
                <a:off x="9294124" y="4159609"/>
                <a:ext cx="74940" cy="10583"/>
              </a:xfrm>
              <a:custGeom>
                <a:avLst/>
                <a:gdLst>
                  <a:gd name="connsiteX0" fmla="*/ 0 w 74940"/>
                  <a:gd name="connsiteY0" fmla="*/ 0 h 10583"/>
                  <a:gd name="connsiteX1" fmla="*/ 74940 w 74940"/>
                  <a:gd name="connsiteY1" fmla="*/ 0 h 10583"/>
                </a:gdLst>
                <a:ahLst/>
                <a:cxnLst>
                  <a:cxn ang="0">
                    <a:pos x="connsiteX0" y="connsiteY0"/>
                  </a:cxn>
                  <a:cxn ang="0">
                    <a:pos x="connsiteX1" y="connsiteY1"/>
                  </a:cxn>
                </a:cxnLst>
                <a:rect l="l" t="t" r="r" b="b"/>
                <a:pathLst>
                  <a:path w="74940" h="10583">
                    <a:moveTo>
                      <a:pt x="0" y="0"/>
                    </a:moveTo>
                    <a:lnTo>
                      <a:pt x="74940" y="0"/>
                    </a:lnTo>
                  </a:path>
                </a:pathLst>
              </a:custGeom>
              <a:ln w="12700" cap="sq">
                <a:solidFill>
                  <a:srgbClr val="929294"/>
                </a:solidFill>
                <a:prstDash val="solid"/>
                <a:miter/>
              </a:ln>
            </p:spPr>
            <p:txBody>
              <a:bodyPr rtlCol="0" anchor="ctr"/>
              <a:lstStyle/>
              <a:p>
                <a:endParaRPr lang="en-US" sz="1800"/>
              </a:p>
            </p:txBody>
          </p:sp>
          <p:sp>
            <p:nvSpPr>
              <p:cNvPr id="1114" name="Freeform 549">
                <a:extLst>
                  <a:ext uri="{FF2B5EF4-FFF2-40B4-BE49-F238E27FC236}">
                    <a16:creationId xmlns:a16="http://schemas.microsoft.com/office/drawing/2014/main" id="{D5DCF954-E0C0-6958-6B09-ACDECB57B0EE}"/>
                  </a:ext>
                </a:extLst>
              </p:cNvPr>
              <p:cNvSpPr/>
              <p:nvPr/>
            </p:nvSpPr>
            <p:spPr>
              <a:xfrm>
                <a:off x="9331589" y="4134326"/>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929294"/>
                </a:solidFill>
                <a:prstDash val="solid"/>
                <a:miter/>
              </a:ln>
            </p:spPr>
            <p:txBody>
              <a:bodyPr rtlCol="0" anchor="ctr"/>
              <a:lstStyle/>
              <a:p>
                <a:endParaRPr lang="en-US" sz="1800"/>
              </a:p>
            </p:txBody>
          </p:sp>
          <p:sp>
            <p:nvSpPr>
              <p:cNvPr id="1115" name="Freeform 550">
                <a:extLst>
                  <a:ext uri="{FF2B5EF4-FFF2-40B4-BE49-F238E27FC236}">
                    <a16:creationId xmlns:a16="http://schemas.microsoft.com/office/drawing/2014/main" id="{BFEC8964-B574-DE21-0026-076629D4FC52}"/>
                  </a:ext>
                </a:extLst>
              </p:cNvPr>
              <p:cNvSpPr/>
              <p:nvPr/>
            </p:nvSpPr>
            <p:spPr>
              <a:xfrm>
                <a:off x="10104966" y="4386347"/>
                <a:ext cx="74940" cy="10583"/>
              </a:xfrm>
              <a:custGeom>
                <a:avLst/>
                <a:gdLst>
                  <a:gd name="connsiteX0" fmla="*/ 0 w 74940"/>
                  <a:gd name="connsiteY0" fmla="*/ 0 h 10583"/>
                  <a:gd name="connsiteX1" fmla="*/ 74940 w 74940"/>
                  <a:gd name="connsiteY1" fmla="*/ 0 h 10583"/>
                </a:gdLst>
                <a:ahLst/>
                <a:cxnLst>
                  <a:cxn ang="0">
                    <a:pos x="connsiteX0" y="connsiteY0"/>
                  </a:cxn>
                  <a:cxn ang="0">
                    <a:pos x="connsiteX1" y="connsiteY1"/>
                  </a:cxn>
                </a:cxnLst>
                <a:rect l="l" t="t" r="r" b="b"/>
                <a:pathLst>
                  <a:path w="74940" h="10583">
                    <a:moveTo>
                      <a:pt x="0" y="0"/>
                    </a:moveTo>
                    <a:lnTo>
                      <a:pt x="74940" y="0"/>
                    </a:lnTo>
                  </a:path>
                </a:pathLst>
              </a:custGeom>
              <a:ln w="12700" cap="sq">
                <a:solidFill>
                  <a:srgbClr val="929294"/>
                </a:solidFill>
                <a:prstDash val="solid"/>
                <a:miter/>
              </a:ln>
            </p:spPr>
            <p:txBody>
              <a:bodyPr rtlCol="0" anchor="ctr"/>
              <a:lstStyle/>
              <a:p>
                <a:endParaRPr lang="en-US" sz="1800"/>
              </a:p>
            </p:txBody>
          </p:sp>
          <p:sp>
            <p:nvSpPr>
              <p:cNvPr id="1116" name="Freeform 551">
                <a:extLst>
                  <a:ext uri="{FF2B5EF4-FFF2-40B4-BE49-F238E27FC236}">
                    <a16:creationId xmlns:a16="http://schemas.microsoft.com/office/drawing/2014/main" id="{588DE700-3F22-4684-DA5C-6AA25AFF57F4}"/>
                  </a:ext>
                </a:extLst>
              </p:cNvPr>
              <p:cNvSpPr/>
              <p:nvPr/>
            </p:nvSpPr>
            <p:spPr>
              <a:xfrm>
                <a:off x="10142442" y="4361053"/>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929294"/>
                </a:solidFill>
                <a:prstDash val="solid"/>
                <a:miter/>
              </a:ln>
            </p:spPr>
            <p:txBody>
              <a:bodyPr rtlCol="0" anchor="ctr"/>
              <a:lstStyle/>
              <a:p>
                <a:endParaRPr lang="en-US" sz="1800"/>
              </a:p>
            </p:txBody>
          </p:sp>
          <p:sp>
            <p:nvSpPr>
              <p:cNvPr id="1117" name="Freeform 552">
                <a:extLst>
                  <a:ext uri="{FF2B5EF4-FFF2-40B4-BE49-F238E27FC236}">
                    <a16:creationId xmlns:a16="http://schemas.microsoft.com/office/drawing/2014/main" id="{C8A8E2AA-7F24-3C96-04B0-8888E8F71A46}"/>
                  </a:ext>
                </a:extLst>
              </p:cNvPr>
              <p:cNvSpPr/>
              <p:nvPr/>
            </p:nvSpPr>
            <p:spPr>
              <a:xfrm>
                <a:off x="11412537" y="4386347"/>
                <a:ext cx="74930" cy="10583"/>
              </a:xfrm>
              <a:custGeom>
                <a:avLst/>
                <a:gdLst>
                  <a:gd name="connsiteX0" fmla="*/ 0 w 74930"/>
                  <a:gd name="connsiteY0" fmla="*/ 0 h 10583"/>
                  <a:gd name="connsiteX1" fmla="*/ 74931 w 74930"/>
                  <a:gd name="connsiteY1" fmla="*/ 0 h 10583"/>
                </a:gdLst>
                <a:ahLst/>
                <a:cxnLst>
                  <a:cxn ang="0">
                    <a:pos x="connsiteX0" y="connsiteY0"/>
                  </a:cxn>
                  <a:cxn ang="0">
                    <a:pos x="connsiteX1" y="connsiteY1"/>
                  </a:cxn>
                </a:cxnLst>
                <a:rect l="l" t="t" r="r" b="b"/>
                <a:pathLst>
                  <a:path w="74930" h="10583">
                    <a:moveTo>
                      <a:pt x="0" y="0"/>
                    </a:moveTo>
                    <a:lnTo>
                      <a:pt x="74931" y="0"/>
                    </a:lnTo>
                  </a:path>
                </a:pathLst>
              </a:custGeom>
              <a:ln w="12700" cap="sq">
                <a:solidFill>
                  <a:srgbClr val="929294"/>
                </a:solidFill>
                <a:prstDash val="solid"/>
                <a:miter/>
              </a:ln>
            </p:spPr>
            <p:txBody>
              <a:bodyPr rtlCol="0" anchor="ctr"/>
              <a:lstStyle/>
              <a:p>
                <a:endParaRPr lang="en-US" sz="1800"/>
              </a:p>
            </p:txBody>
          </p:sp>
          <p:sp>
            <p:nvSpPr>
              <p:cNvPr id="1118" name="Freeform 553">
                <a:extLst>
                  <a:ext uri="{FF2B5EF4-FFF2-40B4-BE49-F238E27FC236}">
                    <a16:creationId xmlns:a16="http://schemas.microsoft.com/office/drawing/2014/main" id="{4192760E-76D0-798F-D083-D5BD8B3488EF}"/>
                  </a:ext>
                </a:extLst>
              </p:cNvPr>
              <p:cNvSpPr/>
              <p:nvPr/>
            </p:nvSpPr>
            <p:spPr>
              <a:xfrm>
                <a:off x="11450002" y="4361053"/>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929294"/>
                </a:solidFill>
                <a:prstDash val="solid"/>
                <a:miter/>
              </a:ln>
            </p:spPr>
            <p:txBody>
              <a:bodyPr rtlCol="0" anchor="ctr"/>
              <a:lstStyle/>
              <a:p>
                <a:endParaRPr lang="en-US" sz="1800"/>
              </a:p>
            </p:txBody>
          </p:sp>
        </p:grpSp>
        <p:sp>
          <p:nvSpPr>
            <p:cNvPr id="722" name="TextBox 721">
              <a:extLst>
                <a:ext uri="{FF2B5EF4-FFF2-40B4-BE49-F238E27FC236}">
                  <a16:creationId xmlns:a16="http://schemas.microsoft.com/office/drawing/2014/main" id="{06F2C18E-CC3D-F8D1-C2AA-09DFEFC4E154}"/>
                </a:ext>
              </a:extLst>
            </p:cNvPr>
            <p:cNvSpPr txBox="1"/>
            <p:nvPr/>
          </p:nvSpPr>
          <p:spPr>
            <a:xfrm rot="16200000">
              <a:off x="-1130908" y="2912291"/>
              <a:ext cx="3902948" cy="369332"/>
            </a:xfrm>
            <a:prstGeom prst="rect">
              <a:avLst/>
            </a:prstGeom>
            <a:noFill/>
          </p:spPr>
          <p:txBody>
            <a:bodyPr wrap="none" rtlCol="0">
              <a:spAutoFit/>
            </a:bodyPr>
            <a:lstStyle/>
            <a:p>
              <a:pPr algn="l"/>
              <a:r>
                <a:rPr lang="en-US" sz="1200" dirty="0">
                  <a:ln/>
                  <a:solidFill>
                    <a:srgbClr val="000000"/>
                  </a:solidFill>
                  <a:latin typeface="Arial" panose="020B0604020202020204" pitchFamily="34" charset="0"/>
                  <a:cs typeface="Arial" panose="020B0604020202020204" pitchFamily="34" charset="0"/>
                  <a:sym typeface="HelveticaNeueLTStd-Bd"/>
                  <a:rtl val="0"/>
                </a:rPr>
                <a:t>Progression-Free Survival Probability, %</a:t>
              </a:r>
            </a:p>
          </p:txBody>
        </p:sp>
        <p:sp>
          <p:nvSpPr>
            <p:cNvPr id="724" name="TextBox 723">
              <a:extLst>
                <a:ext uri="{FF2B5EF4-FFF2-40B4-BE49-F238E27FC236}">
                  <a16:creationId xmlns:a16="http://schemas.microsoft.com/office/drawing/2014/main" id="{77A5D477-B32E-49F7-48B9-5CC3FBE9E484}"/>
                </a:ext>
              </a:extLst>
            </p:cNvPr>
            <p:cNvSpPr txBox="1"/>
            <p:nvPr/>
          </p:nvSpPr>
          <p:spPr>
            <a:xfrm>
              <a:off x="1949524" y="4173306"/>
              <a:ext cx="742084" cy="307776"/>
            </a:xfrm>
            <a:prstGeom prst="rect">
              <a:avLst/>
            </a:prstGeom>
            <a:noFill/>
          </p:spPr>
          <p:txBody>
            <a:bodyPr wrap="none" rtlCol="0">
              <a:spAutoFit/>
            </a:bodyPr>
            <a:lstStyle/>
            <a:p>
              <a:pPr algn="l"/>
              <a:r>
                <a:rPr lang="en-US" sz="900" dirty="0">
                  <a:ln/>
                  <a:solidFill>
                    <a:srgbClr val="000000"/>
                  </a:solidFill>
                  <a:latin typeface="HelveticaNeueLTStd-Roman"/>
                  <a:sym typeface="HelveticaNeueLTStd-Roman"/>
                  <a:rtl val="0"/>
                </a:rPr>
                <a:t>Censor</a:t>
              </a:r>
            </a:p>
          </p:txBody>
        </p:sp>
        <p:sp>
          <p:nvSpPr>
            <p:cNvPr id="725" name="TextBox 724">
              <a:extLst>
                <a:ext uri="{FF2B5EF4-FFF2-40B4-BE49-F238E27FC236}">
                  <a16:creationId xmlns:a16="http://schemas.microsoft.com/office/drawing/2014/main" id="{CC23523F-48AB-7F71-A463-9292243F878A}"/>
                </a:ext>
              </a:extLst>
            </p:cNvPr>
            <p:cNvSpPr txBox="1"/>
            <p:nvPr/>
          </p:nvSpPr>
          <p:spPr>
            <a:xfrm>
              <a:off x="1949524" y="4380198"/>
              <a:ext cx="1353361" cy="307776"/>
            </a:xfrm>
            <a:prstGeom prst="rect">
              <a:avLst/>
            </a:prstGeom>
            <a:noFill/>
          </p:spPr>
          <p:txBody>
            <a:bodyPr wrap="none" rtlCol="0">
              <a:spAutoFit/>
            </a:bodyPr>
            <a:lstStyle/>
            <a:p>
              <a:pPr algn="l"/>
              <a:r>
                <a:rPr lang="en-US" sz="900" dirty="0">
                  <a:ln/>
                  <a:solidFill>
                    <a:srgbClr val="000000"/>
                  </a:solidFill>
                  <a:latin typeface="HelveticaNeueLTStd-Roman"/>
                  <a:sym typeface="HelveticaNeueLTStd-Roman"/>
                  <a:rtl val="0"/>
                </a:rPr>
                <a:t>T-</a:t>
              </a:r>
              <a:r>
                <a:rPr lang="en-US" sz="900" dirty="0" err="1">
                  <a:ln/>
                  <a:solidFill>
                    <a:srgbClr val="000000"/>
                  </a:solidFill>
                  <a:latin typeface="HelveticaNeueLTStd-Roman"/>
                  <a:sym typeface="HelveticaNeueLTStd-Roman"/>
                  <a:rtl val="0"/>
                </a:rPr>
                <a:t>DXd</a:t>
              </a:r>
              <a:r>
                <a:rPr lang="en-US" sz="900" dirty="0">
                  <a:ln/>
                  <a:solidFill>
                    <a:srgbClr val="000000"/>
                  </a:solidFill>
                  <a:latin typeface="HelveticaNeueLTStd-Roman"/>
                  <a:sym typeface="HelveticaNeueLTStd-Roman"/>
                  <a:rtl val="0"/>
                </a:rPr>
                <a:t> (n = 261)</a:t>
              </a:r>
            </a:p>
          </p:txBody>
        </p:sp>
        <p:sp>
          <p:nvSpPr>
            <p:cNvPr id="726" name="TextBox 725">
              <a:extLst>
                <a:ext uri="{FF2B5EF4-FFF2-40B4-BE49-F238E27FC236}">
                  <a16:creationId xmlns:a16="http://schemas.microsoft.com/office/drawing/2014/main" id="{71E67F66-5F5B-DD50-BA87-D0ED7DA0537C}"/>
                </a:ext>
              </a:extLst>
            </p:cNvPr>
            <p:cNvSpPr txBox="1"/>
            <p:nvPr/>
          </p:nvSpPr>
          <p:spPr>
            <a:xfrm>
              <a:off x="1949524" y="4593200"/>
              <a:ext cx="1379009" cy="307776"/>
            </a:xfrm>
            <a:prstGeom prst="rect">
              <a:avLst/>
            </a:prstGeom>
            <a:noFill/>
          </p:spPr>
          <p:txBody>
            <a:bodyPr wrap="none" rtlCol="0">
              <a:spAutoFit/>
            </a:bodyPr>
            <a:lstStyle/>
            <a:p>
              <a:pPr algn="l"/>
              <a:r>
                <a:rPr lang="en-US" sz="900" dirty="0">
                  <a:ln/>
                  <a:solidFill>
                    <a:srgbClr val="000000"/>
                  </a:solidFill>
                  <a:latin typeface="HelveticaNeueLTStd-Roman"/>
                  <a:sym typeface="HelveticaNeueLTStd-Roman"/>
                  <a:rtl val="0"/>
                </a:rPr>
                <a:t>T-DM1 (n = 263)</a:t>
              </a:r>
            </a:p>
          </p:txBody>
        </p:sp>
        <p:grpSp>
          <p:nvGrpSpPr>
            <p:cNvPr id="728" name="Group 727">
              <a:extLst>
                <a:ext uri="{FF2B5EF4-FFF2-40B4-BE49-F238E27FC236}">
                  <a16:creationId xmlns:a16="http://schemas.microsoft.com/office/drawing/2014/main" id="{4C508163-6683-FD18-7FEA-A612350EE292}"/>
                </a:ext>
              </a:extLst>
            </p:cNvPr>
            <p:cNvGrpSpPr/>
            <p:nvPr/>
          </p:nvGrpSpPr>
          <p:grpSpPr>
            <a:xfrm>
              <a:off x="1348299" y="1225275"/>
              <a:ext cx="9410696" cy="3725785"/>
              <a:chOff x="1245457" y="1152514"/>
              <a:chExt cx="10470292" cy="3813873"/>
            </a:xfrm>
          </p:grpSpPr>
          <p:grpSp>
            <p:nvGrpSpPr>
              <p:cNvPr id="874" name="Group 873">
                <a:extLst>
                  <a:ext uri="{FF2B5EF4-FFF2-40B4-BE49-F238E27FC236}">
                    <a16:creationId xmlns:a16="http://schemas.microsoft.com/office/drawing/2014/main" id="{5E30AA9F-FAFE-59A4-C9D9-BD8C208ECBF0}"/>
                  </a:ext>
                </a:extLst>
              </p:cNvPr>
              <p:cNvGrpSpPr/>
              <p:nvPr/>
            </p:nvGrpSpPr>
            <p:grpSpPr>
              <a:xfrm>
                <a:off x="1245457" y="1152514"/>
                <a:ext cx="10470292" cy="3754702"/>
                <a:chOff x="1245457" y="1152514"/>
                <a:chExt cx="10470292" cy="3754702"/>
              </a:xfrm>
            </p:grpSpPr>
            <p:sp>
              <p:nvSpPr>
                <p:cNvPr id="921" name="Freeform 6">
                  <a:extLst>
                    <a:ext uri="{FF2B5EF4-FFF2-40B4-BE49-F238E27FC236}">
                      <a16:creationId xmlns:a16="http://schemas.microsoft.com/office/drawing/2014/main" id="{46B7B4B4-7EA1-8F76-D182-238A01E70F19}"/>
                    </a:ext>
                  </a:extLst>
                </p:cNvPr>
                <p:cNvSpPr/>
                <p:nvPr/>
              </p:nvSpPr>
              <p:spPr>
                <a:xfrm>
                  <a:off x="1335987" y="1152514"/>
                  <a:ext cx="10379762" cy="3754702"/>
                </a:xfrm>
                <a:custGeom>
                  <a:avLst/>
                  <a:gdLst>
                    <a:gd name="connsiteX0" fmla="*/ 0 w 10379762"/>
                    <a:gd name="connsiteY0" fmla="*/ 0 h 3754702"/>
                    <a:gd name="connsiteX1" fmla="*/ 0 w 10379762"/>
                    <a:gd name="connsiteY1" fmla="*/ 3754702 h 3754702"/>
                    <a:gd name="connsiteX2" fmla="*/ 10379763 w 10379762"/>
                    <a:gd name="connsiteY2" fmla="*/ 3754702 h 3754702"/>
                  </a:gdLst>
                  <a:ahLst/>
                  <a:cxnLst>
                    <a:cxn ang="0">
                      <a:pos x="connsiteX0" y="connsiteY0"/>
                    </a:cxn>
                    <a:cxn ang="0">
                      <a:pos x="connsiteX1" y="connsiteY1"/>
                    </a:cxn>
                    <a:cxn ang="0">
                      <a:pos x="connsiteX2" y="connsiteY2"/>
                    </a:cxn>
                  </a:cxnLst>
                  <a:rect l="l" t="t" r="r" b="b"/>
                  <a:pathLst>
                    <a:path w="10379762" h="3754702">
                      <a:moveTo>
                        <a:pt x="0" y="0"/>
                      </a:moveTo>
                      <a:lnTo>
                        <a:pt x="0" y="3754702"/>
                      </a:lnTo>
                      <a:lnTo>
                        <a:pt x="10379763" y="3754702"/>
                      </a:lnTo>
                    </a:path>
                  </a:pathLst>
                </a:custGeom>
                <a:noFill/>
                <a:ln w="12700" cap="flat">
                  <a:solidFill>
                    <a:srgbClr val="231F20"/>
                  </a:solidFill>
                  <a:prstDash val="solid"/>
                  <a:miter/>
                </a:ln>
              </p:spPr>
              <p:txBody>
                <a:bodyPr rtlCol="0" anchor="ctr"/>
                <a:lstStyle/>
                <a:p>
                  <a:endParaRPr lang="en-US" sz="1800"/>
                </a:p>
              </p:txBody>
            </p:sp>
            <p:sp>
              <p:nvSpPr>
                <p:cNvPr id="922" name="Freeform 9">
                  <a:extLst>
                    <a:ext uri="{FF2B5EF4-FFF2-40B4-BE49-F238E27FC236}">
                      <a16:creationId xmlns:a16="http://schemas.microsoft.com/office/drawing/2014/main" id="{07CE7A4C-FC64-6188-1E53-BCF0BA3F8A6E}"/>
                    </a:ext>
                  </a:extLst>
                </p:cNvPr>
                <p:cNvSpPr/>
                <p:nvPr/>
              </p:nvSpPr>
              <p:spPr>
                <a:xfrm>
                  <a:off x="1245457" y="4840975"/>
                  <a:ext cx="89503" cy="10583"/>
                </a:xfrm>
                <a:custGeom>
                  <a:avLst/>
                  <a:gdLst>
                    <a:gd name="connsiteX0" fmla="*/ 89503 w 89503"/>
                    <a:gd name="connsiteY0" fmla="*/ 0 h 10583"/>
                    <a:gd name="connsiteX1" fmla="*/ 0 w 89503"/>
                    <a:gd name="connsiteY1" fmla="*/ 0 h 10583"/>
                  </a:gdLst>
                  <a:ahLst/>
                  <a:cxnLst>
                    <a:cxn ang="0">
                      <a:pos x="connsiteX0" y="connsiteY0"/>
                    </a:cxn>
                    <a:cxn ang="0">
                      <a:pos x="connsiteX1" y="connsiteY1"/>
                    </a:cxn>
                  </a:cxnLst>
                  <a:rect l="l" t="t" r="r" b="b"/>
                  <a:pathLst>
                    <a:path w="89503" h="10583">
                      <a:moveTo>
                        <a:pt x="89503" y="0"/>
                      </a:moveTo>
                      <a:lnTo>
                        <a:pt x="0" y="0"/>
                      </a:lnTo>
                    </a:path>
                  </a:pathLst>
                </a:custGeom>
                <a:ln w="10583" cap="flat">
                  <a:solidFill>
                    <a:srgbClr val="231F20"/>
                  </a:solidFill>
                  <a:prstDash val="solid"/>
                  <a:miter/>
                </a:ln>
              </p:spPr>
              <p:txBody>
                <a:bodyPr rtlCol="0" anchor="ctr"/>
                <a:lstStyle/>
                <a:p>
                  <a:endParaRPr lang="en-US" sz="1800"/>
                </a:p>
              </p:txBody>
            </p:sp>
            <p:sp>
              <p:nvSpPr>
                <p:cNvPr id="923" name="Freeform 10">
                  <a:extLst>
                    <a:ext uri="{FF2B5EF4-FFF2-40B4-BE49-F238E27FC236}">
                      <a16:creationId xmlns:a16="http://schemas.microsoft.com/office/drawing/2014/main" id="{C09CEF35-F04A-4C4D-D0C1-59C9B887DE5C}"/>
                    </a:ext>
                  </a:extLst>
                </p:cNvPr>
                <p:cNvSpPr/>
                <p:nvPr/>
              </p:nvSpPr>
              <p:spPr>
                <a:xfrm>
                  <a:off x="1245457" y="4118313"/>
                  <a:ext cx="89503" cy="10583"/>
                </a:xfrm>
                <a:custGeom>
                  <a:avLst/>
                  <a:gdLst>
                    <a:gd name="connsiteX0" fmla="*/ 89503 w 89503"/>
                    <a:gd name="connsiteY0" fmla="*/ 0 h 10583"/>
                    <a:gd name="connsiteX1" fmla="*/ 0 w 89503"/>
                    <a:gd name="connsiteY1" fmla="*/ 0 h 10583"/>
                  </a:gdLst>
                  <a:ahLst/>
                  <a:cxnLst>
                    <a:cxn ang="0">
                      <a:pos x="connsiteX0" y="connsiteY0"/>
                    </a:cxn>
                    <a:cxn ang="0">
                      <a:pos x="connsiteX1" y="connsiteY1"/>
                    </a:cxn>
                  </a:cxnLst>
                  <a:rect l="l" t="t" r="r" b="b"/>
                  <a:pathLst>
                    <a:path w="89503" h="10583">
                      <a:moveTo>
                        <a:pt x="89503" y="0"/>
                      </a:moveTo>
                      <a:lnTo>
                        <a:pt x="0" y="0"/>
                      </a:lnTo>
                    </a:path>
                  </a:pathLst>
                </a:custGeom>
                <a:ln w="10583" cap="flat">
                  <a:solidFill>
                    <a:srgbClr val="231F20"/>
                  </a:solidFill>
                  <a:prstDash val="solid"/>
                  <a:miter/>
                </a:ln>
              </p:spPr>
              <p:txBody>
                <a:bodyPr rtlCol="0" anchor="ctr"/>
                <a:lstStyle/>
                <a:p>
                  <a:endParaRPr lang="en-US" sz="1800"/>
                </a:p>
              </p:txBody>
            </p:sp>
            <p:sp>
              <p:nvSpPr>
                <p:cNvPr id="924" name="Freeform 11">
                  <a:extLst>
                    <a:ext uri="{FF2B5EF4-FFF2-40B4-BE49-F238E27FC236}">
                      <a16:creationId xmlns:a16="http://schemas.microsoft.com/office/drawing/2014/main" id="{07F6CA9C-7191-5994-88B9-C19B18CD6997}"/>
                    </a:ext>
                  </a:extLst>
                </p:cNvPr>
                <p:cNvSpPr/>
                <p:nvPr/>
              </p:nvSpPr>
              <p:spPr>
                <a:xfrm>
                  <a:off x="1285049" y="4482803"/>
                  <a:ext cx="49911" cy="10583"/>
                </a:xfrm>
                <a:custGeom>
                  <a:avLst/>
                  <a:gdLst>
                    <a:gd name="connsiteX0" fmla="*/ 49911 w 49911"/>
                    <a:gd name="connsiteY0" fmla="*/ 0 h 10583"/>
                    <a:gd name="connsiteX1" fmla="*/ 0 w 49911"/>
                    <a:gd name="connsiteY1" fmla="*/ 0 h 10583"/>
                  </a:gdLst>
                  <a:ahLst/>
                  <a:cxnLst>
                    <a:cxn ang="0">
                      <a:pos x="connsiteX0" y="connsiteY0"/>
                    </a:cxn>
                    <a:cxn ang="0">
                      <a:pos x="connsiteX1" y="connsiteY1"/>
                    </a:cxn>
                  </a:cxnLst>
                  <a:rect l="l" t="t" r="r" b="b"/>
                  <a:pathLst>
                    <a:path w="49911" h="10583">
                      <a:moveTo>
                        <a:pt x="49911" y="0"/>
                      </a:moveTo>
                      <a:lnTo>
                        <a:pt x="0" y="0"/>
                      </a:lnTo>
                    </a:path>
                  </a:pathLst>
                </a:custGeom>
                <a:ln w="10583" cap="flat">
                  <a:solidFill>
                    <a:srgbClr val="231F20"/>
                  </a:solidFill>
                  <a:prstDash val="solid"/>
                  <a:miter/>
                </a:ln>
              </p:spPr>
              <p:txBody>
                <a:bodyPr rtlCol="0" anchor="ctr"/>
                <a:lstStyle/>
                <a:p>
                  <a:endParaRPr lang="en-US" sz="1800"/>
                </a:p>
              </p:txBody>
            </p:sp>
            <p:sp>
              <p:nvSpPr>
                <p:cNvPr id="925" name="Freeform 12">
                  <a:extLst>
                    <a:ext uri="{FF2B5EF4-FFF2-40B4-BE49-F238E27FC236}">
                      <a16:creationId xmlns:a16="http://schemas.microsoft.com/office/drawing/2014/main" id="{026019DE-27CF-ED07-5D57-238DE1121FAD}"/>
                    </a:ext>
                  </a:extLst>
                </p:cNvPr>
                <p:cNvSpPr/>
                <p:nvPr/>
              </p:nvSpPr>
              <p:spPr>
                <a:xfrm>
                  <a:off x="1245457" y="3394445"/>
                  <a:ext cx="89503" cy="10583"/>
                </a:xfrm>
                <a:custGeom>
                  <a:avLst/>
                  <a:gdLst>
                    <a:gd name="connsiteX0" fmla="*/ 89503 w 89503"/>
                    <a:gd name="connsiteY0" fmla="*/ 0 h 10583"/>
                    <a:gd name="connsiteX1" fmla="*/ 0 w 89503"/>
                    <a:gd name="connsiteY1" fmla="*/ 0 h 10583"/>
                  </a:gdLst>
                  <a:ahLst/>
                  <a:cxnLst>
                    <a:cxn ang="0">
                      <a:pos x="connsiteX0" y="connsiteY0"/>
                    </a:cxn>
                    <a:cxn ang="0">
                      <a:pos x="connsiteX1" y="connsiteY1"/>
                    </a:cxn>
                  </a:cxnLst>
                  <a:rect l="l" t="t" r="r" b="b"/>
                  <a:pathLst>
                    <a:path w="89503" h="10583">
                      <a:moveTo>
                        <a:pt x="89503" y="0"/>
                      </a:moveTo>
                      <a:lnTo>
                        <a:pt x="0" y="0"/>
                      </a:lnTo>
                    </a:path>
                  </a:pathLst>
                </a:custGeom>
                <a:ln w="10583" cap="flat">
                  <a:solidFill>
                    <a:srgbClr val="231F20"/>
                  </a:solidFill>
                  <a:prstDash val="solid"/>
                  <a:miter/>
                </a:ln>
              </p:spPr>
              <p:txBody>
                <a:bodyPr rtlCol="0" anchor="ctr"/>
                <a:lstStyle/>
                <a:p>
                  <a:endParaRPr lang="en-US" sz="1800"/>
                </a:p>
              </p:txBody>
            </p:sp>
            <p:sp>
              <p:nvSpPr>
                <p:cNvPr id="926" name="Freeform 13">
                  <a:extLst>
                    <a:ext uri="{FF2B5EF4-FFF2-40B4-BE49-F238E27FC236}">
                      <a16:creationId xmlns:a16="http://schemas.microsoft.com/office/drawing/2014/main" id="{396A49AC-2AD8-536E-9CAD-B47BD5A83841}"/>
                    </a:ext>
                  </a:extLst>
                </p:cNvPr>
                <p:cNvSpPr/>
                <p:nvPr/>
              </p:nvSpPr>
              <p:spPr>
                <a:xfrm>
                  <a:off x="1285049" y="3758935"/>
                  <a:ext cx="49911" cy="10583"/>
                </a:xfrm>
                <a:custGeom>
                  <a:avLst/>
                  <a:gdLst>
                    <a:gd name="connsiteX0" fmla="*/ 49911 w 49911"/>
                    <a:gd name="connsiteY0" fmla="*/ 0 h 10583"/>
                    <a:gd name="connsiteX1" fmla="*/ 0 w 49911"/>
                    <a:gd name="connsiteY1" fmla="*/ 0 h 10583"/>
                  </a:gdLst>
                  <a:ahLst/>
                  <a:cxnLst>
                    <a:cxn ang="0">
                      <a:pos x="connsiteX0" y="connsiteY0"/>
                    </a:cxn>
                    <a:cxn ang="0">
                      <a:pos x="connsiteX1" y="connsiteY1"/>
                    </a:cxn>
                  </a:cxnLst>
                  <a:rect l="l" t="t" r="r" b="b"/>
                  <a:pathLst>
                    <a:path w="49911" h="10583">
                      <a:moveTo>
                        <a:pt x="49911" y="0"/>
                      </a:moveTo>
                      <a:lnTo>
                        <a:pt x="0" y="0"/>
                      </a:lnTo>
                    </a:path>
                  </a:pathLst>
                </a:custGeom>
                <a:ln w="10583" cap="flat">
                  <a:solidFill>
                    <a:srgbClr val="231F20"/>
                  </a:solidFill>
                  <a:prstDash val="solid"/>
                  <a:miter/>
                </a:ln>
              </p:spPr>
              <p:txBody>
                <a:bodyPr rtlCol="0" anchor="ctr"/>
                <a:lstStyle/>
                <a:p>
                  <a:endParaRPr lang="en-US" sz="1800"/>
                </a:p>
              </p:txBody>
            </p:sp>
            <p:sp>
              <p:nvSpPr>
                <p:cNvPr id="927" name="Freeform 14">
                  <a:extLst>
                    <a:ext uri="{FF2B5EF4-FFF2-40B4-BE49-F238E27FC236}">
                      <a16:creationId xmlns:a16="http://schemas.microsoft.com/office/drawing/2014/main" id="{6A774536-2E1E-A4E8-B2D6-110B68CD1EA0}"/>
                    </a:ext>
                  </a:extLst>
                </p:cNvPr>
                <p:cNvSpPr/>
                <p:nvPr/>
              </p:nvSpPr>
              <p:spPr>
                <a:xfrm>
                  <a:off x="1245457" y="2672439"/>
                  <a:ext cx="89503" cy="10583"/>
                </a:xfrm>
                <a:custGeom>
                  <a:avLst/>
                  <a:gdLst>
                    <a:gd name="connsiteX0" fmla="*/ 89503 w 89503"/>
                    <a:gd name="connsiteY0" fmla="*/ 0 h 10583"/>
                    <a:gd name="connsiteX1" fmla="*/ 0 w 89503"/>
                    <a:gd name="connsiteY1" fmla="*/ 0 h 10583"/>
                  </a:gdLst>
                  <a:ahLst/>
                  <a:cxnLst>
                    <a:cxn ang="0">
                      <a:pos x="connsiteX0" y="connsiteY0"/>
                    </a:cxn>
                    <a:cxn ang="0">
                      <a:pos x="connsiteX1" y="connsiteY1"/>
                    </a:cxn>
                  </a:cxnLst>
                  <a:rect l="l" t="t" r="r" b="b"/>
                  <a:pathLst>
                    <a:path w="89503" h="10583">
                      <a:moveTo>
                        <a:pt x="89503" y="0"/>
                      </a:moveTo>
                      <a:lnTo>
                        <a:pt x="0" y="0"/>
                      </a:lnTo>
                    </a:path>
                  </a:pathLst>
                </a:custGeom>
                <a:ln w="10583" cap="flat">
                  <a:solidFill>
                    <a:srgbClr val="231F20"/>
                  </a:solidFill>
                  <a:prstDash val="solid"/>
                  <a:miter/>
                </a:ln>
              </p:spPr>
              <p:txBody>
                <a:bodyPr rtlCol="0" anchor="ctr"/>
                <a:lstStyle/>
                <a:p>
                  <a:endParaRPr lang="en-US" sz="1800"/>
                </a:p>
              </p:txBody>
            </p:sp>
            <p:sp>
              <p:nvSpPr>
                <p:cNvPr id="928" name="Freeform 15">
                  <a:extLst>
                    <a:ext uri="{FF2B5EF4-FFF2-40B4-BE49-F238E27FC236}">
                      <a16:creationId xmlns:a16="http://schemas.microsoft.com/office/drawing/2014/main" id="{DF6795AC-0F1C-EDCB-1127-B749D9A4554B}"/>
                    </a:ext>
                  </a:extLst>
                </p:cNvPr>
                <p:cNvSpPr/>
                <p:nvPr/>
              </p:nvSpPr>
              <p:spPr>
                <a:xfrm>
                  <a:off x="1285049" y="3036940"/>
                  <a:ext cx="49911" cy="10583"/>
                </a:xfrm>
                <a:custGeom>
                  <a:avLst/>
                  <a:gdLst>
                    <a:gd name="connsiteX0" fmla="*/ 49911 w 49911"/>
                    <a:gd name="connsiteY0" fmla="*/ 0 h 10583"/>
                    <a:gd name="connsiteX1" fmla="*/ 0 w 49911"/>
                    <a:gd name="connsiteY1" fmla="*/ 0 h 10583"/>
                  </a:gdLst>
                  <a:ahLst/>
                  <a:cxnLst>
                    <a:cxn ang="0">
                      <a:pos x="connsiteX0" y="connsiteY0"/>
                    </a:cxn>
                    <a:cxn ang="0">
                      <a:pos x="connsiteX1" y="connsiteY1"/>
                    </a:cxn>
                  </a:cxnLst>
                  <a:rect l="l" t="t" r="r" b="b"/>
                  <a:pathLst>
                    <a:path w="49911" h="10583">
                      <a:moveTo>
                        <a:pt x="49911" y="0"/>
                      </a:moveTo>
                      <a:lnTo>
                        <a:pt x="0" y="0"/>
                      </a:lnTo>
                    </a:path>
                  </a:pathLst>
                </a:custGeom>
                <a:ln w="10583" cap="flat">
                  <a:solidFill>
                    <a:srgbClr val="231F20"/>
                  </a:solidFill>
                  <a:prstDash val="solid"/>
                  <a:miter/>
                </a:ln>
              </p:spPr>
              <p:txBody>
                <a:bodyPr rtlCol="0" anchor="ctr"/>
                <a:lstStyle/>
                <a:p>
                  <a:endParaRPr lang="en-US" sz="1800"/>
                </a:p>
              </p:txBody>
            </p:sp>
            <p:sp>
              <p:nvSpPr>
                <p:cNvPr id="929" name="Freeform 16">
                  <a:extLst>
                    <a:ext uri="{FF2B5EF4-FFF2-40B4-BE49-F238E27FC236}">
                      <a16:creationId xmlns:a16="http://schemas.microsoft.com/office/drawing/2014/main" id="{65B707E6-242D-6EE4-C184-457477737E96}"/>
                    </a:ext>
                  </a:extLst>
                </p:cNvPr>
                <p:cNvSpPr/>
                <p:nvPr/>
              </p:nvSpPr>
              <p:spPr>
                <a:xfrm>
                  <a:off x="1245457" y="1948571"/>
                  <a:ext cx="89503" cy="10583"/>
                </a:xfrm>
                <a:custGeom>
                  <a:avLst/>
                  <a:gdLst>
                    <a:gd name="connsiteX0" fmla="*/ 89503 w 89503"/>
                    <a:gd name="connsiteY0" fmla="*/ 0 h 10583"/>
                    <a:gd name="connsiteX1" fmla="*/ 0 w 89503"/>
                    <a:gd name="connsiteY1" fmla="*/ 0 h 10583"/>
                  </a:gdLst>
                  <a:ahLst/>
                  <a:cxnLst>
                    <a:cxn ang="0">
                      <a:pos x="connsiteX0" y="connsiteY0"/>
                    </a:cxn>
                    <a:cxn ang="0">
                      <a:pos x="connsiteX1" y="connsiteY1"/>
                    </a:cxn>
                  </a:cxnLst>
                  <a:rect l="l" t="t" r="r" b="b"/>
                  <a:pathLst>
                    <a:path w="89503" h="10583">
                      <a:moveTo>
                        <a:pt x="89503" y="0"/>
                      </a:moveTo>
                      <a:lnTo>
                        <a:pt x="0" y="0"/>
                      </a:lnTo>
                    </a:path>
                  </a:pathLst>
                </a:custGeom>
                <a:ln w="10583" cap="flat">
                  <a:solidFill>
                    <a:srgbClr val="231F20"/>
                  </a:solidFill>
                  <a:prstDash val="solid"/>
                  <a:miter/>
                </a:ln>
              </p:spPr>
              <p:txBody>
                <a:bodyPr rtlCol="0" anchor="ctr"/>
                <a:lstStyle/>
                <a:p>
                  <a:endParaRPr lang="en-US" sz="1800"/>
                </a:p>
              </p:txBody>
            </p:sp>
            <p:sp>
              <p:nvSpPr>
                <p:cNvPr id="930" name="Freeform 17">
                  <a:extLst>
                    <a:ext uri="{FF2B5EF4-FFF2-40B4-BE49-F238E27FC236}">
                      <a16:creationId xmlns:a16="http://schemas.microsoft.com/office/drawing/2014/main" id="{3006BFF9-8774-FEC8-79A9-D236DC87D9CA}"/>
                    </a:ext>
                  </a:extLst>
                </p:cNvPr>
                <p:cNvSpPr/>
                <p:nvPr/>
              </p:nvSpPr>
              <p:spPr>
                <a:xfrm>
                  <a:off x="1285049" y="2313072"/>
                  <a:ext cx="49911" cy="10583"/>
                </a:xfrm>
                <a:custGeom>
                  <a:avLst/>
                  <a:gdLst>
                    <a:gd name="connsiteX0" fmla="*/ 49911 w 49911"/>
                    <a:gd name="connsiteY0" fmla="*/ 0 h 10583"/>
                    <a:gd name="connsiteX1" fmla="*/ 0 w 49911"/>
                    <a:gd name="connsiteY1" fmla="*/ 0 h 10583"/>
                  </a:gdLst>
                  <a:ahLst/>
                  <a:cxnLst>
                    <a:cxn ang="0">
                      <a:pos x="connsiteX0" y="connsiteY0"/>
                    </a:cxn>
                    <a:cxn ang="0">
                      <a:pos x="connsiteX1" y="connsiteY1"/>
                    </a:cxn>
                  </a:cxnLst>
                  <a:rect l="l" t="t" r="r" b="b"/>
                  <a:pathLst>
                    <a:path w="49911" h="10583">
                      <a:moveTo>
                        <a:pt x="49911" y="0"/>
                      </a:moveTo>
                      <a:lnTo>
                        <a:pt x="0" y="0"/>
                      </a:lnTo>
                    </a:path>
                  </a:pathLst>
                </a:custGeom>
                <a:ln w="10583" cap="flat">
                  <a:solidFill>
                    <a:srgbClr val="231F20"/>
                  </a:solidFill>
                  <a:prstDash val="solid"/>
                  <a:miter/>
                </a:ln>
              </p:spPr>
              <p:txBody>
                <a:bodyPr rtlCol="0" anchor="ctr"/>
                <a:lstStyle/>
                <a:p>
                  <a:endParaRPr lang="en-US" sz="1800"/>
                </a:p>
              </p:txBody>
            </p:sp>
            <p:sp>
              <p:nvSpPr>
                <p:cNvPr id="931" name="Freeform 18">
                  <a:extLst>
                    <a:ext uri="{FF2B5EF4-FFF2-40B4-BE49-F238E27FC236}">
                      <a16:creationId xmlns:a16="http://schemas.microsoft.com/office/drawing/2014/main" id="{AC6298B0-E98A-B803-CCB7-34E31CE3C63B}"/>
                    </a:ext>
                  </a:extLst>
                </p:cNvPr>
                <p:cNvSpPr/>
                <p:nvPr/>
              </p:nvSpPr>
              <p:spPr>
                <a:xfrm>
                  <a:off x="1245457" y="1229169"/>
                  <a:ext cx="89503" cy="10583"/>
                </a:xfrm>
                <a:custGeom>
                  <a:avLst/>
                  <a:gdLst>
                    <a:gd name="connsiteX0" fmla="*/ 89503 w 89503"/>
                    <a:gd name="connsiteY0" fmla="*/ 0 h 10583"/>
                    <a:gd name="connsiteX1" fmla="*/ 0 w 89503"/>
                    <a:gd name="connsiteY1" fmla="*/ 0 h 10583"/>
                  </a:gdLst>
                  <a:ahLst/>
                  <a:cxnLst>
                    <a:cxn ang="0">
                      <a:pos x="connsiteX0" y="connsiteY0"/>
                    </a:cxn>
                    <a:cxn ang="0">
                      <a:pos x="connsiteX1" y="connsiteY1"/>
                    </a:cxn>
                  </a:cxnLst>
                  <a:rect l="l" t="t" r="r" b="b"/>
                  <a:pathLst>
                    <a:path w="89503" h="10583">
                      <a:moveTo>
                        <a:pt x="89503" y="0"/>
                      </a:moveTo>
                      <a:lnTo>
                        <a:pt x="0" y="0"/>
                      </a:lnTo>
                    </a:path>
                  </a:pathLst>
                </a:custGeom>
                <a:ln w="10583" cap="flat">
                  <a:solidFill>
                    <a:srgbClr val="231F20"/>
                  </a:solidFill>
                  <a:prstDash val="solid"/>
                  <a:miter/>
                </a:ln>
              </p:spPr>
              <p:txBody>
                <a:bodyPr rtlCol="0" anchor="ctr"/>
                <a:lstStyle/>
                <a:p>
                  <a:endParaRPr lang="en-US" sz="1800"/>
                </a:p>
              </p:txBody>
            </p:sp>
            <p:sp>
              <p:nvSpPr>
                <p:cNvPr id="932" name="Freeform 19">
                  <a:extLst>
                    <a:ext uri="{FF2B5EF4-FFF2-40B4-BE49-F238E27FC236}">
                      <a16:creationId xmlns:a16="http://schemas.microsoft.com/office/drawing/2014/main" id="{9946E5EB-D77E-0D02-5A8B-855F59A25E11}"/>
                    </a:ext>
                  </a:extLst>
                </p:cNvPr>
                <p:cNvSpPr/>
                <p:nvPr/>
              </p:nvSpPr>
              <p:spPr>
                <a:xfrm>
                  <a:off x="1285049" y="1593659"/>
                  <a:ext cx="49911" cy="10583"/>
                </a:xfrm>
                <a:custGeom>
                  <a:avLst/>
                  <a:gdLst>
                    <a:gd name="connsiteX0" fmla="*/ 49911 w 49911"/>
                    <a:gd name="connsiteY0" fmla="*/ 0 h 10583"/>
                    <a:gd name="connsiteX1" fmla="*/ 0 w 49911"/>
                    <a:gd name="connsiteY1" fmla="*/ 0 h 10583"/>
                  </a:gdLst>
                  <a:ahLst/>
                  <a:cxnLst>
                    <a:cxn ang="0">
                      <a:pos x="connsiteX0" y="connsiteY0"/>
                    </a:cxn>
                    <a:cxn ang="0">
                      <a:pos x="connsiteX1" y="connsiteY1"/>
                    </a:cxn>
                  </a:cxnLst>
                  <a:rect l="l" t="t" r="r" b="b"/>
                  <a:pathLst>
                    <a:path w="49911" h="10583">
                      <a:moveTo>
                        <a:pt x="49911" y="0"/>
                      </a:moveTo>
                      <a:lnTo>
                        <a:pt x="0" y="0"/>
                      </a:lnTo>
                    </a:path>
                  </a:pathLst>
                </a:custGeom>
                <a:ln w="10583" cap="flat">
                  <a:solidFill>
                    <a:srgbClr val="231F20"/>
                  </a:solidFill>
                  <a:prstDash val="solid"/>
                  <a:miter/>
                </a:ln>
              </p:spPr>
              <p:txBody>
                <a:bodyPr rtlCol="0" anchor="ctr"/>
                <a:lstStyle/>
                <a:p>
                  <a:endParaRPr lang="en-US" sz="1800"/>
                </a:p>
              </p:txBody>
            </p:sp>
          </p:grpSp>
          <p:sp>
            <p:nvSpPr>
              <p:cNvPr id="875" name="Freeform 7">
                <a:extLst>
                  <a:ext uri="{FF2B5EF4-FFF2-40B4-BE49-F238E27FC236}">
                    <a16:creationId xmlns:a16="http://schemas.microsoft.com/office/drawing/2014/main" id="{3DAC4C8D-7149-3C67-EDDC-1250975072B4}"/>
                  </a:ext>
                </a:extLst>
              </p:cNvPr>
              <p:cNvSpPr/>
              <p:nvPr/>
            </p:nvSpPr>
            <p:spPr>
              <a:xfrm>
                <a:off x="1530919" y="4908020"/>
                <a:ext cx="10583" cy="58367"/>
              </a:xfrm>
              <a:custGeom>
                <a:avLst/>
                <a:gdLst>
                  <a:gd name="connsiteX0" fmla="*/ 0 w 10583"/>
                  <a:gd name="connsiteY0" fmla="*/ 0 h 58367"/>
                  <a:gd name="connsiteX1" fmla="*/ 0 w 10583"/>
                  <a:gd name="connsiteY1" fmla="*/ 58367 h 58367"/>
                </a:gdLst>
                <a:ahLst/>
                <a:cxnLst>
                  <a:cxn ang="0">
                    <a:pos x="connsiteX0" y="connsiteY0"/>
                  </a:cxn>
                  <a:cxn ang="0">
                    <a:pos x="connsiteX1" y="connsiteY1"/>
                  </a:cxn>
                </a:cxnLst>
                <a:rect l="l" t="t" r="r" b="b"/>
                <a:pathLst>
                  <a:path w="10583" h="58367">
                    <a:moveTo>
                      <a:pt x="0" y="0"/>
                    </a:moveTo>
                    <a:lnTo>
                      <a:pt x="0" y="58367"/>
                    </a:lnTo>
                  </a:path>
                </a:pathLst>
              </a:custGeom>
              <a:ln w="12700" cap="flat">
                <a:solidFill>
                  <a:srgbClr val="231F20"/>
                </a:solidFill>
                <a:prstDash val="solid"/>
                <a:miter/>
              </a:ln>
            </p:spPr>
            <p:txBody>
              <a:bodyPr rtlCol="0" anchor="ctr"/>
              <a:lstStyle/>
              <a:p>
                <a:endParaRPr lang="en-US" sz="1800"/>
              </a:p>
            </p:txBody>
          </p:sp>
          <p:sp>
            <p:nvSpPr>
              <p:cNvPr id="876" name="Freeform 20">
                <a:extLst>
                  <a:ext uri="{FF2B5EF4-FFF2-40B4-BE49-F238E27FC236}">
                    <a16:creationId xmlns:a16="http://schemas.microsoft.com/office/drawing/2014/main" id="{AB15AB3E-46FC-303D-E167-AD45D88C259E}"/>
                  </a:ext>
                </a:extLst>
              </p:cNvPr>
              <p:cNvSpPr/>
              <p:nvPr/>
            </p:nvSpPr>
            <p:spPr>
              <a:xfrm>
                <a:off x="1754566" y="4908020"/>
                <a:ext cx="10583" cy="58367"/>
              </a:xfrm>
              <a:custGeom>
                <a:avLst/>
                <a:gdLst>
                  <a:gd name="connsiteX0" fmla="*/ 0 w 10583"/>
                  <a:gd name="connsiteY0" fmla="*/ 0 h 58367"/>
                  <a:gd name="connsiteX1" fmla="*/ 0 w 10583"/>
                  <a:gd name="connsiteY1" fmla="*/ 58367 h 58367"/>
                </a:gdLst>
                <a:ahLst/>
                <a:cxnLst>
                  <a:cxn ang="0">
                    <a:pos x="connsiteX0" y="connsiteY0"/>
                  </a:cxn>
                  <a:cxn ang="0">
                    <a:pos x="connsiteX1" y="connsiteY1"/>
                  </a:cxn>
                </a:cxnLst>
                <a:rect l="l" t="t" r="r" b="b"/>
                <a:pathLst>
                  <a:path w="10583" h="58367">
                    <a:moveTo>
                      <a:pt x="0" y="0"/>
                    </a:moveTo>
                    <a:lnTo>
                      <a:pt x="0" y="58367"/>
                    </a:lnTo>
                  </a:path>
                </a:pathLst>
              </a:custGeom>
              <a:ln w="12700" cap="flat">
                <a:solidFill>
                  <a:srgbClr val="231F20"/>
                </a:solidFill>
                <a:prstDash val="solid"/>
                <a:miter/>
              </a:ln>
            </p:spPr>
            <p:txBody>
              <a:bodyPr rtlCol="0" anchor="ctr"/>
              <a:lstStyle/>
              <a:p>
                <a:endParaRPr lang="en-US" sz="1800"/>
              </a:p>
            </p:txBody>
          </p:sp>
          <p:sp>
            <p:nvSpPr>
              <p:cNvPr id="877" name="Freeform 21">
                <a:extLst>
                  <a:ext uri="{FF2B5EF4-FFF2-40B4-BE49-F238E27FC236}">
                    <a16:creationId xmlns:a16="http://schemas.microsoft.com/office/drawing/2014/main" id="{E04068B6-EA46-EE1D-EEF1-80F7BDE1049B}"/>
                  </a:ext>
                </a:extLst>
              </p:cNvPr>
              <p:cNvSpPr/>
              <p:nvPr/>
            </p:nvSpPr>
            <p:spPr>
              <a:xfrm>
                <a:off x="1977271" y="4908020"/>
                <a:ext cx="10583" cy="58367"/>
              </a:xfrm>
              <a:custGeom>
                <a:avLst/>
                <a:gdLst>
                  <a:gd name="connsiteX0" fmla="*/ 0 w 10583"/>
                  <a:gd name="connsiteY0" fmla="*/ 0 h 58367"/>
                  <a:gd name="connsiteX1" fmla="*/ 0 w 10583"/>
                  <a:gd name="connsiteY1" fmla="*/ 58367 h 58367"/>
                </a:gdLst>
                <a:ahLst/>
                <a:cxnLst>
                  <a:cxn ang="0">
                    <a:pos x="connsiteX0" y="connsiteY0"/>
                  </a:cxn>
                  <a:cxn ang="0">
                    <a:pos x="connsiteX1" y="connsiteY1"/>
                  </a:cxn>
                </a:cxnLst>
                <a:rect l="l" t="t" r="r" b="b"/>
                <a:pathLst>
                  <a:path w="10583" h="58367">
                    <a:moveTo>
                      <a:pt x="0" y="0"/>
                    </a:moveTo>
                    <a:lnTo>
                      <a:pt x="0" y="58367"/>
                    </a:lnTo>
                  </a:path>
                </a:pathLst>
              </a:custGeom>
              <a:ln w="12700" cap="flat">
                <a:solidFill>
                  <a:srgbClr val="231F20"/>
                </a:solidFill>
                <a:prstDash val="solid"/>
                <a:miter/>
              </a:ln>
            </p:spPr>
            <p:txBody>
              <a:bodyPr rtlCol="0" anchor="ctr"/>
              <a:lstStyle/>
              <a:p>
                <a:endParaRPr lang="en-US" sz="1800"/>
              </a:p>
            </p:txBody>
          </p:sp>
          <p:sp>
            <p:nvSpPr>
              <p:cNvPr id="878" name="Freeform 22">
                <a:extLst>
                  <a:ext uri="{FF2B5EF4-FFF2-40B4-BE49-F238E27FC236}">
                    <a16:creationId xmlns:a16="http://schemas.microsoft.com/office/drawing/2014/main" id="{57C37599-BE97-0937-3EAB-1243A66EBBC2}"/>
                  </a:ext>
                </a:extLst>
              </p:cNvPr>
              <p:cNvSpPr/>
              <p:nvPr/>
            </p:nvSpPr>
            <p:spPr>
              <a:xfrm>
                <a:off x="2200569" y="4908020"/>
                <a:ext cx="10583" cy="58367"/>
              </a:xfrm>
              <a:custGeom>
                <a:avLst/>
                <a:gdLst>
                  <a:gd name="connsiteX0" fmla="*/ 0 w 10583"/>
                  <a:gd name="connsiteY0" fmla="*/ 0 h 58367"/>
                  <a:gd name="connsiteX1" fmla="*/ 0 w 10583"/>
                  <a:gd name="connsiteY1" fmla="*/ 58367 h 58367"/>
                </a:gdLst>
                <a:ahLst/>
                <a:cxnLst>
                  <a:cxn ang="0">
                    <a:pos x="connsiteX0" y="connsiteY0"/>
                  </a:cxn>
                  <a:cxn ang="0">
                    <a:pos x="connsiteX1" y="connsiteY1"/>
                  </a:cxn>
                </a:cxnLst>
                <a:rect l="l" t="t" r="r" b="b"/>
                <a:pathLst>
                  <a:path w="10583" h="58367">
                    <a:moveTo>
                      <a:pt x="0" y="0"/>
                    </a:moveTo>
                    <a:lnTo>
                      <a:pt x="0" y="58367"/>
                    </a:lnTo>
                  </a:path>
                </a:pathLst>
              </a:custGeom>
              <a:ln w="12700" cap="flat">
                <a:solidFill>
                  <a:srgbClr val="231F20"/>
                </a:solidFill>
                <a:prstDash val="solid"/>
                <a:miter/>
              </a:ln>
            </p:spPr>
            <p:txBody>
              <a:bodyPr rtlCol="0" anchor="ctr"/>
              <a:lstStyle/>
              <a:p>
                <a:endParaRPr lang="en-US" sz="1800"/>
              </a:p>
            </p:txBody>
          </p:sp>
          <p:sp>
            <p:nvSpPr>
              <p:cNvPr id="879" name="Freeform 23">
                <a:extLst>
                  <a:ext uri="{FF2B5EF4-FFF2-40B4-BE49-F238E27FC236}">
                    <a16:creationId xmlns:a16="http://schemas.microsoft.com/office/drawing/2014/main" id="{54EDE73F-2BC8-6DCC-FD09-91DCA7C16FB3}"/>
                  </a:ext>
                </a:extLst>
              </p:cNvPr>
              <p:cNvSpPr/>
              <p:nvPr/>
            </p:nvSpPr>
            <p:spPr>
              <a:xfrm>
                <a:off x="2424216" y="4908020"/>
                <a:ext cx="10583" cy="58367"/>
              </a:xfrm>
              <a:custGeom>
                <a:avLst/>
                <a:gdLst>
                  <a:gd name="connsiteX0" fmla="*/ 0 w 10583"/>
                  <a:gd name="connsiteY0" fmla="*/ 0 h 58367"/>
                  <a:gd name="connsiteX1" fmla="*/ 0 w 10583"/>
                  <a:gd name="connsiteY1" fmla="*/ 58367 h 58367"/>
                </a:gdLst>
                <a:ahLst/>
                <a:cxnLst>
                  <a:cxn ang="0">
                    <a:pos x="connsiteX0" y="connsiteY0"/>
                  </a:cxn>
                  <a:cxn ang="0">
                    <a:pos x="connsiteX1" y="connsiteY1"/>
                  </a:cxn>
                </a:cxnLst>
                <a:rect l="l" t="t" r="r" b="b"/>
                <a:pathLst>
                  <a:path w="10583" h="58367">
                    <a:moveTo>
                      <a:pt x="0" y="0"/>
                    </a:moveTo>
                    <a:lnTo>
                      <a:pt x="0" y="58367"/>
                    </a:lnTo>
                  </a:path>
                </a:pathLst>
              </a:custGeom>
              <a:ln w="12700" cap="flat">
                <a:solidFill>
                  <a:srgbClr val="231F20"/>
                </a:solidFill>
                <a:prstDash val="solid"/>
                <a:miter/>
              </a:ln>
            </p:spPr>
            <p:txBody>
              <a:bodyPr rtlCol="0" anchor="ctr"/>
              <a:lstStyle/>
              <a:p>
                <a:endParaRPr lang="en-US" sz="1800"/>
              </a:p>
            </p:txBody>
          </p:sp>
          <p:sp>
            <p:nvSpPr>
              <p:cNvPr id="880" name="Freeform 24">
                <a:extLst>
                  <a:ext uri="{FF2B5EF4-FFF2-40B4-BE49-F238E27FC236}">
                    <a16:creationId xmlns:a16="http://schemas.microsoft.com/office/drawing/2014/main" id="{5E1E1FCA-AE05-1830-4B16-A813AC2E8BE3}"/>
                  </a:ext>
                </a:extLst>
              </p:cNvPr>
              <p:cNvSpPr/>
              <p:nvPr/>
            </p:nvSpPr>
            <p:spPr>
              <a:xfrm>
                <a:off x="2646921" y="4908020"/>
                <a:ext cx="10583" cy="58367"/>
              </a:xfrm>
              <a:custGeom>
                <a:avLst/>
                <a:gdLst>
                  <a:gd name="connsiteX0" fmla="*/ 0 w 10583"/>
                  <a:gd name="connsiteY0" fmla="*/ 0 h 58367"/>
                  <a:gd name="connsiteX1" fmla="*/ 0 w 10583"/>
                  <a:gd name="connsiteY1" fmla="*/ 58367 h 58367"/>
                </a:gdLst>
                <a:ahLst/>
                <a:cxnLst>
                  <a:cxn ang="0">
                    <a:pos x="connsiteX0" y="connsiteY0"/>
                  </a:cxn>
                  <a:cxn ang="0">
                    <a:pos x="connsiteX1" y="connsiteY1"/>
                  </a:cxn>
                </a:cxnLst>
                <a:rect l="l" t="t" r="r" b="b"/>
                <a:pathLst>
                  <a:path w="10583" h="58367">
                    <a:moveTo>
                      <a:pt x="0" y="0"/>
                    </a:moveTo>
                    <a:lnTo>
                      <a:pt x="0" y="58367"/>
                    </a:lnTo>
                  </a:path>
                </a:pathLst>
              </a:custGeom>
              <a:ln w="12700" cap="flat">
                <a:solidFill>
                  <a:srgbClr val="231F20"/>
                </a:solidFill>
                <a:prstDash val="solid"/>
                <a:miter/>
              </a:ln>
            </p:spPr>
            <p:txBody>
              <a:bodyPr rtlCol="0" anchor="ctr"/>
              <a:lstStyle/>
              <a:p>
                <a:endParaRPr lang="en-US" sz="1800"/>
              </a:p>
            </p:txBody>
          </p:sp>
          <p:sp>
            <p:nvSpPr>
              <p:cNvPr id="881" name="Freeform 25">
                <a:extLst>
                  <a:ext uri="{FF2B5EF4-FFF2-40B4-BE49-F238E27FC236}">
                    <a16:creationId xmlns:a16="http://schemas.microsoft.com/office/drawing/2014/main" id="{8F9890F8-50F8-60B2-3D76-B195A8A1304A}"/>
                  </a:ext>
                </a:extLst>
              </p:cNvPr>
              <p:cNvSpPr/>
              <p:nvPr/>
            </p:nvSpPr>
            <p:spPr>
              <a:xfrm>
                <a:off x="2863361" y="4908020"/>
                <a:ext cx="10583" cy="58367"/>
              </a:xfrm>
              <a:custGeom>
                <a:avLst/>
                <a:gdLst>
                  <a:gd name="connsiteX0" fmla="*/ 0 w 10583"/>
                  <a:gd name="connsiteY0" fmla="*/ 0 h 58367"/>
                  <a:gd name="connsiteX1" fmla="*/ 0 w 10583"/>
                  <a:gd name="connsiteY1" fmla="*/ 58367 h 58367"/>
                </a:gdLst>
                <a:ahLst/>
                <a:cxnLst>
                  <a:cxn ang="0">
                    <a:pos x="connsiteX0" y="connsiteY0"/>
                  </a:cxn>
                  <a:cxn ang="0">
                    <a:pos x="connsiteX1" y="connsiteY1"/>
                  </a:cxn>
                </a:cxnLst>
                <a:rect l="l" t="t" r="r" b="b"/>
                <a:pathLst>
                  <a:path w="10583" h="58367">
                    <a:moveTo>
                      <a:pt x="0" y="0"/>
                    </a:moveTo>
                    <a:lnTo>
                      <a:pt x="0" y="58367"/>
                    </a:lnTo>
                  </a:path>
                </a:pathLst>
              </a:custGeom>
              <a:ln w="12700" cap="flat">
                <a:solidFill>
                  <a:srgbClr val="231F20"/>
                </a:solidFill>
                <a:prstDash val="solid"/>
                <a:miter/>
              </a:ln>
            </p:spPr>
            <p:txBody>
              <a:bodyPr rtlCol="0" anchor="ctr"/>
              <a:lstStyle/>
              <a:p>
                <a:endParaRPr lang="en-US" sz="1800"/>
              </a:p>
            </p:txBody>
          </p:sp>
          <p:sp>
            <p:nvSpPr>
              <p:cNvPr id="882" name="Freeform 26">
                <a:extLst>
                  <a:ext uri="{FF2B5EF4-FFF2-40B4-BE49-F238E27FC236}">
                    <a16:creationId xmlns:a16="http://schemas.microsoft.com/office/drawing/2014/main" id="{BA9EF0A7-9229-2C1E-6ADB-A47F7C4A1560}"/>
                  </a:ext>
                </a:extLst>
              </p:cNvPr>
              <p:cNvSpPr/>
              <p:nvPr/>
            </p:nvSpPr>
            <p:spPr>
              <a:xfrm>
                <a:off x="3087008" y="4908020"/>
                <a:ext cx="10583" cy="58367"/>
              </a:xfrm>
              <a:custGeom>
                <a:avLst/>
                <a:gdLst>
                  <a:gd name="connsiteX0" fmla="*/ 0 w 10583"/>
                  <a:gd name="connsiteY0" fmla="*/ 0 h 58367"/>
                  <a:gd name="connsiteX1" fmla="*/ 0 w 10583"/>
                  <a:gd name="connsiteY1" fmla="*/ 58367 h 58367"/>
                </a:gdLst>
                <a:ahLst/>
                <a:cxnLst>
                  <a:cxn ang="0">
                    <a:pos x="connsiteX0" y="connsiteY0"/>
                  </a:cxn>
                  <a:cxn ang="0">
                    <a:pos x="connsiteX1" y="connsiteY1"/>
                  </a:cxn>
                </a:cxnLst>
                <a:rect l="l" t="t" r="r" b="b"/>
                <a:pathLst>
                  <a:path w="10583" h="58367">
                    <a:moveTo>
                      <a:pt x="0" y="0"/>
                    </a:moveTo>
                    <a:lnTo>
                      <a:pt x="0" y="58367"/>
                    </a:lnTo>
                  </a:path>
                </a:pathLst>
              </a:custGeom>
              <a:ln w="12700" cap="flat">
                <a:solidFill>
                  <a:srgbClr val="231F20"/>
                </a:solidFill>
                <a:prstDash val="solid"/>
                <a:miter/>
              </a:ln>
            </p:spPr>
            <p:txBody>
              <a:bodyPr rtlCol="0" anchor="ctr"/>
              <a:lstStyle/>
              <a:p>
                <a:endParaRPr lang="en-US" sz="1800"/>
              </a:p>
            </p:txBody>
          </p:sp>
          <p:sp>
            <p:nvSpPr>
              <p:cNvPr id="883" name="Freeform 27">
                <a:extLst>
                  <a:ext uri="{FF2B5EF4-FFF2-40B4-BE49-F238E27FC236}">
                    <a16:creationId xmlns:a16="http://schemas.microsoft.com/office/drawing/2014/main" id="{B62BAD67-187A-A00F-489F-F78BAE9434B0}"/>
                  </a:ext>
                </a:extLst>
              </p:cNvPr>
              <p:cNvSpPr/>
              <p:nvPr/>
            </p:nvSpPr>
            <p:spPr>
              <a:xfrm>
                <a:off x="3309713" y="4908020"/>
                <a:ext cx="10583" cy="58367"/>
              </a:xfrm>
              <a:custGeom>
                <a:avLst/>
                <a:gdLst>
                  <a:gd name="connsiteX0" fmla="*/ 0 w 10583"/>
                  <a:gd name="connsiteY0" fmla="*/ 0 h 58367"/>
                  <a:gd name="connsiteX1" fmla="*/ 0 w 10583"/>
                  <a:gd name="connsiteY1" fmla="*/ 58367 h 58367"/>
                </a:gdLst>
                <a:ahLst/>
                <a:cxnLst>
                  <a:cxn ang="0">
                    <a:pos x="connsiteX0" y="connsiteY0"/>
                  </a:cxn>
                  <a:cxn ang="0">
                    <a:pos x="connsiteX1" y="connsiteY1"/>
                  </a:cxn>
                </a:cxnLst>
                <a:rect l="l" t="t" r="r" b="b"/>
                <a:pathLst>
                  <a:path w="10583" h="58367">
                    <a:moveTo>
                      <a:pt x="0" y="0"/>
                    </a:moveTo>
                    <a:lnTo>
                      <a:pt x="0" y="58367"/>
                    </a:lnTo>
                  </a:path>
                </a:pathLst>
              </a:custGeom>
              <a:ln w="12700" cap="flat">
                <a:solidFill>
                  <a:srgbClr val="231F20"/>
                </a:solidFill>
                <a:prstDash val="solid"/>
                <a:miter/>
              </a:ln>
            </p:spPr>
            <p:txBody>
              <a:bodyPr rtlCol="0" anchor="ctr"/>
              <a:lstStyle/>
              <a:p>
                <a:endParaRPr lang="en-US" sz="1800"/>
              </a:p>
            </p:txBody>
          </p:sp>
          <p:sp>
            <p:nvSpPr>
              <p:cNvPr id="884" name="Freeform 28">
                <a:extLst>
                  <a:ext uri="{FF2B5EF4-FFF2-40B4-BE49-F238E27FC236}">
                    <a16:creationId xmlns:a16="http://schemas.microsoft.com/office/drawing/2014/main" id="{BA0D8A62-D970-5E57-76B8-C063513245A8}"/>
                  </a:ext>
                </a:extLst>
              </p:cNvPr>
              <p:cNvSpPr/>
              <p:nvPr/>
            </p:nvSpPr>
            <p:spPr>
              <a:xfrm>
                <a:off x="3533011" y="4908020"/>
                <a:ext cx="10583" cy="58367"/>
              </a:xfrm>
              <a:custGeom>
                <a:avLst/>
                <a:gdLst>
                  <a:gd name="connsiteX0" fmla="*/ 0 w 10583"/>
                  <a:gd name="connsiteY0" fmla="*/ 0 h 58367"/>
                  <a:gd name="connsiteX1" fmla="*/ 0 w 10583"/>
                  <a:gd name="connsiteY1" fmla="*/ 58367 h 58367"/>
                </a:gdLst>
                <a:ahLst/>
                <a:cxnLst>
                  <a:cxn ang="0">
                    <a:pos x="connsiteX0" y="connsiteY0"/>
                  </a:cxn>
                  <a:cxn ang="0">
                    <a:pos x="connsiteX1" y="connsiteY1"/>
                  </a:cxn>
                </a:cxnLst>
                <a:rect l="l" t="t" r="r" b="b"/>
                <a:pathLst>
                  <a:path w="10583" h="58367">
                    <a:moveTo>
                      <a:pt x="0" y="0"/>
                    </a:moveTo>
                    <a:lnTo>
                      <a:pt x="0" y="58367"/>
                    </a:lnTo>
                  </a:path>
                </a:pathLst>
              </a:custGeom>
              <a:ln w="12700" cap="flat">
                <a:solidFill>
                  <a:srgbClr val="231F20"/>
                </a:solidFill>
                <a:prstDash val="solid"/>
                <a:miter/>
              </a:ln>
            </p:spPr>
            <p:txBody>
              <a:bodyPr rtlCol="0" anchor="ctr"/>
              <a:lstStyle/>
              <a:p>
                <a:endParaRPr lang="en-US" sz="1800"/>
              </a:p>
            </p:txBody>
          </p:sp>
          <p:sp>
            <p:nvSpPr>
              <p:cNvPr id="885" name="Freeform 29">
                <a:extLst>
                  <a:ext uri="{FF2B5EF4-FFF2-40B4-BE49-F238E27FC236}">
                    <a16:creationId xmlns:a16="http://schemas.microsoft.com/office/drawing/2014/main" id="{85AB0E2C-DB2F-5959-2E00-B7314C3EE9E3}"/>
                  </a:ext>
                </a:extLst>
              </p:cNvPr>
              <p:cNvSpPr/>
              <p:nvPr/>
            </p:nvSpPr>
            <p:spPr>
              <a:xfrm>
                <a:off x="3756658" y="4908020"/>
                <a:ext cx="10583" cy="58367"/>
              </a:xfrm>
              <a:custGeom>
                <a:avLst/>
                <a:gdLst>
                  <a:gd name="connsiteX0" fmla="*/ 0 w 10583"/>
                  <a:gd name="connsiteY0" fmla="*/ 0 h 58367"/>
                  <a:gd name="connsiteX1" fmla="*/ 0 w 10583"/>
                  <a:gd name="connsiteY1" fmla="*/ 58367 h 58367"/>
                </a:gdLst>
                <a:ahLst/>
                <a:cxnLst>
                  <a:cxn ang="0">
                    <a:pos x="connsiteX0" y="connsiteY0"/>
                  </a:cxn>
                  <a:cxn ang="0">
                    <a:pos x="connsiteX1" y="connsiteY1"/>
                  </a:cxn>
                </a:cxnLst>
                <a:rect l="l" t="t" r="r" b="b"/>
                <a:pathLst>
                  <a:path w="10583" h="58367">
                    <a:moveTo>
                      <a:pt x="0" y="0"/>
                    </a:moveTo>
                    <a:lnTo>
                      <a:pt x="0" y="58367"/>
                    </a:lnTo>
                  </a:path>
                </a:pathLst>
              </a:custGeom>
              <a:ln w="12700" cap="flat">
                <a:solidFill>
                  <a:srgbClr val="231F20"/>
                </a:solidFill>
                <a:prstDash val="solid"/>
                <a:miter/>
              </a:ln>
            </p:spPr>
            <p:txBody>
              <a:bodyPr rtlCol="0" anchor="ctr"/>
              <a:lstStyle/>
              <a:p>
                <a:endParaRPr lang="en-US" sz="1800"/>
              </a:p>
            </p:txBody>
          </p:sp>
          <p:sp>
            <p:nvSpPr>
              <p:cNvPr id="886" name="Freeform 30">
                <a:extLst>
                  <a:ext uri="{FF2B5EF4-FFF2-40B4-BE49-F238E27FC236}">
                    <a16:creationId xmlns:a16="http://schemas.microsoft.com/office/drawing/2014/main" id="{AD3906F4-2F1C-71DC-D57C-9CD0B5D473AC}"/>
                  </a:ext>
                </a:extLst>
              </p:cNvPr>
              <p:cNvSpPr/>
              <p:nvPr/>
            </p:nvSpPr>
            <p:spPr>
              <a:xfrm>
                <a:off x="3979363" y="4908020"/>
                <a:ext cx="10583" cy="58367"/>
              </a:xfrm>
              <a:custGeom>
                <a:avLst/>
                <a:gdLst>
                  <a:gd name="connsiteX0" fmla="*/ 0 w 10583"/>
                  <a:gd name="connsiteY0" fmla="*/ 0 h 58367"/>
                  <a:gd name="connsiteX1" fmla="*/ 0 w 10583"/>
                  <a:gd name="connsiteY1" fmla="*/ 58367 h 58367"/>
                </a:gdLst>
                <a:ahLst/>
                <a:cxnLst>
                  <a:cxn ang="0">
                    <a:pos x="connsiteX0" y="connsiteY0"/>
                  </a:cxn>
                  <a:cxn ang="0">
                    <a:pos x="connsiteX1" y="connsiteY1"/>
                  </a:cxn>
                </a:cxnLst>
                <a:rect l="l" t="t" r="r" b="b"/>
                <a:pathLst>
                  <a:path w="10583" h="58367">
                    <a:moveTo>
                      <a:pt x="0" y="0"/>
                    </a:moveTo>
                    <a:lnTo>
                      <a:pt x="0" y="58367"/>
                    </a:lnTo>
                  </a:path>
                </a:pathLst>
              </a:custGeom>
              <a:ln w="12700" cap="flat">
                <a:solidFill>
                  <a:srgbClr val="231F20"/>
                </a:solidFill>
                <a:prstDash val="solid"/>
                <a:miter/>
              </a:ln>
            </p:spPr>
            <p:txBody>
              <a:bodyPr rtlCol="0" anchor="ctr"/>
              <a:lstStyle/>
              <a:p>
                <a:endParaRPr lang="en-US" sz="1800"/>
              </a:p>
            </p:txBody>
          </p:sp>
          <p:sp>
            <p:nvSpPr>
              <p:cNvPr id="887" name="Freeform 31">
                <a:extLst>
                  <a:ext uri="{FF2B5EF4-FFF2-40B4-BE49-F238E27FC236}">
                    <a16:creationId xmlns:a16="http://schemas.microsoft.com/office/drawing/2014/main" id="{8FCEA35F-FA21-893D-60D9-915CFAF3CA84}"/>
                  </a:ext>
                </a:extLst>
              </p:cNvPr>
              <p:cNvSpPr/>
              <p:nvPr/>
            </p:nvSpPr>
            <p:spPr>
              <a:xfrm>
                <a:off x="4199348" y="4908020"/>
                <a:ext cx="10583" cy="58367"/>
              </a:xfrm>
              <a:custGeom>
                <a:avLst/>
                <a:gdLst>
                  <a:gd name="connsiteX0" fmla="*/ 0 w 10583"/>
                  <a:gd name="connsiteY0" fmla="*/ 0 h 58367"/>
                  <a:gd name="connsiteX1" fmla="*/ 0 w 10583"/>
                  <a:gd name="connsiteY1" fmla="*/ 58367 h 58367"/>
                </a:gdLst>
                <a:ahLst/>
                <a:cxnLst>
                  <a:cxn ang="0">
                    <a:pos x="connsiteX0" y="connsiteY0"/>
                  </a:cxn>
                  <a:cxn ang="0">
                    <a:pos x="connsiteX1" y="connsiteY1"/>
                  </a:cxn>
                </a:cxnLst>
                <a:rect l="l" t="t" r="r" b="b"/>
                <a:pathLst>
                  <a:path w="10583" h="58367">
                    <a:moveTo>
                      <a:pt x="0" y="0"/>
                    </a:moveTo>
                    <a:lnTo>
                      <a:pt x="0" y="58367"/>
                    </a:lnTo>
                  </a:path>
                </a:pathLst>
              </a:custGeom>
              <a:ln w="12700" cap="flat">
                <a:solidFill>
                  <a:srgbClr val="231F20"/>
                </a:solidFill>
                <a:prstDash val="solid"/>
                <a:miter/>
              </a:ln>
            </p:spPr>
            <p:txBody>
              <a:bodyPr rtlCol="0" anchor="ctr"/>
              <a:lstStyle/>
              <a:p>
                <a:endParaRPr lang="en-US" sz="1800"/>
              </a:p>
            </p:txBody>
          </p:sp>
          <p:sp>
            <p:nvSpPr>
              <p:cNvPr id="888" name="Freeform 32">
                <a:extLst>
                  <a:ext uri="{FF2B5EF4-FFF2-40B4-BE49-F238E27FC236}">
                    <a16:creationId xmlns:a16="http://schemas.microsoft.com/office/drawing/2014/main" id="{EF99FF72-B71D-99FD-949D-B009939223F7}"/>
                  </a:ext>
                </a:extLst>
              </p:cNvPr>
              <p:cNvSpPr/>
              <p:nvPr/>
            </p:nvSpPr>
            <p:spPr>
              <a:xfrm>
                <a:off x="4422995" y="4908020"/>
                <a:ext cx="10583" cy="58367"/>
              </a:xfrm>
              <a:custGeom>
                <a:avLst/>
                <a:gdLst>
                  <a:gd name="connsiteX0" fmla="*/ 0 w 10583"/>
                  <a:gd name="connsiteY0" fmla="*/ 0 h 58367"/>
                  <a:gd name="connsiteX1" fmla="*/ 0 w 10583"/>
                  <a:gd name="connsiteY1" fmla="*/ 58367 h 58367"/>
                </a:gdLst>
                <a:ahLst/>
                <a:cxnLst>
                  <a:cxn ang="0">
                    <a:pos x="connsiteX0" y="connsiteY0"/>
                  </a:cxn>
                  <a:cxn ang="0">
                    <a:pos x="connsiteX1" y="connsiteY1"/>
                  </a:cxn>
                </a:cxnLst>
                <a:rect l="l" t="t" r="r" b="b"/>
                <a:pathLst>
                  <a:path w="10583" h="58367">
                    <a:moveTo>
                      <a:pt x="0" y="0"/>
                    </a:moveTo>
                    <a:lnTo>
                      <a:pt x="0" y="58367"/>
                    </a:lnTo>
                  </a:path>
                </a:pathLst>
              </a:custGeom>
              <a:ln w="12700" cap="flat">
                <a:solidFill>
                  <a:srgbClr val="231F20"/>
                </a:solidFill>
                <a:prstDash val="solid"/>
                <a:miter/>
              </a:ln>
            </p:spPr>
            <p:txBody>
              <a:bodyPr rtlCol="0" anchor="ctr"/>
              <a:lstStyle/>
              <a:p>
                <a:endParaRPr lang="en-US" sz="1800"/>
              </a:p>
            </p:txBody>
          </p:sp>
          <p:sp>
            <p:nvSpPr>
              <p:cNvPr id="889" name="Freeform 33">
                <a:extLst>
                  <a:ext uri="{FF2B5EF4-FFF2-40B4-BE49-F238E27FC236}">
                    <a16:creationId xmlns:a16="http://schemas.microsoft.com/office/drawing/2014/main" id="{E5621676-5932-9B78-FDB5-7732FB7CF124}"/>
                  </a:ext>
                </a:extLst>
              </p:cNvPr>
              <p:cNvSpPr/>
              <p:nvPr/>
            </p:nvSpPr>
            <p:spPr>
              <a:xfrm>
                <a:off x="4645700" y="4908020"/>
                <a:ext cx="10583" cy="58367"/>
              </a:xfrm>
              <a:custGeom>
                <a:avLst/>
                <a:gdLst>
                  <a:gd name="connsiteX0" fmla="*/ 0 w 10583"/>
                  <a:gd name="connsiteY0" fmla="*/ 0 h 58367"/>
                  <a:gd name="connsiteX1" fmla="*/ 0 w 10583"/>
                  <a:gd name="connsiteY1" fmla="*/ 58367 h 58367"/>
                </a:gdLst>
                <a:ahLst/>
                <a:cxnLst>
                  <a:cxn ang="0">
                    <a:pos x="connsiteX0" y="connsiteY0"/>
                  </a:cxn>
                  <a:cxn ang="0">
                    <a:pos x="connsiteX1" y="connsiteY1"/>
                  </a:cxn>
                </a:cxnLst>
                <a:rect l="l" t="t" r="r" b="b"/>
                <a:pathLst>
                  <a:path w="10583" h="58367">
                    <a:moveTo>
                      <a:pt x="0" y="0"/>
                    </a:moveTo>
                    <a:lnTo>
                      <a:pt x="0" y="58367"/>
                    </a:lnTo>
                  </a:path>
                </a:pathLst>
              </a:custGeom>
              <a:ln w="12700" cap="flat">
                <a:solidFill>
                  <a:srgbClr val="231F20"/>
                </a:solidFill>
                <a:prstDash val="solid"/>
                <a:miter/>
              </a:ln>
            </p:spPr>
            <p:txBody>
              <a:bodyPr rtlCol="0" anchor="ctr"/>
              <a:lstStyle/>
              <a:p>
                <a:endParaRPr lang="en-US" sz="1800"/>
              </a:p>
            </p:txBody>
          </p:sp>
          <p:sp>
            <p:nvSpPr>
              <p:cNvPr id="890" name="Freeform 34">
                <a:extLst>
                  <a:ext uri="{FF2B5EF4-FFF2-40B4-BE49-F238E27FC236}">
                    <a16:creationId xmlns:a16="http://schemas.microsoft.com/office/drawing/2014/main" id="{02BF21AD-9A87-F81B-9910-E0A5C5B3F16E}"/>
                  </a:ext>
                </a:extLst>
              </p:cNvPr>
              <p:cNvSpPr/>
              <p:nvPr/>
            </p:nvSpPr>
            <p:spPr>
              <a:xfrm>
                <a:off x="4868998" y="4908020"/>
                <a:ext cx="10583" cy="58367"/>
              </a:xfrm>
              <a:custGeom>
                <a:avLst/>
                <a:gdLst>
                  <a:gd name="connsiteX0" fmla="*/ 0 w 10583"/>
                  <a:gd name="connsiteY0" fmla="*/ 0 h 58367"/>
                  <a:gd name="connsiteX1" fmla="*/ 0 w 10583"/>
                  <a:gd name="connsiteY1" fmla="*/ 58367 h 58367"/>
                </a:gdLst>
                <a:ahLst/>
                <a:cxnLst>
                  <a:cxn ang="0">
                    <a:pos x="connsiteX0" y="connsiteY0"/>
                  </a:cxn>
                  <a:cxn ang="0">
                    <a:pos x="connsiteX1" y="connsiteY1"/>
                  </a:cxn>
                </a:cxnLst>
                <a:rect l="l" t="t" r="r" b="b"/>
                <a:pathLst>
                  <a:path w="10583" h="58367">
                    <a:moveTo>
                      <a:pt x="0" y="0"/>
                    </a:moveTo>
                    <a:lnTo>
                      <a:pt x="0" y="58367"/>
                    </a:lnTo>
                  </a:path>
                </a:pathLst>
              </a:custGeom>
              <a:ln w="12700" cap="flat">
                <a:solidFill>
                  <a:srgbClr val="231F20"/>
                </a:solidFill>
                <a:prstDash val="solid"/>
                <a:miter/>
              </a:ln>
            </p:spPr>
            <p:txBody>
              <a:bodyPr rtlCol="0" anchor="ctr"/>
              <a:lstStyle/>
              <a:p>
                <a:endParaRPr lang="en-US" sz="1800"/>
              </a:p>
            </p:txBody>
          </p:sp>
          <p:sp>
            <p:nvSpPr>
              <p:cNvPr id="891" name="Freeform 35">
                <a:extLst>
                  <a:ext uri="{FF2B5EF4-FFF2-40B4-BE49-F238E27FC236}">
                    <a16:creationId xmlns:a16="http://schemas.microsoft.com/office/drawing/2014/main" id="{5454490E-80CB-A28E-4CDE-C98AB3EE5B8F}"/>
                  </a:ext>
                </a:extLst>
              </p:cNvPr>
              <p:cNvSpPr/>
              <p:nvPr/>
            </p:nvSpPr>
            <p:spPr>
              <a:xfrm>
                <a:off x="5092645" y="4908020"/>
                <a:ext cx="10583" cy="58367"/>
              </a:xfrm>
              <a:custGeom>
                <a:avLst/>
                <a:gdLst>
                  <a:gd name="connsiteX0" fmla="*/ 0 w 10583"/>
                  <a:gd name="connsiteY0" fmla="*/ 0 h 58367"/>
                  <a:gd name="connsiteX1" fmla="*/ 0 w 10583"/>
                  <a:gd name="connsiteY1" fmla="*/ 58367 h 58367"/>
                </a:gdLst>
                <a:ahLst/>
                <a:cxnLst>
                  <a:cxn ang="0">
                    <a:pos x="connsiteX0" y="connsiteY0"/>
                  </a:cxn>
                  <a:cxn ang="0">
                    <a:pos x="connsiteX1" y="connsiteY1"/>
                  </a:cxn>
                </a:cxnLst>
                <a:rect l="l" t="t" r="r" b="b"/>
                <a:pathLst>
                  <a:path w="10583" h="58367">
                    <a:moveTo>
                      <a:pt x="0" y="0"/>
                    </a:moveTo>
                    <a:lnTo>
                      <a:pt x="0" y="58367"/>
                    </a:lnTo>
                  </a:path>
                </a:pathLst>
              </a:custGeom>
              <a:ln w="12700" cap="flat">
                <a:solidFill>
                  <a:srgbClr val="231F20"/>
                </a:solidFill>
                <a:prstDash val="solid"/>
                <a:miter/>
              </a:ln>
            </p:spPr>
            <p:txBody>
              <a:bodyPr rtlCol="0" anchor="ctr"/>
              <a:lstStyle/>
              <a:p>
                <a:endParaRPr lang="en-US" sz="1800"/>
              </a:p>
            </p:txBody>
          </p:sp>
          <p:sp>
            <p:nvSpPr>
              <p:cNvPr id="892" name="Freeform 36">
                <a:extLst>
                  <a:ext uri="{FF2B5EF4-FFF2-40B4-BE49-F238E27FC236}">
                    <a16:creationId xmlns:a16="http://schemas.microsoft.com/office/drawing/2014/main" id="{3CDBA892-F757-E942-954C-7E2D8CE71537}"/>
                  </a:ext>
                </a:extLst>
              </p:cNvPr>
              <p:cNvSpPr/>
              <p:nvPr/>
            </p:nvSpPr>
            <p:spPr>
              <a:xfrm>
                <a:off x="5315350" y="4908020"/>
                <a:ext cx="10583" cy="58367"/>
              </a:xfrm>
              <a:custGeom>
                <a:avLst/>
                <a:gdLst>
                  <a:gd name="connsiteX0" fmla="*/ 0 w 10583"/>
                  <a:gd name="connsiteY0" fmla="*/ 0 h 58367"/>
                  <a:gd name="connsiteX1" fmla="*/ 0 w 10583"/>
                  <a:gd name="connsiteY1" fmla="*/ 58367 h 58367"/>
                </a:gdLst>
                <a:ahLst/>
                <a:cxnLst>
                  <a:cxn ang="0">
                    <a:pos x="connsiteX0" y="connsiteY0"/>
                  </a:cxn>
                  <a:cxn ang="0">
                    <a:pos x="connsiteX1" y="connsiteY1"/>
                  </a:cxn>
                </a:cxnLst>
                <a:rect l="l" t="t" r="r" b="b"/>
                <a:pathLst>
                  <a:path w="10583" h="58367">
                    <a:moveTo>
                      <a:pt x="0" y="0"/>
                    </a:moveTo>
                    <a:lnTo>
                      <a:pt x="0" y="58367"/>
                    </a:lnTo>
                  </a:path>
                </a:pathLst>
              </a:custGeom>
              <a:ln w="12700" cap="flat">
                <a:solidFill>
                  <a:srgbClr val="231F20"/>
                </a:solidFill>
                <a:prstDash val="solid"/>
                <a:miter/>
              </a:ln>
            </p:spPr>
            <p:txBody>
              <a:bodyPr rtlCol="0" anchor="ctr"/>
              <a:lstStyle/>
              <a:p>
                <a:endParaRPr lang="en-US" sz="1800"/>
              </a:p>
            </p:txBody>
          </p:sp>
          <p:sp>
            <p:nvSpPr>
              <p:cNvPr id="893" name="Freeform 37">
                <a:extLst>
                  <a:ext uri="{FF2B5EF4-FFF2-40B4-BE49-F238E27FC236}">
                    <a16:creationId xmlns:a16="http://schemas.microsoft.com/office/drawing/2014/main" id="{B7DD9A6B-FA1C-975C-E7BC-5D53F028429A}"/>
                  </a:ext>
                </a:extLst>
              </p:cNvPr>
              <p:cNvSpPr/>
              <p:nvPr/>
            </p:nvSpPr>
            <p:spPr>
              <a:xfrm>
                <a:off x="5531790" y="4908020"/>
                <a:ext cx="10583" cy="58367"/>
              </a:xfrm>
              <a:custGeom>
                <a:avLst/>
                <a:gdLst>
                  <a:gd name="connsiteX0" fmla="*/ 0 w 10583"/>
                  <a:gd name="connsiteY0" fmla="*/ 0 h 58367"/>
                  <a:gd name="connsiteX1" fmla="*/ 0 w 10583"/>
                  <a:gd name="connsiteY1" fmla="*/ 58367 h 58367"/>
                </a:gdLst>
                <a:ahLst/>
                <a:cxnLst>
                  <a:cxn ang="0">
                    <a:pos x="connsiteX0" y="connsiteY0"/>
                  </a:cxn>
                  <a:cxn ang="0">
                    <a:pos x="connsiteX1" y="connsiteY1"/>
                  </a:cxn>
                </a:cxnLst>
                <a:rect l="l" t="t" r="r" b="b"/>
                <a:pathLst>
                  <a:path w="10583" h="58367">
                    <a:moveTo>
                      <a:pt x="0" y="0"/>
                    </a:moveTo>
                    <a:lnTo>
                      <a:pt x="0" y="58367"/>
                    </a:lnTo>
                  </a:path>
                </a:pathLst>
              </a:custGeom>
              <a:ln w="12700" cap="flat">
                <a:solidFill>
                  <a:srgbClr val="231F20"/>
                </a:solidFill>
                <a:prstDash val="solid"/>
                <a:miter/>
              </a:ln>
            </p:spPr>
            <p:txBody>
              <a:bodyPr rtlCol="0" anchor="ctr"/>
              <a:lstStyle/>
              <a:p>
                <a:endParaRPr lang="en-US" sz="1800"/>
              </a:p>
            </p:txBody>
          </p:sp>
          <p:sp>
            <p:nvSpPr>
              <p:cNvPr id="894" name="Freeform 38">
                <a:extLst>
                  <a:ext uri="{FF2B5EF4-FFF2-40B4-BE49-F238E27FC236}">
                    <a16:creationId xmlns:a16="http://schemas.microsoft.com/office/drawing/2014/main" id="{3A180CDF-C354-D607-8D75-C060DA4DF9A2}"/>
                  </a:ext>
                </a:extLst>
              </p:cNvPr>
              <p:cNvSpPr/>
              <p:nvPr/>
            </p:nvSpPr>
            <p:spPr>
              <a:xfrm>
                <a:off x="5755437" y="4908020"/>
                <a:ext cx="10583" cy="58367"/>
              </a:xfrm>
              <a:custGeom>
                <a:avLst/>
                <a:gdLst>
                  <a:gd name="connsiteX0" fmla="*/ 0 w 10583"/>
                  <a:gd name="connsiteY0" fmla="*/ 0 h 58367"/>
                  <a:gd name="connsiteX1" fmla="*/ 0 w 10583"/>
                  <a:gd name="connsiteY1" fmla="*/ 58367 h 58367"/>
                </a:gdLst>
                <a:ahLst/>
                <a:cxnLst>
                  <a:cxn ang="0">
                    <a:pos x="connsiteX0" y="connsiteY0"/>
                  </a:cxn>
                  <a:cxn ang="0">
                    <a:pos x="connsiteX1" y="connsiteY1"/>
                  </a:cxn>
                </a:cxnLst>
                <a:rect l="l" t="t" r="r" b="b"/>
                <a:pathLst>
                  <a:path w="10583" h="58367">
                    <a:moveTo>
                      <a:pt x="0" y="0"/>
                    </a:moveTo>
                    <a:lnTo>
                      <a:pt x="0" y="58367"/>
                    </a:lnTo>
                  </a:path>
                </a:pathLst>
              </a:custGeom>
              <a:ln w="12700" cap="flat">
                <a:solidFill>
                  <a:srgbClr val="231F20"/>
                </a:solidFill>
                <a:prstDash val="solid"/>
                <a:miter/>
              </a:ln>
            </p:spPr>
            <p:txBody>
              <a:bodyPr rtlCol="0" anchor="ctr"/>
              <a:lstStyle/>
              <a:p>
                <a:endParaRPr lang="en-US" sz="1800"/>
              </a:p>
            </p:txBody>
          </p:sp>
          <p:sp>
            <p:nvSpPr>
              <p:cNvPr id="895" name="Freeform 39">
                <a:extLst>
                  <a:ext uri="{FF2B5EF4-FFF2-40B4-BE49-F238E27FC236}">
                    <a16:creationId xmlns:a16="http://schemas.microsoft.com/office/drawing/2014/main" id="{D1C7B393-9FD2-56A4-FD34-AEF9C1FBF7FF}"/>
                  </a:ext>
                </a:extLst>
              </p:cNvPr>
              <p:cNvSpPr/>
              <p:nvPr/>
            </p:nvSpPr>
            <p:spPr>
              <a:xfrm>
                <a:off x="5978142" y="4908020"/>
                <a:ext cx="10583" cy="58367"/>
              </a:xfrm>
              <a:custGeom>
                <a:avLst/>
                <a:gdLst>
                  <a:gd name="connsiteX0" fmla="*/ 0 w 10583"/>
                  <a:gd name="connsiteY0" fmla="*/ 0 h 58367"/>
                  <a:gd name="connsiteX1" fmla="*/ 0 w 10583"/>
                  <a:gd name="connsiteY1" fmla="*/ 58367 h 58367"/>
                </a:gdLst>
                <a:ahLst/>
                <a:cxnLst>
                  <a:cxn ang="0">
                    <a:pos x="connsiteX0" y="connsiteY0"/>
                  </a:cxn>
                  <a:cxn ang="0">
                    <a:pos x="connsiteX1" y="connsiteY1"/>
                  </a:cxn>
                </a:cxnLst>
                <a:rect l="l" t="t" r="r" b="b"/>
                <a:pathLst>
                  <a:path w="10583" h="58367">
                    <a:moveTo>
                      <a:pt x="0" y="0"/>
                    </a:moveTo>
                    <a:lnTo>
                      <a:pt x="0" y="58367"/>
                    </a:lnTo>
                  </a:path>
                </a:pathLst>
              </a:custGeom>
              <a:ln w="12700" cap="flat">
                <a:solidFill>
                  <a:srgbClr val="231F20"/>
                </a:solidFill>
                <a:prstDash val="solid"/>
                <a:miter/>
              </a:ln>
            </p:spPr>
            <p:txBody>
              <a:bodyPr rtlCol="0" anchor="ctr"/>
              <a:lstStyle/>
              <a:p>
                <a:endParaRPr lang="en-US" sz="1800"/>
              </a:p>
            </p:txBody>
          </p:sp>
          <p:sp>
            <p:nvSpPr>
              <p:cNvPr id="896" name="Freeform 40">
                <a:extLst>
                  <a:ext uri="{FF2B5EF4-FFF2-40B4-BE49-F238E27FC236}">
                    <a16:creationId xmlns:a16="http://schemas.microsoft.com/office/drawing/2014/main" id="{24984E26-89D3-13F4-43B3-1AD0B304EAD9}"/>
                  </a:ext>
                </a:extLst>
              </p:cNvPr>
              <p:cNvSpPr/>
              <p:nvPr/>
            </p:nvSpPr>
            <p:spPr>
              <a:xfrm>
                <a:off x="6201440" y="4908020"/>
                <a:ext cx="10583" cy="58367"/>
              </a:xfrm>
              <a:custGeom>
                <a:avLst/>
                <a:gdLst>
                  <a:gd name="connsiteX0" fmla="*/ 0 w 10583"/>
                  <a:gd name="connsiteY0" fmla="*/ 0 h 58367"/>
                  <a:gd name="connsiteX1" fmla="*/ 0 w 10583"/>
                  <a:gd name="connsiteY1" fmla="*/ 58367 h 58367"/>
                </a:gdLst>
                <a:ahLst/>
                <a:cxnLst>
                  <a:cxn ang="0">
                    <a:pos x="connsiteX0" y="connsiteY0"/>
                  </a:cxn>
                  <a:cxn ang="0">
                    <a:pos x="connsiteX1" y="connsiteY1"/>
                  </a:cxn>
                </a:cxnLst>
                <a:rect l="l" t="t" r="r" b="b"/>
                <a:pathLst>
                  <a:path w="10583" h="58367">
                    <a:moveTo>
                      <a:pt x="0" y="0"/>
                    </a:moveTo>
                    <a:lnTo>
                      <a:pt x="0" y="58367"/>
                    </a:lnTo>
                  </a:path>
                </a:pathLst>
              </a:custGeom>
              <a:ln w="12700" cap="flat">
                <a:solidFill>
                  <a:srgbClr val="231F20"/>
                </a:solidFill>
                <a:prstDash val="solid"/>
                <a:miter/>
              </a:ln>
            </p:spPr>
            <p:txBody>
              <a:bodyPr rtlCol="0" anchor="ctr"/>
              <a:lstStyle/>
              <a:p>
                <a:endParaRPr lang="en-US" sz="1800"/>
              </a:p>
            </p:txBody>
          </p:sp>
          <p:sp>
            <p:nvSpPr>
              <p:cNvPr id="897" name="Freeform 41">
                <a:extLst>
                  <a:ext uri="{FF2B5EF4-FFF2-40B4-BE49-F238E27FC236}">
                    <a16:creationId xmlns:a16="http://schemas.microsoft.com/office/drawing/2014/main" id="{20D1C4C6-EAC0-AD2D-6491-EAF778656D1E}"/>
                  </a:ext>
                </a:extLst>
              </p:cNvPr>
              <p:cNvSpPr/>
              <p:nvPr/>
            </p:nvSpPr>
            <p:spPr>
              <a:xfrm>
                <a:off x="6425087" y="4908020"/>
                <a:ext cx="10583" cy="58367"/>
              </a:xfrm>
              <a:custGeom>
                <a:avLst/>
                <a:gdLst>
                  <a:gd name="connsiteX0" fmla="*/ 0 w 10583"/>
                  <a:gd name="connsiteY0" fmla="*/ 0 h 58367"/>
                  <a:gd name="connsiteX1" fmla="*/ 0 w 10583"/>
                  <a:gd name="connsiteY1" fmla="*/ 58367 h 58367"/>
                </a:gdLst>
                <a:ahLst/>
                <a:cxnLst>
                  <a:cxn ang="0">
                    <a:pos x="connsiteX0" y="connsiteY0"/>
                  </a:cxn>
                  <a:cxn ang="0">
                    <a:pos x="connsiteX1" y="connsiteY1"/>
                  </a:cxn>
                </a:cxnLst>
                <a:rect l="l" t="t" r="r" b="b"/>
                <a:pathLst>
                  <a:path w="10583" h="58367">
                    <a:moveTo>
                      <a:pt x="0" y="0"/>
                    </a:moveTo>
                    <a:lnTo>
                      <a:pt x="0" y="58367"/>
                    </a:lnTo>
                  </a:path>
                </a:pathLst>
              </a:custGeom>
              <a:ln w="12700" cap="flat">
                <a:solidFill>
                  <a:srgbClr val="231F20"/>
                </a:solidFill>
                <a:prstDash val="solid"/>
                <a:miter/>
              </a:ln>
            </p:spPr>
            <p:txBody>
              <a:bodyPr rtlCol="0" anchor="ctr"/>
              <a:lstStyle/>
              <a:p>
                <a:endParaRPr lang="en-US" sz="1800"/>
              </a:p>
            </p:txBody>
          </p:sp>
          <p:sp>
            <p:nvSpPr>
              <p:cNvPr id="898" name="Freeform 42">
                <a:extLst>
                  <a:ext uri="{FF2B5EF4-FFF2-40B4-BE49-F238E27FC236}">
                    <a16:creationId xmlns:a16="http://schemas.microsoft.com/office/drawing/2014/main" id="{95CF5335-B0F7-C9C9-FC37-F079CD1C09CC}"/>
                  </a:ext>
                </a:extLst>
              </p:cNvPr>
              <p:cNvSpPr/>
              <p:nvPr/>
            </p:nvSpPr>
            <p:spPr>
              <a:xfrm>
                <a:off x="6647792" y="4908020"/>
                <a:ext cx="10583" cy="58367"/>
              </a:xfrm>
              <a:custGeom>
                <a:avLst/>
                <a:gdLst>
                  <a:gd name="connsiteX0" fmla="*/ 0 w 10583"/>
                  <a:gd name="connsiteY0" fmla="*/ 0 h 58367"/>
                  <a:gd name="connsiteX1" fmla="*/ 0 w 10583"/>
                  <a:gd name="connsiteY1" fmla="*/ 58367 h 58367"/>
                </a:gdLst>
                <a:ahLst/>
                <a:cxnLst>
                  <a:cxn ang="0">
                    <a:pos x="connsiteX0" y="connsiteY0"/>
                  </a:cxn>
                  <a:cxn ang="0">
                    <a:pos x="connsiteX1" y="connsiteY1"/>
                  </a:cxn>
                </a:cxnLst>
                <a:rect l="l" t="t" r="r" b="b"/>
                <a:pathLst>
                  <a:path w="10583" h="58367">
                    <a:moveTo>
                      <a:pt x="0" y="0"/>
                    </a:moveTo>
                    <a:lnTo>
                      <a:pt x="0" y="58367"/>
                    </a:lnTo>
                  </a:path>
                </a:pathLst>
              </a:custGeom>
              <a:ln w="12700" cap="flat">
                <a:solidFill>
                  <a:srgbClr val="231F20"/>
                </a:solidFill>
                <a:prstDash val="solid"/>
                <a:miter/>
              </a:ln>
            </p:spPr>
            <p:txBody>
              <a:bodyPr rtlCol="0" anchor="ctr"/>
              <a:lstStyle/>
              <a:p>
                <a:endParaRPr lang="en-US" sz="1800"/>
              </a:p>
            </p:txBody>
          </p:sp>
          <p:sp>
            <p:nvSpPr>
              <p:cNvPr id="899" name="Freeform 43">
                <a:extLst>
                  <a:ext uri="{FF2B5EF4-FFF2-40B4-BE49-F238E27FC236}">
                    <a16:creationId xmlns:a16="http://schemas.microsoft.com/office/drawing/2014/main" id="{170342ED-2826-72F9-C3A7-1780051DBB50}"/>
                  </a:ext>
                </a:extLst>
              </p:cNvPr>
              <p:cNvSpPr/>
              <p:nvPr/>
            </p:nvSpPr>
            <p:spPr>
              <a:xfrm>
                <a:off x="6876476" y="4908020"/>
                <a:ext cx="10583" cy="58367"/>
              </a:xfrm>
              <a:custGeom>
                <a:avLst/>
                <a:gdLst>
                  <a:gd name="connsiteX0" fmla="*/ 0 w 10583"/>
                  <a:gd name="connsiteY0" fmla="*/ 0 h 58367"/>
                  <a:gd name="connsiteX1" fmla="*/ 0 w 10583"/>
                  <a:gd name="connsiteY1" fmla="*/ 58367 h 58367"/>
                </a:gdLst>
                <a:ahLst/>
                <a:cxnLst>
                  <a:cxn ang="0">
                    <a:pos x="connsiteX0" y="connsiteY0"/>
                  </a:cxn>
                  <a:cxn ang="0">
                    <a:pos x="connsiteX1" y="connsiteY1"/>
                  </a:cxn>
                </a:cxnLst>
                <a:rect l="l" t="t" r="r" b="b"/>
                <a:pathLst>
                  <a:path w="10583" h="58367">
                    <a:moveTo>
                      <a:pt x="0" y="0"/>
                    </a:moveTo>
                    <a:lnTo>
                      <a:pt x="0" y="58367"/>
                    </a:lnTo>
                  </a:path>
                </a:pathLst>
              </a:custGeom>
              <a:ln w="12700" cap="flat">
                <a:solidFill>
                  <a:srgbClr val="231F20"/>
                </a:solidFill>
                <a:prstDash val="solid"/>
                <a:miter/>
              </a:ln>
            </p:spPr>
            <p:txBody>
              <a:bodyPr rtlCol="0" anchor="ctr"/>
              <a:lstStyle/>
              <a:p>
                <a:endParaRPr lang="en-US" sz="1800"/>
              </a:p>
            </p:txBody>
          </p:sp>
          <p:sp>
            <p:nvSpPr>
              <p:cNvPr id="900" name="Freeform 44">
                <a:extLst>
                  <a:ext uri="{FF2B5EF4-FFF2-40B4-BE49-F238E27FC236}">
                    <a16:creationId xmlns:a16="http://schemas.microsoft.com/office/drawing/2014/main" id="{D906E4E9-0725-DF0A-CBDF-970EA1E4F862}"/>
                  </a:ext>
                </a:extLst>
              </p:cNvPr>
              <p:cNvSpPr/>
              <p:nvPr/>
            </p:nvSpPr>
            <p:spPr>
              <a:xfrm>
                <a:off x="7100123" y="4908020"/>
                <a:ext cx="10583" cy="58367"/>
              </a:xfrm>
              <a:custGeom>
                <a:avLst/>
                <a:gdLst>
                  <a:gd name="connsiteX0" fmla="*/ 0 w 10583"/>
                  <a:gd name="connsiteY0" fmla="*/ 0 h 58367"/>
                  <a:gd name="connsiteX1" fmla="*/ 0 w 10583"/>
                  <a:gd name="connsiteY1" fmla="*/ 58367 h 58367"/>
                </a:gdLst>
                <a:ahLst/>
                <a:cxnLst>
                  <a:cxn ang="0">
                    <a:pos x="connsiteX0" y="connsiteY0"/>
                  </a:cxn>
                  <a:cxn ang="0">
                    <a:pos x="connsiteX1" y="connsiteY1"/>
                  </a:cxn>
                </a:cxnLst>
                <a:rect l="l" t="t" r="r" b="b"/>
                <a:pathLst>
                  <a:path w="10583" h="58367">
                    <a:moveTo>
                      <a:pt x="0" y="0"/>
                    </a:moveTo>
                    <a:lnTo>
                      <a:pt x="0" y="58367"/>
                    </a:lnTo>
                  </a:path>
                </a:pathLst>
              </a:custGeom>
              <a:ln w="12700" cap="flat">
                <a:solidFill>
                  <a:srgbClr val="231F20"/>
                </a:solidFill>
                <a:prstDash val="solid"/>
                <a:miter/>
              </a:ln>
            </p:spPr>
            <p:txBody>
              <a:bodyPr rtlCol="0" anchor="ctr"/>
              <a:lstStyle/>
              <a:p>
                <a:endParaRPr lang="en-US" sz="1800"/>
              </a:p>
            </p:txBody>
          </p:sp>
          <p:sp>
            <p:nvSpPr>
              <p:cNvPr id="901" name="Freeform 45">
                <a:extLst>
                  <a:ext uri="{FF2B5EF4-FFF2-40B4-BE49-F238E27FC236}">
                    <a16:creationId xmlns:a16="http://schemas.microsoft.com/office/drawing/2014/main" id="{1335A90F-19AC-02E9-8061-BEC0213AD918}"/>
                  </a:ext>
                </a:extLst>
              </p:cNvPr>
              <p:cNvSpPr/>
              <p:nvPr/>
            </p:nvSpPr>
            <p:spPr>
              <a:xfrm>
                <a:off x="7322818" y="4908020"/>
                <a:ext cx="10583" cy="58367"/>
              </a:xfrm>
              <a:custGeom>
                <a:avLst/>
                <a:gdLst>
                  <a:gd name="connsiteX0" fmla="*/ 0 w 10583"/>
                  <a:gd name="connsiteY0" fmla="*/ 0 h 58367"/>
                  <a:gd name="connsiteX1" fmla="*/ 0 w 10583"/>
                  <a:gd name="connsiteY1" fmla="*/ 58367 h 58367"/>
                </a:gdLst>
                <a:ahLst/>
                <a:cxnLst>
                  <a:cxn ang="0">
                    <a:pos x="connsiteX0" y="connsiteY0"/>
                  </a:cxn>
                  <a:cxn ang="0">
                    <a:pos x="connsiteX1" y="connsiteY1"/>
                  </a:cxn>
                </a:cxnLst>
                <a:rect l="l" t="t" r="r" b="b"/>
                <a:pathLst>
                  <a:path w="10583" h="58367">
                    <a:moveTo>
                      <a:pt x="0" y="0"/>
                    </a:moveTo>
                    <a:lnTo>
                      <a:pt x="0" y="58367"/>
                    </a:lnTo>
                  </a:path>
                </a:pathLst>
              </a:custGeom>
              <a:ln w="12700" cap="flat">
                <a:solidFill>
                  <a:srgbClr val="231F20"/>
                </a:solidFill>
                <a:prstDash val="solid"/>
                <a:miter/>
              </a:ln>
            </p:spPr>
            <p:txBody>
              <a:bodyPr rtlCol="0" anchor="ctr"/>
              <a:lstStyle/>
              <a:p>
                <a:endParaRPr lang="en-US" sz="1800"/>
              </a:p>
            </p:txBody>
          </p:sp>
          <p:sp>
            <p:nvSpPr>
              <p:cNvPr id="902" name="Freeform 46">
                <a:extLst>
                  <a:ext uri="{FF2B5EF4-FFF2-40B4-BE49-F238E27FC236}">
                    <a16:creationId xmlns:a16="http://schemas.microsoft.com/office/drawing/2014/main" id="{BAF99DB0-C3AB-5BD0-B346-3D0300D2BD15}"/>
                  </a:ext>
                </a:extLst>
              </p:cNvPr>
              <p:cNvSpPr/>
              <p:nvPr/>
            </p:nvSpPr>
            <p:spPr>
              <a:xfrm>
                <a:off x="7546126" y="4908020"/>
                <a:ext cx="10583" cy="58367"/>
              </a:xfrm>
              <a:custGeom>
                <a:avLst/>
                <a:gdLst>
                  <a:gd name="connsiteX0" fmla="*/ 0 w 10583"/>
                  <a:gd name="connsiteY0" fmla="*/ 0 h 58367"/>
                  <a:gd name="connsiteX1" fmla="*/ 0 w 10583"/>
                  <a:gd name="connsiteY1" fmla="*/ 58367 h 58367"/>
                </a:gdLst>
                <a:ahLst/>
                <a:cxnLst>
                  <a:cxn ang="0">
                    <a:pos x="connsiteX0" y="connsiteY0"/>
                  </a:cxn>
                  <a:cxn ang="0">
                    <a:pos x="connsiteX1" y="connsiteY1"/>
                  </a:cxn>
                </a:cxnLst>
                <a:rect l="l" t="t" r="r" b="b"/>
                <a:pathLst>
                  <a:path w="10583" h="58367">
                    <a:moveTo>
                      <a:pt x="0" y="0"/>
                    </a:moveTo>
                    <a:lnTo>
                      <a:pt x="0" y="58367"/>
                    </a:lnTo>
                  </a:path>
                </a:pathLst>
              </a:custGeom>
              <a:ln w="12700" cap="flat">
                <a:solidFill>
                  <a:srgbClr val="231F20"/>
                </a:solidFill>
                <a:prstDash val="solid"/>
                <a:miter/>
              </a:ln>
            </p:spPr>
            <p:txBody>
              <a:bodyPr rtlCol="0" anchor="ctr"/>
              <a:lstStyle/>
              <a:p>
                <a:endParaRPr lang="en-US" sz="1800"/>
              </a:p>
            </p:txBody>
          </p:sp>
          <p:sp>
            <p:nvSpPr>
              <p:cNvPr id="903" name="Freeform 47">
                <a:extLst>
                  <a:ext uri="{FF2B5EF4-FFF2-40B4-BE49-F238E27FC236}">
                    <a16:creationId xmlns:a16="http://schemas.microsoft.com/office/drawing/2014/main" id="{852569AE-7A50-5F2B-B6A7-EEF2E5B2DB50}"/>
                  </a:ext>
                </a:extLst>
              </p:cNvPr>
              <p:cNvSpPr/>
              <p:nvPr/>
            </p:nvSpPr>
            <p:spPr>
              <a:xfrm>
                <a:off x="7769773" y="4908020"/>
                <a:ext cx="10583" cy="58367"/>
              </a:xfrm>
              <a:custGeom>
                <a:avLst/>
                <a:gdLst>
                  <a:gd name="connsiteX0" fmla="*/ 0 w 10583"/>
                  <a:gd name="connsiteY0" fmla="*/ 0 h 58367"/>
                  <a:gd name="connsiteX1" fmla="*/ 0 w 10583"/>
                  <a:gd name="connsiteY1" fmla="*/ 58367 h 58367"/>
                </a:gdLst>
                <a:ahLst/>
                <a:cxnLst>
                  <a:cxn ang="0">
                    <a:pos x="connsiteX0" y="connsiteY0"/>
                  </a:cxn>
                  <a:cxn ang="0">
                    <a:pos x="connsiteX1" y="connsiteY1"/>
                  </a:cxn>
                </a:cxnLst>
                <a:rect l="l" t="t" r="r" b="b"/>
                <a:pathLst>
                  <a:path w="10583" h="58367">
                    <a:moveTo>
                      <a:pt x="0" y="0"/>
                    </a:moveTo>
                    <a:lnTo>
                      <a:pt x="0" y="58367"/>
                    </a:lnTo>
                  </a:path>
                </a:pathLst>
              </a:custGeom>
              <a:ln w="12700" cap="flat">
                <a:solidFill>
                  <a:srgbClr val="231F20"/>
                </a:solidFill>
                <a:prstDash val="solid"/>
                <a:miter/>
              </a:ln>
            </p:spPr>
            <p:txBody>
              <a:bodyPr rtlCol="0" anchor="ctr"/>
              <a:lstStyle/>
              <a:p>
                <a:endParaRPr lang="en-US" sz="1800"/>
              </a:p>
            </p:txBody>
          </p:sp>
          <p:sp>
            <p:nvSpPr>
              <p:cNvPr id="904" name="Freeform 48">
                <a:extLst>
                  <a:ext uri="{FF2B5EF4-FFF2-40B4-BE49-F238E27FC236}">
                    <a16:creationId xmlns:a16="http://schemas.microsoft.com/office/drawing/2014/main" id="{522ECCEF-75D3-C0F9-8029-D52C0D5EBD40}"/>
                  </a:ext>
                </a:extLst>
              </p:cNvPr>
              <p:cNvSpPr/>
              <p:nvPr/>
            </p:nvSpPr>
            <p:spPr>
              <a:xfrm>
                <a:off x="7992478" y="4908020"/>
                <a:ext cx="10583" cy="58367"/>
              </a:xfrm>
              <a:custGeom>
                <a:avLst/>
                <a:gdLst>
                  <a:gd name="connsiteX0" fmla="*/ 0 w 10583"/>
                  <a:gd name="connsiteY0" fmla="*/ 0 h 58367"/>
                  <a:gd name="connsiteX1" fmla="*/ 0 w 10583"/>
                  <a:gd name="connsiteY1" fmla="*/ 58367 h 58367"/>
                </a:gdLst>
                <a:ahLst/>
                <a:cxnLst>
                  <a:cxn ang="0">
                    <a:pos x="connsiteX0" y="connsiteY0"/>
                  </a:cxn>
                  <a:cxn ang="0">
                    <a:pos x="connsiteX1" y="connsiteY1"/>
                  </a:cxn>
                </a:cxnLst>
                <a:rect l="l" t="t" r="r" b="b"/>
                <a:pathLst>
                  <a:path w="10583" h="58367">
                    <a:moveTo>
                      <a:pt x="0" y="0"/>
                    </a:moveTo>
                    <a:lnTo>
                      <a:pt x="0" y="58367"/>
                    </a:lnTo>
                  </a:path>
                </a:pathLst>
              </a:custGeom>
              <a:ln w="12700" cap="flat">
                <a:solidFill>
                  <a:srgbClr val="231F20"/>
                </a:solidFill>
                <a:prstDash val="solid"/>
                <a:miter/>
              </a:ln>
            </p:spPr>
            <p:txBody>
              <a:bodyPr rtlCol="0" anchor="ctr"/>
              <a:lstStyle/>
              <a:p>
                <a:endParaRPr lang="en-US" sz="1800"/>
              </a:p>
            </p:txBody>
          </p:sp>
          <p:sp>
            <p:nvSpPr>
              <p:cNvPr id="905" name="Freeform 49">
                <a:extLst>
                  <a:ext uri="{FF2B5EF4-FFF2-40B4-BE49-F238E27FC236}">
                    <a16:creationId xmlns:a16="http://schemas.microsoft.com/office/drawing/2014/main" id="{4316F618-EFC6-B4F9-A0E0-1FCC3307C2E2}"/>
                  </a:ext>
                </a:extLst>
              </p:cNvPr>
              <p:cNvSpPr/>
              <p:nvPr/>
            </p:nvSpPr>
            <p:spPr>
              <a:xfrm>
                <a:off x="8208918" y="4908020"/>
                <a:ext cx="10583" cy="58367"/>
              </a:xfrm>
              <a:custGeom>
                <a:avLst/>
                <a:gdLst>
                  <a:gd name="connsiteX0" fmla="*/ 0 w 10583"/>
                  <a:gd name="connsiteY0" fmla="*/ 0 h 58367"/>
                  <a:gd name="connsiteX1" fmla="*/ 0 w 10583"/>
                  <a:gd name="connsiteY1" fmla="*/ 58367 h 58367"/>
                </a:gdLst>
                <a:ahLst/>
                <a:cxnLst>
                  <a:cxn ang="0">
                    <a:pos x="connsiteX0" y="connsiteY0"/>
                  </a:cxn>
                  <a:cxn ang="0">
                    <a:pos x="connsiteX1" y="connsiteY1"/>
                  </a:cxn>
                </a:cxnLst>
                <a:rect l="l" t="t" r="r" b="b"/>
                <a:pathLst>
                  <a:path w="10583" h="58367">
                    <a:moveTo>
                      <a:pt x="0" y="0"/>
                    </a:moveTo>
                    <a:lnTo>
                      <a:pt x="0" y="58367"/>
                    </a:lnTo>
                  </a:path>
                </a:pathLst>
              </a:custGeom>
              <a:ln w="12700" cap="flat">
                <a:solidFill>
                  <a:srgbClr val="231F20"/>
                </a:solidFill>
                <a:prstDash val="solid"/>
                <a:miter/>
              </a:ln>
            </p:spPr>
            <p:txBody>
              <a:bodyPr rtlCol="0" anchor="ctr"/>
              <a:lstStyle/>
              <a:p>
                <a:endParaRPr lang="en-US" sz="1800"/>
              </a:p>
            </p:txBody>
          </p:sp>
          <p:sp>
            <p:nvSpPr>
              <p:cNvPr id="906" name="Freeform 50">
                <a:extLst>
                  <a:ext uri="{FF2B5EF4-FFF2-40B4-BE49-F238E27FC236}">
                    <a16:creationId xmlns:a16="http://schemas.microsoft.com/office/drawing/2014/main" id="{708323CB-33E6-C235-01EC-1179C81AF49D}"/>
                  </a:ext>
                </a:extLst>
              </p:cNvPr>
              <p:cNvSpPr/>
              <p:nvPr/>
            </p:nvSpPr>
            <p:spPr>
              <a:xfrm>
                <a:off x="8432565" y="4908020"/>
                <a:ext cx="10583" cy="58367"/>
              </a:xfrm>
              <a:custGeom>
                <a:avLst/>
                <a:gdLst>
                  <a:gd name="connsiteX0" fmla="*/ 0 w 10583"/>
                  <a:gd name="connsiteY0" fmla="*/ 0 h 58367"/>
                  <a:gd name="connsiteX1" fmla="*/ 0 w 10583"/>
                  <a:gd name="connsiteY1" fmla="*/ 58367 h 58367"/>
                </a:gdLst>
                <a:ahLst/>
                <a:cxnLst>
                  <a:cxn ang="0">
                    <a:pos x="connsiteX0" y="connsiteY0"/>
                  </a:cxn>
                  <a:cxn ang="0">
                    <a:pos x="connsiteX1" y="connsiteY1"/>
                  </a:cxn>
                </a:cxnLst>
                <a:rect l="l" t="t" r="r" b="b"/>
                <a:pathLst>
                  <a:path w="10583" h="58367">
                    <a:moveTo>
                      <a:pt x="0" y="0"/>
                    </a:moveTo>
                    <a:lnTo>
                      <a:pt x="0" y="58367"/>
                    </a:lnTo>
                  </a:path>
                </a:pathLst>
              </a:custGeom>
              <a:ln w="12700" cap="flat">
                <a:solidFill>
                  <a:srgbClr val="231F20"/>
                </a:solidFill>
                <a:prstDash val="solid"/>
                <a:miter/>
              </a:ln>
            </p:spPr>
            <p:txBody>
              <a:bodyPr rtlCol="0" anchor="ctr"/>
              <a:lstStyle/>
              <a:p>
                <a:endParaRPr lang="en-US" sz="1800"/>
              </a:p>
            </p:txBody>
          </p:sp>
          <p:sp>
            <p:nvSpPr>
              <p:cNvPr id="907" name="Freeform 51">
                <a:extLst>
                  <a:ext uri="{FF2B5EF4-FFF2-40B4-BE49-F238E27FC236}">
                    <a16:creationId xmlns:a16="http://schemas.microsoft.com/office/drawing/2014/main" id="{2A02F21D-7344-1372-DA7F-50D2D2DFB76C}"/>
                  </a:ext>
                </a:extLst>
              </p:cNvPr>
              <p:cNvSpPr/>
              <p:nvPr/>
            </p:nvSpPr>
            <p:spPr>
              <a:xfrm>
                <a:off x="8655259" y="4908020"/>
                <a:ext cx="10583" cy="58367"/>
              </a:xfrm>
              <a:custGeom>
                <a:avLst/>
                <a:gdLst>
                  <a:gd name="connsiteX0" fmla="*/ 0 w 10583"/>
                  <a:gd name="connsiteY0" fmla="*/ 0 h 58367"/>
                  <a:gd name="connsiteX1" fmla="*/ 0 w 10583"/>
                  <a:gd name="connsiteY1" fmla="*/ 58367 h 58367"/>
                </a:gdLst>
                <a:ahLst/>
                <a:cxnLst>
                  <a:cxn ang="0">
                    <a:pos x="connsiteX0" y="connsiteY0"/>
                  </a:cxn>
                  <a:cxn ang="0">
                    <a:pos x="connsiteX1" y="connsiteY1"/>
                  </a:cxn>
                </a:cxnLst>
                <a:rect l="l" t="t" r="r" b="b"/>
                <a:pathLst>
                  <a:path w="10583" h="58367">
                    <a:moveTo>
                      <a:pt x="0" y="0"/>
                    </a:moveTo>
                    <a:lnTo>
                      <a:pt x="0" y="58367"/>
                    </a:lnTo>
                  </a:path>
                </a:pathLst>
              </a:custGeom>
              <a:ln w="12700" cap="flat">
                <a:solidFill>
                  <a:srgbClr val="231F20"/>
                </a:solidFill>
                <a:prstDash val="solid"/>
                <a:miter/>
              </a:ln>
            </p:spPr>
            <p:txBody>
              <a:bodyPr rtlCol="0" anchor="ctr"/>
              <a:lstStyle/>
              <a:p>
                <a:endParaRPr lang="en-US" sz="1800"/>
              </a:p>
            </p:txBody>
          </p:sp>
          <p:sp>
            <p:nvSpPr>
              <p:cNvPr id="908" name="Freeform 52">
                <a:extLst>
                  <a:ext uri="{FF2B5EF4-FFF2-40B4-BE49-F238E27FC236}">
                    <a16:creationId xmlns:a16="http://schemas.microsoft.com/office/drawing/2014/main" id="{341432F0-ACB4-7CAA-9050-9B9B5EA1AF71}"/>
                  </a:ext>
                </a:extLst>
              </p:cNvPr>
              <p:cNvSpPr/>
              <p:nvPr/>
            </p:nvSpPr>
            <p:spPr>
              <a:xfrm>
                <a:off x="8878568" y="4908020"/>
                <a:ext cx="10583" cy="58367"/>
              </a:xfrm>
              <a:custGeom>
                <a:avLst/>
                <a:gdLst>
                  <a:gd name="connsiteX0" fmla="*/ 0 w 10583"/>
                  <a:gd name="connsiteY0" fmla="*/ 0 h 58367"/>
                  <a:gd name="connsiteX1" fmla="*/ 0 w 10583"/>
                  <a:gd name="connsiteY1" fmla="*/ 58367 h 58367"/>
                </a:gdLst>
                <a:ahLst/>
                <a:cxnLst>
                  <a:cxn ang="0">
                    <a:pos x="connsiteX0" y="connsiteY0"/>
                  </a:cxn>
                  <a:cxn ang="0">
                    <a:pos x="connsiteX1" y="connsiteY1"/>
                  </a:cxn>
                </a:cxnLst>
                <a:rect l="l" t="t" r="r" b="b"/>
                <a:pathLst>
                  <a:path w="10583" h="58367">
                    <a:moveTo>
                      <a:pt x="0" y="0"/>
                    </a:moveTo>
                    <a:lnTo>
                      <a:pt x="0" y="58367"/>
                    </a:lnTo>
                  </a:path>
                </a:pathLst>
              </a:custGeom>
              <a:ln w="12700" cap="flat">
                <a:solidFill>
                  <a:srgbClr val="231F20"/>
                </a:solidFill>
                <a:prstDash val="solid"/>
                <a:miter/>
              </a:ln>
            </p:spPr>
            <p:txBody>
              <a:bodyPr rtlCol="0" anchor="ctr"/>
              <a:lstStyle/>
              <a:p>
                <a:endParaRPr lang="en-US" sz="1800"/>
              </a:p>
            </p:txBody>
          </p:sp>
          <p:sp>
            <p:nvSpPr>
              <p:cNvPr id="909" name="Freeform 53">
                <a:extLst>
                  <a:ext uri="{FF2B5EF4-FFF2-40B4-BE49-F238E27FC236}">
                    <a16:creationId xmlns:a16="http://schemas.microsoft.com/office/drawing/2014/main" id="{39125D5F-67EF-964D-252A-896986677815}"/>
                  </a:ext>
                </a:extLst>
              </p:cNvPr>
              <p:cNvSpPr/>
              <p:nvPr/>
            </p:nvSpPr>
            <p:spPr>
              <a:xfrm>
                <a:off x="9102215" y="4908020"/>
                <a:ext cx="10583" cy="58367"/>
              </a:xfrm>
              <a:custGeom>
                <a:avLst/>
                <a:gdLst>
                  <a:gd name="connsiteX0" fmla="*/ 0 w 10583"/>
                  <a:gd name="connsiteY0" fmla="*/ 0 h 58367"/>
                  <a:gd name="connsiteX1" fmla="*/ 0 w 10583"/>
                  <a:gd name="connsiteY1" fmla="*/ 58367 h 58367"/>
                </a:gdLst>
                <a:ahLst/>
                <a:cxnLst>
                  <a:cxn ang="0">
                    <a:pos x="connsiteX0" y="connsiteY0"/>
                  </a:cxn>
                  <a:cxn ang="0">
                    <a:pos x="connsiteX1" y="connsiteY1"/>
                  </a:cxn>
                </a:cxnLst>
                <a:rect l="l" t="t" r="r" b="b"/>
                <a:pathLst>
                  <a:path w="10583" h="58367">
                    <a:moveTo>
                      <a:pt x="0" y="0"/>
                    </a:moveTo>
                    <a:lnTo>
                      <a:pt x="0" y="58367"/>
                    </a:lnTo>
                  </a:path>
                </a:pathLst>
              </a:custGeom>
              <a:ln w="12700" cap="flat">
                <a:solidFill>
                  <a:srgbClr val="231F20"/>
                </a:solidFill>
                <a:prstDash val="solid"/>
                <a:miter/>
              </a:ln>
            </p:spPr>
            <p:txBody>
              <a:bodyPr rtlCol="0" anchor="ctr"/>
              <a:lstStyle/>
              <a:p>
                <a:endParaRPr lang="en-US" sz="1800"/>
              </a:p>
            </p:txBody>
          </p:sp>
          <p:sp>
            <p:nvSpPr>
              <p:cNvPr id="910" name="Freeform 54">
                <a:extLst>
                  <a:ext uri="{FF2B5EF4-FFF2-40B4-BE49-F238E27FC236}">
                    <a16:creationId xmlns:a16="http://schemas.microsoft.com/office/drawing/2014/main" id="{1624F2BC-AB60-7482-9452-9EBE2621A63F}"/>
                  </a:ext>
                </a:extLst>
              </p:cNvPr>
              <p:cNvSpPr/>
              <p:nvPr/>
            </p:nvSpPr>
            <p:spPr>
              <a:xfrm>
                <a:off x="9324920" y="4908020"/>
                <a:ext cx="10583" cy="58367"/>
              </a:xfrm>
              <a:custGeom>
                <a:avLst/>
                <a:gdLst>
                  <a:gd name="connsiteX0" fmla="*/ 0 w 10583"/>
                  <a:gd name="connsiteY0" fmla="*/ 0 h 58367"/>
                  <a:gd name="connsiteX1" fmla="*/ 0 w 10583"/>
                  <a:gd name="connsiteY1" fmla="*/ 58367 h 58367"/>
                </a:gdLst>
                <a:ahLst/>
                <a:cxnLst>
                  <a:cxn ang="0">
                    <a:pos x="connsiteX0" y="connsiteY0"/>
                  </a:cxn>
                  <a:cxn ang="0">
                    <a:pos x="connsiteX1" y="connsiteY1"/>
                  </a:cxn>
                </a:cxnLst>
                <a:rect l="l" t="t" r="r" b="b"/>
                <a:pathLst>
                  <a:path w="10583" h="58367">
                    <a:moveTo>
                      <a:pt x="0" y="0"/>
                    </a:moveTo>
                    <a:lnTo>
                      <a:pt x="0" y="58367"/>
                    </a:lnTo>
                  </a:path>
                </a:pathLst>
              </a:custGeom>
              <a:ln w="12700" cap="flat">
                <a:solidFill>
                  <a:srgbClr val="231F20"/>
                </a:solidFill>
                <a:prstDash val="solid"/>
                <a:miter/>
              </a:ln>
            </p:spPr>
            <p:txBody>
              <a:bodyPr rtlCol="0" anchor="ctr"/>
              <a:lstStyle/>
              <a:p>
                <a:endParaRPr lang="en-US" sz="1800"/>
              </a:p>
            </p:txBody>
          </p:sp>
          <p:sp>
            <p:nvSpPr>
              <p:cNvPr id="911" name="Freeform 55">
                <a:extLst>
                  <a:ext uri="{FF2B5EF4-FFF2-40B4-BE49-F238E27FC236}">
                    <a16:creationId xmlns:a16="http://schemas.microsoft.com/office/drawing/2014/main" id="{F1473D8F-6073-5878-80CB-4A348AAE5509}"/>
                  </a:ext>
                </a:extLst>
              </p:cNvPr>
              <p:cNvSpPr/>
              <p:nvPr/>
            </p:nvSpPr>
            <p:spPr>
              <a:xfrm>
                <a:off x="9544905" y="4908020"/>
                <a:ext cx="10583" cy="58367"/>
              </a:xfrm>
              <a:custGeom>
                <a:avLst/>
                <a:gdLst>
                  <a:gd name="connsiteX0" fmla="*/ 0 w 10583"/>
                  <a:gd name="connsiteY0" fmla="*/ 0 h 58367"/>
                  <a:gd name="connsiteX1" fmla="*/ 0 w 10583"/>
                  <a:gd name="connsiteY1" fmla="*/ 58367 h 58367"/>
                </a:gdLst>
                <a:ahLst/>
                <a:cxnLst>
                  <a:cxn ang="0">
                    <a:pos x="connsiteX0" y="connsiteY0"/>
                  </a:cxn>
                  <a:cxn ang="0">
                    <a:pos x="connsiteX1" y="connsiteY1"/>
                  </a:cxn>
                </a:cxnLst>
                <a:rect l="l" t="t" r="r" b="b"/>
                <a:pathLst>
                  <a:path w="10583" h="58367">
                    <a:moveTo>
                      <a:pt x="0" y="0"/>
                    </a:moveTo>
                    <a:lnTo>
                      <a:pt x="0" y="58367"/>
                    </a:lnTo>
                  </a:path>
                </a:pathLst>
              </a:custGeom>
              <a:ln w="12700" cap="flat">
                <a:solidFill>
                  <a:srgbClr val="231F20"/>
                </a:solidFill>
                <a:prstDash val="solid"/>
                <a:miter/>
              </a:ln>
            </p:spPr>
            <p:txBody>
              <a:bodyPr rtlCol="0" anchor="ctr"/>
              <a:lstStyle/>
              <a:p>
                <a:endParaRPr lang="en-US" sz="1800"/>
              </a:p>
            </p:txBody>
          </p:sp>
          <p:sp>
            <p:nvSpPr>
              <p:cNvPr id="912" name="Freeform 56">
                <a:extLst>
                  <a:ext uri="{FF2B5EF4-FFF2-40B4-BE49-F238E27FC236}">
                    <a16:creationId xmlns:a16="http://schemas.microsoft.com/office/drawing/2014/main" id="{BE131CF2-8783-4193-F53D-CA750243C5C0}"/>
                  </a:ext>
                </a:extLst>
              </p:cNvPr>
              <p:cNvSpPr/>
              <p:nvPr/>
            </p:nvSpPr>
            <p:spPr>
              <a:xfrm>
                <a:off x="9768552" y="4908020"/>
                <a:ext cx="10583" cy="58367"/>
              </a:xfrm>
              <a:custGeom>
                <a:avLst/>
                <a:gdLst>
                  <a:gd name="connsiteX0" fmla="*/ 0 w 10583"/>
                  <a:gd name="connsiteY0" fmla="*/ 0 h 58367"/>
                  <a:gd name="connsiteX1" fmla="*/ 0 w 10583"/>
                  <a:gd name="connsiteY1" fmla="*/ 58367 h 58367"/>
                </a:gdLst>
                <a:ahLst/>
                <a:cxnLst>
                  <a:cxn ang="0">
                    <a:pos x="connsiteX0" y="connsiteY0"/>
                  </a:cxn>
                  <a:cxn ang="0">
                    <a:pos x="connsiteX1" y="connsiteY1"/>
                  </a:cxn>
                </a:cxnLst>
                <a:rect l="l" t="t" r="r" b="b"/>
                <a:pathLst>
                  <a:path w="10583" h="58367">
                    <a:moveTo>
                      <a:pt x="0" y="0"/>
                    </a:moveTo>
                    <a:lnTo>
                      <a:pt x="0" y="58367"/>
                    </a:lnTo>
                  </a:path>
                </a:pathLst>
              </a:custGeom>
              <a:ln w="12700" cap="flat">
                <a:solidFill>
                  <a:srgbClr val="231F20"/>
                </a:solidFill>
                <a:prstDash val="solid"/>
                <a:miter/>
              </a:ln>
            </p:spPr>
            <p:txBody>
              <a:bodyPr rtlCol="0" anchor="ctr"/>
              <a:lstStyle/>
              <a:p>
                <a:endParaRPr lang="en-US" sz="1800"/>
              </a:p>
            </p:txBody>
          </p:sp>
          <p:sp>
            <p:nvSpPr>
              <p:cNvPr id="913" name="Freeform 57">
                <a:extLst>
                  <a:ext uri="{FF2B5EF4-FFF2-40B4-BE49-F238E27FC236}">
                    <a16:creationId xmlns:a16="http://schemas.microsoft.com/office/drawing/2014/main" id="{EBA432F4-5C84-E9AB-2F1F-1F9AAB086DD2}"/>
                  </a:ext>
                </a:extLst>
              </p:cNvPr>
              <p:cNvSpPr/>
              <p:nvPr/>
            </p:nvSpPr>
            <p:spPr>
              <a:xfrm>
                <a:off x="9991247" y="4908020"/>
                <a:ext cx="10583" cy="58367"/>
              </a:xfrm>
              <a:custGeom>
                <a:avLst/>
                <a:gdLst>
                  <a:gd name="connsiteX0" fmla="*/ 0 w 10583"/>
                  <a:gd name="connsiteY0" fmla="*/ 0 h 58367"/>
                  <a:gd name="connsiteX1" fmla="*/ 0 w 10583"/>
                  <a:gd name="connsiteY1" fmla="*/ 58367 h 58367"/>
                </a:gdLst>
                <a:ahLst/>
                <a:cxnLst>
                  <a:cxn ang="0">
                    <a:pos x="connsiteX0" y="connsiteY0"/>
                  </a:cxn>
                  <a:cxn ang="0">
                    <a:pos x="connsiteX1" y="connsiteY1"/>
                  </a:cxn>
                </a:cxnLst>
                <a:rect l="l" t="t" r="r" b="b"/>
                <a:pathLst>
                  <a:path w="10583" h="58367">
                    <a:moveTo>
                      <a:pt x="0" y="0"/>
                    </a:moveTo>
                    <a:lnTo>
                      <a:pt x="0" y="58367"/>
                    </a:lnTo>
                  </a:path>
                </a:pathLst>
              </a:custGeom>
              <a:ln w="12700" cap="flat">
                <a:solidFill>
                  <a:srgbClr val="231F20"/>
                </a:solidFill>
                <a:prstDash val="solid"/>
                <a:miter/>
              </a:ln>
            </p:spPr>
            <p:txBody>
              <a:bodyPr rtlCol="0" anchor="ctr"/>
              <a:lstStyle/>
              <a:p>
                <a:endParaRPr lang="en-US" sz="1800"/>
              </a:p>
            </p:txBody>
          </p:sp>
          <p:sp>
            <p:nvSpPr>
              <p:cNvPr id="914" name="Freeform 58">
                <a:extLst>
                  <a:ext uri="{FF2B5EF4-FFF2-40B4-BE49-F238E27FC236}">
                    <a16:creationId xmlns:a16="http://schemas.microsoft.com/office/drawing/2014/main" id="{EC1350ED-C742-5546-1482-B2F0262AFF89}"/>
                  </a:ext>
                </a:extLst>
              </p:cNvPr>
              <p:cNvSpPr/>
              <p:nvPr/>
            </p:nvSpPr>
            <p:spPr>
              <a:xfrm>
                <a:off x="10214555" y="4908020"/>
                <a:ext cx="10583" cy="58367"/>
              </a:xfrm>
              <a:custGeom>
                <a:avLst/>
                <a:gdLst>
                  <a:gd name="connsiteX0" fmla="*/ 0 w 10583"/>
                  <a:gd name="connsiteY0" fmla="*/ 0 h 58367"/>
                  <a:gd name="connsiteX1" fmla="*/ 0 w 10583"/>
                  <a:gd name="connsiteY1" fmla="*/ 58367 h 58367"/>
                </a:gdLst>
                <a:ahLst/>
                <a:cxnLst>
                  <a:cxn ang="0">
                    <a:pos x="connsiteX0" y="connsiteY0"/>
                  </a:cxn>
                  <a:cxn ang="0">
                    <a:pos x="connsiteX1" y="connsiteY1"/>
                  </a:cxn>
                </a:cxnLst>
                <a:rect l="l" t="t" r="r" b="b"/>
                <a:pathLst>
                  <a:path w="10583" h="58367">
                    <a:moveTo>
                      <a:pt x="0" y="0"/>
                    </a:moveTo>
                    <a:lnTo>
                      <a:pt x="0" y="58367"/>
                    </a:lnTo>
                  </a:path>
                </a:pathLst>
              </a:custGeom>
              <a:ln w="12700" cap="flat">
                <a:solidFill>
                  <a:srgbClr val="231F20"/>
                </a:solidFill>
                <a:prstDash val="solid"/>
                <a:miter/>
              </a:ln>
            </p:spPr>
            <p:txBody>
              <a:bodyPr rtlCol="0" anchor="ctr"/>
              <a:lstStyle/>
              <a:p>
                <a:endParaRPr lang="en-US" sz="1800"/>
              </a:p>
            </p:txBody>
          </p:sp>
          <p:sp>
            <p:nvSpPr>
              <p:cNvPr id="915" name="Freeform 59">
                <a:extLst>
                  <a:ext uri="{FF2B5EF4-FFF2-40B4-BE49-F238E27FC236}">
                    <a16:creationId xmlns:a16="http://schemas.microsoft.com/office/drawing/2014/main" id="{3B952772-CEFA-E09E-A6B9-8A761D7BEF9A}"/>
                  </a:ext>
                </a:extLst>
              </p:cNvPr>
              <p:cNvSpPr/>
              <p:nvPr/>
            </p:nvSpPr>
            <p:spPr>
              <a:xfrm>
                <a:off x="10438202" y="4908020"/>
                <a:ext cx="10583" cy="58367"/>
              </a:xfrm>
              <a:custGeom>
                <a:avLst/>
                <a:gdLst>
                  <a:gd name="connsiteX0" fmla="*/ 0 w 10583"/>
                  <a:gd name="connsiteY0" fmla="*/ 0 h 58367"/>
                  <a:gd name="connsiteX1" fmla="*/ 0 w 10583"/>
                  <a:gd name="connsiteY1" fmla="*/ 58367 h 58367"/>
                </a:gdLst>
                <a:ahLst/>
                <a:cxnLst>
                  <a:cxn ang="0">
                    <a:pos x="connsiteX0" y="connsiteY0"/>
                  </a:cxn>
                  <a:cxn ang="0">
                    <a:pos x="connsiteX1" y="connsiteY1"/>
                  </a:cxn>
                </a:cxnLst>
                <a:rect l="l" t="t" r="r" b="b"/>
                <a:pathLst>
                  <a:path w="10583" h="58367">
                    <a:moveTo>
                      <a:pt x="0" y="0"/>
                    </a:moveTo>
                    <a:lnTo>
                      <a:pt x="0" y="58367"/>
                    </a:lnTo>
                  </a:path>
                </a:pathLst>
              </a:custGeom>
              <a:ln w="12700" cap="flat">
                <a:solidFill>
                  <a:srgbClr val="231F20"/>
                </a:solidFill>
                <a:prstDash val="solid"/>
                <a:miter/>
              </a:ln>
            </p:spPr>
            <p:txBody>
              <a:bodyPr rtlCol="0" anchor="ctr"/>
              <a:lstStyle/>
              <a:p>
                <a:endParaRPr lang="en-US" sz="1800"/>
              </a:p>
            </p:txBody>
          </p:sp>
          <p:sp>
            <p:nvSpPr>
              <p:cNvPr id="916" name="Freeform 60">
                <a:extLst>
                  <a:ext uri="{FF2B5EF4-FFF2-40B4-BE49-F238E27FC236}">
                    <a16:creationId xmlns:a16="http://schemas.microsoft.com/office/drawing/2014/main" id="{EC9288BC-07F1-4857-E133-3AFA4720082C}"/>
                  </a:ext>
                </a:extLst>
              </p:cNvPr>
              <p:cNvSpPr/>
              <p:nvPr/>
            </p:nvSpPr>
            <p:spPr>
              <a:xfrm>
                <a:off x="10660875" y="4908020"/>
                <a:ext cx="10583" cy="58367"/>
              </a:xfrm>
              <a:custGeom>
                <a:avLst/>
                <a:gdLst>
                  <a:gd name="connsiteX0" fmla="*/ 0 w 10583"/>
                  <a:gd name="connsiteY0" fmla="*/ 0 h 58367"/>
                  <a:gd name="connsiteX1" fmla="*/ 0 w 10583"/>
                  <a:gd name="connsiteY1" fmla="*/ 58367 h 58367"/>
                </a:gdLst>
                <a:ahLst/>
                <a:cxnLst>
                  <a:cxn ang="0">
                    <a:pos x="connsiteX0" y="connsiteY0"/>
                  </a:cxn>
                  <a:cxn ang="0">
                    <a:pos x="connsiteX1" y="connsiteY1"/>
                  </a:cxn>
                </a:cxnLst>
                <a:rect l="l" t="t" r="r" b="b"/>
                <a:pathLst>
                  <a:path w="10583" h="58367">
                    <a:moveTo>
                      <a:pt x="0" y="0"/>
                    </a:moveTo>
                    <a:lnTo>
                      <a:pt x="0" y="58367"/>
                    </a:lnTo>
                  </a:path>
                </a:pathLst>
              </a:custGeom>
              <a:ln w="12700" cap="flat">
                <a:solidFill>
                  <a:srgbClr val="231F20"/>
                </a:solidFill>
                <a:prstDash val="solid"/>
                <a:miter/>
              </a:ln>
            </p:spPr>
            <p:txBody>
              <a:bodyPr rtlCol="0" anchor="ctr"/>
              <a:lstStyle/>
              <a:p>
                <a:endParaRPr lang="en-US" sz="1800"/>
              </a:p>
            </p:txBody>
          </p:sp>
          <p:sp>
            <p:nvSpPr>
              <p:cNvPr id="917" name="Freeform 61">
                <a:extLst>
                  <a:ext uri="{FF2B5EF4-FFF2-40B4-BE49-F238E27FC236}">
                    <a16:creationId xmlns:a16="http://schemas.microsoft.com/office/drawing/2014/main" id="{3EA1AF9B-CAF1-7951-7A30-BBD615A78959}"/>
                  </a:ext>
                </a:extLst>
              </p:cNvPr>
              <p:cNvSpPr/>
              <p:nvPr/>
            </p:nvSpPr>
            <p:spPr>
              <a:xfrm>
                <a:off x="10877304" y="4908020"/>
                <a:ext cx="10583" cy="58367"/>
              </a:xfrm>
              <a:custGeom>
                <a:avLst/>
                <a:gdLst>
                  <a:gd name="connsiteX0" fmla="*/ 0 w 10583"/>
                  <a:gd name="connsiteY0" fmla="*/ 0 h 58367"/>
                  <a:gd name="connsiteX1" fmla="*/ 0 w 10583"/>
                  <a:gd name="connsiteY1" fmla="*/ 58367 h 58367"/>
                </a:gdLst>
                <a:ahLst/>
                <a:cxnLst>
                  <a:cxn ang="0">
                    <a:pos x="connsiteX0" y="connsiteY0"/>
                  </a:cxn>
                  <a:cxn ang="0">
                    <a:pos x="connsiteX1" y="connsiteY1"/>
                  </a:cxn>
                </a:cxnLst>
                <a:rect l="l" t="t" r="r" b="b"/>
                <a:pathLst>
                  <a:path w="10583" h="58367">
                    <a:moveTo>
                      <a:pt x="0" y="0"/>
                    </a:moveTo>
                    <a:lnTo>
                      <a:pt x="0" y="58367"/>
                    </a:lnTo>
                  </a:path>
                </a:pathLst>
              </a:custGeom>
              <a:ln w="12700" cap="flat">
                <a:solidFill>
                  <a:srgbClr val="231F20"/>
                </a:solidFill>
                <a:prstDash val="solid"/>
                <a:miter/>
              </a:ln>
            </p:spPr>
            <p:txBody>
              <a:bodyPr rtlCol="0" anchor="ctr"/>
              <a:lstStyle/>
              <a:p>
                <a:endParaRPr lang="en-US" sz="1800"/>
              </a:p>
            </p:txBody>
          </p:sp>
          <p:sp>
            <p:nvSpPr>
              <p:cNvPr id="918" name="Freeform 62">
                <a:extLst>
                  <a:ext uri="{FF2B5EF4-FFF2-40B4-BE49-F238E27FC236}">
                    <a16:creationId xmlns:a16="http://schemas.microsoft.com/office/drawing/2014/main" id="{E4865854-9849-D321-EC34-4AB077081E79}"/>
                  </a:ext>
                </a:extLst>
              </p:cNvPr>
              <p:cNvSpPr/>
              <p:nvPr/>
            </p:nvSpPr>
            <p:spPr>
              <a:xfrm>
                <a:off x="11101036" y="4908020"/>
                <a:ext cx="10583" cy="58367"/>
              </a:xfrm>
              <a:custGeom>
                <a:avLst/>
                <a:gdLst>
                  <a:gd name="connsiteX0" fmla="*/ 0 w 10583"/>
                  <a:gd name="connsiteY0" fmla="*/ 0 h 58367"/>
                  <a:gd name="connsiteX1" fmla="*/ 0 w 10583"/>
                  <a:gd name="connsiteY1" fmla="*/ 58367 h 58367"/>
                </a:gdLst>
                <a:ahLst/>
                <a:cxnLst>
                  <a:cxn ang="0">
                    <a:pos x="connsiteX0" y="connsiteY0"/>
                  </a:cxn>
                  <a:cxn ang="0">
                    <a:pos x="connsiteX1" y="connsiteY1"/>
                  </a:cxn>
                </a:cxnLst>
                <a:rect l="l" t="t" r="r" b="b"/>
                <a:pathLst>
                  <a:path w="10583" h="58367">
                    <a:moveTo>
                      <a:pt x="0" y="0"/>
                    </a:moveTo>
                    <a:lnTo>
                      <a:pt x="0" y="58367"/>
                    </a:lnTo>
                  </a:path>
                </a:pathLst>
              </a:custGeom>
              <a:ln w="12700" cap="flat">
                <a:solidFill>
                  <a:srgbClr val="231F20"/>
                </a:solidFill>
                <a:prstDash val="solid"/>
                <a:miter/>
              </a:ln>
            </p:spPr>
            <p:txBody>
              <a:bodyPr rtlCol="0" anchor="ctr"/>
              <a:lstStyle/>
              <a:p>
                <a:endParaRPr lang="en-US" sz="1800"/>
              </a:p>
            </p:txBody>
          </p:sp>
          <p:sp>
            <p:nvSpPr>
              <p:cNvPr id="919" name="Freeform 63">
                <a:extLst>
                  <a:ext uri="{FF2B5EF4-FFF2-40B4-BE49-F238E27FC236}">
                    <a16:creationId xmlns:a16="http://schemas.microsoft.com/office/drawing/2014/main" id="{59A1D0B6-26D2-7ACC-E349-70A41558B12C}"/>
                  </a:ext>
                </a:extLst>
              </p:cNvPr>
              <p:cNvSpPr/>
              <p:nvPr/>
            </p:nvSpPr>
            <p:spPr>
              <a:xfrm>
                <a:off x="11323709" y="4908020"/>
                <a:ext cx="10583" cy="58367"/>
              </a:xfrm>
              <a:custGeom>
                <a:avLst/>
                <a:gdLst>
                  <a:gd name="connsiteX0" fmla="*/ 0 w 10583"/>
                  <a:gd name="connsiteY0" fmla="*/ 0 h 58367"/>
                  <a:gd name="connsiteX1" fmla="*/ 0 w 10583"/>
                  <a:gd name="connsiteY1" fmla="*/ 58367 h 58367"/>
                </a:gdLst>
                <a:ahLst/>
                <a:cxnLst>
                  <a:cxn ang="0">
                    <a:pos x="connsiteX0" y="connsiteY0"/>
                  </a:cxn>
                  <a:cxn ang="0">
                    <a:pos x="connsiteX1" y="connsiteY1"/>
                  </a:cxn>
                </a:cxnLst>
                <a:rect l="l" t="t" r="r" b="b"/>
                <a:pathLst>
                  <a:path w="10583" h="58367">
                    <a:moveTo>
                      <a:pt x="0" y="0"/>
                    </a:moveTo>
                    <a:lnTo>
                      <a:pt x="0" y="58367"/>
                    </a:lnTo>
                  </a:path>
                </a:pathLst>
              </a:custGeom>
              <a:ln w="12700" cap="flat">
                <a:solidFill>
                  <a:srgbClr val="231F20"/>
                </a:solidFill>
                <a:prstDash val="solid"/>
                <a:miter/>
              </a:ln>
            </p:spPr>
            <p:txBody>
              <a:bodyPr rtlCol="0" anchor="ctr"/>
              <a:lstStyle/>
              <a:p>
                <a:endParaRPr lang="en-US" sz="1800"/>
              </a:p>
            </p:txBody>
          </p:sp>
          <p:sp>
            <p:nvSpPr>
              <p:cNvPr id="920" name="Freeform 64">
                <a:extLst>
                  <a:ext uri="{FF2B5EF4-FFF2-40B4-BE49-F238E27FC236}">
                    <a16:creationId xmlns:a16="http://schemas.microsoft.com/office/drawing/2014/main" id="{AB6AB658-EED9-68A5-1F02-03AAB390F3CC}"/>
                  </a:ext>
                </a:extLst>
              </p:cNvPr>
              <p:cNvSpPr/>
              <p:nvPr/>
            </p:nvSpPr>
            <p:spPr>
              <a:xfrm>
                <a:off x="11547018" y="4908020"/>
                <a:ext cx="10583" cy="58367"/>
              </a:xfrm>
              <a:custGeom>
                <a:avLst/>
                <a:gdLst>
                  <a:gd name="connsiteX0" fmla="*/ 0 w 10583"/>
                  <a:gd name="connsiteY0" fmla="*/ 0 h 58367"/>
                  <a:gd name="connsiteX1" fmla="*/ 0 w 10583"/>
                  <a:gd name="connsiteY1" fmla="*/ 58367 h 58367"/>
                </a:gdLst>
                <a:ahLst/>
                <a:cxnLst>
                  <a:cxn ang="0">
                    <a:pos x="connsiteX0" y="connsiteY0"/>
                  </a:cxn>
                  <a:cxn ang="0">
                    <a:pos x="connsiteX1" y="connsiteY1"/>
                  </a:cxn>
                </a:cxnLst>
                <a:rect l="l" t="t" r="r" b="b"/>
                <a:pathLst>
                  <a:path w="10583" h="58367">
                    <a:moveTo>
                      <a:pt x="0" y="0"/>
                    </a:moveTo>
                    <a:lnTo>
                      <a:pt x="0" y="58367"/>
                    </a:lnTo>
                  </a:path>
                </a:pathLst>
              </a:custGeom>
              <a:ln w="12700" cap="flat">
                <a:solidFill>
                  <a:srgbClr val="231F20"/>
                </a:solidFill>
                <a:prstDash val="solid"/>
                <a:miter/>
              </a:ln>
            </p:spPr>
            <p:txBody>
              <a:bodyPr rtlCol="0" anchor="ctr"/>
              <a:lstStyle/>
              <a:p>
                <a:endParaRPr lang="en-US" sz="1800"/>
              </a:p>
            </p:txBody>
          </p:sp>
        </p:grpSp>
        <p:sp>
          <p:nvSpPr>
            <p:cNvPr id="729" name="TextBox 728">
              <a:extLst>
                <a:ext uri="{FF2B5EF4-FFF2-40B4-BE49-F238E27FC236}">
                  <a16:creationId xmlns:a16="http://schemas.microsoft.com/office/drawing/2014/main" id="{1991268A-3839-AD86-FEC4-93B8D9883776}"/>
                </a:ext>
              </a:extLst>
            </p:cNvPr>
            <p:cNvSpPr txBox="1"/>
            <p:nvPr/>
          </p:nvSpPr>
          <p:spPr>
            <a:xfrm rot="1719">
              <a:off x="1437708" y="4900517"/>
              <a:ext cx="325304" cy="292388"/>
            </a:xfrm>
            <a:prstGeom prst="rect">
              <a:avLst/>
            </a:prstGeom>
            <a:noFill/>
          </p:spPr>
          <p:txBody>
            <a:bodyPr wrap="none" rtlCol="0">
              <a:spAutoFit/>
            </a:bodyPr>
            <a:lstStyle/>
            <a:p>
              <a:pPr algn="l"/>
              <a:r>
                <a:rPr lang="en-US" sz="825">
                  <a:ln/>
                  <a:solidFill>
                    <a:srgbClr val="000000"/>
                  </a:solidFill>
                  <a:latin typeface="Arial" panose="020B0604020202020204" pitchFamily="34" charset="0"/>
                  <a:cs typeface="Arial" panose="020B0604020202020204" pitchFamily="34" charset="0"/>
                  <a:sym typeface="HelveticaNeueLTStd-Roman"/>
                  <a:rtl val="0"/>
                </a:rPr>
                <a:t>0</a:t>
              </a:r>
            </a:p>
          </p:txBody>
        </p:sp>
        <p:sp>
          <p:nvSpPr>
            <p:cNvPr id="730" name="TextBox 729">
              <a:extLst>
                <a:ext uri="{FF2B5EF4-FFF2-40B4-BE49-F238E27FC236}">
                  <a16:creationId xmlns:a16="http://schemas.microsoft.com/office/drawing/2014/main" id="{3684D022-1F6F-8DD5-DF06-3B1AC2ABBB14}"/>
                </a:ext>
              </a:extLst>
            </p:cNvPr>
            <p:cNvSpPr txBox="1"/>
            <p:nvPr/>
          </p:nvSpPr>
          <p:spPr>
            <a:xfrm rot="1719">
              <a:off x="1630104" y="4900621"/>
              <a:ext cx="325304" cy="292388"/>
            </a:xfrm>
            <a:prstGeom prst="rect">
              <a:avLst/>
            </a:prstGeom>
            <a:noFill/>
          </p:spPr>
          <p:txBody>
            <a:bodyPr wrap="none" rtlCol="0">
              <a:spAutoFit/>
            </a:bodyPr>
            <a:lstStyle/>
            <a:p>
              <a:pPr algn="l"/>
              <a:r>
                <a:rPr lang="en-US" sz="825" dirty="0">
                  <a:ln/>
                  <a:solidFill>
                    <a:srgbClr val="000000"/>
                  </a:solidFill>
                  <a:latin typeface="Arial" panose="020B0604020202020204" pitchFamily="34" charset="0"/>
                  <a:cs typeface="Arial" panose="020B0604020202020204" pitchFamily="34" charset="0"/>
                  <a:sym typeface="HelveticaNeueLTStd-Roman"/>
                  <a:rtl val="0"/>
                </a:rPr>
                <a:t>1</a:t>
              </a:r>
            </a:p>
          </p:txBody>
        </p:sp>
        <p:sp>
          <p:nvSpPr>
            <p:cNvPr id="731" name="TextBox 730">
              <a:extLst>
                <a:ext uri="{FF2B5EF4-FFF2-40B4-BE49-F238E27FC236}">
                  <a16:creationId xmlns:a16="http://schemas.microsoft.com/office/drawing/2014/main" id="{F58FAE9F-4BAD-3A57-FD9C-00325E37CC70}"/>
                </a:ext>
              </a:extLst>
            </p:cNvPr>
            <p:cNvSpPr txBox="1"/>
            <p:nvPr/>
          </p:nvSpPr>
          <p:spPr>
            <a:xfrm rot="1719">
              <a:off x="1843187" y="4900736"/>
              <a:ext cx="325304" cy="292388"/>
            </a:xfrm>
            <a:prstGeom prst="rect">
              <a:avLst/>
            </a:prstGeom>
            <a:noFill/>
          </p:spPr>
          <p:txBody>
            <a:bodyPr wrap="none" rtlCol="0">
              <a:spAutoFit/>
            </a:bodyPr>
            <a:lstStyle/>
            <a:p>
              <a:pPr algn="l"/>
              <a:r>
                <a:rPr lang="en-US" sz="825">
                  <a:ln/>
                  <a:solidFill>
                    <a:srgbClr val="000000"/>
                  </a:solidFill>
                  <a:latin typeface="Arial" panose="020B0604020202020204" pitchFamily="34" charset="0"/>
                  <a:cs typeface="Arial" panose="020B0604020202020204" pitchFamily="34" charset="0"/>
                  <a:sym typeface="HelveticaNeueLTStd-Roman"/>
                  <a:rtl val="0"/>
                </a:rPr>
                <a:t>2</a:t>
              </a:r>
            </a:p>
          </p:txBody>
        </p:sp>
        <p:sp>
          <p:nvSpPr>
            <p:cNvPr id="732" name="TextBox 731">
              <a:extLst>
                <a:ext uri="{FF2B5EF4-FFF2-40B4-BE49-F238E27FC236}">
                  <a16:creationId xmlns:a16="http://schemas.microsoft.com/office/drawing/2014/main" id="{EE1F41AC-F125-BF0B-91F9-FFC7FCF5DE22}"/>
                </a:ext>
              </a:extLst>
            </p:cNvPr>
            <p:cNvSpPr txBox="1"/>
            <p:nvPr/>
          </p:nvSpPr>
          <p:spPr>
            <a:xfrm rot="1719">
              <a:off x="2035592" y="4900838"/>
              <a:ext cx="325304" cy="292388"/>
            </a:xfrm>
            <a:prstGeom prst="rect">
              <a:avLst/>
            </a:prstGeom>
            <a:noFill/>
          </p:spPr>
          <p:txBody>
            <a:bodyPr wrap="none" rtlCol="0">
              <a:spAutoFit/>
            </a:bodyPr>
            <a:lstStyle/>
            <a:p>
              <a:pPr algn="l"/>
              <a:r>
                <a:rPr lang="en-US" sz="825" dirty="0">
                  <a:ln/>
                  <a:solidFill>
                    <a:srgbClr val="000000"/>
                  </a:solidFill>
                  <a:latin typeface="Arial" panose="020B0604020202020204" pitchFamily="34" charset="0"/>
                  <a:cs typeface="Arial" panose="020B0604020202020204" pitchFamily="34" charset="0"/>
                  <a:sym typeface="HelveticaNeueLTStd-Roman"/>
                  <a:rtl val="0"/>
                </a:rPr>
                <a:t>3</a:t>
              </a:r>
            </a:p>
          </p:txBody>
        </p:sp>
        <p:sp>
          <p:nvSpPr>
            <p:cNvPr id="733" name="TextBox 732">
              <a:extLst>
                <a:ext uri="{FF2B5EF4-FFF2-40B4-BE49-F238E27FC236}">
                  <a16:creationId xmlns:a16="http://schemas.microsoft.com/office/drawing/2014/main" id="{A9EBB2C8-12D5-F130-7920-656A0D1C23B0}"/>
                </a:ext>
              </a:extLst>
            </p:cNvPr>
            <p:cNvSpPr txBox="1"/>
            <p:nvPr/>
          </p:nvSpPr>
          <p:spPr>
            <a:xfrm rot="1719">
              <a:off x="2250810" y="4900952"/>
              <a:ext cx="325304" cy="292388"/>
            </a:xfrm>
            <a:prstGeom prst="rect">
              <a:avLst/>
            </a:prstGeom>
            <a:noFill/>
          </p:spPr>
          <p:txBody>
            <a:bodyPr wrap="none" rtlCol="0">
              <a:spAutoFit/>
            </a:bodyPr>
            <a:lstStyle/>
            <a:p>
              <a:pPr algn="l"/>
              <a:r>
                <a:rPr lang="en-US" sz="825">
                  <a:ln/>
                  <a:solidFill>
                    <a:srgbClr val="000000"/>
                  </a:solidFill>
                  <a:latin typeface="Arial" panose="020B0604020202020204" pitchFamily="34" charset="0"/>
                  <a:cs typeface="Arial" panose="020B0604020202020204" pitchFamily="34" charset="0"/>
                  <a:sym typeface="HelveticaNeueLTStd-Roman"/>
                  <a:rtl val="0"/>
                </a:rPr>
                <a:t>4</a:t>
              </a:r>
            </a:p>
          </p:txBody>
        </p:sp>
        <p:sp>
          <p:nvSpPr>
            <p:cNvPr id="734" name="TextBox 733">
              <a:extLst>
                <a:ext uri="{FF2B5EF4-FFF2-40B4-BE49-F238E27FC236}">
                  <a16:creationId xmlns:a16="http://schemas.microsoft.com/office/drawing/2014/main" id="{B2734E70-DD61-E0A0-D950-0F7B324F6476}"/>
                </a:ext>
              </a:extLst>
            </p:cNvPr>
            <p:cNvSpPr txBox="1"/>
            <p:nvPr/>
          </p:nvSpPr>
          <p:spPr>
            <a:xfrm rot="1719">
              <a:off x="2443167" y="4901056"/>
              <a:ext cx="325304" cy="292388"/>
            </a:xfrm>
            <a:prstGeom prst="rect">
              <a:avLst/>
            </a:prstGeom>
            <a:noFill/>
          </p:spPr>
          <p:txBody>
            <a:bodyPr wrap="none" rtlCol="0">
              <a:spAutoFit/>
            </a:bodyPr>
            <a:lstStyle/>
            <a:p>
              <a:pPr algn="l"/>
              <a:r>
                <a:rPr lang="en-US" sz="825">
                  <a:ln/>
                  <a:solidFill>
                    <a:srgbClr val="000000"/>
                  </a:solidFill>
                  <a:latin typeface="Arial" panose="020B0604020202020204" pitchFamily="34" charset="0"/>
                  <a:cs typeface="Arial" panose="020B0604020202020204" pitchFamily="34" charset="0"/>
                  <a:sym typeface="HelveticaNeueLTStd-Roman"/>
                  <a:rtl val="0"/>
                </a:rPr>
                <a:t>5</a:t>
              </a:r>
            </a:p>
          </p:txBody>
        </p:sp>
        <p:sp>
          <p:nvSpPr>
            <p:cNvPr id="735" name="TextBox 734">
              <a:extLst>
                <a:ext uri="{FF2B5EF4-FFF2-40B4-BE49-F238E27FC236}">
                  <a16:creationId xmlns:a16="http://schemas.microsoft.com/office/drawing/2014/main" id="{FF580667-A247-196B-1B60-16EB834067AA}"/>
                </a:ext>
              </a:extLst>
            </p:cNvPr>
            <p:cNvSpPr txBox="1"/>
            <p:nvPr/>
          </p:nvSpPr>
          <p:spPr>
            <a:xfrm rot="1719">
              <a:off x="2648612" y="4901169"/>
              <a:ext cx="325304" cy="292388"/>
            </a:xfrm>
            <a:prstGeom prst="rect">
              <a:avLst/>
            </a:prstGeom>
            <a:noFill/>
          </p:spPr>
          <p:txBody>
            <a:bodyPr wrap="none" rtlCol="0">
              <a:spAutoFit/>
            </a:bodyPr>
            <a:lstStyle/>
            <a:p>
              <a:pPr algn="l"/>
              <a:r>
                <a:rPr lang="en-US" sz="825">
                  <a:ln/>
                  <a:solidFill>
                    <a:srgbClr val="000000"/>
                  </a:solidFill>
                  <a:latin typeface="Arial" panose="020B0604020202020204" pitchFamily="34" charset="0"/>
                  <a:cs typeface="Arial" panose="020B0604020202020204" pitchFamily="34" charset="0"/>
                  <a:sym typeface="HelveticaNeueLTStd-Roman"/>
                  <a:rtl val="0"/>
                </a:rPr>
                <a:t>6</a:t>
              </a:r>
            </a:p>
          </p:txBody>
        </p:sp>
        <p:sp>
          <p:nvSpPr>
            <p:cNvPr id="736" name="TextBox 735">
              <a:extLst>
                <a:ext uri="{FF2B5EF4-FFF2-40B4-BE49-F238E27FC236}">
                  <a16:creationId xmlns:a16="http://schemas.microsoft.com/office/drawing/2014/main" id="{E9339E9F-322A-F31B-95AC-49F7620C3746}"/>
                </a:ext>
              </a:extLst>
            </p:cNvPr>
            <p:cNvSpPr txBox="1"/>
            <p:nvPr/>
          </p:nvSpPr>
          <p:spPr>
            <a:xfrm rot="1719">
              <a:off x="2841019" y="4901272"/>
              <a:ext cx="325304" cy="292388"/>
            </a:xfrm>
            <a:prstGeom prst="rect">
              <a:avLst/>
            </a:prstGeom>
            <a:noFill/>
          </p:spPr>
          <p:txBody>
            <a:bodyPr wrap="none" rtlCol="0">
              <a:spAutoFit/>
            </a:bodyPr>
            <a:lstStyle/>
            <a:p>
              <a:pPr algn="l"/>
              <a:r>
                <a:rPr lang="en-US" sz="825">
                  <a:ln/>
                  <a:solidFill>
                    <a:srgbClr val="000000"/>
                  </a:solidFill>
                  <a:latin typeface="Arial" panose="020B0604020202020204" pitchFamily="34" charset="0"/>
                  <a:cs typeface="Arial" panose="020B0604020202020204" pitchFamily="34" charset="0"/>
                  <a:sym typeface="HelveticaNeueLTStd-Roman"/>
                  <a:rtl val="0"/>
                </a:rPr>
                <a:t>7</a:t>
              </a:r>
            </a:p>
          </p:txBody>
        </p:sp>
        <p:sp>
          <p:nvSpPr>
            <p:cNvPr id="737" name="TextBox 736">
              <a:extLst>
                <a:ext uri="{FF2B5EF4-FFF2-40B4-BE49-F238E27FC236}">
                  <a16:creationId xmlns:a16="http://schemas.microsoft.com/office/drawing/2014/main" id="{28B3C140-15EC-4B95-E422-896BA7CF0CFE}"/>
                </a:ext>
              </a:extLst>
            </p:cNvPr>
            <p:cNvSpPr txBox="1"/>
            <p:nvPr/>
          </p:nvSpPr>
          <p:spPr>
            <a:xfrm rot="1719">
              <a:off x="3039244" y="4901386"/>
              <a:ext cx="325304" cy="292388"/>
            </a:xfrm>
            <a:prstGeom prst="rect">
              <a:avLst/>
            </a:prstGeom>
            <a:noFill/>
          </p:spPr>
          <p:txBody>
            <a:bodyPr wrap="none" rtlCol="0">
              <a:spAutoFit/>
            </a:bodyPr>
            <a:lstStyle/>
            <a:p>
              <a:pPr algn="l"/>
              <a:r>
                <a:rPr lang="en-US" sz="825">
                  <a:ln/>
                  <a:solidFill>
                    <a:srgbClr val="000000"/>
                  </a:solidFill>
                  <a:latin typeface="Arial" panose="020B0604020202020204" pitchFamily="34" charset="0"/>
                  <a:cs typeface="Arial" panose="020B0604020202020204" pitchFamily="34" charset="0"/>
                  <a:sym typeface="HelveticaNeueLTStd-Roman"/>
                  <a:rtl val="0"/>
                </a:rPr>
                <a:t>8</a:t>
              </a:r>
            </a:p>
          </p:txBody>
        </p:sp>
        <p:sp>
          <p:nvSpPr>
            <p:cNvPr id="738" name="TextBox 737">
              <a:extLst>
                <a:ext uri="{FF2B5EF4-FFF2-40B4-BE49-F238E27FC236}">
                  <a16:creationId xmlns:a16="http://schemas.microsoft.com/office/drawing/2014/main" id="{9D2D3237-0558-BF83-EAF1-1E2A452C1C74}"/>
                </a:ext>
              </a:extLst>
            </p:cNvPr>
            <p:cNvSpPr txBox="1"/>
            <p:nvPr/>
          </p:nvSpPr>
          <p:spPr>
            <a:xfrm rot="1719">
              <a:off x="3231574" y="4901490"/>
              <a:ext cx="325304" cy="292388"/>
            </a:xfrm>
            <a:prstGeom prst="rect">
              <a:avLst/>
            </a:prstGeom>
            <a:noFill/>
          </p:spPr>
          <p:txBody>
            <a:bodyPr wrap="none" rtlCol="0">
              <a:spAutoFit/>
            </a:bodyPr>
            <a:lstStyle/>
            <a:p>
              <a:pPr algn="l"/>
              <a:r>
                <a:rPr lang="en-US" sz="825">
                  <a:ln/>
                  <a:solidFill>
                    <a:srgbClr val="000000"/>
                  </a:solidFill>
                  <a:latin typeface="Arial" panose="020B0604020202020204" pitchFamily="34" charset="0"/>
                  <a:cs typeface="Arial" panose="020B0604020202020204" pitchFamily="34" charset="0"/>
                  <a:sym typeface="HelveticaNeueLTStd-Roman"/>
                  <a:rtl val="0"/>
                </a:rPr>
                <a:t>9</a:t>
              </a:r>
            </a:p>
          </p:txBody>
        </p:sp>
        <p:sp>
          <p:nvSpPr>
            <p:cNvPr id="739" name="TextBox 738">
              <a:extLst>
                <a:ext uri="{FF2B5EF4-FFF2-40B4-BE49-F238E27FC236}">
                  <a16:creationId xmlns:a16="http://schemas.microsoft.com/office/drawing/2014/main" id="{AC84788F-2004-3484-A36E-1A477206CDA3}"/>
                </a:ext>
              </a:extLst>
            </p:cNvPr>
            <p:cNvSpPr txBox="1"/>
            <p:nvPr/>
          </p:nvSpPr>
          <p:spPr>
            <a:xfrm rot="1719">
              <a:off x="3399042" y="4901601"/>
              <a:ext cx="404384" cy="292388"/>
            </a:xfrm>
            <a:prstGeom prst="rect">
              <a:avLst/>
            </a:prstGeom>
            <a:noFill/>
          </p:spPr>
          <p:txBody>
            <a:bodyPr wrap="none" rtlCol="0">
              <a:spAutoFit/>
            </a:bodyPr>
            <a:lstStyle/>
            <a:p>
              <a:pPr algn="l"/>
              <a:r>
                <a:rPr lang="en-US" sz="825">
                  <a:ln/>
                  <a:solidFill>
                    <a:srgbClr val="000000"/>
                  </a:solidFill>
                  <a:latin typeface="Arial" panose="020B0604020202020204" pitchFamily="34" charset="0"/>
                  <a:cs typeface="Arial" panose="020B0604020202020204" pitchFamily="34" charset="0"/>
                  <a:sym typeface="HelveticaNeueLTStd-Roman"/>
                  <a:rtl val="0"/>
                </a:rPr>
                <a:t>10</a:t>
              </a:r>
            </a:p>
          </p:txBody>
        </p:sp>
        <p:sp>
          <p:nvSpPr>
            <p:cNvPr id="740" name="TextBox 739">
              <a:extLst>
                <a:ext uri="{FF2B5EF4-FFF2-40B4-BE49-F238E27FC236}">
                  <a16:creationId xmlns:a16="http://schemas.microsoft.com/office/drawing/2014/main" id="{A54746AF-44DB-6119-2998-10990184340E}"/>
                </a:ext>
              </a:extLst>
            </p:cNvPr>
            <p:cNvSpPr txBox="1"/>
            <p:nvPr/>
          </p:nvSpPr>
          <p:spPr>
            <a:xfrm rot="1719">
              <a:off x="3591438" y="4901705"/>
              <a:ext cx="404384" cy="292388"/>
            </a:xfrm>
            <a:prstGeom prst="rect">
              <a:avLst/>
            </a:prstGeom>
            <a:noFill/>
          </p:spPr>
          <p:txBody>
            <a:bodyPr wrap="none" rtlCol="0">
              <a:spAutoFit/>
            </a:bodyPr>
            <a:lstStyle/>
            <a:p>
              <a:pPr algn="l"/>
              <a:r>
                <a:rPr lang="en-US" sz="825">
                  <a:ln/>
                  <a:solidFill>
                    <a:srgbClr val="000000"/>
                  </a:solidFill>
                  <a:latin typeface="Arial" panose="020B0604020202020204" pitchFamily="34" charset="0"/>
                  <a:cs typeface="Arial" panose="020B0604020202020204" pitchFamily="34" charset="0"/>
                  <a:sym typeface="HelveticaNeueLTStd-Roman"/>
                  <a:rtl val="0"/>
                </a:rPr>
                <a:t>11</a:t>
              </a:r>
            </a:p>
          </p:txBody>
        </p:sp>
        <p:sp>
          <p:nvSpPr>
            <p:cNvPr id="741" name="TextBox 740">
              <a:extLst>
                <a:ext uri="{FF2B5EF4-FFF2-40B4-BE49-F238E27FC236}">
                  <a16:creationId xmlns:a16="http://schemas.microsoft.com/office/drawing/2014/main" id="{C45B5598-5FE7-C656-650B-989CD6C822A2}"/>
                </a:ext>
              </a:extLst>
            </p:cNvPr>
            <p:cNvSpPr txBox="1"/>
            <p:nvPr/>
          </p:nvSpPr>
          <p:spPr>
            <a:xfrm rot="1719">
              <a:off x="3806652" y="4901818"/>
              <a:ext cx="404384" cy="292388"/>
            </a:xfrm>
            <a:prstGeom prst="rect">
              <a:avLst/>
            </a:prstGeom>
            <a:noFill/>
          </p:spPr>
          <p:txBody>
            <a:bodyPr wrap="none" rtlCol="0">
              <a:spAutoFit/>
            </a:bodyPr>
            <a:lstStyle/>
            <a:p>
              <a:pPr algn="l"/>
              <a:r>
                <a:rPr lang="en-US" sz="825">
                  <a:ln/>
                  <a:solidFill>
                    <a:srgbClr val="000000"/>
                  </a:solidFill>
                  <a:latin typeface="Arial" panose="020B0604020202020204" pitchFamily="34" charset="0"/>
                  <a:cs typeface="Arial" panose="020B0604020202020204" pitchFamily="34" charset="0"/>
                  <a:sym typeface="HelveticaNeueLTStd-Roman"/>
                  <a:rtl val="0"/>
                </a:rPr>
                <a:t>12</a:t>
              </a:r>
            </a:p>
          </p:txBody>
        </p:sp>
        <p:sp>
          <p:nvSpPr>
            <p:cNvPr id="742" name="TextBox 741">
              <a:extLst>
                <a:ext uri="{FF2B5EF4-FFF2-40B4-BE49-F238E27FC236}">
                  <a16:creationId xmlns:a16="http://schemas.microsoft.com/office/drawing/2014/main" id="{99D4DE4B-2A6B-2AF7-CE61-41BBF9B5F6F4}"/>
                </a:ext>
              </a:extLst>
            </p:cNvPr>
            <p:cNvSpPr txBox="1"/>
            <p:nvPr/>
          </p:nvSpPr>
          <p:spPr>
            <a:xfrm rot="1719">
              <a:off x="3999019" y="4901921"/>
              <a:ext cx="404384" cy="292388"/>
            </a:xfrm>
            <a:prstGeom prst="rect">
              <a:avLst/>
            </a:prstGeom>
            <a:noFill/>
          </p:spPr>
          <p:txBody>
            <a:bodyPr wrap="none" rtlCol="0">
              <a:spAutoFit/>
            </a:bodyPr>
            <a:lstStyle/>
            <a:p>
              <a:pPr algn="l"/>
              <a:r>
                <a:rPr lang="en-US" sz="825" dirty="0">
                  <a:ln/>
                  <a:solidFill>
                    <a:srgbClr val="000000"/>
                  </a:solidFill>
                  <a:latin typeface="Arial" panose="020B0604020202020204" pitchFamily="34" charset="0"/>
                  <a:cs typeface="Arial" panose="020B0604020202020204" pitchFamily="34" charset="0"/>
                  <a:sym typeface="HelveticaNeueLTStd-Roman"/>
                  <a:rtl val="0"/>
                </a:rPr>
                <a:t>13</a:t>
              </a:r>
            </a:p>
          </p:txBody>
        </p:sp>
        <p:sp>
          <p:nvSpPr>
            <p:cNvPr id="743" name="TextBox 742">
              <a:extLst>
                <a:ext uri="{FF2B5EF4-FFF2-40B4-BE49-F238E27FC236}">
                  <a16:creationId xmlns:a16="http://schemas.microsoft.com/office/drawing/2014/main" id="{54EC6C12-B442-53A3-4D37-7B497E2C3880}"/>
                </a:ext>
              </a:extLst>
            </p:cNvPr>
            <p:cNvSpPr txBox="1"/>
            <p:nvPr/>
          </p:nvSpPr>
          <p:spPr>
            <a:xfrm rot="1719">
              <a:off x="4204466" y="4902036"/>
              <a:ext cx="404384" cy="292388"/>
            </a:xfrm>
            <a:prstGeom prst="rect">
              <a:avLst/>
            </a:prstGeom>
            <a:noFill/>
          </p:spPr>
          <p:txBody>
            <a:bodyPr wrap="none" rtlCol="0">
              <a:spAutoFit/>
            </a:bodyPr>
            <a:lstStyle/>
            <a:p>
              <a:pPr algn="l"/>
              <a:r>
                <a:rPr lang="en-US" sz="825">
                  <a:ln/>
                  <a:solidFill>
                    <a:srgbClr val="000000"/>
                  </a:solidFill>
                  <a:latin typeface="Arial" panose="020B0604020202020204" pitchFamily="34" charset="0"/>
                  <a:cs typeface="Arial" panose="020B0604020202020204" pitchFamily="34" charset="0"/>
                  <a:sym typeface="HelveticaNeueLTStd-Roman"/>
                  <a:rtl val="0"/>
                </a:rPr>
                <a:t>14</a:t>
              </a:r>
            </a:p>
          </p:txBody>
        </p:sp>
        <p:sp>
          <p:nvSpPr>
            <p:cNvPr id="744" name="TextBox 743">
              <a:extLst>
                <a:ext uri="{FF2B5EF4-FFF2-40B4-BE49-F238E27FC236}">
                  <a16:creationId xmlns:a16="http://schemas.microsoft.com/office/drawing/2014/main" id="{0F77BFBB-D6E1-FB74-1237-BAD2EA560E70}"/>
                </a:ext>
              </a:extLst>
            </p:cNvPr>
            <p:cNvSpPr txBox="1"/>
            <p:nvPr/>
          </p:nvSpPr>
          <p:spPr>
            <a:xfrm rot="1719">
              <a:off x="4396862" y="4902138"/>
              <a:ext cx="404384" cy="292388"/>
            </a:xfrm>
            <a:prstGeom prst="rect">
              <a:avLst/>
            </a:prstGeom>
            <a:noFill/>
          </p:spPr>
          <p:txBody>
            <a:bodyPr wrap="none" rtlCol="0">
              <a:spAutoFit/>
            </a:bodyPr>
            <a:lstStyle/>
            <a:p>
              <a:pPr algn="l"/>
              <a:r>
                <a:rPr lang="en-US" sz="825">
                  <a:ln/>
                  <a:solidFill>
                    <a:srgbClr val="000000"/>
                  </a:solidFill>
                  <a:latin typeface="Arial" panose="020B0604020202020204" pitchFamily="34" charset="0"/>
                  <a:cs typeface="Arial" panose="020B0604020202020204" pitchFamily="34" charset="0"/>
                  <a:sym typeface="HelveticaNeueLTStd-Roman"/>
                  <a:rtl val="0"/>
                </a:rPr>
                <a:t>15</a:t>
              </a:r>
            </a:p>
          </p:txBody>
        </p:sp>
        <p:sp>
          <p:nvSpPr>
            <p:cNvPr id="745" name="TextBox 744">
              <a:extLst>
                <a:ext uri="{FF2B5EF4-FFF2-40B4-BE49-F238E27FC236}">
                  <a16:creationId xmlns:a16="http://schemas.microsoft.com/office/drawing/2014/main" id="{878A175E-0090-A476-C131-B935955D0B3A}"/>
                </a:ext>
              </a:extLst>
            </p:cNvPr>
            <p:cNvSpPr txBox="1"/>
            <p:nvPr/>
          </p:nvSpPr>
          <p:spPr>
            <a:xfrm>
              <a:off x="4663000" y="4930828"/>
              <a:ext cx="404384" cy="292388"/>
            </a:xfrm>
            <a:prstGeom prst="rect">
              <a:avLst/>
            </a:prstGeom>
            <a:noFill/>
          </p:spPr>
          <p:txBody>
            <a:bodyPr wrap="none" rtlCol="0">
              <a:spAutoFit/>
            </a:bodyPr>
            <a:lstStyle/>
            <a:p>
              <a:pPr algn="l"/>
              <a:r>
                <a:rPr lang="en-US" sz="825">
                  <a:ln/>
                  <a:solidFill>
                    <a:srgbClr val="000000"/>
                  </a:solidFill>
                  <a:latin typeface="Arial" panose="020B0604020202020204" pitchFamily="34" charset="0"/>
                  <a:cs typeface="Arial" panose="020B0604020202020204" pitchFamily="34" charset="0"/>
                  <a:sym typeface="HelveticaNeueLTStd-Roman"/>
                  <a:rtl val="0"/>
                </a:rPr>
                <a:t>16</a:t>
              </a:r>
            </a:p>
          </p:txBody>
        </p:sp>
        <p:sp>
          <p:nvSpPr>
            <p:cNvPr id="746" name="TextBox 745">
              <a:extLst>
                <a:ext uri="{FF2B5EF4-FFF2-40B4-BE49-F238E27FC236}">
                  <a16:creationId xmlns:a16="http://schemas.microsoft.com/office/drawing/2014/main" id="{DF3F8EC0-4295-DF82-6AB6-D55E4854F94F}"/>
                </a:ext>
              </a:extLst>
            </p:cNvPr>
            <p:cNvSpPr txBox="1"/>
            <p:nvPr/>
          </p:nvSpPr>
          <p:spPr>
            <a:xfrm>
              <a:off x="4855367" y="4930828"/>
              <a:ext cx="404384" cy="292388"/>
            </a:xfrm>
            <a:prstGeom prst="rect">
              <a:avLst/>
            </a:prstGeom>
            <a:noFill/>
          </p:spPr>
          <p:txBody>
            <a:bodyPr wrap="none" rtlCol="0">
              <a:spAutoFit/>
            </a:bodyPr>
            <a:lstStyle/>
            <a:p>
              <a:pPr algn="l"/>
              <a:r>
                <a:rPr lang="en-US" sz="825">
                  <a:ln/>
                  <a:solidFill>
                    <a:srgbClr val="000000"/>
                  </a:solidFill>
                  <a:latin typeface="Arial" panose="020B0604020202020204" pitchFamily="34" charset="0"/>
                  <a:cs typeface="Arial" panose="020B0604020202020204" pitchFamily="34" charset="0"/>
                  <a:sym typeface="HelveticaNeueLTStd-Roman"/>
                  <a:rtl val="0"/>
                </a:rPr>
                <a:t>17</a:t>
              </a:r>
            </a:p>
          </p:txBody>
        </p:sp>
        <p:sp>
          <p:nvSpPr>
            <p:cNvPr id="747" name="TextBox 746">
              <a:extLst>
                <a:ext uri="{FF2B5EF4-FFF2-40B4-BE49-F238E27FC236}">
                  <a16:creationId xmlns:a16="http://schemas.microsoft.com/office/drawing/2014/main" id="{72FA1023-759E-FA28-1CA5-E43FE9E4A359}"/>
                </a:ext>
              </a:extLst>
            </p:cNvPr>
            <p:cNvSpPr txBox="1"/>
            <p:nvPr/>
          </p:nvSpPr>
          <p:spPr>
            <a:xfrm>
              <a:off x="5060814" y="4930828"/>
              <a:ext cx="404384" cy="292388"/>
            </a:xfrm>
            <a:prstGeom prst="rect">
              <a:avLst/>
            </a:prstGeom>
            <a:noFill/>
          </p:spPr>
          <p:txBody>
            <a:bodyPr wrap="none" rtlCol="0">
              <a:spAutoFit/>
            </a:bodyPr>
            <a:lstStyle/>
            <a:p>
              <a:pPr algn="l"/>
              <a:r>
                <a:rPr lang="en-US" sz="825">
                  <a:ln/>
                  <a:solidFill>
                    <a:srgbClr val="000000"/>
                  </a:solidFill>
                  <a:latin typeface="Arial" panose="020B0604020202020204" pitchFamily="34" charset="0"/>
                  <a:cs typeface="Arial" panose="020B0604020202020204" pitchFamily="34" charset="0"/>
                  <a:sym typeface="HelveticaNeueLTStd-Roman"/>
                  <a:rtl val="0"/>
                </a:rPr>
                <a:t>18</a:t>
              </a:r>
            </a:p>
          </p:txBody>
        </p:sp>
        <p:sp>
          <p:nvSpPr>
            <p:cNvPr id="748" name="TextBox 747">
              <a:extLst>
                <a:ext uri="{FF2B5EF4-FFF2-40B4-BE49-F238E27FC236}">
                  <a16:creationId xmlns:a16="http://schemas.microsoft.com/office/drawing/2014/main" id="{626F6129-02F0-2C83-3226-41583E94C039}"/>
                </a:ext>
              </a:extLst>
            </p:cNvPr>
            <p:cNvSpPr txBox="1"/>
            <p:nvPr/>
          </p:nvSpPr>
          <p:spPr>
            <a:xfrm>
              <a:off x="5253210" y="4930828"/>
              <a:ext cx="404384" cy="292388"/>
            </a:xfrm>
            <a:prstGeom prst="rect">
              <a:avLst/>
            </a:prstGeom>
            <a:noFill/>
          </p:spPr>
          <p:txBody>
            <a:bodyPr wrap="none" rtlCol="0">
              <a:spAutoFit/>
            </a:bodyPr>
            <a:lstStyle/>
            <a:p>
              <a:pPr algn="l"/>
              <a:r>
                <a:rPr lang="en-US" sz="825" dirty="0">
                  <a:ln/>
                  <a:solidFill>
                    <a:srgbClr val="000000"/>
                  </a:solidFill>
                  <a:latin typeface="Arial" panose="020B0604020202020204" pitchFamily="34" charset="0"/>
                  <a:cs typeface="Arial" panose="020B0604020202020204" pitchFamily="34" charset="0"/>
                  <a:sym typeface="HelveticaNeueLTStd-Roman"/>
                  <a:rtl val="0"/>
                </a:rPr>
                <a:t>19</a:t>
              </a:r>
            </a:p>
          </p:txBody>
        </p:sp>
        <p:sp>
          <p:nvSpPr>
            <p:cNvPr id="749" name="TextBox 748">
              <a:extLst>
                <a:ext uri="{FF2B5EF4-FFF2-40B4-BE49-F238E27FC236}">
                  <a16:creationId xmlns:a16="http://schemas.microsoft.com/office/drawing/2014/main" id="{A1D9EF46-B2D0-4DDA-7460-F27B0354E425}"/>
                </a:ext>
              </a:extLst>
            </p:cNvPr>
            <p:cNvSpPr txBox="1"/>
            <p:nvPr/>
          </p:nvSpPr>
          <p:spPr>
            <a:xfrm>
              <a:off x="5468426" y="4930828"/>
              <a:ext cx="404384" cy="292388"/>
            </a:xfrm>
            <a:prstGeom prst="rect">
              <a:avLst/>
            </a:prstGeom>
            <a:noFill/>
          </p:spPr>
          <p:txBody>
            <a:bodyPr wrap="none" rtlCol="0">
              <a:spAutoFit/>
            </a:bodyPr>
            <a:lstStyle/>
            <a:p>
              <a:pPr algn="l"/>
              <a:r>
                <a:rPr lang="en-US" sz="825">
                  <a:ln/>
                  <a:solidFill>
                    <a:srgbClr val="000000"/>
                  </a:solidFill>
                  <a:latin typeface="Arial" panose="020B0604020202020204" pitchFamily="34" charset="0"/>
                  <a:cs typeface="Arial" panose="020B0604020202020204" pitchFamily="34" charset="0"/>
                  <a:sym typeface="HelveticaNeueLTStd-Roman"/>
                  <a:rtl val="0"/>
                </a:rPr>
                <a:t>20</a:t>
              </a:r>
            </a:p>
          </p:txBody>
        </p:sp>
        <p:sp>
          <p:nvSpPr>
            <p:cNvPr id="750" name="TextBox 749">
              <a:extLst>
                <a:ext uri="{FF2B5EF4-FFF2-40B4-BE49-F238E27FC236}">
                  <a16:creationId xmlns:a16="http://schemas.microsoft.com/office/drawing/2014/main" id="{D24A17DB-B6E5-1E1A-F45E-3214D27FD7C4}"/>
                </a:ext>
              </a:extLst>
            </p:cNvPr>
            <p:cNvSpPr txBox="1"/>
            <p:nvPr/>
          </p:nvSpPr>
          <p:spPr>
            <a:xfrm>
              <a:off x="5660794" y="4930828"/>
              <a:ext cx="404384" cy="292388"/>
            </a:xfrm>
            <a:prstGeom prst="rect">
              <a:avLst/>
            </a:prstGeom>
            <a:noFill/>
          </p:spPr>
          <p:txBody>
            <a:bodyPr wrap="none" rtlCol="0">
              <a:spAutoFit/>
            </a:bodyPr>
            <a:lstStyle/>
            <a:p>
              <a:pPr algn="l"/>
              <a:r>
                <a:rPr lang="en-US" sz="825" dirty="0">
                  <a:ln/>
                  <a:solidFill>
                    <a:srgbClr val="000000"/>
                  </a:solidFill>
                  <a:latin typeface="Arial" panose="020B0604020202020204" pitchFamily="34" charset="0"/>
                  <a:cs typeface="Arial" panose="020B0604020202020204" pitchFamily="34" charset="0"/>
                  <a:sym typeface="HelveticaNeueLTStd-Roman"/>
                  <a:rtl val="0"/>
                </a:rPr>
                <a:t>21</a:t>
              </a:r>
            </a:p>
          </p:txBody>
        </p:sp>
        <p:sp>
          <p:nvSpPr>
            <p:cNvPr id="751" name="TextBox 750">
              <a:extLst>
                <a:ext uri="{FF2B5EF4-FFF2-40B4-BE49-F238E27FC236}">
                  <a16:creationId xmlns:a16="http://schemas.microsoft.com/office/drawing/2014/main" id="{ABE4D6C3-D045-E5C9-DCCD-032014E759B1}"/>
                </a:ext>
              </a:extLst>
            </p:cNvPr>
            <p:cNvSpPr txBox="1"/>
            <p:nvPr/>
          </p:nvSpPr>
          <p:spPr>
            <a:xfrm>
              <a:off x="5866230" y="4930828"/>
              <a:ext cx="404384" cy="292388"/>
            </a:xfrm>
            <a:prstGeom prst="rect">
              <a:avLst/>
            </a:prstGeom>
            <a:noFill/>
          </p:spPr>
          <p:txBody>
            <a:bodyPr wrap="none" rtlCol="0">
              <a:spAutoFit/>
            </a:bodyPr>
            <a:lstStyle/>
            <a:p>
              <a:pPr algn="l"/>
              <a:r>
                <a:rPr lang="en-US" sz="825">
                  <a:ln/>
                  <a:solidFill>
                    <a:srgbClr val="000000"/>
                  </a:solidFill>
                  <a:latin typeface="Arial" panose="020B0604020202020204" pitchFamily="34" charset="0"/>
                  <a:cs typeface="Arial" panose="020B0604020202020204" pitchFamily="34" charset="0"/>
                  <a:sym typeface="HelveticaNeueLTStd-Roman"/>
                  <a:rtl val="0"/>
                </a:rPr>
                <a:t>22</a:t>
              </a:r>
            </a:p>
          </p:txBody>
        </p:sp>
        <p:sp>
          <p:nvSpPr>
            <p:cNvPr id="752" name="TextBox 751">
              <a:extLst>
                <a:ext uri="{FF2B5EF4-FFF2-40B4-BE49-F238E27FC236}">
                  <a16:creationId xmlns:a16="http://schemas.microsoft.com/office/drawing/2014/main" id="{3A50ADFC-9C2E-ED9B-CB09-B01C4717A6C7}"/>
                </a:ext>
              </a:extLst>
            </p:cNvPr>
            <p:cNvSpPr txBox="1"/>
            <p:nvPr/>
          </p:nvSpPr>
          <p:spPr>
            <a:xfrm>
              <a:off x="6058596" y="4930828"/>
              <a:ext cx="404384" cy="292388"/>
            </a:xfrm>
            <a:prstGeom prst="rect">
              <a:avLst/>
            </a:prstGeom>
            <a:noFill/>
          </p:spPr>
          <p:txBody>
            <a:bodyPr wrap="none" rtlCol="0">
              <a:spAutoFit/>
            </a:bodyPr>
            <a:lstStyle/>
            <a:p>
              <a:pPr algn="l"/>
              <a:r>
                <a:rPr lang="en-US" sz="825">
                  <a:ln/>
                  <a:solidFill>
                    <a:srgbClr val="000000"/>
                  </a:solidFill>
                  <a:latin typeface="Arial" panose="020B0604020202020204" pitchFamily="34" charset="0"/>
                  <a:cs typeface="Arial" panose="020B0604020202020204" pitchFamily="34" charset="0"/>
                  <a:sym typeface="HelveticaNeueLTStd-Roman"/>
                  <a:rtl val="0"/>
                </a:rPr>
                <a:t>23</a:t>
              </a:r>
            </a:p>
          </p:txBody>
        </p:sp>
        <p:sp>
          <p:nvSpPr>
            <p:cNvPr id="753" name="TextBox 752">
              <a:extLst>
                <a:ext uri="{FF2B5EF4-FFF2-40B4-BE49-F238E27FC236}">
                  <a16:creationId xmlns:a16="http://schemas.microsoft.com/office/drawing/2014/main" id="{1BA650C9-24C7-B240-869A-9BEB16806C4D}"/>
                </a:ext>
              </a:extLst>
            </p:cNvPr>
            <p:cNvSpPr txBox="1"/>
            <p:nvPr/>
          </p:nvSpPr>
          <p:spPr>
            <a:xfrm>
              <a:off x="6256834" y="4930828"/>
              <a:ext cx="404384" cy="292388"/>
            </a:xfrm>
            <a:prstGeom prst="rect">
              <a:avLst/>
            </a:prstGeom>
            <a:noFill/>
          </p:spPr>
          <p:txBody>
            <a:bodyPr wrap="none" rtlCol="0">
              <a:spAutoFit/>
            </a:bodyPr>
            <a:lstStyle/>
            <a:p>
              <a:pPr algn="l"/>
              <a:r>
                <a:rPr lang="en-US" sz="825">
                  <a:ln/>
                  <a:solidFill>
                    <a:srgbClr val="000000"/>
                  </a:solidFill>
                  <a:latin typeface="Arial" panose="020B0604020202020204" pitchFamily="34" charset="0"/>
                  <a:cs typeface="Arial" panose="020B0604020202020204" pitchFamily="34" charset="0"/>
                  <a:sym typeface="HelveticaNeueLTStd-Roman"/>
                  <a:rtl val="0"/>
                </a:rPr>
                <a:t>24</a:t>
              </a:r>
            </a:p>
          </p:txBody>
        </p:sp>
        <p:sp>
          <p:nvSpPr>
            <p:cNvPr id="754" name="TextBox 753">
              <a:extLst>
                <a:ext uri="{FF2B5EF4-FFF2-40B4-BE49-F238E27FC236}">
                  <a16:creationId xmlns:a16="http://schemas.microsoft.com/office/drawing/2014/main" id="{C9DA14E0-2B1E-7C6B-45B0-001859788351}"/>
                </a:ext>
              </a:extLst>
            </p:cNvPr>
            <p:cNvSpPr txBox="1"/>
            <p:nvPr/>
          </p:nvSpPr>
          <p:spPr>
            <a:xfrm>
              <a:off x="6449228" y="4930828"/>
              <a:ext cx="404384" cy="292388"/>
            </a:xfrm>
            <a:prstGeom prst="rect">
              <a:avLst/>
            </a:prstGeom>
            <a:noFill/>
          </p:spPr>
          <p:txBody>
            <a:bodyPr wrap="none" rtlCol="0">
              <a:spAutoFit/>
            </a:bodyPr>
            <a:lstStyle/>
            <a:p>
              <a:pPr algn="l"/>
              <a:r>
                <a:rPr lang="en-US" sz="825">
                  <a:ln/>
                  <a:solidFill>
                    <a:srgbClr val="000000"/>
                  </a:solidFill>
                  <a:latin typeface="Arial" panose="020B0604020202020204" pitchFamily="34" charset="0"/>
                  <a:cs typeface="Arial" panose="020B0604020202020204" pitchFamily="34" charset="0"/>
                  <a:sym typeface="HelveticaNeueLTStd-Roman"/>
                  <a:rtl val="0"/>
                </a:rPr>
                <a:t>25</a:t>
              </a:r>
            </a:p>
          </p:txBody>
        </p:sp>
        <p:sp>
          <p:nvSpPr>
            <p:cNvPr id="755" name="TextBox 754">
              <a:extLst>
                <a:ext uri="{FF2B5EF4-FFF2-40B4-BE49-F238E27FC236}">
                  <a16:creationId xmlns:a16="http://schemas.microsoft.com/office/drawing/2014/main" id="{9784C45B-2E8B-50DE-557A-5C4AC903BAFF}"/>
                </a:ext>
              </a:extLst>
            </p:cNvPr>
            <p:cNvSpPr txBox="1"/>
            <p:nvPr/>
          </p:nvSpPr>
          <p:spPr>
            <a:xfrm>
              <a:off x="6654675" y="4930828"/>
              <a:ext cx="404384" cy="292388"/>
            </a:xfrm>
            <a:prstGeom prst="rect">
              <a:avLst/>
            </a:prstGeom>
            <a:noFill/>
          </p:spPr>
          <p:txBody>
            <a:bodyPr wrap="none" rtlCol="0">
              <a:spAutoFit/>
            </a:bodyPr>
            <a:lstStyle/>
            <a:p>
              <a:pPr algn="l"/>
              <a:r>
                <a:rPr lang="en-US" sz="825">
                  <a:ln/>
                  <a:solidFill>
                    <a:srgbClr val="000000"/>
                  </a:solidFill>
                  <a:latin typeface="Arial" panose="020B0604020202020204" pitchFamily="34" charset="0"/>
                  <a:cs typeface="Arial" panose="020B0604020202020204" pitchFamily="34" charset="0"/>
                  <a:sym typeface="HelveticaNeueLTStd-Roman"/>
                  <a:rtl val="0"/>
                </a:rPr>
                <a:t>26</a:t>
              </a:r>
            </a:p>
          </p:txBody>
        </p:sp>
        <p:sp>
          <p:nvSpPr>
            <p:cNvPr id="756" name="TextBox 755">
              <a:extLst>
                <a:ext uri="{FF2B5EF4-FFF2-40B4-BE49-F238E27FC236}">
                  <a16:creationId xmlns:a16="http://schemas.microsoft.com/office/drawing/2014/main" id="{3F5A65E9-77D5-E4E5-3422-E0F3881046AC}"/>
                </a:ext>
              </a:extLst>
            </p:cNvPr>
            <p:cNvSpPr txBox="1"/>
            <p:nvPr/>
          </p:nvSpPr>
          <p:spPr>
            <a:xfrm>
              <a:off x="6847042" y="4930828"/>
              <a:ext cx="404384" cy="292388"/>
            </a:xfrm>
            <a:prstGeom prst="rect">
              <a:avLst/>
            </a:prstGeom>
            <a:noFill/>
          </p:spPr>
          <p:txBody>
            <a:bodyPr wrap="none" rtlCol="0">
              <a:spAutoFit/>
            </a:bodyPr>
            <a:lstStyle/>
            <a:p>
              <a:pPr algn="l"/>
              <a:r>
                <a:rPr lang="en-US" sz="825">
                  <a:ln/>
                  <a:solidFill>
                    <a:srgbClr val="000000"/>
                  </a:solidFill>
                  <a:latin typeface="Arial" panose="020B0604020202020204" pitchFamily="34" charset="0"/>
                  <a:cs typeface="Arial" panose="020B0604020202020204" pitchFamily="34" charset="0"/>
                  <a:sym typeface="HelveticaNeueLTStd-Roman"/>
                  <a:rtl val="0"/>
                </a:rPr>
                <a:t>27</a:t>
              </a:r>
            </a:p>
          </p:txBody>
        </p:sp>
        <p:sp>
          <p:nvSpPr>
            <p:cNvPr id="757" name="TextBox 756">
              <a:extLst>
                <a:ext uri="{FF2B5EF4-FFF2-40B4-BE49-F238E27FC236}">
                  <a16:creationId xmlns:a16="http://schemas.microsoft.com/office/drawing/2014/main" id="{AF960632-B67E-F61D-C4ED-96D107137861}"/>
                </a:ext>
              </a:extLst>
            </p:cNvPr>
            <p:cNvSpPr txBox="1"/>
            <p:nvPr/>
          </p:nvSpPr>
          <p:spPr>
            <a:xfrm>
              <a:off x="7062259" y="4930828"/>
              <a:ext cx="404384" cy="292388"/>
            </a:xfrm>
            <a:prstGeom prst="rect">
              <a:avLst/>
            </a:prstGeom>
            <a:noFill/>
          </p:spPr>
          <p:txBody>
            <a:bodyPr wrap="none" rtlCol="0">
              <a:spAutoFit/>
            </a:bodyPr>
            <a:lstStyle/>
            <a:p>
              <a:pPr algn="l"/>
              <a:r>
                <a:rPr lang="en-US" sz="825">
                  <a:ln/>
                  <a:solidFill>
                    <a:srgbClr val="000000"/>
                  </a:solidFill>
                  <a:latin typeface="Arial" panose="020B0604020202020204" pitchFamily="34" charset="0"/>
                  <a:cs typeface="Arial" panose="020B0604020202020204" pitchFamily="34" charset="0"/>
                  <a:sym typeface="HelveticaNeueLTStd-Roman"/>
                  <a:rtl val="0"/>
                </a:rPr>
                <a:t>28</a:t>
              </a:r>
            </a:p>
          </p:txBody>
        </p:sp>
        <p:sp>
          <p:nvSpPr>
            <p:cNvPr id="758" name="TextBox 757">
              <a:extLst>
                <a:ext uri="{FF2B5EF4-FFF2-40B4-BE49-F238E27FC236}">
                  <a16:creationId xmlns:a16="http://schemas.microsoft.com/office/drawing/2014/main" id="{81AA5E4F-19E7-0B2C-8F58-2E66940204B1}"/>
                </a:ext>
              </a:extLst>
            </p:cNvPr>
            <p:cNvSpPr txBox="1"/>
            <p:nvPr/>
          </p:nvSpPr>
          <p:spPr>
            <a:xfrm>
              <a:off x="7254616" y="4930828"/>
              <a:ext cx="404384" cy="292388"/>
            </a:xfrm>
            <a:prstGeom prst="rect">
              <a:avLst/>
            </a:prstGeom>
            <a:noFill/>
          </p:spPr>
          <p:txBody>
            <a:bodyPr wrap="none" rtlCol="0">
              <a:spAutoFit/>
            </a:bodyPr>
            <a:lstStyle/>
            <a:p>
              <a:pPr algn="l"/>
              <a:r>
                <a:rPr lang="en-US" sz="825">
                  <a:ln/>
                  <a:solidFill>
                    <a:srgbClr val="000000"/>
                  </a:solidFill>
                  <a:latin typeface="Arial" panose="020B0604020202020204" pitchFamily="34" charset="0"/>
                  <a:cs typeface="Arial" panose="020B0604020202020204" pitchFamily="34" charset="0"/>
                  <a:sym typeface="HelveticaNeueLTStd-Roman"/>
                  <a:rtl val="0"/>
                </a:rPr>
                <a:t>29</a:t>
              </a:r>
            </a:p>
          </p:txBody>
        </p:sp>
        <p:sp>
          <p:nvSpPr>
            <p:cNvPr id="759" name="TextBox 758">
              <a:extLst>
                <a:ext uri="{FF2B5EF4-FFF2-40B4-BE49-F238E27FC236}">
                  <a16:creationId xmlns:a16="http://schemas.microsoft.com/office/drawing/2014/main" id="{925AB2E7-56EF-24A1-B162-BB29B1BE340F}"/>
                </a:ext>
              </a:extLst>
            </p:cNvPr>
            <p:cNvSpPr txBox="1"/>
            <p:nvPr/>
          </p:nvSpPr>
          <p:spPr>
            <a:xfrm>
              <a:off x="7460102" y="4930828"/>
              <a:ext cx="404384" cy="292388"/>
            </a:xfrm>
            <a:prstGeom prst="rect">
              <a:avLst/>
            </a:prstGeom>
            <a:noFill/>
          </p:spPr>
          <p:txBody>
            <a:bodyPr wrap="none" rtlCol="0">
              <a:spAutoFit/>
            </a:bodyPr>
            <a:lstStyle/>
            <a:p>
              <a:pPr algn="l"/>
              <a:r>
                <a:rPr lang="en-US" sz="825">
                  <a:ln/>
                  <a:solidFill>
                    <a:srgbClr val="000000"/>
                  </a:solidFill>
                  <a:latin typeface="Arial" panose="020B0604020202020204" pitchFamily="34" charset="0"/>
                  <a:cs typeface="Arial" panose="020B0604020202020204" pitchFamily="34" charset="0"/>
                  <a:sym typeface="HelveticaNeueLTStd-Roman"/>
                  <a:rtl val="0"/>
                </a:rPr>
                <a:t>30</a:t>
              </a:r>
            </a:p>
          </p:txBody>
        </p:sp>
        <p:sp>
          <p:nvSpPr>
            <p:cNvPr id="760" name="TextBox 759">
              <a:extLst>
                <a:ext uri="{FF2B5EF4-FFF2-40B4-BE49-F238E27FC236}">
                  <a16:creationId xmlns:a16="http://schemas.microsoft.com/office/drawing/2014/main" id="{9FB0A485-E179-067A-D575-74936EFE4D02}"/>
                </a:ext>
              </a:extLst>
            </p:cNvPr>
            <p:cNvSpPr txBox="1"/>
            <p:nvPr/>
          </p:nvSpPr>
          <p:spPr>
            <a:xfrm>
              <a:off x="7652430" y="4930828"/>
              <a:ext cx="404384" cy="292388"/>
            </a:xfrm>
            <a:prstGeom prst="rect">
              <a:avLst/>
            </a:prstGeom>
            <a:noFill/>
          </p:spPr>
          <p:txBody>
            <a:bodyPr wrap="none" rtlCol="0">
              <a:spAutoFit/>
            </a:bodyPr>
            <a:lstStyle/>
            <a:p>
              <a:pPr algn="l"/>
              <a:r>
                <a:rPr lang="en-US" sz="825">
                  <a:ln/>
                  <a:solidFill>
                    <a:srgbClr val="000000"/>
                  </a:solidFill>
                  <a:latin typeface="Arial" panose="020B0604020202020204" pitchFamily="34" charset="0"/>
                  <a:cs typeface="Arial" panose="020B0604020202020204" pitchFamily="34" charset="0"/>
                  <a:sym typeface="HelveticaNeueLTStd-Roman"/>
                  <a:rtl val="0"/>
                </a:rPr>
                <a:t>31</a:t>
              </a:r>
            </a:p>
          </p:txBody>
        </p:sp>
        <p:sp>
          <p:nvSpPr>
            <p:cNvPr id="761" name="TextBox 760">
              <a:extLst>
                <a:ext uri="{FF2B5EF4-FFF2-40B4-BE49-F238E27FC236}">
                  <a16:creationId xmlns:a16="http://schemas.microsoft.com/office/drawing/2014/main" id="{8ADC9A15-245A-23EE-6C79-01EB0C16329F}"/>
                </a:ext>
              </a:extLst>
            </p:cNvPr>
            <p:cNvSpPr txBox="1"/>
            <p:nvPr/>
          </p:nvSpPr>
          <p:spPr>
            <a:xfrm>
              <a:off x="7858276" y="4930828"/>
              <a:ext cx="404384" cy="292388"/>
            </a:xfrm>
            <a:prstGeom prst="rect">
              <a:avLst/>
            </a:prstGeom>
            <a:noFill/>
          </p:spPr>
          <p:txBody>
            <a:bodyPr wrap="none" rtlCol="0">
              <a:spAutoFit/>
            </a:bodyPr>
            <a:lstStyle/>
            <a:p>
              <a:pPr algn="l"/>
              <a:r>
                <a:rPr lang="en-US" sz="825">
                  <a:ln/>
                  <a:solidFill>
                    <a:srgbClr val="000000"/>
                  </a:solidFill>
                  <a:latin typeface="Arial" panose="020B0604020202020204" pitchFamily="34" charset="0"/>
                  <a:cs typeface="Arial" panose="020B0604020202020204" pitchFamily="34" charset="0"/>
                  <a:sym typeface="HelveticaNeueLTStd-Roman"/>
                  <a:rtl val="0"/>
                </a:rPr>
                <a:t>32</a:t>
              </a:r>
            </a:p>
          </p:txBody>
        </p:sp>
        <p:sp>
          <p:nvSpPr>
            <p:cNvPr id="762" name="TextBox 761">
              <a:extLst>
                <a:ext uri="{FF2B5EF4-FFF2-40B4-BE49-F238E27FC236}">
                  <a16:creationId xmlns:a16="http://schemas.microsoft.com/office/drawing/2014/main" id="{6ACFAE84-2E46-0AAF-6B68-7030EA2459A1}"/>
                </a:ext>
              </a:extLst>
            </p:cNvPr>
            <p:cNvSpPr txBox="1"/>
            <p:nvPr/>
          </p:nvSpPr>
          <p:spPr>
            <a:xfrm>
              <a:off x="8050644" y="4930828"/>
              <a:ext cx="404384" cy="292388"/>
            </a:xfrm>
            <a:prstGeom prst="rect">
              <a:avLst/>
            </a:prstGeom>
            <a:noFill/>
          </p:spPr>
          <p:txBody>
            <a:bodyPr wrap="none" rtlCol="0">
              <a:spAutoFit/>
            </a:bodyPr>
            <a:lstStyle/>
            <a:p>
              <a:pPr algn="l"/>
              <a:r>
                <a:rPr lang="en-US" sz="825" dirty="0">
                  <a:ln/>
                  <a:solidFill>
                    <a:srgbClr val="000000"/>
                  </a:solidFill>
                  <a:latin typeface="Arial" panose="020B0604020202020204" pitchFamily="34" charset="0"/>
                  <a:cs typeface="Arial" panose="020B0604020202020204" pitchFamily="34" charset="0"/>
                  <a:sym typeface="HelveticaNeueLTStd-Roman"/>
                  <a:rtl val="0"/>
                </a:rPr>
                <a:t>33</a:t>
              </a:r>
            </a:p>
          </p:txBody>
        </p:sp>
        <p:sp>
          <p:nvSpPr>
            <p:cNvPr id="763" name="TextBox 762">
              <a:extLst>
                <a:ext uri="{FF2B5EF4-FFF2-40B4-BE49-F238E27FC236}">
                  <a16:creationId xmlns:a16="http://schemas.microsoft.com/office/drawing/2014/main" id="{7DF00312-1B9A-071F-8AFB-8874EE84E7A3}"/>
                </a:ext>
              </a:extLst>
            </p:cNvPr>
            <p:cNvSpPr txBox="1"/>
            <p:nvPr/>
          </p:nvSpPr>
          <p:spPr>
            <a:xfrm>
              <a:off x="8256052" y="4930828"/>
              <a:ext cx="404384" cy="292388"/>
            </a:xfrm>
            <a:prstGeom prst="rect">
              <a:avLst/>
            </a:prstGeom>
            <a:noFill/>
          </p:spPr>
          <p:txBody>
            <a:bodyPr wrap="none" rtlCol="0">
              <a:spAutoFit/>
            </a:bodyPr>
            <a:lstStyle/>
            <a:p>
              <a:pPr algn="l"/>
              <a:r>
                <a:rPr lang="en-US" sz="825">
                  <a:ln/>
                  <a:solidFill>
                    <a:srgbClr val="000000"/>
                  </a:solidFill>
                  <a:latin typeface="Arial" panose="020B0604020202020204" pitchFamily="34" charset="0"/>
                  <a:cs typeface="Arial" panose="020B0604020202020204" pitchFamily="34" charset="0"/>
                  <a:sym typeface="HelveticaNeueLTStd-Roman"/>
                  <a:rtl val="0"/>
                </a:rPr>
                <a:t>34</a:t>
              </a:r>
            </a:p>
          </p:txBody>
        </p:sp>
        <p:sp>
          <p:nvSpPr>
            <p:cNvPr id="764" name="TextBox 763">
              <a:extLst>
                <a:ext uri="{FF2B5EF4-FFF2-40B4-BE49-F238E27FC236}">
                  <a16:creationId xmlns:a16="http://schemas.microsoft.com/office/drawing/2014/main" id="{C23E0DAF-B69F-A30B-038C-887B0E9AD5FF}"/>
                </a:ext>
              </a:extLst>
            </p:cNvPr>
            <p:cNvSpPr txBox="1"/>
            <p:nvPr/>
          </p:nvSpPr>
          <p:spPr>
            <a:xfrm>
              <a:off x="8448448" y="4930828"/>
              <a:ext cx="404384" cy="292388"/>
            </a:xfrm>
            <a:prstGeom prst="rect">
              <a:avLst/>
            </a:prstGeom>
            <a:noFill/>
          </p:spPr>
          <p:txBody>
            <a:bodyPr wrap="none" rtlCol="0">
              <a:spAutoFit/>
            </a:bodyPr>
            <a:lstStyle/>
            <a:p>
              <a:pPr algn="l"/>
              <a:r>
                <a:rPr lang="en-US" sz="825">
                  <a:ln/>
                  <a:solidFill>
                    <a:srgbClr val="000000"/>
                  </a:solidFill>
                  <a:latin typeface="Arial" panose="020B0604020202020204" pitchFamily="34" charset="0"/>
                  <a:cs typeface="Arial" panose="020B0604020202020204" pitchFamily="34" charset="0"/>
                  <a:sym typeface="HelveticaNeueLTStd-Roman"/>
                  <a:rtl val="0"/>
                </a:rPr>
                <a:t>35</a:t>
              </a:r>
            </a:p>
          </p:txBody>
        </p:sp>
        <p:sp>
          <p:nvSpPr>
            <p:cNvPr id="765" name="TextBox 764">
              <a:extLst>
                <a:ext uri="{FF2B5EF4-FFF2-40B4-BE49-F238E27FC236}">
                  <a16:creationId xmlns:a16="http://schemas.microsoft.com/office/drawing/2014/main" id="{4E9F2D2F-B4A8-497F-9CD5-4CA2484C5A12}"/>
                </a:ext>
              </a:extLst>
            </p:cNvPr>
            <p:cNvSpPr txBox="1"/>
            <p:nvPr/>
          </p:nvSpPr>
          <p:spPr>
            <a:xfrm>
              <a:off x="8663702" y="4930828"/>
              <a:ext cx="404384" cy="292388"/>
            </a:xfrm>
            <a:prstGeom prst="rect">
              <a:avLst/>
            </a:prstGeom>
            <a:noFill/>
          </p:spPr>
          <p:txBody>
            <a:bodyPr wrap="none" rtlCol="0">
              <a:spAutoFit/>
            </a:bodyPr>
            <a:lstStyle/>
            <a:p>
              <a:pPr algn="l"/>
              <a:r>
                <a:rPr lang="en-US" sz="825">
                  <a:ln/>
                  <a:solidFill>
                    <a:srgbClr val="000000"/>
                  </a:solidFill>
                  <a:latin typeface="Arial" panose="020B0604020202020204" pitchFamily="34" charset="0"/>
                  <a:cs typeface="Arial" panose="020B0604020202020204" pitchFamily="34" charset="0"/>
                  <a:sym typeface="HelveticaNeueLTStd-Roman"/>
                  <a:rtl val="0"/>
                </a:rPr>
                <a:t>36</a:t>
              </a:r>
            </a:p>
          </p:txBody>
        </p:sp>
        <p:sp>
          <p:nvSpPr>
            <p:cNvPr id="766" name="TextBox 765">
              <a:extLst>
                <a:ext uri="{FF2B5EF4-FFF2-40B4-BE49-F238E27FC236}">
                  <a16:creationId xmlns:a16="http://schemas.microsoft.com/office/drawing/2014/main" id="{63EBC665-ACEC-2B3A-5EF3-33D4C173B57C}"/>
                </a:ext>
              </a:extLst>
            </p:cNvPr>
            <p:cNvSpPr txBox="1"/>
            <p:nvPr/>
          </p:nvSpPr>
          <p:spPr>
            <a:xfrm>
              <a:off x="8856070" y="4930828"/>
              <a:ext cx="404384" cy="292388"/>
            </a:xfrm>
            <a:prstGeom prst="rect">
              <a:avLst/>
            </a:prstGeom>
            <a:noFill/>
          </p:spPr>
          <p:txBody>
            <a:bodyPr wrap="none" rtlCol="0">
              <a:spAutoFit/>
            </a:bodyPr>
            <a:lstStyle/>
            <a:p>
              <a:pPr algn="l"/>
              <a:r>
                <a:rPr lang="en-US" sz="825">
                  <a:ln/>
                  <a:solidFill>
                    <a:srgbClr val="000000"/>
                  </a:solidFill>
                  <a:latin typeface="Arial" panose="020B0604020202020204" pitchFamily="34" charset="0"/>
                  <a:cs typeface="Arial" panose="020B0604020202020204" pitchFamily="34" charset="0"/>
                  <a:sym typeface="HelveticaNeueLTStd-Roman"/>
                  <a:rtl val="0"/>
                </a:rPr>
                <a:t>37</a:t>
              </a:r>
            </a:p>
          </p:txBody>
        </p:sp>
        <p:sp>
          <p:nvSpPr>
            <p:cNvPr id="767" name="TextBox 766">
              <a:extLst>
                <a:ext uri="{FF2B5EF4-FFF2-40B4-BE49-F238E27FC236}">
                  <a16:creationId xmlns:a16="http://schemas.microsoft.com/office/drawing/2014/main" id="{A09327C3-1628-734E-E922-A5CCE0103EAF}"/>
                </a:ext>
              </a:extLst>
            </p:cNvPr>
            <p:cNvSpPr txBox="1"/>
            <p:nvPr/>
          </p:nvSpPr>
          <p:spPr>
            <a:xfrm>
              <a:off x="9061478" y="4930828"/>
              <a:ext cx="404384" cy="292388"/>
            </a:xfrm>
            <a:prstGeom prst="rect">
              <a:avLst/>
            </a:prstGeom>
            <a:noFill/>
          </p:spPr>
          <p:txBody>
            <a:bodyPr wrap="none" rtlCol="0">
              <a:spAutoFit/>
            </a:bodyPr>
            <a:lstStyle/>
            <a:p>
              <a:pPr algn="l"/>
              <a:r>
                <a:rPr lang="en-US" sz="825">
                  <a:ln/>
                  <a:solidFill>
                    <a:srgbClr val="000000"/>
                  </a:solidFill>
                  <a:latin typeface="Arial" panose="020B0604020202020204" pitchFamily="34" charset="0"/>
                  <a:cs typeface="Arial" panose="020B0604020202020204" pitchFamily="34" charset="0"/>
                  <a:sym typeface="HelveticaNeueLTStd-Roman"/>
                  <a:rtl val="0"/>
                </a:rPr>
                <a:t>38</a:t>
              </a:r>
            </a:p>
          </p:txBody>
        </p:sp>
        <p:sp>
          <p:nvSpPr>
            <p:cNvPr id="768" name="TextBox 767">
              <a:extLst>
                <a:ext uri="{FF2B5EF4-FFF2-40B4-BE49-F238E27FC236}">
                  <a16:creationId xmlns:a16="http://schemas.microsoft.com/office/drawing/2014/main" id="{B7F19DE6-4E16-3B94-5A39-CBA50DC5302E}"/>
                </a:ext>
              </a:extLst>
            </p:cNvPr>
            <p:cNvSpPr txBox="1"/>
            <p:nvPr/>
          </p:nvSpPr>
          <p:spPr>
            <a:xfrm>
              <a:off x="9253911" y="4930828"/>
              <a:ext cx="404384" cy="292388"/>
            </a:xfrm>
            <a:prstGeom prst="rect">
              <a:avLst/>
            </a:prstGeom>
            <a:noFill/>
          </p:spPr>
          <p:txBody>
            <a:bodyPr wrap="none" rtlCol="0">
              <a:spAutoFit/>
            </a:bodyPr>
            <a:lstStyle/>
            <a:p>
              <a:pPr algn="l"/>
              <a:r>
                <a:rPr lang="en-US" sz="825">
                  <a:ln/>
                  <a:solidFill>
                    <a:srgbClr val="000000"/>
                  </a:solidFill>
                  <a:latin typeface="Arial" panose="020B0604020202020204" pitchFamily="34" charset="0"/>
                  <a:cs typeface="Arial" panose="020B0604020202020204" pitchFamily="34" charset="0"/>
                  <a:sym typeface="HelveticaNeueLTStd-Roman"/>
                  <a:rtl val="0"/>
                </a:rPr>
                <a:t>39</a:t>
              </a:r>
            </a:p>
          </p:txBody>
        </p:sp>
        <p:sp>
          <p:nvSpPr>
            <p:cNvPr id="769" name="TextBox 768">
              <a:extLst>
                <a:ext uri="{FF2B5EF4-FFF2-40B4-BE49-F238E27FC236}">
                  <a16:creationId xmlns:a16="http://schemas.microsoft.com/office/drawing/2014/main" id="{0DC04A6D-1E79-352E-F931-665E4FAA845C}"/>
                </a:ext>
              </a:extLst>
            </p:cNvPr>
            <p:cNvSpPr txBox="1"/>
            <p:nvPr/>
          </p:nvSpPr>
          <p:spPr>
            <a:xfrm>
              <a:off x="9452110" y="4930828"/>
              <a:ext cx="404384" cy="292388"/>
            </a:xfrm>
            <a:prstGeom prst="rect">
              <a:avLst/>
            </a:prstGeom>
            <a:noFill/>
          </p:spPr>
          <p:txBody>
            <a:bodyPr wrap="none" rtlCol="0">
              <a:spAutoFit/>
            </a:bodyPr>
            <a:lstStyle/>
            <a:p>
              <a:pPr algn="l"/>
              <a:r>
                <a:rPr lang="en-US" sz="825">
                  <a:ln/>
                  <a:solidFill>
                    <a:srgbClr val="000000"/>
                  </a:solidFill>
                  <a:latin typeface="Arial" panose="020B0604020202020204" pitchFamily="34" charset="0"/>
                  <a:cs typeface="Arial" panose="020B0604020202020204" pitchFamily="34" charset="0"/>
                  <a:sym typeface="HelveticaNeueLTStd-Roman"/>
                  <a:rtl val="0"/>
                </a:rPr>
                <a:t>40</a:t>
              </a:r>
            </a:p>
          </p:txBody>
        </p:sp>
        <p:sp>
          <p:nvSpPr>
            <p:cNvPr id="770" name="TextBox 769">
              <a:extLst>
                <a:ext uri="{FF2B5EF4-FFF2-40B4-BE49-F238E27FC236}">
                  <a16:creationId xmlns:a16="http://schemas.microsoft.com/office/drawing/2014/main" id="{82093BDF-8D05-8EA5-9CAE-0DD725690CAF}"/>
                </a:ext>
              </a:extLst>
            </p:cNvPr>
            <p:cNvSpPr txBox="1"/>
            <p:nvPr/>
          </p:nvSpPr>
          <p:spPr>
            <a:xfrm>
              <a:off x="9644514" y="4930828"/>
              <a:ext cx="404384" cy="292388"/>
            </a:xfrm>
            <a:prstGeom prst="rect">
              <a:avLst/>
            </a:prstGeom>
            <a:noFill/>
          </p:spPr>
          <p:txBody>
            <a:bodyPr wrap="none" rtlCol="0">
              <a:spAutoFit/>
            </a:bodyPr>
            <a:lstStyle/>
            <a:p>
              <a:pPr algn="l"/>
              <a:r>
                <a:rPr lang="en-US" sz="825">
                  <a:ln/>
                  <a:solidFill>
                    <a:srgbClr val="000000"/>
                  </a:solidFill>
                  <a:latin typeface="Arial" panose="020B0604020202020204" pitchFamily="34" charset="0"/>
                  <a:cs typeface="Arial" panose="020B0604020202020204" pitchFamily="34" charset="0"/>
                  <a:sym typeface="HelveticaNeueLTStd-Roman"/>
                  <a:rtl val="0"/>
                </a:rPr>
                <a:t>41</a:t>
              </a:r>
            </a:p>
          </p:txBody>
        </p:sp>
        <p:sp>
          <p:nvSpPr>
            <p:cNvPr id="771" name="TextBox 770">
              <a:extLst>
                <a:ext uri="{FF2B5EF4-FFF2-40B4-BE49-F238E27FC236}">
                  <a16:creationId xmlns:a16="http://schemas.microsoft.com/office/drawing/2014/main" id="{FFAE8857-EE27-3FF0-06B4-5A4B9BEE6DAE}"/>
                </a:ext>
              </a:extLst>
            </p:cNvPr>
            <p:cNvSpPr txBox="1"/>
            <p:nvPr/>
          </p:nvSpPr>
          <p:spPr>
            <a:xfrm>
              <a:off x="9849875" y="4930828"/>
              <a:ext cx="404384" cy="292388"/>
            </a:xfrm>
            <a:prstGeom prst="rect">
              <a:avLst/>
            </a:prstGeom>
            <a:noFill/>
          </p:spPr>
          <p:txBody>
            <a:bodyPr wrap="none" rtlCol="0">
              <a:spAutoFit/>
            </a:bodyPr>
            <a:lstStyle/>
            <a:p>
              <a:pPr algn="l"/>
              <a:r>
                <a:rPr lang="en-US" sz="825">
                  <a:ln/>
                  <a:solidFill>
                    <a:srgbClr val="000000"/>
                  </a:solidFill>
                  <a:latin typeface="Arial" panose="020B0604020202020204" pitchFamily="34" charset="0"/>
                  <a:cs typeface="Arial" panose="020B0604020202020204" pitchFamily="34" charset="0"/>
                  <a:sym typeface="HelveticaNeueLTStd-Roman"/>
                  <a:rtl val="0"/>
                </a:rPr>
                <a:t>42</a:t>
              </a:r>
            </a:p>
          </p:txBody>
        </p:sp>
        <p:sp>
          <p:nvSpPr>
            <p:cNvPr id="772" name="TextBox 771">
              <a:extLst>
                <a:ext uri="{FF2B5EF4-FFF2-40B4-BE49-F238E27FC236}">
                  <a16:creationId xmlns:a16="http://schemas.microsoft.com/office/drawing/2014/main" id="{12A09B34-B080-E749-A0E5-9F613AA42837}"/>
                </a:ext>
              </a:extLst>
            </p:cNvPr>
            <p:cNvSpPr txBox="1"/>
            <p:nvPr/>
          </p:nvSpPr>
          <p:spPr>
            <a:xfrm>
              <a:off x="10042310" y="4930828"/>
              <a:ext cx="404384" cy="292388"/>
            </a:xfrm>
            <a:prstGeom prst="rect">
              <a:avLst/>
            </a:prstGeom>
            <a:noFill/>
          </p:spPr>
          <p:txBody>
            <a:bodyPr wrap="none" rtlCol="0">
              <a:spAutoFit/>
            </a:bodyPr>
            <a:lstStyle/>
            <a:p>
              <a:pPr algn="l"/>
              <a:r>
                <a:rPr lang="en-US" sz="825">
                  <a:ln/>
                  <a:solidFill>
                    <a:srgbClr val="000000"/>
                  </a:solidFill>
                  <a:latin typeface="Arial" panose="020B0604020202020204" pitchFamily="34" charset="0"/>
                  <a:cs typeface="Arial" panose="020B0604020202020204" pitchFamily="34" charset="0"/>
                  <a:sym typeface="HelveticaNeueLTStd-Roman"/>
                  <a:rtl val="0"/>
                </a:rPr>
                <a:t>43</a:t>
              </a:r>
            </a:p>
          </p:txBody>
        </p:sp>
        <p:sp>
          <p:nvSpPr>
            <p:cNvPr id="773" name="TextBox 772">
              <a:extLst>
                <a:ext uri="{FF2B5EF4-FFF2-40B4-BE49-F238E27FC236}">
                  <a16:creationId xmlns:a16="http://schemas.microsoft.com/office/drawing/2014/main" id="{426E7F34-209E-EB12-1FAA-97D02869D745}"/>
                </a:ext>
              </a:extLst>
            </p:cNvPr>
            <p:cNvSpPr txBox="1"/>
            <p:nvPr/>
          </p:nvSpPr>
          <p:spPr>
            <a:xfrm>
              <a:off x="10257574" y="4930828"/>
              <a:ext cx="404384" cy="292388"/>
            </a:xfrm>
            <a:prstGeom prst="rect">
              <a:avLst/>
            </a:prstGeom>
            <a:noFill/>
          </p:spPr>
          <p:txBody>
            <a:bodyPr wrap="none" rtlCol="0">
              <a:spAutoFit/>
            </a:bodyPr>
            <a:lstStyle/>
            <a:p>
              <a:pPr algn="l"/>
              <a:r>
                <a:rPr lang="en-US" sz="825">
                  <a:ln/>
                  <a:solidFill>
                    <a:srgbClr val="000000"/>
                  </a:solidFill>
                  <a:latin typeface="Arial" panose="020B0604020202020204" pitchFamily="34" charset="0"/>
                  <a:cs typeface="Arial" panose="020B0604020202020204" pitchFamily="34" charset="0"/>
                  <a:sym typeface="HelveticaNeueLTStd-Roman"/>
                  <a:rtl val="0"/>
                </a:rPr>
                <a:t>44</a:t>
              </a:r>
            </a:p>
          </p:txBody>
        </p:sp>
        <p:sp>
          <p:nvSpPr>
            <p:cNvPr id="774" name="TextBox 773">
              <a:extLst>
                <a:ext uri="{FF2B5EF4-FFF2-40B4-BE49-F238E27FC236}">
                  <a16:creationId xmlns:a16="http://schemas.microsoft.com/office/drawing/2014/main" id="{E0BC836B-8F94-EA1A-F4DF-07B738E28F59}"/>
                </a:ext>
              </a:extLst>
            </p:cNvPr>
            <p:cNvSpPr txBox="1"/>
            <p:nvPr/>
          </p:nvSpPr>
          <p:spPr>
            <a:xfrm>
              <a:off x="10449912" y="4930828"/>
              <a:ext cx="404384" cy="292388"/>
            </a:xfrm>
            <a:prstGeom prst="rect">
              <a:avLst/>
            </a:prstGeom>
            <a:noFill/>
          </p:spPr>
          <p:txBody>
            <a:bodyPr wrap="none" rtlCol="0">
              <a:spAutoFit/>
            </a:bodyPr>
            <a:lstStyle/>
            <a:p>
              <a:pPr algn="l"/>
              <a:r>
                <a:rPr lang="en-US" sz="825" dirty="0">
                  <a:ln/>
                  <a:solidFill>
                    <a:srgbClr val="000000"/>
                  </a:solidFill>
                  <a:latin typeface="Arial" panose="020B0604020202020204" pitchFamily="34" charset="0"/>
                  <a:cs typeface="Arial" panose="020B0604020202020204" pitchFamily="34" charset="0"/>
                  <a:sym typeface="HelveticaNeueLTStd-Roman"/>
                  <a:rtl val="0"/>
                </a:rPr>
                <a:t>45</a:t>
              </a:r>
            </a:p>
          </p:txBody>
        </p:sp>
        <p:sp>
          <p:nvSpPr>
            <p:cNvPr id="778" name="TextBox 777">
              <a:extLst>
                <a:ext uri="{FF2B5EF4-FFF2-40B4-BE49-F238E27FC236}">
                  <a16:creationId xmlns:a16="http://schemas.microsoft.com/office/drawing/2014/main" id="{3BC54252-8D4E-6A14-C135-4FF0FD5B8129}"/>
                </a:ext>
              </a:extLst>
            </p:cNvPr>
            <p:cNvSpPr txBox="1"/>
            <p:nvPr/>
          </p:nvSpPr>
          <p:spPr>
            <a:xfrm rot="1719">
              <a:off x="1114043" y="4670169"/>
              <a:ext cx="325304" cy="292388"/>
            </a:xfrm>
            <a:prstGeom prst="rect">
              <a:avLst/>
            </a:prstGeom>
            <a:noFill/>
          </p:spPr>
          <p:txBody>
            <a:bodyPr wrap="none" rtlCol="0">
              <a:spAutoFit/>
            </a:bodyPr>
            <a:lstStyle/>
            <a:p>
              <a:pPr algn="r"/>
              <a:r>
                <a:rPr lang="en-US" sz="825">
                  <a:ln/>
                  <a:solidFill>
                    <a:srgbClr val="000000"/>
                  </a:solidFill>
                  <a:latin typeface="Arial" panose="020B0604020202020204" pitchFamily="34" charset="0"/>
                  <a:cs typeface="Arial" panose="020B0604020202020204" pitchFamily="34" charset="0"/>
                  <a:sym typeface="HelveticaNeueLTStd-Roman"/>
                  <a:rtl val="0"/>
                </a:rPr>
                <a:t>0</a:t>
              </a:r>
            </a:p>
          </p:txBody>
        </p:sp>
        <p:sp>
          <p:nvSpPr>
            <p:cNvPr id="779" name="TextBox 778">
              <a:extLst>
                <a:ext uri="{FF2B5EF4-FFF2-40B4-BE49-F238E27FC236}">
                  <a16:creationId xmlns:a16="http://schemas.microsoft.com/office/drawing/2014/main" id="{9685E21C-69E7-995D-B4CE-DEBC5C38ACB0}"/>
                </a:ext>
              </a:extLst>
            </p:cNvPr>
            <p:cNvSpPr txBox="1"/>
            <p:nvPr/>
          </p:nvSpPr>
          <p:spPr>
            <a:xfrm>
              <a:off x="993546" y="3990236"/>
              <a:ext cx="404384" cy="292388"/>
            </a:xfrm>
            <a:prstGeom prst="rect">
              <a:avLst/>
            </a:prstGeom>
            <a:noFill/>
          </p:spPr>
          <p:txBody>
            <a:bodyPr wrap="none" rtlCol="0">
              <a:spAutoFit/>
            </a:bodyPr>
            <a:lstStyle/>
            <a:p>
              <a:pPr algn="r"/>
              <a:r>
                <a:rPr lang="en-US" sz="825">
                  <a:ln/>
                  <a:solidFill>
                    <a:srgbClr val="000000"/>
                  </a:solidFill>
                  <a:latin typeface="Arial" panose="020B0604020202020204" pitchFamily="34" charset="0"/>
                  <a:cs typeface="Arial" panose="020B0604020202020204" pitchFamily="34" charset="0"/>
                  <a:sym typeface="HelveticaNeueLTStd-Roman"/>
                  <a:rtl val="0"/>
                </a:rPr>
                <a:t>20</a:t>
              </a:r>
            </a:p>
          </p:txBody>
        </p:sp>
        <p:sp>
          <p:nvSpPr>
            <p:cNvPr id="780" name="TextBox 779">
              <a:extLst>
                <a:ext uri="{FF2B5EF4-FFF2-40B4-BE49-F238E27FC236}">
                  <a16:creationId xmlns:a16="http://schemas.microsoft.com/office/drawing/2014/main" id="{39D018BF-D567-0D4D-598B-BD2F8F787459}"/>
                </a:ext>
              </a:extLst>
            </p:cNvPr>
            <p:cNvSpPr txBox="1"/>
            <p:nvPr/>
          </p:nvSpPr>
          <p:spPr>
            <a:xfrm>
              <a:off x="993546" y="3287511"/>
              <a:ext cx="404384" cy="292388"/>
            </a:xfrm>
            <a:prstGeom prst="rect">
              <a:avLst/>
            </a:prstGeom>
            <a:noFill/>
          </p:spPr>
          <p:txBody>
            <a:bodyPr wrap="none" rtlCol="0">
              <a:spAutoFit/>
            </a:bodyPr>
            <a:lstStyle/>
            <a:p>
              <a:pPr algn="r"/>
              <a:r>
                <a:rPr lang="en-US" sz="825" dirty="0">
                  <a:ln/>
                  <a:solidFill>
                    <a:srgbClr val="000000"/>
                  </a:solidFill>
                  <a:latin typeface="Arial" panose="020B0604020202020204" pitchFamily="34" charset="0"/>
                  <a:cs typeface="Arial" panose="020B0604020202020204" pitchFamily="34" charset="0"/>
                  <a:sym typeface="HelveticaNeueLTStd-Roman"/>
                  <a:rtl val="0"/>
                </a:rPr>
                <a:t>40</a:t>
              </a:r>
            </a:p>
          </p:txBody>
        </p:sp>
        <p:sp>
          <p:nvSpPr>
            <p:cNvPr id="781" name="TextBox 780">
              <a:extLst>
                <a:ext uri="{FF2B5EF4-FFF2-40B4-BE49-F238E27FC236}">
                  <a16:creationId xmlns:a16="http://schemas.microsoft.com/office/drawing/2014/main" id="{C93CE628-B74B-AC52-7EE1-215B2AECC259}"/>
                </a:ext>
              </a:extLst>
            </p:cNvPr>
            <p:cNvSpPr txBox="1"/>
            <p:nvPr/>
          </p:nvSpPr>
          <p:spPr>
            <a:xfrm>
              <a:off x="993546" y="2584777"/>
              <a:ext cx="404384" cy="292388"/>
            </a:xfrm>
            <a:prstGeom prst="rect">
              <a:avLst/>
            </a:prstGeom>
            <a:noFill/>
          </p:spPr>
          <p:txBody>
            <a:bodyPr wrap="none" rtlCol="0">
              <a:spAutoFit/>
            </a:bodyPr>
            <a:lstStyle/>
            <a:p>
              <a:pPr algn="r"/>
              <a:r>
                <a:rPr lang="en-US" sz="825">
                  <a:ln/>
                  <a:solidFill>
                    <a:srgbClr val="000000"/>
                  </a:solidFill>
                  <a:latin typeface="Arial" panose="020B0604020202020204" pitchFamily="34" charset="0"/>
                  <a:cs typeface="Arial" panose="020B0604020202020204" pitchFamily="34" charset="0"/>
                  <a:sym typeface="HelveticaNeueLTStd-Roman"/>
                  <a:rtl val="0"/>
                </a:rPr>
                <a:t>60</a:t>
              </a:r>
            </a:p>
          </p:txBody>
        </p:sp>
        <p:sp>
          <p:nvSpPr>
            <p:cNvPr id="782" name="TextBox 781">
              <a:extLst>
                <a:ext uri="{FF2B5EF4-FFF2-40B4-BE49-F238E27FC236}">
                  <a16:creationId xmlns:a16="http://schemas.microsoft.com/office/drawing/2014/main" id="{922DE6B1-44F5-3A24-585B-E9F2BEB20707}"/>
                </a:ext>
              </a:extLst>
            </p:cNvPr>
            <p:cNvSpPr txBox="1"/>
            <p:nvPr/>
          </p:nvSpPr>
          <p:spPr>
            <a:xfrm>
              <a:off x="993546" y="1882054"/>
              <a:ext cx="404384" cy="292388"/>
            </a:xfrm>
            <a:prstGeom prst="rect">
              <a:avLst/>
            </a:prstGeom>
            <a:noFill/>
          </p:spPr>
          <p:txBody>
            <a:bodyPr wrap="none" rtlCol="0">
              <a:spAutoFit/>
            </a:bodyPr>
            <a:lstStyle/>
            <a:p>
              <a:pPr algn="r"/>
              <a:r>
                <a:rPr lang="en-US" sz="825" dirty="0">
                  <a:ln/>
                  <a:solidFill>
                    <a:srgbClr val="000000"/>
                  </a:solidFill>
                  <a:latin typeface="Arial" panose="020B0604020202020204" pitchFamily="34" charset="0"/>
                  <a:cs typeface="Arial" panose="020B0604020202020204" pitchFamily="34" charset="0"/>
                  <a:sym typeface="HelveticaNeueLTStd-Roman"/>
                  <a:rtl val="0"/>
                </a:rPr>
                <a:t>80</a:t>
              </a:r>
            </a:p>
          </p:txBody>
        </p:sp>
        <p:sp>
          <p:nvSpPr>
            <p:cNvPr id="783" name="TextBox 782">
              <a:extLst>
                <a:ext uri="{FF2B5EF4-FFF2-40B4-BE49-F238E27FC236}">
                  <a16:creationId xmlns:a16="http://schemas.microsoft.com/office/drawing/2014/main" id="{27D3F150-851F-DF2A-2777-1A129ADE3E07}"/>
                </a:ext>
              </a:extLst>
            </p:cNvPr>
            <p:cNvSpPr txBox="1"/>
            <p:nvPr/>
          </p:nvSpPr>
          <p:spPr>
            <a:xfrm>
              <a:off x="914462" y="1179330"/>
              <a:ext cx="483467" cy="292388"/>
            </a:xfrm>
            <a:prstGeom prst="rect">
              <a:avLst/>
            </a:prstGeom>
            <a:noFill/>
          </p:spPr>
          <p:txBody>
            <a:bodyPr wrap="none" rtlCol="0">
              <a:spAutoFit/>
            </a:bodyPr>
            <a:lstStyle/>
            <a:p>
              <a:pPr algn="r"/>
              <a:r>
                <a:rPr lang="en-US" sz="825" dirty="0">
                  <a:ln/>
                  <a:solidFill>
                    <a:srgbClr val="000000"/>
                  </a:solidFill>
                  <a:latin typeface="Arial" panose="020B0604020202020204" pitchFamily="34" charset="0"/>
                  <a:cs typeface="Arial" panose="020B0604020202020204" pitchFamily="34" charset="0"/>
                  <a:sym typeface="HelveticaNeueLTStd-Roman"/>
                  <a:rtl val="0"/>
                </a:rPr>
                <a:t>100</a:t>
              </a:r>
            </a:p>
          </p:txBody>
        </p:sp>
        <p:sp>
          <p:nvSpPr>
            <p:cNvPr id="1428" name="TextBox 1427">
              <a:extLst>
                <a:ext uri="{FF2B5EF4-FFF2-40B4-BE49-F238E27FC236}">
                  <a16:creationId xmlns:a16="http://schemas.microsoft.com/office/drawing/2014/main" id="{FFD70EAA-79C7-9D6F-4A6E-08817078EB35}"/>
                </a:ext>
              </a:extLst>
            </p:cNvPr>
            <p:cNvSpPr txBox="1"/>
            <p:nvPr/>
          </p:nvSpPr>
          <p:spPr>
            <a:xfrm>
              <a:off x="8448684" y="5457425"/>
              <a:ext cx="361637" cy="246221"/>
            </a:xfrm>
            <a:prstGeom prst="rect">
              <a:avLst/>
            </a:prstGeom>
            <a:noFill/>
          </p:spPr>
          <p:txBody>
            <a:bodyPr wrap="none" rtlCol="0">
              <a:spAutoFit/>
            </a:bodyPr>
            <a:lstStyle/>
            <a:p>
              <a:pPr algn="l"/>
              <a:r>
                <a:rPr lang="en-US" sz="600" dirty="0">
                  <a:ln/>
                  <a:solidFill>
                    <a:srgbClr val="000000"/>
                  </a:solidFill>
                  <a:latin typeface="Arial" panose="020B0604020202020204" pitchFamily="34" charset="0"/>
                  <a:cs typeface="Arial" panose="020B0604020202020204" pitchFamily="34" charset="0"/>
                  <a:sym typeface="HelveticaNeueLTStd-Roman"/>
                  <a:rtl val="0"/>
                </a:rPr>
                <a:t>20</a:t>
              </a:r>
            </a:p>
          </p:txBody>
        </p:sp>
        <p:cxnSp>
          <p:nvCxnSpPr>
            <p:cNvPr id="21" name="Straight Connector 20">
              <a:extLst>
                <a:ext uri="{FF2B5EF4-FFF2-40B4-BE49-F238E27FC236}">
                  <a16:creationId xmlns:a16="http://schemas.microsoft.com/office/drawing/2014/main" id="{BD156124-2F76-AE5F-25E7-7D4B50696781}"/>
                </a:ext>
              </a:extLst>
            </p:cNvPr>
            <p:cNvCxnSpPr>
              <a:cxnSpLocks/>
            </p:cNvCxnSpPr>
            <p:nvPr/>
          </p:nvCxnSpPr>
          <p:spPr>
            <a:xfrm flipV="1">
              <a:off x="6410682" y="2805523"/>
              <a:ext cx="0" cy="2136365"/>
            </a:xfrm>
            <a:prstGeom prst="line">
              <a:avLst/>
            </a:prstGeom>
            <a:ln w="19050">
              <a:solidFill>
                <a:schemeClr val="tx1"/>
              </a:solidFill>
              <a:prstDash val="dash"/>
            </a:ln>
          </p:spPr>
          <p:style>
            <a:lnRef idx="1">
              <a:schemeClr val="accent1"/>
            </a:lnRef>
            <a:fillRef idx="0">
              <a:schemeClr val="accent1"/>
            </a:fillRef>
            <a:effectRef idx="0">
              <a:schemeClr val="accent1"/>
            </a:effectRef>
            <a:fontRef idx="minor">
              <a:schemeClr val="tx1"/>
            </a:fontRef>
          </p:style>
        </p:cxnSp>
      </p:grpSp>
      <p:graphicFrame>
        <p:nvGraphicFramePr>
          <p:cNvPr id="7" name="Table 10">
            <a:extLst>
              <a:ext uri="{FF2B5EF4-FFF2-40B4-BE49-F238E27FC236}">
                <a16:creationId xmlns:a16="http://schemas.microsoft.com/office/drawing/2014/main" id="{F7F2087A-0B53-A9F5-368A-5540FBF49A21}"/>
              </a:ext>
            </a:extLst>
          </p:cNvPr>
          <p:cNvGraphicFramePr>
            <a:graphicFrameLocks noGrp="1"/>
          </p:cNvGraphicFramePr>
          <p:nvPr/>
        </p:nvGraphicFramePr>
        <p:xfrm>
          <a:off x="6365830" y="846844"/>
          <a:ext cx="2620956" cy="1295400"/>
        </p:xfrm>
        <a:graphic>
          <a:graphicData uri="http://schemas.openxmlformats.org/drawingml/2006/table">
            <a:tbl>
              <a:tblPr firstRow="1" bandRow="1">
                <a:tableStyleId>{5C22544A-7EE6-4342-B048-85BDC9FD1C3A}</a:tableStyleId>
              </a:tblPr>
              <a:tblGrid>
                <a:gridCol w="873652">
                  <a:extLst>
                    <a:ext uri="{9D8B030D-6E8A-4147-A177-3AD203B41FA5}">
                      <a16:colId xmlns:a16="http://schemas.microsoft.com/office/drawing/2014/main" val="3899063639"/>
                    </a:ext>
                  </a:extLst>
                </a:gridCol>
                <a:gridCol w="873652">
                  <a:extLst>
                    <a:ext uri="{9D8B030D-6E8A-4147-A177-3AD203B41FA5}">
                      <a16:colId xmlns:a16="http://schemas.microsoft.com/office/drawing/2014/main" val="230439153"/>
                    </a:ext>
                  </a:extLst>
                </a:gridCol>
                <a:gridCol w="873652">
                  <a:extLst>
                    <a:ext uri="{9D8B030D-6E8A-4147-A177-3AD203B41FA5}">
                      <a16:colId xmlns:a16="http://schemas.microsoft.com/office/drawing/2014/main" val="2280158204"/>
                    </a:ext>
                  </a:extLst>
                </a:gridCol>
              </a:tblGrid>
              <a:tr h="251460">
                <a:tc>
                  <a:txBody>
                    <a:bodyPr/>
                    <a:lstStyle/>
                    <a:p>
                      <a:pPr algn="ctr"/>
                      <a:endParaRPr lang="en-US" sz="1200" dirty="0">
                        <a:latin typeface="Arial" panose="020B0604020202020204" pitchFamily="34" charset="0"/>
                        <a:cs typeface="Arial" panose="020B0604020202020204" pitchFamily="34" charset="0"/>
                      </a:endParaRPr>
                    </a:p>
                  </a:txBody>
                  <a:tcPr marL="68580" marR="68580" marT="34290" marB="3429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1200" dirty="0">
                          <a:latin typeface="Arial" panose="020B0604020202020204" pitchFamily="34" charset="0"/>
                          <a:cs typeface="Arial" panose="020B0604020202020204" pitchFamily="34" charset="0"/>
                        </a:rPr>
                        <a:t>T-DXd</a:t>
                      </a:r>
                    </a:p>
                  </a:txBody>
                  <a:tcPr marL="68580" marR="68580" marT="34290" marB="34290">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pPr algn="ctr"/>
                      <a:r>
                        <a:rPr lang="en-US" sz="1200" dirty="0">
                          <a:latin typeface="Arial" panose="020B0604020202020204" pitchFamily="34" charset="0"/>
                          <a:cs typeface="Arial" panose="020B0604020202020204" pitchFamily="34" charset="0"/>
                        </a:rPr>
                        <a:t>T-DM1</a:t>
                      </a:r>
                    </a:p>
                  </a:txBody>
                  <a:tcPr marL="68580" marR="68580" marT="34290" marB="34290">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828283"/>
                    </a:solidFill>
                  </a:tcPr>
                </a:tc>
                <a:extLst>
                  <a:ext uri="{0D108BD9-81ED-4DB2-BD59-A6C34878D82A}">
                    <a16:rowId xmlns:a16="http://schemas.microsoft.com/office/drawing/2014/main" val="2896536547"/>
                  </a:ext>
                </a:extLst>
              </a:tr>
              <a:tr h="5486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a:latin typeface="Arial" panose="020B0604020202020204" pitchFamily="34" charset="0"/>
                          <a:cs typeface="Arial" panose="020B0604020202020204" pitchFamily="34" charset="0"/>
                        </a:rPr>
                        <a:t>Median (95% CI), months</a:t>
                      </a:r>
                    </a:p>
                  </a:txBody>
                  <a:tcPr marL="68580" marR="68580" marT="34290" marB="34290">
                    <a:lnL w="12700" cmpd="sng">
                      <a:noFill/>
                    </a:lnL>
                    <a:lnR w="12700" cmpd="sng">
                      <a:noFill/>
                    </a:lnR>
                    <a:lnT w="38100" cmpd="sng">
                      <a:noFill/>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1" dirty="0">
                          <a:latin typeface="Arial" panose="020B0604020202020204" pitchFamily="34" charset="0"/>
                          <a:cs typeface="Arial" panose="020B0604020202020204" pitchFamily="34" charset="0"/>
                        </a:rPr>
                        <a:t>28.8 </a:t>
                      </a:r>
                    </a:p>
                    <a:p>
                      <a:pPr algn="ctr"/>
                      <a:r>
                        <a:rPr lang="en-US" sz="1100" b="0" dirty="0">
                          <a:latin typeface="Arial" panose="020B0604020202020204" pitchFamily="34" charset="0"/>
                          <a:cs typeface="Arial" panose="020B0604020202020204" pitchFamily="34" charset="0"/>
                        </a:rPr>
                        <a:t>(22.4-37.9)</a:t>
                      </a:r>
                    </a:p>
                  </a:txBody>
                  <a:tcPr marL="68580" marR="68580" marT="34290" marB="34290">
                    <a:lnL w="12700" cmpd="sng">
                      <a:noFill/>
                    </a:lnL>
                    <a:lnR w="12700" cmpd="sng">
                      <a:noFill/>
                    </a:lnR>
                    <a:lnT w="38100" cmpd="sng">
                      <a:noFill/>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E6ECF9"/>
                    </a:solidFill>
                  </a:tcPr>
                </a:tc>
                <a:tc>
                  <a:txBody>
                    <a:bodyPr/>
                    <a:lstStyle/>
                    <a:p>
                      <a:pPr algn="ctr"/>
                      <a:r>
                        <a:rPr lang="en-US" sz="1100" b="1" dirty="0">
                          <a:latin typeface="Arial" panose="020B0604020202020204" pitchFamily="34" charset="0"/>
                          <a:cs typeface="Arial" panose="020B0604020202020204" pitchFamily="34" charset="0"/>
                        </a:rPr>
                        <a:t>6.8 </a:t>
                      </a:r>
                    </a:p>
                    <a:p>
                      <a:pPr algn="ctr"/>
                      <a:r>
                        <a:rPr lang="en-US" sz="1100" b="0" dirty="0">
                          <a:latin typeface="Arial" panose="020B0604020202020204" pitchFamily="34" charset="0"/>
                          <a:cs typeface="Arial" panose="020B0604020202020204" pitchFamily="34" charset="0"/>
                        </a:rPr>
                        <a:t>(5.6-8.2)</a:t>
                      </a:r>
                    </a:p>
                  </a:txBody>
                  <a:tcPr marL="68580" marR="68580" marT="34290" marB="34290">
                    <a:lnL w="12700" cmpd="sng">
                      <a:noFill/>
                    </a:lnL>
                    <a:lnR w="12700" cmpd="sng">
                      <a:noFill/>
                    </a:lnR>
                    <a:lnT w="38100" cmpd="sng">
                      <a:noFill/>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3079423255"/>
                  </a:ext>
                </a:extLst>
              </a:tr>
              <a:tr h="228600">
                <a:tc>
                  <a:txBody>
                    <a:bodyPr/>
                    <a:lstStyle/>
                    <a:p>
                      <a:pPr algn="ctr"/>
                      <a:r>
                        <a:rPr lang="en-US" sz="1100" b="1" kern="1200" dirty="0">
                          <a:solidFill>
                            <a:schemeClr val="tx1"/>
                          </a:solidFill>
                          <a:latin typeface="Arial" panose="020B0604020202020204" pitchFamily="34" charset="0"/>
                          <a:ea typeface="+mn-ea"/>
                          <a:cs typeface="Arial" panose="020B0604020202020204" pitchFamily="34" charset="0"/>
                        </a:rPr>
                        <a:t>HR</a:t>
                      </a:r>
                    </a:p>
                  </a:txBody>
                  <a:tcPr marL="68580" marR="68580" marT="34290" marB="34290">
                    <a:lnL w="12700" cmpd="sng">
                      <a:noFill/>
                    </a:lnL>
                    <a:lnR w="12700" cmpd="sng">
                      <a:no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dirty="0">
                          <a:solidFill>
                            <a:schemeClr val="tx1"/>
                          </a:solidFill>
                          <a:latin typeface="Arial" panose="020B0604020202020204" pitchFamily="34" charset="0"/>
                          <a:cs typeface="Arial" panose="020B0604020202020204" pitchFamily="34" charset="0"/>
                        </a:rPr>
                        <a:t> 0.33 (95% CI, 0.26-0.43)</a:t>
                      </a:r>
                    </a:p>
                  </a:txBody>
                  <a:tcPr marL="68580" marR="68580" marT="34290" marB="34290" anchor="ctr">
                    <a:lnL w="12700" cmpd="sng">
                      <a:noFill/>
                    </a:lnL>
                    <a:lnR w="12700" cmpd="sng">
                      <a:no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extLst>
                  <a:ext uri="{0D108BD9-81ED-4DB2-BD59-A6C34878D82A}">
                    <a16:rowId xmlns:a16="http://schemas.microsoft.com/office/drawing/2014/main" val="1274380092"/>
                  </a:ext>
                </a:extLst>
              </a:tr>
              <a:tr h="228600">
                <a:tc>
                  <a:txBody>
                    <a:bodyPr/>
                    <a:lstStyle/>
                    <a:p>
                      <a:pPr marL="0" algn="ctr" defTabSz="914400" rtl="0" eaLnBrk="1" latinLnBrk="0" hangingPunct="1"/>
                      <a:r>
                        <a:rPr lang="en-US" sz="1100" b="1" i="1" kern="1200" dirty="0">
                          <a:solidFill>
                            <a:schemeClr val="tx1"/>
                          </a:solidFill>
                          <a:latin typeface="Arial" panose="020B0604020202020204" pitchFamily="34" charset="0"/>
                          <a:ea typeface="+mn-ea"/>
                          <a:cs typeface="Arial" panose="020B0604020202020204" pitchFamily="34" charset="0"/>
                        </a:rPr>
                        <a:t>P</a:t>
                      </a:r>
                    </a:p>
                  </a:txBody>
                  <a:tcPr marL="68580" marR="68580" marT="34290" marB="34290">
                    <a:lnL w="12700" cmpd="sng">
                      <a:noFill/>
                    </a:lnL>
                    <a:lnR w="12700" cmpd="sng">
                      <a:noFill/>
                    </a:lnR>
                    <a:lnT w="12700" cap="flat" cmpd="sng" algn="ctr">
                      <a:solidFill>
                        <a:srgbClr val="002060"/>
                      </a:solidFill>
                      <a:prstDash val="solid"/>
                      <a:round/>
                      <a:headEnd type="none" w="med" len="med"/>
                      <a:tailEnd type="none" w="med" len="med"/>
                    </a:lnT>
                    <a:lnB w="12700" cap="flat" cmpd="sng" algn="ctr">
                      <a:solidFill>
                        <a:srgbClr val="00447C"/>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lang="en-US" sz="1100" b="0" dirty="0">
                          <a:solidFill>
                            <a:schemeClr val="tx1"/>
                          </a:solidFill>
                          <a:latin typeface="Arial" panose="020B0604020202020204" pitchFamily="34" charset="0"/>
                          <a:cs typeface="Arial" panose="020B0604020202020204" pitchFamily="34" charset="0"/>
                        </a:rPr>
                        <a:t>&lt; 0.000001</a:t>
                      </a:r>
                      <a:r>
                        <a:rPr lang="en-US" sz="1100" b="0" baseline="30000" dirty="0">
                          <a:solidFill>
                            <a:schemeClr val="tx1"/>
                          </a:solidFill>
                          <a:latin typeface="Arial" panose="020B0604020202020204" pitchFamily="34" charset="0"/>
                          <a:cs typeface="Arial" panose="020B0604020202020204" pitchFamily="34" charset="0"/>
                        </a:rPr>
                        <a:t>a,b</a:t>
                      </a:r>
                    </a:p>
                  </a:txBody>
                  <a:tcPr marL="68580" marR="68580" marT="34290" marB="34290" anchor="ctr">
                    <a:lnL w="12700" cmpd="sng">
                      <a:noFill/>
                    </a:lnL>
                    <a:lnR w="12700" cmpd="sng">
                      <a:noFill/>
                    </a:lnR>
                    <a:lnT w="12700" cap="flat" cmpd="sng" algn="ctr">
                      <a:solidFill>
                        <a:srgbClr val="002060"/>
                      </a:solidFill>
                      <a:prstDash val="solid"/>
                      <a:round/>
                      <a:headEnd type="none" w="med" len="med"/>
                      <a:tailEnd type="none" w="med" len="med"/>
                    </a:lnT>
                    <a:lnB w="12700" cap="flat" cmpd="sng" algn="ctr">
                      <a:solidFill>
                        <a:srgbClr val="00447C"/>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1600" dirty="0">
                        <a:latin typeface="Arial" panose="020B0604020202020204" pitchFamily="34" charset="0"/>
                        <a:cs typeface="Arial" panose="020B0604020202020204" pitchFamily="34" charset="0"/>
                      </a:endParaRPr>
                    </a:p>
                  </a:txBody>
                  <a:tcPr>
                    <a:solidFill>
                      <a:srgbClr val="F7F7F7"/>
                    </a:solidFill>
                  </a:tcPr>
                </a:tc>
                <a:extLst>
                  <a:ext uri="{0D108BD9-81ED-4DB2-BD59-A6C34878D82A}">
                    <a16:rowId xmlns:a16="http://schemas.microsoft.com/office/drawing/2014/main" val="1088208777"/>
                  </a:ext>
                </a:extLst>
              </a:tr>
            </a:tbl>
          </a:graphicData>
        </a:graphic>
      </p:graphicFrame>
      <p:sp>
        <p:nvSpPr>
          <p:cNvPr id="12" name="TextBox 11">
            <a:extLst>
              <a:ext uri="{FF2B5EF4-FFF2-40B4-BE49-F238E27FC236}">
                <a16:creationId xmlns:a16="http://schemas.microsoft.com/office/drawing/2014/main" id="{F9AED6CD-938D-2E59-C6F8-4F379087C829}"/>
              </a:ext>
            </a:extLst>
          </p:cNvPr>
          <p:cNvSpPr txBox="1"/>
          <p:nvPr/>
        </p:nvSpPr>
        <p:spPr>
          <a:xfrm>
            <a:off x="2638654" y="926058"/>
            <a:ext cx="3550801" cy="253916"/>
          </a:xfrm>
          <a:prstGeom prst="rect">
            <a:avLst/>
          </a:prstGeom>
          <a:solidFill>
            <a:srgbClr val="EDF1FB"/>
          </a:solidFill>
        </p:spPr>
        <p:txBody>
          <a:bodyPr wrap="square" rtlCol="0">
            <a:spAutoFit/>
          </a:bodyPr>
          <a:lstStyle/>
          <a:p>
            <a:pPr algn="ctr"/>
            <a:r>
              <a:rPr lang="en-US" sz="1050" dirty="0" err="1">
                <a:solidFill>
                  <a:srgbClr val="00447C"/>
                </a:solidFill>
                <a:latin typeface="Arial" panose="020B0604020202020204" pitchFamily="34" charset="0"/>
                <a:cs typeface="Arial" panose="020B0604020202020204" pitchFamily="34" charset="0"/>
              </a:rPr>
              <a:t>mPFS</a:t>
            </a:r>
            <a:r>
              <a:rPr lang="en-US" sz="1050" dirty="0">
                <a:solidFill>
                  <a:srgbClr val="00447C"/>
                </a:solidFill>
                <a:latin typeface="Arial" panose="020B0604020202020204" pitchFamily="34" charset="0"/>
                <a:cs typeface="Arial" panose="020B0604020202020204" pitchFamily="34" charset="0"/>
              </a:rPr>
              <a:t> was ~4X longer for T-DXd compared with T-DM1</a:t>
            </a:r>
          </a:p>
        </p:txBody>
      </p:sp>
    </p:spTree>
    <p:extLst>
      <p:ext uri="{BB962C8B-B14F-4D97-AF65-F5344CB8AC3E}">
        <p14:creationId xmlns:p14="http://schemas.microsoft.com/office/powerpoint/2010/main" val="644271923"/>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F5B241-8624-4E79-B312-68A91401A93D}"/>
              </a:ext>
            </a:extLst>
          </p:cNvPr>
          <p:cNvSpPr>
            <a:spLocks noGrp="1"/>
          </p:cNvSpPr>
          <p:nvPr>
            <p:ph type="ctrTitle"/>
          </p:nvPr>
        </p:nvSpPr>
        <p:spPr>
          <a:xfrm>
            <a:off x="359999" y="489764"/>
            <a:ext cx="8409765" cy="432000"/>
          </a:xfrm>
        </p:spPr>
        <p:txBody>
          <a:bodyPr/>
          <a:lstStyle/>
          <a:p>
            <a:r>
              <a:rPr lang="en-US" sz="2100" dirty="0">
                <a:solidFill>
                  <a:schemeClr val="tx1"/>
                </a:solidFill>
              </a:rPr>
              <a:t>Prior Therapies</a:t>
            </a:r>
          </a:p>
        </p:txBody>
      </p:sp>
      <p:graphicFrame>
        <p:nvGraphicFramePr>
          <p:cNvPr id="6" name="Table 5">
            <a:extLst>
              <a:ext uri="{FF2B5EF4-FFF2-40B4-BE49-F238E27FC236}">
                <a16:creationId xmlns:a16="http://schemas.microsoft.com/office/drawing/2014/main" id="{F39E7C25-3508-42F1-84C4-14F7F47232A4}"/>
              </a:ext>
            </a:extLst>
          </p:cNvPr>
          <p:cNvGraphicFramePr>
            <a:graphicFrameLocks noGrp="1"/>
          </p:cNvGraphicFramePr>
          <p:nvPr/>
        </p:nvGraphicFramePr>
        <p:xfrm>
          <a:off x="464950" y="1051619"/>
          <a:ext cx="8304816" cy="2967590"/>
        </p:xfrm>
        <a:graphic>
          <a:graphicData uri="http://schemas.openxmlformats.org/drawingml/2006/table">
            <a:tbl>
              <a:tblPr firstRow="1" bandRow="1"/>
              <a:tblGrid>
                <a:gridCol w="3580108">
                  <a:extLst>
                    <a:ext uri="{9D8B030D-6E8A-4147-A177-3AD203B41FA5}">
                      <a16:colId xmlns:a16="http://schemas.microsoft.com/office/drawing/2014/main" val="3624223050"/>
                    </a:ext>
                  </a:extLst>
                </a:gridCol>
                <a:gridCol w="2362354">
                  <a:extLst>
                    <a:ext uri="{9D8B030D-6E8A-4147-A177-3AD203B41FA5}">
                      <a16:colId xmlns:a16="http://schemas.microsoft.com/office/drawing/2014/main" val="2753886849"/>
                    </a:ext>
                  </a:extLst>
                </a:gridCol>
                <a:gridCol w="2362354">
                  <a:extLst>
                    <a:ext uri="{9D8B030D-6E8A-4147-A177-3AD203B41FA5}">
                      <a16:colId xmlns:a16="http://schemas.microsoft.com/office/drawing/2014/main" val="3825376851"/>
                    </a:ext>
                  </a:extLst>
                </a:gridCol>
              </a:tblGrid>
              <a:tr h="412154">
                <a:tc>
                  <a:txBody>
                    <a:bodyPr/>
                    <a:lstStyle>
                      <a:lvl1pPr marL="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1pPr>
                      <a:lvl2pPr marL="4572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2pPr>
                      <a:lvl3pPr marL="9144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3pPr>
                      <a:lvl4pPr marL="13716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4pPr>
                      <a:lvl5pPr marL="18288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5pPr>
                      <a:lvl6pPr marL="22860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6pPr>
                      <a:lvl7pPr marL="27432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7pPr>
                      <a:lvl8pPr marL="32004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8pPr>
                      <a:lvl9pPr marL="36576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9pPr>
                    </a:lstStyle>
                    <a:p>
                      <a:pPr marL="0" marR="0">
                        <a:lnSpc>
                          <a:spcPct val="100000"/>
                        </a:lnSpc>
                        <a:spcBef>
                          <a:spcPts val="0"/>
                        </a:spcBef>
                        <a:spcAft>
                          <a:spcPts val="0"/>
                        </a:spcAft>
                      </a:pPr>
                      <a:endParaRPr lang="en-US" sz="1100" b="0" i="0" dirty="0">
                        <a:effectLst/>
                        <a:latin typeface="Arial" panose="020B0604020202020204" pitchFamily="34" charset="0"/>
                        <a:ea typeface="MS Mincho" panose="02020609040205080304" pitchFamily="49" charset="-128"/>
                        <a:cs typeface="Arial" panose="020B0604020202020204" pitchFamily="34" charset="0"/>
                      </a:endParaRPr>
                    </a:p>
                  </a:txBody>
                  <a:tcPr marL="68580" marR="68580" marT="0" marB="0" anchor="b">
                    <a:lnL>
                      <a:noFill/>
                    </a:lnL>
                    <a:lnR>
                      <a:noFill/>
                    </a:lnR>
                    <a:lnT>
                      <a:noFill/>
                    </a:lnT>
                    <a:lnB w="12700" cap="flat" cmpd="sng" algn="ctr">
                      <a:solidFill>
                        <a:srgbClr val="00447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1pPr>
                      <a:lvl2pPr marL="4572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2pPr>
                      <a:lvl3pPr marL="9144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3pPr>
                      <a:lvl4pPr marL="13716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4pPr>
                      <a:lvl5pPr marL="18288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5pPr>
                      <a:lvl6pPr marL="22860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6pPr>
                      <a:lvl7pPr marL="27432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7pPr>
                      <a:lvl8pPr marL="32004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8pPr>
                      <a:lvl9pPr marL="36576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9pPr>
                    </a:lstStyle>
                    <a:p>
                      <a:pPr marL="0" marR="0" algn="ctr">
                        <a:lnSpc>
                          <a:spcPct val="100000"/>
                        </a:lnSpc>
                        <a:spcBef>
                          <a:spcPts val="0"/>
                        </a:spcBef>
                        <a:spcAft>
                          <a:spcPts val="0"/>
                        </a:spcAft>
                      </a:pPr>
                      <a:r>
                        <a:rPr lang="en-US" sz="1100" b="1" i="0" dirty="0">
                          <a:solidFill>
                            <a:schemeClr val="bg1"/>
                          </a:solidFill>
                          <a:effectLst/>
                          <a:latin typeface="Arial" panose="020B0604020202020204" pitchFamily="34" charset="0"/>
                          <a:ea typeface="MS Mincho" panose="02020609040205080304" pitchFamily="49" charset="-128"/>
                          <a:cs typeface="Arial" panose="020B0604020202020204" pitchFamily="34" charset="0"/>
                        </a:rPr>
                        <a:t>T-DXd</a:t>
                      </a:r>
                      <a:r>
                        <a:rPr lang="en-NZ" sz="1100" b="1" i="0" dirty="0">
                          <a:solidFill>
                            <a:schemeClr val="bg1"/>
                          </a:solidFill>
                          <a:effectLst/>
                          <a:latin typeface="Arial" panose="020B0604020202020204" pitchFamily="34" charset="0"/>
                          <a:ea typeface="MS Mincho" panose="02020609040205080304" pitchFamily="49" charset="-128"/>
                          <a:cs typeface="Arial" panose="020B0604020202020204" pitchFamily="34" charset="0"/>
                        </a:rPr>
                        <a:t> </a:t>
                      </a:r>
                    </a:p>
                    <a:p>
                      <a:pPr marL="0" marR="0" algn="ctr">
                        <a:lnSpc>
                          <a:spcPct val="100000"/>
                        </a:lnSpc>
                        <a:spcBef>
                          <a:spcPts val="0"/>
                        </a:spcBef>
                        <a:spcAft>
                          <a:spcPts val="0"/>
                        </a:spcAft>
                      </a:pPr>
                      <a:r>
                        <a:rPr lang="en-NZ" sz="1100" b="1" i="0" dirty="0">
                          <a:solidFill>
                            <a:schemeClr val="bg1"/>
                          </a:solidFill>
                          <a:effectLst/>
                          <a:latin typeface="Arial" panose="020B0604020202020204" pitchFamily="34" charset="0"/>
                          <a:ea typeface="MS Mincho" panose="02020609040205080304" pitchFamily="49" charset="-128"/>
                          <a:cs typeface="Arial" panose="020B0604020202020204" pitchFamily="34" charset="0"/>
                        </a:rPr>
                        <a:t>n = 261</a:t>
                      </a:r>
                      <a:endParaRPr lang="en-US" sz="1100" b="1" i="0" dirty="0">
                        <a:solidFill>
                          <a:schemeClr val="bg1"/>
                        </a:solidFill>
                        <a:effectLst/>
                        <a:latin typeface="Arial" panose="020B0604020202020204" pitchFamily="34" charset="0"/>
                        <a:ea typeface="MS Mincho" panose="02020609040205080304" pitchFamily="49" charset="-128"/>
                        <a:cs typeface="Arial" panose="020B0604020202020204" pitchFamily="34" charset="0"/>
                      </a:endParaRPr>
                    </a:p>
                  </a:txBody>
                  <a:tcPr marL="68580" marR="68580" marT="0" marB="0" anchor="ctr">
                    <a:lnL>
                      <a:noFill/>
                    </a:lnL>
                    <a:lnR>
                      <a:noFill/>
                    </a:lnR>
                    <a:lnT>
                      <a:noFill/>
                    </a:lnT>
                    <a:lnB w="12700" cap="flat" cmpd="sng" algn="ctr">
                      <a:solidFill>
                        <a:srgbClr val="00447C"/>
                      </a:solidFill>
                      <a:prstDash val="solid"/>
                      <a:round/>
                      <a:headEnd type="none" w="med" len="med"/>
                      <a:tailEnd type="none" w="med" len="med"/>
                    </a:lnB>
                    <a:lnTlToBr w="12700" cmpd="sng">
                      <a:noFill/>
                      <a:prstDash val="solid"/>
                    </a:lnTlToBr>
                    <a:lnBlToTr w="12700" cmpd="sng">
                      <a:noFill/>
                      <a:prstDash val="solid"/>
                    </a:lnBlToTr>
                    <a:solidFill>
                      <a:srgbClr val="002985"/>
                    </a:solidFill>
                  </a:tcPr>
                </a:tc>
                <a:tc>
                  <a:txBody>
                    <a:bodyPr/>
                    <a:lstStyle>
                      <a:lvl1pPr marL="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1pPr>
                      <a:lvl2pPr marL="4572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2pPr>
                      <a:lvl3pPr marL="9144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3pPr>
                      <a:lvl4pPr marL="13716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4pPr>
                      <a:lvl5pPr marL="18288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5pPr>
                      <a:lvl6pPr marL="22860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6pPr>
                      <a:lvl7pPr marL="27432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7pPr>
                      <a:lvl8pPr marL="32004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8pPr>
                      <a:lvl9pPr marL="36576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9pPr>
                    </a:lstStyle>
                    <a:p>
                      <a:pPr marL="0" marR="0" algn="ctr">
                        <a:lnSpc>
                          <a:spcPct val="100000"/>
                        </a:lnSpc>
                        <a:spcBef>
                          <a:spcPts val="0"/>
                        </a:spcBef>
                        <a:spcAft>
                          <a:spcPts val="0"/>
                        </a:spcAft>
                      </a:pPr>
                      <a:r>
                        <a:rPr lang="en-NZ" sz="1100" b="1" i="0" dirty="0">
                          <a:solidFill>
                            <a:schemeClr val="bg1"/>
                          </a:solidFill>
                          <a:effectLst/>
                          <a:latin typeface="Arial" panose="020B0604020202020204" pitchFamily="34" charset="0"/>
                          <a:ea typeface="MS Mincho" panose="02020609040205080304" pitchFamily="49" charset="-128"/>
                          <a:cs typeface="Arial" panose="020B0604020202020204" pitchFamily="34" charset="0"/>
                        </a:rPr>
                        <a:t>T-DM1 </a:t>
                      </a:r>
                    </a:p>
                    <a:p>
                      <a:pPr marL="0" marR="0" algn="ctr">
                        <a:lnSpc>
                          <a:spcPct val="100000"/>
                        </a:lnSpc>
                        <a:spcBef>
                          <a:spcPts val="0"/>
                        </a:spcBef>
                        <a:spcAft>
                          <a:spcPts val="0"/>
                        </a:spcAft>
                      </a:pPr>
                      <a:r>
                        <a:rPr lang="en-NZ" sz="1100" b="1" i="0" dirty="0">
                          <a:solidFill>
                            <a:schemeClr val="bg1"/>
                          </a:solidFill>
                          <a:effectLst/>
                          <a:latin typeface="Arial" panose="020B0604020202020204" pitchFamily="34" charset="0"/>
                          <a:ea typeface="MS Mincho" panose="02020609040205080304" pitchFamily="49" charset="-128"/>
                          <a:cs typeface="Arial" panose="020B0604020202020204" pitchFamily="34" charset="0"/>
                        </a:rPr>
                        <a:t>n = 263</a:t>
                      </a:r>
                      <a:endParaRPr lang="en-US" sz="1100" b="1" i="0" dirty="0">
                        <a:solidFill>
                          <a:schemeClr val="bg1"/>
                        </a:solidFill>
                        <a:effectLst/>
                        <a:latin typeface="Arial" panose="020B0604020202020204" pitchFamily="34" charset="0"/>
                        <a:ea typeface="MS Mincho" panose="02020609040205080304" pitchFamily="49" charset="-128"/>
                        <a:cs typeface="Arial" panose="020B0604020202020204" pitchFamily="34" charset="0"/>
                      </a:endParaRPr>
                    </a:p>
                  </a:txBody>
                  <a:tcPr marL="68580" marR="68580" marT="0" marB="0" anchor="ctr">
                    <a:lnL>
                      <a:noFill/>
                    </a:lnL>
                    <a:lnR>
                      <a:noFill/>
                    </a:lnR>
                    <a:lnT>
                      <a:noFill/>
                    </a:lnT>
                    <a:lnB w="12700" cap="flat" cmpd="sng" algn="ctr">
                      <a:solidFill>
                        <a:srgbClr val="00447C"/>
                      </a:solidFill>
                      <a:prstDash val="solid"/>
                      <a:round/>
                      <a:headEnd type="none" w="med" len="med"/>
                      <a:tailEnd type="none" w="med" len="med"/>
                    </a:lnB>
                    <a:lnTlToBr w="12700" cmpd="sng">
                      <a:noFill/>
                      <a:prstDash val="solid"/>
                    </a:lnTlToBr>
                    <a:lnBlToTr w="12700" cmpd="sng">
                      <a:noFill/>
                      <a:prstDash val="solid"/>
                    </a:lnBlToTr>
                    <a:solidFill>
                      <a:srgbClr val="929294"/>
                    </a:solidFill>
                  </a:tcPr>
                </a:tc>
                <a:extLst>
                  <a:ext uri="{0D108BD9-81ED-4DB2-BD59-A6C34878D82A}">
                    <a16:rowId xmlns:a16="http://schemas.microsoft.com/office/drawing/2014/main" val="2304189290"/>
                  </a:ext>
                </a:extLst>
              </a:tr>
              <a:tr h="786288">
                <a:tc>
                  <a:txBody>
                    <a:bodyPr/>
                    <a:lstStyle>
                      <a:lvl1pPr marL="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1pPr>
                      <a:lvl2pPr marL="4572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2pPr>
                      <a:lvl3pPr marL="9144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3pPr>
                      <a:lvl4pPr marL="13716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4pPr>
                      <a:lvl5pPr marL="18288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5pPr>
                      <a:lvl6pPr marL="22860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6pPr>
                      <a:lvl7pPr marL="27432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7pPr>
                      <a:lvl8pPr marL="32004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8pPr>
                      <a:lvl9pPr marL="36576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9pPr>
                    </a:lstStyle>
                    <a:p>
                      <a:pPr marL="0" marR="0">
                        <a:lnSpc>
                          <a:spcPct val="100000"/>
                        </a:lnSpc>
                        <a:spcBef>
                          <a:spcPts val="0"/>
                        </a:spcBef>
                        <a:spcAft>
                          <a:spcPts val="0"/>
                        </a:spcAft>
                      </a:pPr>
                      <a:r>
                        <a:rPr lang="en-US" sz="1100" b="1" i="0" dirty="0">
                          <a:solidFill>
                            <a:schemeClr val="tx1"/>
                          </a:solidFill>
                          <a:effectLst/>
                          <a:latin typeface="Arial" panose="020B0604020202020204" pitchFamily="34" charset="0"/>
                          <a:cs typeface="Arial" panose="020B0604020202020204" pitchFamily="34" charset="0"/>
                        </a:rPr>
                        <a:t>Any prior systemic cancer </a:t>
                      </a:r>
                      <a:r>
                        <a:rPr lang="en-US" sz="1100" b="1" i="0" dirty="0" err="1">
                          <a:solidFill>
                            <a:schemeClr val="tx1"/>
                          </a:solidFill>
                          <a:effectLst/>
                          <a:latin typeface="Arial" panose="020B0604020202020204" pitchFamily="34" charset="0"/>
                          <a:cs typeface="Arial" panose="020B0604020202020204" pitchFamily="34" charset="0"/>
                        </a:rPr>
                        <a:t>therapy,</a:t>
                      </a:r>
                      <a:r>
                        <a:rPr lang="en-US" sz="1100" b="1" i="0" strike="noStrike" baseline="30000" dirty="0" err="1">
                          <a:solidFill>
                            <a:schemeClr val="tx1"/>
                          </a:solidFill>
                          <a:effectLst/>
                          <a:latin typeface="Arial" panose="020B0604020202020204" pitchFamily="34" charset="0"/>
                          <a:cs typeface="Arial" panose="020B0604020202020204" pitchFamily="34" charset="0"/>
                        </a:rPr>
                        <a:t>a,b</a:t>
                      </a:r>
                      <a:r>
                        <a:rPr lang="en-US" sz="1100" b="1" i="0" strike="noStrike" dirty="0">
                          <a:solidFill>
                            <a:schemeClr val="tx1"/>
                          </a:solidFill>
                          <a:effectLst/>
                          <a:latin typeface="Arial" panose="020B0604020202020204" pitchFamily="34" charset="0"/>
                          <a:cs typeface="Arial" panose="020B0604020202020204" pitchFamily="34" charset="0"/>
                        </a:rPr>
                        <a:t> </a:t>
                      </a:r>
                      <a:r>
                        <a:rPr lang="en-US" sz="1100" b="1" i="0" dirty="0">
                          <a:solidFill>
                            <a:schemeClr val="tx1"/>
                          </a:solidFill>
                          <a:effectLst/>
                          <a:latin typeface="Arial" panose="020B0604020202020204" pitchFamily="34" charset="0"/>
                          <a:cs typeface="Arial" panose="020B0604020202020204" pitchFamily="34" charset="0"/>
                        </a:rPr>
                        <a:t>n (%)</a:t>
                      </a:r>
                      <a:endParaRPr lang="en-NZ" sz="1100" b="1" i="0" strike="sngStrike" baseline="30000" dirty="0">
                        <a:solidFill>
                          <a:schemeClr val="tx1"/>
                        </a:solidFill>
                        <a:effectLst/>
                        <a:latin typeface="Arial" panose="020B0604020202020204" pitchFamily="34" charset="0"/>
                        <a:cs typeface="Arial" panose="020B0604020202020204" pitchFamily="34" charset="0"/>
                      </a:endParaRPr>
                    </a:p>
                    <a:p>
                      <a:pPr marL="228600" marR="0" indent="0">
                        <a:lnSpc>
                          <a:spcPct val="100000"/>
                        </a:lnSpc>
                        <a:spcBef>
                          <a:spcPts val="0"/>
                        </a:spcBef>
                        <a:spcAft>
                          <a:spcPts val="0"/>
                        </a:spcAft>
                        <a:tabLst/>
                      </a:pPr>
                      <a:r>
                        <a:rPr lang="en-NZ" sz="1100" b="0" i="0" dirty="0">
                          <a:solidFill>
                            <a:schemeClr val="tx1"/>
                          </a:solidFill>
                          <a:effectLst/>
                          <a:latin typeface="Arial" panose="020B0604020202020204" pitchFamily="34" charset="0"/>
                          <a:cs typeface="Arial" panose="020B0604020202020204" pitchFamily="34" charset="0"/>
                        </a:rPr>
                        <a:t>Trastuzumab</a:t>
                      </a:r>
                    </a:p>
                    <a:p>
                      <a:pPr marL="228600" marR="0" indent="0">
                        <a:lnSpc>
                          <a:spcPct val="100000"/>
                        </a:lnSpc>
                        <a:spcBef>
                          <a:spcPts val="0"/>
                        </a:spcBef>
                        <a:spcAft>
                          <a:spcPts val="0"/>
                        </a:spcAft>
                        <a:tabLst/>
                      </a:pPr>
                      <a:r>
                        <a:rPr lang="en-NZ" sz="1100" b="0" i="0" dirty="0">
                          <a:solidFill>
                            <a:schemeClr val="tx1"/>
                          </a:solidFill>
                          <a:effectLst/>
                          <a:latin typeface="Arial" panose="020B0604020202020204" pitchFamily="34" charset="0"/>
                          <a:cs typeface="Arial" panose="020B0604020202020204" pitchFamily="34" charset="0"/>
                        </a:rPr>
                        <a:t>Pertuzumab</a:t>
                      </a:r>
                    </a:p>
                    <a:p>
                      <a:pPr marL="228600" marR="0" indent="0">
                        <a:lnSpc>
                          <a:spcPct val="100000"/>
                        </a:lnSpc>
                        <a:spcBef>
                          <a:spcPts val="0"/>
                        </a:spcBef>
                        <a:spcAft>
                          <a:spcPts val="0"/>
                        </a:spcAft>
                        <a:tabLst/>
                      </a:pPr>
                      <a:r>
                        <a:rPr lang="en-NZ" sz="1100" b="0" i="0" dirty="0">
                          <a:solidFill>
                            <a:schemeClr val="tx1"/>
                          </a:solidFill>
                          <a:effectLst/>
                          <a:latin typeface="Arial" panose="020B0604020202020204" pitchFamily="34" charset="0"/>
                          <a:cs typeface="Arial" panose="020B0604020202020204" pitchFamily="34" charset="0"/>
                        </a:rPr>
                        <a:t>Other anti-HER2 </a:t>
                      </a:r>
                      <a:r>
                        <a:rPr lang="en-NZ" sz="1100" b="0" i="0" dirty="0" err="1">
                          <a:solidFill>
                            <a:schemeClr val="tx1"/>
                          </a:solidFill>
                          <a:effectLst/>
                          <a:latin typeface="Arial" panose="020B0604020202020204" pitchFamily="34" charset="0"/>
                          <a:cs typeface="Arial" panose="020B0604020202020204" pitchFamily="34" charset="0"/>
                        </a:rPr>
                        <a:t>therapy</a:t>
                      </a:r>
                      <a:r>
                        <a:rPr lang="en-NZ" sz="1100" b="0" i="0" baseline="30000" dirty="0" err="1">
                          <a:solidFill>
                            <a:schemeClr val="tx1"/>
                          </a:solidFill>
                          <a:effectLst/>
                          <a:latin typeface="Arial" panose="020B0604020202020204" pitchFamily="34" charset="0"/>
                          <a:cs typeface="Arial" panose="020B0604020202020204" pitchFamily="34" charset="0"/>
                        </a:rPr>
                        <a:t>c</a:t>
                      </a:r>
                      <a:endParaRPr lang="en-NZ" sz="1100" b="0" i="0" baseline="30000" dirty="0">
                        <a:solidFill>
                          <a:schemeClr val="tx1"/>
                        </a:solidFill>
                        <a:effectLst/>
                        <a:latin typeface="Arial" panose="020B0604020202020204" pitchFamily="34" charset="0"/>
                        <a:cs typeface="Arial" panose="020B0604020202020204" pitchFamily="34" charset="0"/>
                      </a:endParaRPr>
                    </a:p>
                  </a:txBody>
                  <a:tcPr marL="68580" marR="68580" marT="0" marB="0" anchor="ctr">
                    <a:lnL>
                      <a:noFill/>
                    </a:lnL>
                    <a:lnR>
                      <a:noFill/>
                    </a:lnR>
                    <a:lnT w="12700" cap="flat" cmpd="sng" algn="ctr">
                      <a:solidFill>
                        <a:srgbClr val="00447C"/>
                      </a:solidFill>
                      <a:prstDash val="solid"/>
                      <a:round/>
                      <a:headEnd type="none" w="med" len="med"/>
                      <a:tailEnd type="none" w="med" len="med"/>
                    </a:lnT>
                    <a:lnB w="12700" cap="flat" cmpd="sng" algn="ctr">
                      <a:solidFill>
                        <a:srgbClr val="00447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0000"/>
                        </a:lnSpc>
                        <a:spcBef>
                          <a:spcPts val="0"/>
                        </a:spcBef>
                        <a:spcAft>
                          <a:spcPts val="0"/>
                        </a:spcAft>
                      </a:pPr>
                      <a:r>
                        <a:rPr lang="en-NZ" sz="1100" b="0" i="0" kern="1200" dirty="0">
                          <a:solidFill>
                            <a:schemeClr val="tx1"/>
                          </a:solidFill>
                          <a:effectLst/>
                          <a:latin typeface="Arial" panose="020B0604020202020204" pitchFamily="34" charset="0"/>
                          <a:cs typeface="Arial" panose="020B0604020202020204" pitchFamily="34" charset="0"/>
                        </a:rPr>
                        <a:t>260 (99.6)</a:t>
                      </a:r>
                    </a:p>
                    <a:p>
                      <a:pPr marL="0" marR="0" algn="ctr">
                        <a:lnSpc>
                          <a:spcPct val="100000"/>
                        </a:lnSpc>
                        <a:spcBef>
                          <a:spcPts val="0"/>
                        </a:spcBef>
                        <a:spcAft>
                          <a:spcPts val="0"/>
                        </a:spcAft>
                      </a:pPr>
                      <a:r>
                        <a:rPr lang="en-US" sz="1100" b="0" i="0" kern="1200" dirty="0">
                          <a:solidFill>
                            <a:schemeClr val="tx1"/>
                          </a:solidFill>
                          <a:effectLst/>
                          <a:latin typeface="Arial" panose="020B0604020202020204" pitchFamily="34" charset="0"/>
                          <a:cs typeface="Arial" panose="020B0604020202020204" pitchFamily="34" charset="0"/>
                        </a:rPr>
                        <a:t>260 (99.6)</a:t>
                      </a:r>
                    </a:p>
                    <a:p>
                      <a:pPr marL="0" marR="0" algn="ctr">
                        <a:lnSpc>
                          <a:spcPct val="100000"/>
                        </a:lnSpc>
                        <a:spcBef>
                          <a:spcPts val="0"/>
                        </a:spcBef>
                        <a:spcAft>
                          <a:spcPts val="0"/>
                        </a:spcAft>
                      </a:pPr>
                      <a:r>
                        <a:rPr lang="en-NZ" sz="1100" b="0" i="0" kern="1200" dirty="0">
                          <a:solidFill>
                            <a:schemeClr val="tx1"/>
                          </a:solidFill>
                          <a:effectLst/>
                          <a:latin typeface="Arial" panose="020B0604020202020204" pitchFamily="34" charset="0"/>
                          <a:cs typeface="Arial" panose="020B0604020202020204" pitchFamily="34" charset="0"/>
                        </a:rPr>
                        <a:t>162 (62.1) </a:t>
                      </a:r>
                    </a:p>
                    <a:p>
                      <a:pPr marL="0" marR="0" algn="ctr">
                        <a:lnSpc>
                          <a:spcPct val="100000"/>
                        </a:lnSpc>
                        <a:spcBef>
                          <a:spcPts val="0"/>
                        </a:spcBef>
                        <a:spcAft>
                          <a:spcPts val="0"/>
                        </a:spcAft>
                      </a:pPr>
                      <a:r>
                        <a:rPr lang="en-NZ" sz="1100" b="0" i="0" kern="1200" dirty="0">
                          <a:solidFill>
                            <a:schemeClr val="tx1"/>
                          </a:solidFill>
                          <a:effectLst/>
                          <a:latin typeface="Arial" panose="020B0604020202020204" pitchFamily="34" charset="0"/>
                          <a:ea typeface="MS Mincho" panose="02020609040205080304" pitchFamily="49" charset="-128"/>
                          <a:cs typeface="Arial" panose="020B0604020202020204" pitchFamily="34" charset="0"/>
                        </a:rPr>
                        <a:t>42 (16.1)</a:t>
                      </a:r>
                    </a:p>
                  </a:txBody>
                  <a:tcPr marL="68580" marR="68580" marT="0" marB="0" anchor="ctr">
                    <a:lnL>
                      <a:noFill/>
                    </a:lnL>
                    <a:lnR>
                      <a:noFill/>
                    </a:lnR>
                    <a:lnT w="12700" cap="flat" cmpd="sng" algn="ctr">
                      <a:solidFill>
                        <a:srgbClr val="00447C"/>
                      </a:solidFill>
                      <a:prstDash val="solid"/>
                      <a:round/>
                      <a:headEnd type="none" w="med" len="med"/>
                      <a:tailEnd type="none" w="med" len="med"/>
                    </a:lnT>
                    <a:lnB w="12700" cap="flat" cmpd="sng" algn="ctr">
                      <a:solidFill>
                        <a:srgbClr val="00447C"/>
                      </a:solidFill>
                      <a:prstDash val="solid"/>
                      <a:round/>
                      <a:headEnd type="none" w="med" len="med"/>
                      <a:tailEnd type="none" w="med" len="med"/>
                    </a:lnB>
                    <a:lnTlToBr w="12700" cmpd="sng">
                      <a:noFill/>
                      <a:prstDash val="solid"/>
                    </a:lnTlToBr>
                    <a:lnBlToTr w="12700" cmpd="sng">
                      <a:noFill/>
                      <a:prstDash val="solid"/>
                    </a:lnBlToTr>
                    <a:solidFill>
                      <a:srgbClr val="E6ECF9">
                        <a:alpha val="75281"/>
                      </a:srgbClr>
                    </a:solidFill>
                  </a:tcPr>
                </a:tc>
                <a:tc>
                  <a:txBody>
                    <a:bodyPr/>
                    <a:lstStyle>
                      <a:lvl1pPr marL="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1pPr>
                      <a:lvl2pPr marL="4572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2pPr>
                      <a:lvl3pPr marL="9144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3pPr>
                      <a:lvl4pPr marL="13716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4pPr>
                      <a:lvl5pPr marL="18288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5pPr>
                      <a:lvl6pPr marL="22860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6pPr>
                      <a:lvl7pPr marL="27432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7pPr>
                      <a:lvl8pPr marL="32004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8pPr>
                      <a:lvl9pPr marL="36576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9pPr>
                    </a:lstStyle>
                    <a:p>
                      <a:pPr marL="0" marR="0" algn="ctr">
                        <a:lnSpc>
                          <a:spcPct val="100000"/>
                        </a:lnSpc>
                        <a:spcBef>
                          <a:spcPts val="0"/>
                        </a:spcBef>
                        <a:spcAft>
                          <a:spcPts val="0"/>
                        </a:spcAft>
                      </a:pPr>
                      <a:r>
                        <a:rPr lang="en-NZ" sz="1100" b="0" i="0" kern="1200" dirty="0">
                          <a:solidFill>
                            <a:schemeClr val="tx1"/>
                          </a:solidFill>
                          <a:effectLst/>
                          <a:latin typeface="Arial" panose="020B0604020202020204" pitchFamily="34" charset="0"/>
                          <a:cs typeface="Arial" panose="020B0604020202020204" pitchFamily="34" charset="0"/>
                        </a:rPr>
                        <a:t>262 (99.6)</a:t>
                      </a:r>
                    </a:p>
                    <a:p>
                      <a:pPr marL="0" marR="0" algn="ctr">
                        <a:lnSpc>
                          <a:spcPct val="100000"/>
                        </a:lnSpc>
                        <a:spcBef>
                          <a:spcPts val="0"/>
                        </a:spcBef>
                        <a:spcAft>
                          <a:spcPts val="0"/>
                        </a:spcAft>
                      </a:pPr>
                      <a:r>
                        <a:rPr lang="en-US" sz="1100" b="0" i="0" kern="1200" dirty="0">
                          <a:solidFill>
                            <a:schemeClr val="tx1"/>
                          </a:solidFill>
                          <a:effectLst/>
                          <a:latin typeface="Arial" panose="020B0604020202020204" pitchFamily="34" charset="0"/>
                          <a:cs typeface="Arial" panose="020B0604020202020204" pitchFamily="34" charset="0"/>
                        </a:rPr>
                        <a:t>262 (99.6)</a:t>
                      </a:r>
                    </a:p>
                    <a:p>
                      <a:pPr marL="0" marR="0" algn="ctr">
                        <a:lnSpc>
                          <a:spcPct val="100000"/>
                        </a:lnSpc>
                        <a:spcBef>
                          <a:spcPts val="0"/>
                        </a:spcBef>
                        <a:spcAft>
                          <a:spcPts val="0"/>
                        </a:spcAft>
                      </a:pPr>
                      <a:r>
                        <a:rPr lang="en-NZ" sz="1100" b="0" i="0" kern="1200" dirty="0">
                          <a:solidFill>
                            <a:schemeClr val="tx1"/>
                          </a:solidFill>
                          <a:effectLst/>
                          <a:latin typeface="Arial" panose="020B0604020202020204" pitchFamily="34" charset="0"/>
                          <a:cs typeface="Arial" panose="020B0604020202020204" pitchFamily="34" charset="0"/>
                        </a:rPr>
                        <a:t>158 (60.1)</a:t>
                      </a:r>
                    </a:p>
                    <a:p>
                      <a:pPr marL="0" marR="0" algn="ctr">
                        <a:lnSpc>
                          <a:spcPct val="100000"/>
                        </a:lnSpc>
                        <a:spcBef>
                          <a:spcPts val="0"/>
                        </a:spcBef>
                        <a:spcAft>
                          <a:spcPts val="0"/>
                        </a:spcAft>
                      </a:pPr>
                      <a:r>
                        <a:rPr lang="en-NZ" sz="1100" b="0" i="0" kern="1200" dirty="0">
                          <a:solidFill>
                            <a:schemeClr val="tx1"/>
                          </a:solidFill>
                          <a:effectLst/>
                          <a:latin typeface="Arial" panose="020B0604020202020204" pitchFamily="34" charset="0"/>
                          <a:ea typeface="MS Mincho" panose="02020609040205080304" pitchFamily="49" charset="-128"/>
                          <a:cs typeface="Arial" panose="020B0604020202020204" pitchFamily="34" charset="0"/>
                        </a:rPr>
                        <a:t>38 (14.4)</a:t>
                      </a:r>
                    </a:p>
                  </a:txBody>
                  <a:tcPr marL="68580" marR="68580" marT="0" marB="0" anchor="ctr">
                    <a:lnL>
                      <a:noFill/>
                    </a:lnL>
                    <a:lnR>
                      <a:noFill/>
                    </a:lnR>
                    <a:lnT w="12700" cap="flat" cmpd="sng" algn="ctr">
                      <a:solidFill>
                        <a:srgbClr val="00447C"/>
                      </a:solidFill>
                      <a:prstDash val="solid"/>
                      <a:round/>
                      <a:headEnd type="none" w="med" len="med"/>
                      <a:tailEnd type="none" w="med" len="med"/>
                    </a:lnT>
                    <a:lnB w="12700" cap="flat" cmpd="sng" algn="ctr">
                      <a:solidFill>
                        <a:srgbClr val="00447C"/>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50035"/>
                      </a:schemeClr>
                    </a:solidFill>
                  </a:tcPr>
                </a:tc>
                <a:extLst>
                  <a:ext uri="{0D108BD9-81ED-4DB2-BD59-A6C34878D82A}">
                    <a16:rowId xmlns:a16="http://schemas.microsoft.com/office/drawing/2014/main" val="2956431511"/>
                  </a:ext>
                </a:extLst>
              </a:tr>
              <a:tr h="39314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NZ" sz="1100" b="1" i="0" baseline="0" dirty="0">
                          <a:solidFill>
                            <a:schemeClr val="tx1"/>
                          </a:solidFill>
                          <a:effectLst/>
                          <a:latin typeface="Arial" panose="020B0604020202020204" pitchFamily="34" charset="0"/>
                          <a:cs typeface="Arial" panose="020B0604020202020204" pitchFamily="34" charset="0"/>
                        </a:rPr>
                        <a:t>Number of prior lines of therapy in the metastatic setting, median (range)</a:t>
                      </a:r>
                    </a:p>
                  </a:txBody>
                  <a:tcPr marL="68580" marR="68580" marT="0" marB="0" anchor="ctr">
                    <a:lnL>
                      <a:noFill/>
                    </a:lnL>
                    <a:lnR>
                      <a:noFill/>
                    </a:lnR>
                    <a:lnT w="12700" cap="flat" cmpd="sng" algn="ctr">
                      <a:solidFill>
                        <a:srgbClr val="00447C"/>
                      </a:solidFill>
                      <a:prstDash val="solid"/>
                      <a:round/>
                      <a:headEnd type="none" w="med" len="med"/>
                      <a:tailEnd type="none" w="med" len="med"/>
                    </a:lnT>
                    <a:lnB w="12700" cap="flat" cmpd="sng" algn="ctr">
                      <a:solidFill>
                        <a:srgbClr val="00447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NZ" sz="1100" b="0" i="0" kern="1200" dirty="0">
                          <a:solidFill>
                            <a:schemeClr val="tx1"/>
                          </a:solidFill>
                          <a:effectLst/>
                          <a:latin typeface="Arial" panose="020B0604020202020204" pitchFamily="34" charset="0"/>
                          <a:cs typeface="Arial" panose="020B0604020202020204" pitchFamily="34" charset="0"/>
                        </a:rPr>
                        <a:t>2 (0-16)</a:t>
                      </a:r>
                    </a:p>
                  </a:txBody>
                  <a:tcPr marL="68580" marR="68580" marT="0" marB="0" anchor="ctr">
                    <a:lnL>
                      <a:noFill/>
                    </a:lnL>
                    <a:lnR>
                      <a:noFill/>
                    </a:lnR>
                    <a:lnT w="12700" cap="flat" cmpd="sng" algn="ctr">
                      <a:solidFill>
                        <a:srgbClr val="00447C"/>
                      </a:solidFill>
                      <a:prstDash val="solid"/>
                      <a:round/>
                      <a:headEnd type="none" w="med" len="med"/>
                      <a:tailEnd type="none" w="med" len="med"/>
                    </a:lnT>
                    <a:lnB w="12700" cap="flat" cmpd="sng" algn="ctr">
                      <a:solidFill>
                        <a:srgbClr val="00447C"/>
                      </a:solidFill>
                      <a:prstDash val="solid"/>
                      <a:round/>
                      <a:headEnd type="none" w="med" len="med"/>
                      <a:tailEnd type="none" w="med" len="med"/>
                    </a:lnB>
                    <a:lnTlToBr w="12700" cmpd="sng">
                      <a:noFill/>
                      <a:prstDash val="solid"/>
                    </a:lnTlToBr>
                    <a:lnBlToTr w="12700" cmpd="sng">
                      <a:noFill/>
                      <a:prstDash val="solid"/>
                    </a:lnBlToTr>
                    <a:solidFill>
                      <a:srgbClr val="E6ECF9">
                        <a:alpha val="75281"/>
                      </a:srgb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1100" b="0" i="0" dirty="0">
                          <a:solidFill>
                            <a:schemeClr val="tx1"/>
                          </a:solidFill>
                          <a:effectLst/>
                          <a:latin typeface="Arial" panose="020B0604020202020204" pitchFamily="34" charset="0"/>
                          <a:ea typeface="MS Mincho" panose="02020609040205080304" pitchFamily="49" charset="-128"/>
                          <a:cs typeface="Arial" panose="020B0604020202020204" pitchFamily="34" charset="0"/>
                        </a:rPr>
                        <a:t>2 (0-15)</a:t>
                      </a:r>
                    </a:p>
                  </a:txBody>
                  <a:tcPr marL="68580" marR="68580" marT="0" marB="0" anchor="ctr">
                    <a:lnL>
                      <a:noFill/>
                    </a:lnL>
                    <a:lnR>
                      <a:noFill/>
                    </a:lnR>
                    <a:lnT w="12700" cap="flat" cmpd="sng" algn="ctr">
                      <a:solidFill>
                        <a:srgbClr val="00447C"/>
                      </a:solidFill>
                      <a:prstDash val="solid"/>
                      <a:round/>
                      <a:headEnd type="none" w="med" len="med"/>
                      <a:tailEnd type="none" w="med" len="med"/>
                    </a:lnT>
                    <a:lnB w="12700" cap="flat" cmpd="sng" algn="ctr">
                      <a:solidFill>
                        <a:srgbClr val="00447C"/>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50035"/>
                      </a:schemeClr>
                    </a:solidFill>
                  </a:tcPr>
                </a:tc>
                <a:extLst>
                  <a:ext uri="{0D108BD9-81ED-4DB2-BD59-A6C34878D82A}">
                    <a16:rowId xmlns:a16="http://schemas.microsoft.com/office/drawing/2014/main" val="2562632124"/>
                  </a:ext>
                </a:extLst>
              </a:tr>
              <a:tr h="1376004">
                <a:tc>
                  <a:txBody>
                    <a:bodyPr/>
                    <a:lstStyle/>
                    <a:p>
                      <a:pPr marL="7938" marR="0" indent="0">
                        <a:lnSpc>
                          <a:spcPct val="100000"/>
                        </a:lnSpc>
                        <a:spcBef>
                          <a:spcPts val="0"/>
                        </a:spcBef>
                        <a:spcAft>
                          <a:spcPts val="0"/>
                        </a:spcAft>
                        <a:tabLst/>
                      </a:pPr>
                      <a:r>
                        <a:rPr lang="en-NZ" sz="1100" b="1" i="0" dirty="0">
                          <a:solidFill>
                            <a:schemeClr val="tx1"/>
                          </a:solidFill>
                          <a:effectLst/>
                          <a:latin typeface="Arial" panose="020B0604020202020204" pitchFamily="34" charset="0"/>
                          <a:cs typeface="Arial" panose="020B0604020202020204" pitchFamily="34" charset="0"/>
                        </a:rPr>
                        <a:t>Prior lines of therapy in the metastatic </a:t>
                      </a:r>
                      <a:r>
                        <a:rPr lang="en-NZ" sz="1100" b="1" i="0" dirty="0" err="1">
                          <a:solidFill>
                            <a:schemeClr val="tx1"/>
                          </a:solidFill>
                          <a:effectLst/>
                          <a:latin typeface="Arial" panose="020B0604020202020204" pitchFamily="34" charset="0"/>
                          <a:cs typeface="Arial" panose="020B0604020202020204" pitchFamily="34" charset="0"/>
                        </a:rPr>
                        <a:t>setting,</a:t>
                      </a:r>
                      <a:r>
                        <a:rPr lang="en-NZ" sz="1100" b="1" i="0" baseline="30000" dirty="0" err="1">
                          <a:solidFill>
                            <a:schemeClr val="tx1"/>
                          </a:solidFill>
                          <a:effectLst/>
                          <a:latin typeface="Arial" panose="020B0604020202020204" pitchFamily="34" charset="0"/>
                          <a:cs typeface="Arial" panose="020B0604020202020204" pitchFamily="34" charset="0"/>
                        </a:rPr>
                        <a:t>b</a:t>
                      </a:r>
                      <a:r>
                        <a:rPr lang="en-NZ" sz="1100" b="1" i="0" baseline="0" dirty="0">
                          <a:solidFill>
                            <a:schemeClr val="tx1"/>
                          </a:solidFill>
                          <a:effectLst/>
                          <a:latin typeface="Arial" panose="020B0604020202020204" pitchFamily="34" charset="0"/>
                          <a:cs typeface="Arial" panose="020B0604020202020204" pitchFamily="34" charset="0"/>
                        </a:rPr>
                        <a:t> n (%)</a:t>
                      </a:r>
                      <a:endParaRPr lang="en-NZ" sz="1100" b="0" i="0" baseline="0" dirty="0">
                        <a:solidFill>
                          <a:schemeClr val="tx1"/>
                        </a:solidFill>
                        <a:effectLst/>
                        <a:latin typeface="Arial" panose="020B0604020202020204" pitchFamily="34" charset="0"/>
                        <a:cs typeface="Arial" panose="020B0604020202020204" pitchFamily="34" charset="0"/>
                      </a:endParaRPr>
                    </a:p>
                    <a:p>
                      <a:pPr marL="228600" marR="0" lvl="0" indent="0" algn="l" defTabSz="914400" rtl="0" eaLnBrk="1" fontAlgn="auto" latinLnBrk="0" hangingPunct="1">
                        <a:lnSpc>
                          <a:spcPct val="100000"/>
                        </a:lnSpc>
                        <a:spcBef>
                          <a:spcPts val="0"/>
                        </a:spcBef>
                        <a:spcAft>
                          <a:spcPts val="0"/>
                        </a:spcAft>
                        <a:buClrTx/>
                        <a:buSzTx/>
                        <a:buFontTx/>
                        <a:buNone/>
                        <a:tabLst/>
                        <a:defRPr/>
                      </a:pPr>
                      <a:r>
                        <a:rPr lang="en-NZ" sz="1100" b="0" i="0" baseline="0" dirty="0">
                          <a:solidFill>
                            <a:schemeClr val="tx1"/>
                          </a:solidFill>
                          <a:effectLst/>
                          <a:latin typeface="Arial" panose="020B0604020202020204" pitchFamily="34" charset="0"/>
                          <a:cs typeface="Arial" panose="020B0604020202020204" pitchFamily="34" charset="0"/>
                        </a:rPr>
                        <a:t>0</a:t>
                      </a:r>
                    </a:p>
                    <a:p>
                      <a:pPr marL="228600" marR="0" lvl="0" indent="0" algn="l" defTabSz="914400" rtl="0" eaLnBrk="1" fontAlgn="auto" latinLnBrk="0" hangingPunct="1">
                        <a:lnSpc>
                          <a:spcPct val="100000"/>
                        </a:lnSpc>
                        <a:spcBef>
                          <a:spcPts val="0"/>
                        </a:spcBef>
                        <a:spcAft>
                          <a:spcPts val="0"/>
                        </a:spcAft>
                        <a:buClrTx/>
                        <a:buSzTx/>
                        <a:buFontTx/>
                        <a:buNone/>
                        <a:tabLst/>
                        <a:defRPr/>
                      </a:pPr>
                      <a:r>
                        <a:rPr lang="en-NZ" sz="1100" b="0" i="0" baseline="0" dirty="0">
                          <a:solidFill>
                            <a:schemeClr val="tx1"/>
                          </a:solidFill>
                          <a:effectLst/>
                          <a:latin typeface="Arial" panose="020B0604020202020204" pitchFamily="34" charset="0"/>
                          <a:cs typeface="Arial" panose="020B0604020202020204" pitchFamily="34" charset="0"/>
                        </a:rPr>
                        <a:t>1</a:t>
                      </a:r>
                    </a:p>
                    <a:p>
                      <a:pPr marL="228600" marR="0" lvl="0" indent="0" algn="l" defTabSz="914400" rtl="0" eaLnBrk="1" fontAlgn="auto" latinLnBrk="0" hangingPunct="1">
                        <a:lnSpc>
                          <a:spcPct val="100000"/>
                        </a:lnSpc>
                        <a:spcBef>
                          <a:spcPts val="0"/>
                        </a:spcBef>
                        <a:spcAft>
                          <a:spcPts val="0"/>
                        </a:spcAft>
                        <a:buClrTx/>
                        <a:buSzTx/>
                        <a:buFontTx/>
                        <a:buNone/>
                        <a:tabLst/>
                        <a:defRPr/>
                      </a:pPr>
                      <a:r>
                        <a:rPr lang="en-NZ" sz="1100" b="0" i="0" baseline="0" dirty="0">
                          <a:solidFill>
                            <a:schemeClr val="tx1"/>
                          </a:solidFill>
                          <a:effectLst/>
                          <a:latin typeface="Arial" panose="020B0604020202020204" pitchFamily="34" charset="0"/>
                          <a:cs typeface="Arial" panose="020B0604020202020204" pitchFamily="34" charset="0"/>
                        </a:rPr>
                        <a:t>2</a:t>
                      </a:r>
                    </a:p>
                    <a:p>
                      <a:pPr marL="228600" marR="0" lvl="0" indent="0" algn="l" defTabSz="914400" rtl="0" eaLnBrk="1" fontAlgn="auto" latinLnBrk="0" hangingPunct="1">
                        <a:lnSpc>
                          <a:spcPct val="100000"/>
                        </a:lnSpc>
                        <a:spcBef>
                          <a:spcPts val="0"/>
                        </a:spcBef>
                        <a:spcAft>
                          <a:spcPts val="0"/>
                        </a:spcAft>
                        <a:buClrTx/>
                        <a:buSzTx/>
                        <a:buFontTx/>
                        <a:buNone/>
                        <a:tabLst/>
                        <a:defRPr/>
                      </a:pPr>
                      <a:r>
                        <a:rPr lang="en-NZ" sz="1100" b="0" i="0" baseline="0" dirty="0">
                          <a:solidFill>
                            <a:schemeClr val="tx1"/>
                          </a:solidFill>
                          <a:effectLst/>
                          <a:latin typeface="Arial" panose="020B0604020202020204" pitchFamily="34" charset="0"/>
                          <a:cs typeface="Arial" panose="020B0604020202020204" pitchFamily="34" charset="0"/>
                        </a:rPr>
                        <a:t>3</a:t>
                      </a:r>
                    </a:p>
                    <a:p>
                      <a:pPr marL="228600" marR="0" lvl="0" indent="0" algn="l" defTabSz="914400" rtl="0" eaLnBrk="1" fontAlgn="auto" latinLnBrk="0" hangingPunct="1">
                        <a:lnSpc>
                          <a:spcPct val="100000"/>
                        </a:lnSpc>
                        <a:spcBef>
                          <a:spcPts val="0"/>
                        </a:spcBef>
                        <a:spcAft>
                          <a:spcPts val="0"/>
                        </a:spcAft>
                        <a:buClrTx/>
                        <a:buSzTx/>
                        <a:buFontTx/>
                        <a:buNone/>
                        <a:tabLst/>
                        <a:defRPr/>
                      </a:pPr>
                      <a:r>
                        <a:rPr lang="en-NZ" sz="1100" b="0" i="0" baseline="0" dirty="0">
                          <a:solidFill>
                            <a:schemeClr val="tx1"/>
                          </a:solidFill>
                          <a:effectLst/>
                          <a:latin typeface="Arial" panose="020B0604020202020204" pitchFamily="34" charset="0"/>
                          <a:cs typeface="Arial" panose="020B0604020202020204" pitchFamily="34" charset="0"/>
                        </a:rPr>
                        <a:t>4</a:t>
                      </a:r>
                    </a:p>
                    <a:p>
                      <a:pPr marL="228600" marR="0" lvl="0" indent="0" algn="l" defTabSz="914400" rtl="0" eaLnBrk="1" fontAlgn="auto" latinLnBrk="0" hangingPunct="1">
                        <a:lnSpc>
                          <a:spcPct val="100000"/>
                        </a:lnSpc>
                        <a:spcBef>
                          <a:spcPts val="0"/>
                        </a:spcBef>
                        <a:spcAft>
                          <a:spcPts val="0"/>
                        </a:spcAft>
                        <a:buClrTx/>
                        <a:buSzTx/>
                        <a:buFontTx/>
                        <a:buNone/>
                        <a:tabLst/>
                        <a:defRPr/>
                      </a:pPr>
                      <a:r>
                        <a:rPr lang="en-NZ" sz="1100" b="0" i="0" baseline="0" dirty="0">
                          <a:solidFill>
                            <a:schemeClr val="tx1"/>
                          </a:solidFill>
                          <a:effectLst/>
                          <a:latin typeface="Arial" panose="020B0604020202020204" pitchFamily="34" charset="0"/>
                          <a:cs typeface="Arial" panose="020B0604020202020204" pitchFamily="34" charset="0"/>
                        </a:rPr>
                        <a:t>≥5 </a:t>
                      </a:r>
                    </a:p>
                  </a:txBody>
                  <a:tcPr marL="68580" marR="68580" marT="0" marB="0" anchor="ctr">
                    <a:lnL>
                      <a:noFill/>
                    </a:lnL>
                    <a:lnR>
                      <a:noFill/>
                    </a:lnR>
                    <a:lnT w="12700" cap="flat" cmpd="sng" algn="ctr">
                      <a:solidFill>
                        <a:srgbClr val="00447C"/>
                      </a:solidFill>
                      <a:prstDash val="solid"/>
                      <a:round/>
                      <a:headEnd type="none" w="med" len="med"/>
                      <a:tailEnd type="none" w="med" len="med"/>
                    </a:lnT>
                    <a:lnB w="12700" cap="flat" cmpd="sng" algn="ctr">
                      <a:solidFill>
                        <a:srgbClr val="00447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0000"/>
                        </a:lnSpc>
                        <a:spcBef>
                          <a:spcPts val="0"/>
                        </a:spcBef>
                        <a:spcAft>
                          <a:spcPts val="0"/>
                        </a:spcAft>
                      </a:pPr>
                      <a:endParaRPr lang="en-NZ" sz="1100" b="0" i="0" kern="1200" dirty="0">
                        <a:solidFill>
                          <a:schemeClr val="tx1"/>
                        </a:solidFill>
                        <a:effectLst/>
                        <a:latin typeface="Arial" panose="020B0604020202020204" pitchFamily="34" charset="0"/>
                        <a:cs typeface="Arial" panose="020B0604020202020204" pitchFamily="34" charset="0"/>
                      </a:endParaRPr>
                    </a:p>
                    <a:p>
                      <a:pPr marL="0" marR="0" algn="ctr">
                        <a:lnSpc>
                          <a:spcPct val="100000"/>
                        </a:lnSpc>
                        <a:spcBef>
                          <a:spcPts val="0"/>
                        </a:spcBef>
                        <a:spcAft>
                          <a:spcPts val="0"/>
                        </a:spcAft>
                      </a:pPr>
                      <a:r>
                        <a:rPr lang="en-NZ" sz="1100" b="0" i="0" kern="1200" dirty="0">
                          <a:solidFill>
                            <a:schemeClr val="tx1"/>
                          </a:solidFill>
                          <a:effectLst/>
                          <a:latin typeface="Arial" panose="020B0604020202020204" pitchFamily="34" charset="0"/>
                          <a:cs typeface="Arial" panose="020B0604020202020204" pitchFamily="34" charset="0"/>
                        </a:rPr>
                        <a:t>1 (0.4)</a:t>
                      </a:r>
                    </a:p>
                    <a:p>
                      <a:pPr marL="0" marR="0" algn="ctr">
                        <a:lnSpc>
                          <a:spcPct val="100000"/>
                        </a:lnSpc>
                        <a:spcBef>
                          <a:spcPts val="0"/>
                        </a:spcBef>
                        <a:spcAft>
                          <a:spcPts val="0"/>
                        </a:spcAft>
                      </a:pPr>
                      <a:r>
                        <a:rPr lang="en-NZ" sz="1100" b="0" i="0" kern="1200" dirty="0">
                          <a:solidFill>
                            <a:schemeClr val="tx1"/>
                          </a:solidFill>
                          <a:effectLst/>
                          <a:latin typeface="Arial" panose="020B0604020202020204" pitchFamily="34" charset="0"/>
                          <a:cs typeface="Arial" panose="020B0604020202020204" pitchFamily="34" charset="0"/>
                        </a:rPr>
                        <a:t>108 (41.4)</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NZ" sz="1100" b="0" i="0" kern="1200" dirty="0">
                          <a:solidFill>
                            <a:schemeClr val="tx1"/>
                          </a:solidFill>
                          <a:effectLst/>
                          <a:latin typeface="Arial" panose="020B0604020202020204" pitchFamily="34" charset="0"/>
                          <a:cs typeface="Arial" panose="020B0604020202020204" pitchFamily="34" charset="0"/>
                        </a:rPr>
                        <a:t>60 (23.0)</a:t>
                      </a:r>
                      <a:endParaRPr lang="en-US" sz="1100" b="0" i="0" kern="1200" dirty="0">
                        <a:solidFill>
                          <a:schemeClr val="tx1"/>
                        </a:solidFill>
                        <a:effectLst/>
                        <a:latin typeface="Arial" panose="020B0604020202020204" pitchFamily="34" charset="0"/>
                        <a:ea typeface="MS Mincho" panose="02020609040205080304" pitchFamily="49" charset="-128"/>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NZ" sz="1100" b="0" i="0" kern="1200" dirty="0">
                          <a:solidFill>
                            <a:schemeClr val="tx1"/>
                          </a:solidFill>
                          <a:effectLst/>
                          <a:latin typeface="Arial" panose="020B0604020202020204" pitchFamily="34" charset="0"/>
                          <a:cs typeface="Arial" panose="020B0604020202020204" pitchFamily="34" charset="0"/>
                        </a:rPr>
                        <a:t>44 (16.9)</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NZ" sz="1100" b="0" i="0" kern="1200" dirty="0">
                          <a:solidFill>
                            <a:schemeClr val="tx1"/>
                          </a:solidFill>
                          <a:effectLst/>
                          <a:latin typeface="Arial" panose="020B0604020202020204" pitchFamily="34" charset="0"/>
                          <a:cs typeface="Arial" panose="020B0604020202020204" pitchFamily="34" charset="0"/>
                        </a:rPr>
                        <a:t>15 (5.7)</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NZ" sz="1100" b="0" i="0" kern="1200" dirty="0">
                          <a:solidFill>
                            <a:schemeClr val="tx1"/>
                          </a:solidFill>
                          <a:effectLst/>
                          <a:latin typeface="Arial" panose="020B0604020202020204" pitchFamily="34" charset="0"/>
                          <a:cs typeface="Arial" panose="020B0604020202020204" pitchFamily="34" charset="0"/>
                        </a:rPr>
                        <a:t>33 (12.6)</a:t>
                      </a:r>
                    </a:p>
                  </a:txBody>
                  <a:tcPr marL="68580" marR="68580" marT="0" marB="0" anchor="ctr">
                    <a:lnL>
                      <a:noFill/>
                    </a:lnL>
                    <a:lnR>
                      <a:noFill/>
                    </a:lnR>
                    <a:lnT w="12700" cap="flat" cmpd="sng" algn="ctr">
                      <a:solidFill>
                        <a:srgbClr val="00447C"/>
                      </a:solidFill>
                      <a:prstDash val="solid"/>
                      <a:round/>
                      <a:headEnd type="none" w="med" len="med"/>
                      <a:tailEnd type="none" w="med" len="med"/>
                    </a:lnT>
                    <a:lnB w="12700" cap="flat" cmpd="sng" algn="ctr">
                      <a:solidFill>
                        <a:srgbClr val="00447C"/>
                      </a:solidFill>
                      <a:prstDash val="solid"/>
                      <a:round/>
                      <a:headEnd type="none" w="med" len="med"/>
                      <a:tailEnd type="none" w="med" len="med"/>
                    </a:lnB>
                    <a:lnTlToBr w="12700" cmpd="sng">
                      <a:noFill/>
                      <a:prstDash val="solid"/>
                    </a:lnTlToBr>
                    <a:lnBlToTr w="12700" cmpd="sng">
                      <a:noFill/>
                      <a:prstDash val="solid"/>
                    </a:lnBlToTr>
                    <a:solidFill>
                      <a:srgbClr val="E6ECF9">
                        <a:alpha val="75281"/>
                      </a:srgbClr>
                    </a:solidFill>
                  </a:tcPr>
                </a:tc>
                <a:tc>
                  <a:txBody>
                    <a:bodyPr/>
                    <a:lstStyle/>
                    <a:p>
                      <a:pPr marL="0" marR="0" algn="ctr">
                        <a:lnSpc>
                          <a:spcPct val="100000"/>
                        </a:lnSpc>
                        <a:spcBef>
                          <a:spcPts val="0"/>
                        </a:spcBef>
                        <a:spcAft>
                          <a:spcPts val="0"/>
                        </a:spcAft>
                      </a:pPr>
                      <a:endParaRPr lang="en-NZ" sz="1100" b="0" i="0" kern="1200" dirty="0">
                        <a:solidFill>
                          <a:schemeClr val="tx1"/>
                        </a:solidFill>
                        <a:effectLst/>
                        <a:latin typeface="Arial" panose="020B0604020202020204" pitchFamily="34" charset="0"/>
                        <a:cs typeface="Arial" panose="020B0604020202020204" pitchFamily="34" charset="0"/>
                      </a:endParaRPr>
                    </a:p>
                    <a:p>
                      <a:pPr marL="0" marR="0" algn="ctr">
                        <a:lnSpc>
                          <a:spcPct val="100000"/>
                        </a:lnSpc>
                        <a:spcBef>
                          <a:spcPts val="0"/>
                        </a:spcBef>
                        <a:spcAft>
                          <a:spcPts val="0"/>
                        </a:spcAft>
                      </a:pPr>
                      <a:r>
                        <a:rPr lang="en-NZ" sz="1100" b="0" i="0" kern="1200" dirty="0">
                          <a:solidFill>
                            <a:schemeClr val="tx1"/>
                          </a:solidFill>
                          <a:effectLst/>
                          <a:latin typeface="Arial" panose="020B0604020202020204" pitchFamily="34" charset="0"/>
                          <a:cs typeface="Arial" panose="020B0604020202020204" pitchFamily="34" charset="0"/>
                        </a:rPr>
                        <a:t>1 (0.4)</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NZ" sz="1100" b="0" i="0" kern="1200" dirty="0">
                          <a:solidFill>
                            <a:schemeClr val="tx1"/>
                          </a:solidFill>
                          <a:effectLst/>
                          <a:latin typeface="Arial" panose="020B0604020202020204" pitchFamily="34" charset="0"/>
                          <a:cs typeface="Arial" panose="020B0604020202020204" pitchFamily="34" charset="0"/>
                        </a:rPr>
                        <a:t>102 (38.8)</a:t>
                      </a:r>
                      <a:endParaRPr lang="en-US" sz="1100" b="0" i="0" kern="1200" dirty="0">
                        <a:solidFill>
                          <a:schemeClr val="tx1"/>
                        </a:solidFill>
                        <a:effectLst/>
                        <a:latin typeface="Arial" panose="020B0604020202020204" pitchFamily="34" charset="0"/>
                        <a:ea typeface="MS Mincho" panose="02020609040205080304" pitchFamily="49" charset="-128"/>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NZ" sz="1100" b="0" i="0" kern="1200" dirty="0">
                          <a:solidFill>
                            <a:schemeClr val="tx1"/>
                          </a:solidFill>
                          <a:effectLst/>
                          <a:latin typeface="Arial" panose="020B0604020202020204" pitchFamily="34" charset="0"/>
                          <a:cs typeface="Arial" panose="020B0604020202020204" pitchFamily="34" charset="0"/>
                        </a:rPr>
                        <a:t>64 (24.3)</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NZ" sz="1100" b="0" i="0" kern="1200" dirty="0">
                          <a:solidFill>
                            <a:schemeClr val="tx1"/>
                          </a:solidFill>
                          <a:effectLst/>
                          <a:latin typeface="Arial" panose="020B0604020202020204" pitchFamily="34" charset="0"/>
                          <a:ea typeface="MS Mincho" panose="02020609040205080304" pitchFamily="49" charset="-128"/>
                          <a:cs typeface="Arial" panose="020B0604020202020204" pitchFamily="34" charset="0"/>
                        </a:rPr>
                        <a:t>45 (17.1)</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NZ" sz="1100" b="0" i="0" kern="1200" dirty="0">
                          <a:solidFill>
                            <a:schemeClr val="tx1"/>
                          </a:solidFill>
                          <a:effectLst/>
                          <a:latin typeface="Arial" panose="020B0604020202020204" pitchFamily="34" charset="0"/>
                          <a:ea typeface="MS Mincho" panose="02020609040205080304" pitchFamily="49" charset="-128"/>
                          <a:cs typeface="Arial" panose="020B0604020202020204" pitchFamily="34" charset="0"/>
                        </a:rPr>
                        <a:t>23 (8.7)</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NZ" sz="1100" b="0" i="0" kern="1200" dirty="0">
                          <a:solidFill>
                            <a:schemeClr val="tx1"/>
                          </a:solidFill>
                          <a:effectLst/>
                          <a:latin typeface="Arial" panose="020B0604020202020204" pitchFamily="34" charset="0"/>
                          <a:ea typeface="MS Mincho" panose="02020609040205080304" pitchFamily="49" charset="-128"/>
                          <a:cs typeface="Arial" panose="020B0604020202020204" pitchFamily="34" charset="0"/>
                        </a:rPr>
                        <a:t>28 (10.6)</a:t>
                      </a:r>
                      <a:endParaRPr lang="en-US" sz="1100" b="0" i="0" dirty="0">
                        <a:solidFill>
                          <a:schemeClr val="tx1"/>
                        </a:solidFill>
                        <a:effectLst/>
                        <a:latin typeface="Arial" panose="020B0604020202020204" pitchFamily="34" charset="0"/>
                        <a:ea typeface="MS Mincho" panose="02020609040205080304" pitchFamily="49" charset="-128"/>
                        <a:cs typeface="Arial" panose="020B0604020202020204" pitchFamily="34" charset="0"/>
                      </a:endParaRPr>
                    </a:p>
                  </a:txBody>
                  <a:tcPr marL="68580" marR="68580" marT="0" marB="0" anchor="ctr">
                    <a:lnL>
                      <a:noFill/>
                    </a:lnL>
                    <a:lnR>
                      <a:noFill/>
                    </a:lnR>
                    <a:lnT w="12700" cap="flat" cmpd="sng" algn="ctr">
                      <a:solidFill>
                        <a:srgbClr val="00447C"/>
                      </a:solidFill>
                      <a:prstDash val="solid"/>
                      <a:round/>
                      <a:headEnd type="none" w="med" len="med"/>
                      <a:tailEnd type="none" w="med" len="med"/>
                    </a:lnT>
                    <a:lnB w="12700" cap="flat" cmpd="sng" algn="ctr">
                      <a:solidFill>
                        <a:srgbClr val="00447C"/>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50035"/>
                      </a:schemeClr>
                    </a:solidFill>
                  </a:tcPr>
                </a:tc>
                <a:extLst>
                  <a:ext uri="{0D108BD9-81ED-4DB2-BD59-A6C34878D82A}">
                    <a16:rowId xmlns:a16="http://schemas.microsoft.com/office/drawing/2014/main" val="1717708717"/>
                  </a:ext>
                </a:extLst>
              </a:tr>
            </a:tbl>
          </a:graphicData>
        </a:graphic>
      </p:graphicFrame>
      <p:sp>
        <p:nvSpPr>
          <p:cNvPr id="5" name="TextBox 4">
            <a:extLst>
              <a:ext uri="{FF2B5EF4-FFF2-40B4-BE49-F238E27FC236}">
                <a16:creationId xmlns:a16="http://schemas.microsoft.com/office/drawing/2014/main" id="{5DE3249F-F783-EC4D-A381-D3F0569B2512}"/>
              </a:ext>
            </a:extLst>
          </p:cNvPr>
          <p:cNvSpPr txBox="1"/>
          <p:nvPr/>
        </p:nvSpPr>
        <p:spPr>
          <a:xfrm>
            <a:off x="0" y="4019209"/>
            <a:ext cx="8858249" cy="369332"/>
          </a:xfrm>
          <a:prstGeom prst="rect">
            <a:avLst/>
          </a:prstGeom>
          <a:noFill/>
        </p:spPr>
        <p:txBody>
          <a:bodyPr wrap="square" rtlCol="0" anchor="b">
            <a:spAutoFit/>
          </a:bodyPr>
          <a:lstStyle/>
          <a:p>
            <a:r>
              <a:rPr lang="en-US" sz="600" dirty="0">
                <a:latin typeface="Arial" panose="020B0604020202020204" pitchFamily="34" charset="0"/>
                <a:cs typeface="Arial" panose="020B0604020202020204" pitchFamily="34" charset="0"/>
              </a:rPr>
              <a:t>ADC, antibody-drug conjugate; </a:t>
            </a:r>
            <a:r>
              <a:rPr lang="en-US" sz="600" dirty="0">
                <a:solidFill>
                  <a:prstClr val="black"/>
                </a:solidFill>
                <a:latin typeface="Arial" panose="020B0604020202020204" pitchFamily="34" charset="0"/>
                <a:cs typeface="Arial" panose="020B0604020202020204" pitchFamily="34" charset="0"/>
              </a:rPr>
              <a:t>HER2, human epidermal growth factor receptor 2; </a:t>
            </a:r>
            <a:r>
              <a:rPr lang="en-US" sz="600" dirty="0">
                <a:latin typeface="Arial" panose="020B0604020202020204" pitchFamily="34" charset="0"/>
                <a:cs typeface="Arial" panose="020B0604020202020204" pitchFamily="34" charset="0"/>
              </a:rPr>
              <a:t>T-DM1, t</a:t>
            </a:r>
            <a:r>
              <a:rPr lang="en-US" sz="600" dirty="0">
                <a:latin typeface="Arial" panose="020B0604020202020204" pitchFamily="34" charset="0"/>
                <a:cs typeface="Arial" panose="020B0604020202020204" pitchFamily="34" charset="0"/>
                <a:sym typeface="Arial Narrow"/>
              </a:rPr>
              <a:t>rastuzumab emtansine; </a:t>
            </a:r>
            <a:r>
              <a:rPr lang="en-US" sz="600" dirty="0">
                <a:latin typeface="Arial" panose="020B0604020202020204" pitchFamily="34" charset="0"/>
                <a:cs typeface="Arial" panose="020B0604020202020204" pitchFamily="34" charset="0"/>
              </a:rPr>
              <a:t>T-DXd, </a:t>
            </a:r>
            <a:r>
              <a:rPr lang="en-US" sz="600" dirty="0">
                <a:latin typeface="Arial" panose="020B0604020202020204" pitchFamily="34" charset="0"/>
                <a:cs typeface="Arial" panose="020B0604020202020204" pitchFamily="34" charset="0"/>
                <a:sym typeface="Arial Narrow"/>
              </a:rPr>
              <a:t>trastuzumab deruxtecan; TKI, </a:t>
            </a:r>
            <a:r>
              <a:rPr lang="en-US" sz="600" kern="0" dirty="0">
                <a:latin typeface="Arial" panose="020B0604020202020204" pitchFamily="34" charset="0"/>
                <a:cs typeface="Arial" panose="020B0604020202020204" pitchFamily="34" charset="0"/>
                <a:sym typeface="Arial"/>
              </a:rPr>
              <a:t>tyrosine kinase inhibitor.</a:t>
            </a:r>
            <a:r>
              <a:rPr lang="en-US" sz="600" dirty="0">
                <a:latin typeface="Arial" panose="020B0604020202020204" pitchFamily="34" charset="0"/>
                <a:cs typeface="Arial" panose="020B0604020202020204" pitchFamily="34" charset="0"/>
              </a:rPr>
              <a:t> </a:t>
            </a:r>
          </a:p>
          <a:p>
            <a:r>
              <a:rPr lang="en-US" sz="600" baseline="30000" dirty="0">
                <a:latin typeface="Arial" panose="020B0604020202020204" pitchFamily="34" charset="0"/>
                <a:cs typeface="Arial" panose="020B0604020202020204" pitchFamily="34" charset="0"/>
              </a:rPr>
              <a:t>a</a:t>
            </a:r>
            <a:r>
              <a:rPr lang="en-US" sz="600" dirty="0">
                <a:latin typeface="Arial" panose="020B0604020202020204" pitchFamily="34" charset="0"/>
                <a:cs typeface="Arial" panose="020B0604020202020204" pitchFamily="34" charset="0"/>
              </a:rPr>
              <a:t>2 patients (1 in each treatment arm) were randomized in error and the prior cancer systemic therapy case report form was not completed</a:t>
            </a:r>
            <a:r>
              <a:rPr lang="en-US" sz="600" kern="0" dirty="0">
                <a:latin typeface="Arial" panose="020B0604020202020204" pitchFamily="34" charset="0"/>
                <a:cs typeface="Arial" panose="020B0604020202020204" pitchFamily="34" charset="0"/>
                <a:sym typeface="Arial"/>
              </a:rPr>
              <a:t>. </a:t>
            </a:r>
            <a:r>
              <a:rPr lang="en-US" sz="600" kern="0" baseline="30000" dirty="0" err="1">
                <a:latin typeface="Arial" panose="020B0604020202020204" pitchFamily="34" charset="0"/>
                <a:cs typeface="Arial" panose="020B0604020202020204" pitchFamily="34" charset="0"/>
                <a:sym typeface="Arial"/>
              </a:rPr>
              <a:t>b</a:t>
            </a:r>
            <a:r>
              <a:rPr lang="en-US" sz="600" dirty="0" err="1">
                <a:latin typeface="Arial" panose="020B0604020202020204" pitchFamily="34" charset="0"/>
                <a:cs typeface="Arial" panose="020B0604020202020204" pitchFamily="34" charset="0"/>
              </a:rPr>
              <a:t>Includes</a:t>
            </a:r>
            <a:r>
              <a:rPr lang="en-US" sz="600" dirty="0">
                <a:latin typeface="Arial" panose="020B0604020202020204" pitchFamily="34" charset="0"/>
                <a:cs typeface="Arial" panose="020B0604020202020204" pitchFamily="34" charset="0"/>
              </a:rPr>
              <a:t> regimens indicated for advanced/metastatic or early progression within 6 months of regimen for (neo)adjuvant (12 months for pertuzumab). </a:t>
            </a:r>
            <a:r>
              <a:rPr lang="en-US" sz="600" kern="0" baseline="30000" dirty="0" err="1">
                <a:latin typeface="Arial" panose="020B0604020202020204" pitchFamily="34" charset="0"/>
                <a:cs typeface="Arial" panose="020B0604020202020204" pitchFamily="34" charset="0"/>
                <a:sym typeface="Arial"/>
              </a:rPr>
              <a:t>c</a:t>
            </a:r>
            <a:r>
              <a:rPr lang="en-US" sz="600" kern="0" dirty="0" err="1">
                <a:latin typeface="Arial" panose="020B0604020202020204" pitchFamily="34" charset="0"/>
                <a:cs typeface="Arial" panose="020B0604020202020204" pitchFamily="34" charset="0"/>
                <a:sym typeface="Arial"/>
              </a:rPr>
              <a:t>Includes</a:t>
            </a:r>
            <a:r>
              <a:rPr lang="en-US" sz="600" kern="0" dirty="0">
                <a:latin typeface="Arial" panose="020B0604020202020204" pitchFamily="34" charset="0"/>
                <a:cs typeface="Arial" panose="020B0604020202020204" pitchFamily="34" charset="0"/>
                <a:sym typeface="Arial"/>
              </a:rPr>
              <a:t> anti-HER2 TKI and other anti-HER2 antibody or ADC</a:t>
            </a:r>
          </a:p>
        </p:txBody>
      </p:sp>
    </p:spTree>
    <p:extLst>
      <p:ext uri="{BB962C8B-B14F-4D97-AF65-F5344CB8AC3E}">
        <p14:creationId xmlns:p14="http://schemas.microsoft.com/office/powerpoint/2010/main" val="2178195900"/>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4D58C1-2463-42D7-99E4-0465364458E2}"/>
              </a:ext>
            </a:extLst>
          </p:cNvPr>
          <p:cNvSpPr>
            <a:spLocks noGrp="1"/>
          </p:cNvSpPr>
          <p:nvPr>
            <p:ph type="ctrTitle"/>
          </p:nvPr>
        </p:nvSpPr>
        <p:spPr>
          <a:xfrm>
            <a:off x="367118" y="483659"/>
            <a:ext cx="8409765" cy="432000"/>
          </a:xfrm>
        </p:spPr>
        <p:txBody>
          <a:bodyPr/>
          <a:lstStyle/>
          <a:p>
            <a:r>
              <a:rPr lang="en-US" sz="2100" dirty="0">
                <a:solidFill>
                  <a:schemeClr val="tx1"/>
                </a:solidFill>
              </a:rPr>
              <a:t>Key Secondary Endpoint: Overall Survival</a:t>
            </a:r>
          </a:p>
        </p:txBody>
      </p:sp>
      <p:sp>
        <p:nvSpPr>
          <p:cNvPr id="7" name="Rectangle 6">
            <a:extLst>
              <a:ext uri="{FF2B5EF4-FFF2-40B4-BE49-F238E27FC236}">
                <a16:creationId xmlns:a16="http://schemas.microsoft.com/office/drawing/2014/main" id="{2A5467C4-C1EA-2D99-3624-FB56B18A8C6D}"/>
              </a:ext>
            </a:extLst>
          </p:cNvPr>
          <p:cNvSpPr/>
          <p:nvPr/>
        </p:nvSpPr>
        <p:spPr>
          <a:xfrm>
            <a:off x="6280067" y="3001913"/>
            <a:ext cx="2579918" cy="692498"/>
          </a:xfrm>
          <a:prstGeom prst="rect">
            <a:avLst/>
          </a:prstGeom>
          <a:solidFill>
            <a:srgbClr val="EDF1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b="1" dirty="0">
                <a:solidFill>
                  <a:schemeClr val="tx1"/>
                </a:solidFill>
                <a:latin typeface="Arial" panose="020B0604020202020204" pitchFamily="34" charset="0"/>
                <a:ea typeface="Times New Roman" panose="02020603050405020304" pitchFamily="18" charset="0"/>
              </a:rPr>
              <a:t>Anti-cancer therapies </a:t>
            </a:r>
            <a:r>
              <a:rPr lang="en-US" sz="900" b="1">
                <a:solidFill>
                  <a:schemeClr val="tx1"/>
                </a:solidFill>
                <a:latin typeface="Arial" panose="020B0604020202020204" pitchFamily="34" charset="0"/>
                <a:ea typeface="Times New Roman" panose="02020603050405020304" pitchFamily="18" charset="0"/>
              </a:rPr>
              <a:t>in post-trial </a:t>
            </a:r>
            <a:r>
              <a:rPr lang="en-US" sz="900" b="1" dirty="0">
                <a:solidFill>
                  <a:schemeClr val="tx1"/>
                </a:solidFill>
                <a:latin typeface="Arial" panose="020B0604020202020204" pitchFamily="34" charset="0"/>
                <a:ea typeface="Times New Roman" panose="02020603050405020304" pitchFamily="18" charset="0"/>
              </a:rPr>
              <a:t>setting:</a:t>
            </a:r>
          </a:p>
          <a:p>
            <a:pPr marL="128588" indent="-128588">
              <a:buFont typeface="Arial" panose="020B0604020202020204" pitchFamily="34" charset="0"/>
              <a:buChar char="•"/>
            </a:pPr>
            <a:r>
              <a:rPr lang="en-US" sz="900" b="1" dirty="0">
                <a:solidFill>
                  <a:schemeClr val="tx1"/>
                </a:solidFill>
                <a:latin typeface="Arial" panose="020B0604020202020204" pitchFamily="34" charset="0"/>
                <a:ea typeface="Times New Roman" panose="02020603050405020304" pitchFamily="18" charset="0"/>
              </a:rPr>
              <a:t>T-DXd arm</a:t>
            </a:r>
            <a:r>
              <a:rPr lang="en-US" sz="900" dirty="0">
                <a:solidFill>
                  <a:schemeClr val="tx1"/>
                </a:solidFill>
                <a:latin typeface="Arial" panose="020B0604020202020204" pitchFamily="34" charset="0"/>
                <a:ea typeface="Times New Roman" panose="02020603050405020304" pitchFamily="18" charset="0"/>
              </a:rPr>
              <a:t>: 64/182 (35.2%) received T-DM1 </a:t>
            </a:r>
          </a:p>
          <a:p>
            <a:pPr marL="128588" indent="-128588">
              <a:buFont typeface="Arial" panose="020B0604020202020204" pitchFamily="34" charset="0"/>
              <a:buChar char="•"/>
            </a:pPr>
            <a:r>
              <a:rPr lang="en-US" sz="900" b="1" dirty="0">
                <a:solidFill>
                  <a:schemeClr val="tx1"/>
                </a:solidFill>
                <a:latin typeface="Arial" panose="020B0604020202020204" pitchFamily="34" charset="0"/>
                <a:ea typeface="Times New Roman" panose="02020603050405020304" pitchFamily="18" charset="0"/>
              </a:rPr>
              <a:t>T-DM1 arm</a:t>
            </a:r>
            <a:r>
              <a:rPr lang="en-US" sz="900" dirty="0">
                <a:solidFill>
                  <a:schemeClr val="tx1"/>
                </a:solidFill>
                <a:latin typeface="Arial" panose="020B0604020202020204" pitchFamily="34" charset="0"/>
                <a:ea typeface="Times New Roman" panose="02020603050405020304" pitchFamily="18" charset="0"/>
              </a:rPr>
              <a:t>: 42/243 (17.3%) </a:t>
            </a:r>
            <a:r>
              <a:rPr lang="en-US" sz="900" dirty="0">
                <a:solidFill>
                  <a:schemeClr val="tx1"/>
                </a:solidFill>
                <a:latin typeface="Arial" panose="020B0604020202020204" pitchFamily="34" charset="0"/>
                <a:cs typeface="Arial" panose="020B0604020202020204" pitchFamily="34" charset="0"/>
              </a:rPr>
              <a:t>received T-DXd</a:t>
            </a:r>
          </a:p>
        </p:txBody>
      </p:sp>
      <p:sp>
        <p:nvSpPr>
          <p:cNvPr id="1929" name="TextBox 1928">
            <a:extLst>
              <a:ext uri="{FF2B5EF4-FFF2-40B4-BE49-F238E27FC236}">
                <a16:creationId xmlns:a16="http://schemas.microsoft.com/office/drawing/2014/main" id="{687ADCD9-533F-DC50-71AB-3192FBAB8B77}"/>
              </a:ext>
            </a:extLst>
          </p:cNvPr>
          <p:cNvSpPr txBox="1"/>
          <p:nvPr/>
        </p:nvSpPr>
        <p:spPr>
          <a:xfrm rot="1788">
            <a:off x="72308" y="4147966"/>
            <a:ext cx="1172116" cy="230832"/>
          </a:xfrm>
          <a:prstGeom prst="rect">
            <a:avLst/>
          </a:prstGeom>
          <a:noFill/>
        </p:spPr>
        <p:txBody>
          <a:bodyPr wrap="none" rtlCol="0">
            <a:spAutoFit/>
          </a:bodyPr>
          <a:lstStyle/>
          <a:p>
            <a:pPr algn="l"/>
            <a:r>
              <a:rPr lang="en-US" sz="900" dirty="0">
                <a:ln/>
                <a:solidFill>
                  <a:srgbClr val="000000"/>
                </a:solidFill>
                <a:latin typeface="Arial" panose="020B0604020202020204" pitchFamily="34" charset="0"/>
                <a:cs typeface="Arial" panose="020B0604020202020204" pitchFamily="34" charset="0"/>
                <a:sym typeface="HelveticaNeueLTStd-Bd"/>
                <a:rtl val="0"/>
              </a:rPr>
              <a:t>Patients still at risk:</a:t>
            </a:r>
          </a:p>
        </p:txBody>
      </p:sp>
      <p:sp>
        <p:nvSpPr>
          <p:cNvPr id="1930" name="TextBox 1929">
            <a:extLst>
              <a:ext uri="{FF2B5EF4-FFF2-40B4-BE49-F238E27FC236}">
                <a16:creationId xmlns:a16="http://schemas.microsoft.com/office/drawing/2014/main" id="{5EDCDD5D-21CD-1056-BF9B-E4A309A38251}"/>
              </a:ext>
            </a:extLst>
          </p:cNvPr>
          <p:cNvSpPr txBox="1"/>
          <p:nvPr/>
        </p:nvSpPr>
        <p:spPr>
          <a:xfrm>
            <a:off x="540328" y="4512530"/>
            <a:ext cx="441146" cy="184666"/>
          </a:xfrm>
          <a:prstGeom prst="rect">
            <a:avLst/>
          </a:prstGeom>
          <a:noFill/>
        </p:spPr>
        <p:txBody>
          <a:bodyPr wrap="none" rtlCol="0">
            <a:spAutoFit/>
          </a:bodyPr>
          <a:lstStyle/>
          <a:p>
            <a:pPr algn="l"/>
            <a:r>
              <a:rPr lang="en-US" sz="600" dirty="0">
                <a:ln/>
                <a:solidFill>
                  <a:srgbClr val="000000"/>
                </a:solidFill>
                <a:latin typeface="Arial" panose="020B0604020202020204" pitchFamily="34" charset="0"/>
                <a:cs typeface="Arial" panose="020B0604020202020204" pitchFamily="34" charset="0"/>
                <a:sym typeface="HelveticaNeueLTStd-Roman"/>
                <a:rtl val="0"/>
              </a:rPr>
              <a:t>T-DM1 </a:t>
            </a:r>
          </a:p>
        </p:txBody>
      </p:sp>
      <p:sp>
        <p:nvSpPr>
          <p:cNvPr id="2028" name="TextBox 2027">
            <a:extLst>
              <a:ext uri="{FF2B5EF4-FFF2-40B4-BE49-F238E27FC236}">
                <a16:creationId xmlns:a16="http://schemas.microsoft.com/office/drawing/2014/main" id="{4429B6F5-4D63-CE12-093C-ECFA45156A92}"/>
              </a:ext>
            </a:extLst>
          </p:cNvPr>
          <p:cNvSpPr txBox="1"/>
          <p:nvPr/>
        </p:nvSpPr>
        <p:spPr>
          <a:xfrm rot="1788">
            <a:off x="805503" y="4502240"/>
            <a:ext cx="314510" cy="184666"/>
          </a:xfrm>
          <a:prstGeom prst="rect">
            <a:avLst/>
          </a:prstGeom>
          <a:noFill/>
        </p:spPr>
        <p:txBody>
          <a:bodyPr wrap="none" rtlCol="0">
            <a:spAutoFit/>
          </a:bodyPr>
          <a:lstStyle/>
          <a:p>
            <a:pPr algn="l"/>
            <a:r>
              <a:rPr lang="en-US" sz="600" dirty="0">
                <a:ln/>
                <a:solidFill>
                  <a:srgbClr val="000000"/>
                </a:solidFill>
                <a:latin typeface="Arial" panose="020B0604020202020204" pitchFamily="34" charset="0"/>
                <a:cs typeface="Arial" panose="020B0604020202020204" pitchFamily="34" charset="0"/>
                <a:sym typeface="HelveticaNeueLTStd-Roman"/>
                <a:rtl val="0"/>
              </a:rPr>
              <a:t>263</a:t>
            </a:r>
          </a:p>
        </p:txBody>
      </p:sp>
      <p:sp>
        <p:nvSpPr>
          <p:cNvPr id="2029" name="TextBox 2028">
            <a:extLst>
              <a:ext uri="{FF2B5EF4-FFF2-40B4-BE49-F238E27FC236}">
                <a16:creationId xmlns:a16="http://schemas.microsoft.com/office/drawing/2014/main" id="{8116F3AE-6C7D-EF49-32B0-973A740AD5C3}"/>
              </a:ext>
            </a:extLst>
          </p:cNvPr>
          <p:cNvSpPr txBox="1"/>
          <p:nvPr/>
        </p:nvSpPr>
        <p:spPr>
          <a:xfrm rot="1788">
            <a:off x="945343" y="4502313"/>
            <a:ext cx="314510" cy="184666"/>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257</a:t>
            </a:r>
          </a:p>
        </p:txBody>
      </p:sp>
      <p:sp>
        <p:nvSpPr>
          <p:cNvPr id="2030" name="TextBox 2029">
            <a:extLst>
              <a:ext uri="{FF2B5EF4-FFF2-40B4-BE49-F238E27FC236}">
                <a16:creationId xmlns:a16="http://schemas.microsoft.com/office/drawing/2014/main" id="{83AB116B-1425-CDDF-1FF3-BF3C688142D2}"/>
              </a:ext>
            </a:extLst>
          </p:cNvPr>
          <p:cNvSpPr txBox="1"/>
          <p:nvPr/>
        </p:nvSpPr>
        <p:spPr>
          <a:xfrm rot="1788">
            <a:off x="1094676" y="4502313"/>
            <a:ext cx="314510" cy="184666"/>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252</a:t>
            </a:r>
          </a:p>
        </p:txBody>
      </p:sp>
      <p:sp>
        <p:nvSpPr>
          <p:cNvPr id="2031" name="TextBox 2030">
            <a:extLst>
              <a:ext uri="{FF2B5EF4-FFF2-40B4-BE49-F238E27FC236}">
                <a16:creationId xmlns:a16="http://schemas.microsoft.com/office/drawing/2014/main" id="{BB965B60-C6AC-3ECF-FB30-83117C5769AF}"/>
              </a:ext>
            </a:extLst>
          </p:cNvPr>
          <p:cNvSpPr txBox="1"/>
          <p:nvPr/>
        </p:nvSpPr>
        <p:spPr>
          <a:xfrm rot="1788">
            <a:off x="1234516" y="4502313"/>
            <a:ext cx="314510" cy="184666"/>
          </a:xfrm>
          <a:prstGeom prst="rect">
            <a:avLst/>
          </a:prstGeom>
          <a:noFill/>
        </p:spPr>
        <p:txBody>
          <a:bodyPr wrap="none" rtlCol="0">
            <a:spAutoFit/>
          </a:bodyPr>
          <a:lstStyle/>
          <a:p>
            <a:pPr algn="l"/>
            <a:r>
              <a:rPr lang="en-US" sz="600" dirty="0">
                <a:ln/>
                <a:solidFill>
                  <a:srgbClr val="000000"/>
                </a:solidFill>
                <a:latin typeface="Arial" panose="020B0604020202020204" pitchFamily="34" charset="0"/>
                <a:cs typeface="Arial" panose="020B0604020202020204" pitchFamily="34" charset="0"/>
                <a:sym typeface="HelveticaNeueLTStd-Roman"/>
                <a:rtl val="0"/>
              </a:rPr>
              <a:t>248</a:t>
            </a:r>
          </a:p>
        </p:txBody>
      </p:sp>
      <p:sp>
        <p:nvSpPr>
          <p:cNvPr id="2032" name="TextBox 2031">
            <a:extLst>
              <a:ext uri="{FF2B5EF4-FFF2-40B4-BE49-F238E27FC236}">
                <a16:creationId xmlns:a16="http://schemas.microsoft.com/office/drawing/2014/main" id="{0DA831C1-0C65-0C70-9699-DD393A8EA296}"/>
              </a:ext>
            </a:extLst>
          </p:cNvPr>
          <p:cNvSpPr txBox="1"/>
          <p:nvPr/>
        </p:nvSpPr>
        <p:spPr>
          <a:xfrm rot="1788">
            <a:off x="1390942" y="4502313"/>
            <a:ext cx="314510" cy="184666"/>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243</a:t>
            </a:r>
          </a:p>
        </p:txBody>
      </p:sp>
      <p:sp>
        <p:nvSpPr>
          <p:cNvPr id="2033" name="TextBox 2032">
            <a:extLst>
              <a:ext uri="{FF2B5EF4-FFF2-40B4-BE49-F238E27FC236}">
                <a16:creationId xmlns:a16="http://schemas.microsoft.com/office/drawing/2014/main" id="{54E16BC2-7051-46A5-C50C-282323990159}"/>
              </a:ext>
            </a:extLst>
          </p:cNvPr>
          <p:cNvSpPr txBox="1"/>
          <p:nvPr/>
        </p:nvSpPr>
        <p:spPr>
          <a:xfrm rot="1788">
            <a:off x="1530764" y="4502313"/>
            <a:ext cx="314510" cy="184666"/>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242</a:t>
            </a:r>
          </a:p>
        </p:txBody>
      </p:sp>
      <p:sp>
        <p:nvSpPr>
          <p:cNvPr id="2034" name="TextBox 2033">
            <a:extLst>
              <a:ext uri="{FF2B5EF4-FFF2-40B4-BE49-F238E27FC236}">
                <a16:creationId xmlns:a16="http://schemas.microsoft.com/office/drawing/2014/main" id="{6BE4DC30-DE08-8913-523F-7BADD0CF8F07}"/>
              </a:ext>
            </a:extLst>
          </p:cNvPr>
          <p:cNvSpPr txBox="1"/>
          <p:nvPr/>
        </p:nvSpPr>
        <p:spPr>
          <a:xfrm rot="1788">
            <a:off x="1680090" y="4502313"/>
            <a:ext cx="314510" cy="184666"/>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237</a:t>
            </a:r>
          </a:p>
        </p:txBody>
      </p:sp>
      <p:sp>
        <p:nvSpPr>
          <p:cNvPr id="2035" name="TextBox 2034">
            <a:extLst>
              <a:ext uri="{FF2B5EF4-FFF2-40B4-BE49-F238E27FC236}">
                <a16:creationId xmlns:a16="http://schemas.microsoft.com/office/drawing/2014/main" id="{E172A60B-4F56-986A-9834-4623A021E6C6}"/>
              </a:ext>
            </a:extLst>
          </p:cNvPr>
          <p:cNvSpPr txBox="1"/>
          <p:nvPr/>
        </p:nvSpPr>
        <p:spPr>
          <a:xfrm rot="1788">
            <a:off x="1819930" y="4502313"/>
            <a:ext cx="314510" cy="184666"/>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233</a:t>
            </a:r>
          </a:p>
        </p:txBody>
      </p:sp>
      <p:sp>
        <p:nvSpPr>
          <p:cNvPr id="2036" name="TextBox 2035">
            <a:extLst>
              <a:ext uri="{FF2B5EF4-FFF2-40B4-BE49-F238E27FC236}">
                <a16:creationId xmlns:a16="http://schemas.microsoft.com/office/drawing/2014/main" id="{C785B9AE-DFB3-AE3C-7D61-CB8778808F61}"/>
              </a:ext>
            </a:extLst>
          </p:cNvPr>
          <p:cNvSpPr txBox="1"/>
          <p:nvPr/>
        </p:nvSpPr>
        <p:spPr>
          <a:xfrm rot="1788">
            <a:off x="1964015" y="4502313"/>
            <a:ext cx="314510" cy="184666"/>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232</a:t>
            </a:r>
          </a:p>
        </p:txBody>
      </p:sp>
      <p:sp>
        <p:nvSpPr>
          <p:cNvPr id="2037" name="TextBox 2036">
            <a:extLst>
              <a:ext uri="{FF2B5EF4-FFF2-40B4-BE49-F238E27FC236}">
                <a16:creationId xmlns:a16="http://schemas.microsoft.com/office/drawing/2014/main" id="{FFA3C823-88CE-32A0-8EAA-48023E4C7C59}"/>
              </a:ext>
            </a:extLst>
          </p:cNvPr>
          <p:cNvSpPr txBox="1"/>
          <p:nvPr/>
        </p:nvSpPr>
        <p:spPr>
          <a:xfrm rot="1788">
            <a:off x="2103814" y="4502313"/>
            <a:ext cx="314510" cy="184666"/>
          </a:xfrm>
          <a:prstGeom prst="rect">
            <a:avLst/>
          </a:prstGeom>
          <a:noFill/>
        </p:spPr>
        <p:txBody>
          <a:bodyPr wrap="none" rtlCol="0">
            <a:spAutoFit/>
          </a:bodyPr>
          <a:lstStyle/>
          <a:p>
            <a:pPr algn="l"/>
            <a:r>
              <a:rPr lang="en-US" sz="600" dirty="0">
                <a:ln/>
                <a:solidFill>
                  <a:srgbClr val="000000"/>
                </a:solidFill>
                <a:latin typeface="Arial" panose="020B0604020202020204" pitchFamily="34" charset="0"/>
                <a:cs typeface="Arial" panose="020B0604020202020204" pitchFamily="34" charset="0"/>
                <a:sym typeface="HelveticaNeueLTStd-Roman"/>
                <a:rtl val="0"/>
              </a:rPr>
              <a:t>227</a:t>
            </a:r>
          </a:p>
        </p:txBody>
      </p:sp>
      <p:sp>
        <p:nvSpPr>
          <p:cNvPr id="2038" name="TextBox 2037">
            <a:extLst>
              <a:ext uri="{FF2B5EF4-FFF2-40B4-BE49-F238E27FC236}">
                <a16:creationId xmlns:a16="http://schemas.microsoft.com/office/drawing/2014/main" id="{891EFD71-AEBC-038D-962E-843153EBCC56}"/>
              </a:ext>
            </a:extLst>
          </p:cNvPr>
          <p:cNvSpPr txBox="1"/>
          <p:nvPr/>
        </p:nvSpPr>
        <p:spPr>
          <a:xfrm rot="1788">
            <a:off x="2253143" y="4502313"/>
            <a:ext cx="314510" cy="184666"/>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224</a:t>
            </a:r>
          </a:p>
        </p:txBody>
      </p:sp>
      <p:sp>
        <p:nvSpPr>
          <p:cNvPr id="2039" name="TextBox 2038">
            <a:extLst>
              <a:ext uri="{FF2B5EF4-FFF2-40B4-BE49-F238E27FC236}">
                <a16:creationId xmlns:a16="http://schemas.microsoft.com/office/drawing/2014/main" id="{67385F23-2018-9CA2-C783-49A9AE74EDCB}"/>
              </a:ext>
            </a:extLst>
          </p:cNvPr>
          <p:cNvSpPr txBox="1"/>
          <p:nvPr/>
        </p:nvSpPr>
        <p:spPr>
          <a:xfrm rot="1788">
            <a:off x="2392991" y="4502313"/>
            <a:ext cx="314510" cy="184666"/>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217</a:t>
            </a:r>
          </a:p>
        </p:txBody>
      </p:sp>
      <p:sp>
        <p:nvSpPr>
          <p:cNvPr id="2040" name="TextBox 2039">
            <a:extLst>
              <a:ext uri="{FF2B5EF4-FFF2-40B4-BE49-F238E27FC236}">
                <a16:creationId xmlns:a16="http://schemas.microsoft.com/office/drawing/2014/main" id="{050CFD76-31F3-CB01-84A4-0D439F013857}"/>
              </a:ext>
            </a:extLst>
          </p:cNvPr>
          <p:cNvSpPr txBox="1"/>
          <p:nvPr/>
        </p:nvSpPr>
        <p:spPr>
          <a:xfrm rot="1788">
            <a:off x="2549435" y="4502313"/>
            <a:ext cx="314510" cy="184666"/>
          </a:xfrm>
          <a:prstGeom prst="rect">
            <a:avLst/>
          </a:prstGeom>
          <a:noFill/>
        </p:spPr>
        <p:txBody>
          <a:bodyPr wrap="none" rtlCol="0">
            <a:spAutoFit/>
          </a:bodyPr>
          <a:lstStyle/>
          <a:p>
            <a:pPr algn="l"/>
            <a:r>
              <a:rPr lang="en-US" sz="600" dirty="0">
                <a:ln/>
                <a:solidFill>
                  <a:srgbClr val="000000"/>
                </a:solidFill>
                <a:latin typeface="Arial" panose="020B0604020202020204" pitchFamily="34" charset="0"/>
                <a:cs typeface="Arial" panose="020B0604020202020204" pitchFamily="34" charset="0"/>
                <a:sym typeface="HelveticaNeueLTStd-Roman"/>
                <a:rtl val="0"/>
              </a:rPr>
              <a:t>211</a:t>
            </a:r>
          </a:p>
        </p:txBody>
      </p:sp>
      <p:sp>
        <p:nvSpPr>
          <p:cNvPr id="2041" name="TextBox 2040">
            <a:extLst>
              <a:ext uri="{FF2B5EF4-FFF2-40B4-BE49-F238E27FC236}">
                <a16:creationId xmlns:a16="http://schemas.microsoft.com/office/drawing/2014/main" id="{9DC5102F-6DA5-2AD2-2E4D-4642F23BE011}"/>
              </a:ext>
            </a:extLst>
          </p:cNvPr>
          <p:cNvSpPr txBox="1"/>
          <p:nvPr/>
        </p:nvSpPr>
        <p:spPr>
          <a:xfrm rot="1788">
            <a:off x="2689239" y="4502313"/>
            <a:ext cx="314510" cy="184666"/>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203</a:t>
            </a:r>
          </a:p>
        </p:txBody>
      </p:sp>
      <p:sp>
        <p:nvSpPr>
          <p:cNvPr id="2042" name="TextBox 2041">
            <a:extLst>
              <a:ext uri="{FF2B5EF4-FFF2-40B4-BE49-F238E27FC236}">
                <a16:creationId xmlns:a16="http://schemas.microsoft.com/office/drawing/2014/main" id="{E8E73D9C-5696-4F64-3BBE-7FD3556A96C0}"/>
              </a:ext>
            </a:extLst>
          </p:cNvPr>
          <p:cNvSpPr txBox="1"/>
          <p:nvPr/>
        </p:nvSpPr>
        <p:spPr>
          <a:xfrm rot="1788">
            <a:off x="2838565" y="4502313"/>
            <a:ext cx="314510" cy="184666"/>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199</a:t>
            </a:r>
          </a:p>
        </p:txBody>
      </p:sp>
      <p:sp>
        <p:nvSpPr>
          <p:cNvPr id="2043" name="TextBox 2042">
            <a:extLst>
              <a:ext uri="{FF2B5EF4-FFF2-40B4-BE49-F238E27FC236}">
                <a16:creationId xmlns:a16="http://schemas.microsoft.com/office/drawing/2014/main" id="{D6F17A87-D69C-20A8-8F83-3457FDDE2990}"/>
              </a:ext>
            </a:extLst>
          </p:cNvPr>
          <p:cNvSpPr txBox="1"/>
          <p:nvPr/>
        </p:nvSpPr>
        <p:spPr>
          <a:xfrm rot="1788">
            <a:off x="2978401" y="4502313"/>
            <a:ext cx="314510" cy="184666"/>
          </a:xfrm>
          <a:prstGeom prst="rect">
            <a:avLst/>
          </a:prstGeom>
          <a:noFill/>
        </p:spPr>
        <p:txBody>
          <a:bodyPr wrap="none" rtlCol="0">
            <a:spAutoFit/>
          </a:bodyPr>
          <a:lstStyle/>
          <a:p>
            <a:pPr algn="l"/>
            <a:r>
              <a:rPr lang="en-US" sz="600" dirty="0">
                <a:ln/>
                <a:solidFill>
                  <a:srgbClr val="000000"/>
                </a:solidFill>
                <a:latin typeface="Arial" panose="020B0604020202020204" pitchFamily="34" charset="0"/>
                <a:cs typeface="Arial" panose="020B0604020202020204" pitchFamily="34" charset="0"/>
                <a:sym typeface="HelveticaNeueLTStd-Roman"/>
                <a:rtl val="0"/>
              </a:rPr>
              <a:t>197</a:t>
            </a:r>
          </a:p>
        </p:txBody>
      </p:sp>
      <p:sp>
        <p:nvSpPr>
          <p:cNvPr id="2044" name="TextBox 2043">
            <a:extLst>
              <a:ext uri="{FF2B5EF4-FFF2-40B4-BE49-F238E27FC236}">
                <a16:creationId xmlns:a16="http://schemas.microsoft.com/office/drawing/2014/main" id="{D2EF4F30-081B-89AC-0605-D2606EC4FFD2}"/>
              </a:ext>
            </a:extLst>
          </p:cNvPr>
          <p:cNvSpPr txBox="1"/>
          <p:nvPr/>
        </p:nvSpPr>
        <p:spPr>
          <a:xfrm>
            <a:off x="3160450" y="4508010"/>
            <a:ext cx="314510" cy="184666"/>
          </a:xfrm>
          <a:prstGeom prst="rect">
            <a:avLst/>
          </a:prstGeom>
          <a:noFill/>
        </p:spPr>
        <p:txBody>
          <a:bodyPr wrap="none" rtlCol="0">
            <a:spAutoFit/>
          </a:bodyPr>
          <a:lstStyle/>
          <a:p>
            <a:pPr algn="l"/>
            <a:r>
              <a:rPr lang="en-US" sz="600" dirty="0">
                <a:ln/>
                <a:solidFill>
                  <a:srgbClr val="000000"/>
                </a:solidFill>
                <a:latin typeface="Arial" panose="020B0604020202020204" pitchFamily="34" charset="0"/>
                <a:cs typeface="Arial" panose="020B0604020202020204" pitchFamily="34" charset="0"/>
                <a:sym typeface="HelveticaNeueLTStd-Roman"/>
                <a:rtl val="0"/>
              </a:rPr>
              <a:t>191</a:t>
            </a:r>
          </a:p>
        </p:txBody>
      </p:sp>
      <p:sp>
        <p:nvSpPr>
          <p:cNvPr id="2045" name="TextBox 2044">
            <a:extLst>
              <a:ext uri="{FF2B5EF4-FFF2-40B4-BE49-F238E27FC236}">
                <a16:creationId xmlns:a16="http://schemas.microsoft.com/office/drawing/2014/main" id="{24B70F1E-9FD9-12B7-6221-401E5A265A04}"/>
              </a:ext>
            </a:extLst>
          </p:cNvPr>
          <p:cNvSpPr txBox="1"/>
          <p:nvPr/>
        </p:nvSpPr>
        <p:spPr>
          <a:xfrm>
            <a:off x="3306814" y="4508010"/>
            <a:ext cx="314510" cy="184666"/>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186</a:t>
            </a:r>
          </a:p>
        </p:txBody>
      </p:sp>
      <p:sp>
        <p:nvSpPr>
          <p:cNvPr id="2046" name="TextBox 2045">
            <a:extLst>
              <a:ext uri="{FF2B5EF4-FFF2-40B4-BE49-F238E27FC236}">
                <a16:creationId xmlns:a16="http://schemas.microsoft.com/office/drawing/2014/main" id="{3493C711-04F0-49DB-0359-AB41E1B16A3A}"/>
              </a:ext>
            </a:extLst>
          </p:cNvPr>
          <p:cNvSpPr txBox="1"/>
          <p:nvPr/>
        </p:nvSpPr>
        <p:spPr>
          <a:xfrm>
            <a:off x="3456127" y="4508010"/>
            <a:ext cx="314510" cy="184666"/>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183</a:t>
            </a:r>
          </a:p>
        </p:txBody>
      </p:sp>
      <p:sp>
        <p:nvSpPr>
          <p:cNvPr id="2047" name="TextBox 2046">
            <a:extLst>
              <a:ext uri="{FF2B5EF4-FFF2-40B4-BE49-F238E27FC236}">
                <a16:creationId xmlns:a16="http://schemas.microsoft.com/office/drawing/2014/main" id="{A77511E0-74B5-1588-FDE6-8B0C3314A60C}"/>
              </a:ext>
            </a:extLst>
          </p:cNvPr>
          <p:cNvSpPr txBox="1"/>
          <p:nvPr/>
        </p:nvSpPr>
        <p:spPr>
          <a:xfrm>
            <a:off x="3595966" y="4508010"/>
            <a:ext cx="314510" cy="184666"/>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179</a:t>
            </a:r>
          </a:p>
        </p:txBody>
      </p:sp>
      <p:sp>
        <p:nvSpPr>
          <p:cNvPr id="2048" name="TextBox 2047">
            <a:extLst>
              <a:ext uri="{FF2B5EF4-FFF2-40B4-BE49-F238E27FC236}">
                <a16:creationId xmlns:a16="http://schemas.microsoft.com/office/drawing/2014/main" id="{206B3724-FD53-E0B4-1BDF-9E3A8A142D86}"/>
              </a:ext>
            </a:extLst>
          </p:cNvPr>
          <p:cNvSpPr txBox="1"/>
          <p:nvPr/>
        </p:nvSpPr>
        <p:spPr>
          <a:xfrm>
            <a:off x="3752396" y="4508010"/>
            <a:ext cx="314510" cy="184666"/>
          </a:xfrm>
          <a:prstGeom prst="rect">
            <a:avLst/>
          </a:prstGeom>
          <a:noFill/>
        </p:spPr>
        <p:txBody>
          <a:bodyPr wrap="none" rtlCol="0">
            <a:spAutoFit/>
          </a:bodyPr>
          <a:lstStyle/>
          <a:p>
            <a:pPr algn="l"/>
            <a:r>
              <a:rPr lang="en-US" sz="600" dirty="0">
                <a:ln/>
                <a:solidFill>
                  <a:srgbClr val="000000"/>
                </a:solidFill>
                <a:latin typeface="Arial" panose="020B0604020202020204" pitchFamily="34" charset="0"/>
                <a:cs typeface="Arial" panose="020B0604020202020204" pitchFamily="34" charset="0"/>
                <a:sym typeface="HelveticaNeueLTStd-Roman"/>
                <a:rtl val="0"/>
              </a:rPr>
              <a:t>172</a:t>
            </a:r>
          </a:p>
        </p:txBody>
      </p:sp>
      <p:sp>
        <p:nvSpPr>
          <p:cNvPr id="2049" name="TextBox 2048">
            <a:extLst>
              <a:ext uri="{FF2B5EF4-FFF2-40B4-BE49-F238E27FC236}">
                <a16:creationId xmlns:a16="http://schemas.microsoft.com/office/drawing/2014/main" id="{298FDC11-14AD-D727-5284-F68B4F3EC89C}"/>
              </a:ext>
            </a:extLst>
          </p:cNvPr>
          <p:cNvSpPr txBox="1"/>
          <p:nvPr/>
        </p:nvSpPr>
        <p:spPr>
          <a:xfrm>
            <a:off x="3892228" y="4508010"/>
            <a:ext cx="314510" cy="184666"/>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169</a:t>
            </a:r>
          </a:p>
        </p:txBody>
      </p:sp>
      <p:sp>
        <p:nvSpPr>
          <p:cNvPr id="2050" name="TextBox 2049">
            <a:extLst>
              <a:ext uri="{FF2B5EF4-FFF2-40B4-BE49-F238E27FC236}">
                <a16:creationId xmlns:a16="http://schemas.microsoft.com/office/drawing/2014/main" id="{7D448DFC-87CE-8BF2-1B85-2B6AF400C708}"/>
              </a:ext>
            </a:extLst>
          </p:cNvPr>
          <p:cNvSpPr txBox="1"/>
          <p:nvPr/>
        </p:nvSpPr>
        <p:spPr>
          <a:xfrm>
            <a:off x="4041547" y="4508010"/>
            <a:ext cx="314510" cy="184666"/>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167</a:t>
            </a:r>
          </a:p>
        </p:txBody>
      </p:sp>
      <p:sp>
        <p:nvSpPr>
          <p:cNvPr id="2051" name="TextBox 2050">
            <a:extLst>
              <a:ext uri="{FF2B5EF4-FFF2-40B4-BE49-F238E27FC236}">
                <a16:creationId xmlns:a16="http://schemas.microsoft.com/office/drawing/2014/main" id="{56F05F36-6CA4-2C40-4489-4EC8DF35940C}"/>
              </a:ext>
            </a:extLst>
          </p:cNvPr>
          <p:cNvSpPr txBox="1"/>
          <p:nvPr/>
        </p:nvSpPr>
        <p:spPr>
          <a:xfrm>
            <a:off x="4181365" y="4508010"/>
            <a:ext cx="314510" cy="184666"/>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164</a:t>
            </a:r>
          </a:p>
        </p:txBody>
      </p:sp>
      <p:sp>
        <p:nvSpPr>
          <p:cNvPr id="2052" name="TextBox 2051">
            <a:extLst>
              <a:ext uri="{FF2B5EF4-FFF2-40B4-BE49-F238E27FC236}">
                <a16:creationId xmlns:a16="http://schemas.microsoft.com/office/drawing/2014/main" id="{FC6E7AC5-E4E5-9D83-1ABC-5732241407DF}"/>
              </a:ext>
            </a:extLst>
          </p:cNvPr>
          <p:cNvSpPr txBox="1"/>
          <p:nvPr/>
        </p:nvSpPr>
        <p:spPr>
          <a:xfrm>
            <a:off x="4325464" y="4508010"/>
            <a:ext cx="314510" cy="184666"/>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164</a:t>
            </a:r>
          </a:p>
        </p:txBody>
      </p:sp>
      <p:sp>
        <p:nvSpPr>
          <p:cNvPr id="2053" name="TextBox 2052">
            <a:extLst>
              <a:ext uri="{FF2B5EF4-FFF2-40B4-BE49-F238E27FC236}">
                <a16:creationId xmlns:a16="http://schemas.microsoft.com/office/drawing/2014/main" id="{31892D82-6A63-77AF-DB4F-08C7DCA42E7D}"/>
              </a:ext>
            </a:extLst>
          </p:cNvPr>
          <p:cNvSpPr txBox="1"/>
          <p:nvPr/>
        </p:nvSpPr>
        <p:spPr>
          <a:xfrm>
            <a:off x="4465312" y="4508010"/>
            <a:ext cx="314510" cy="184666"/>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158</a:t>
            </a:r>
          </a:p>
        </p:txBody>
      </p:sp>
      <p:sp>
        <p:nvSpPr>
          <p:cNvPr id="2054" name="TextBox 2053">
            <a:extLst>
              <a:ext uri="{FF2B5EF4-FFF2-40B4-BE49-F238E27FC236}">
                <a16:creationId xmlns:a16="http://schemas.microsoft.com/office/drawing/2014/main" id="{E3E57B23-6E4C-AD86-DBC3-9F8E3ED8887B}"/>
              </a:ext>
            </a:extLst>
          </p:cNvPr>
          <p:cNvSpPr txBox="1"/>
          <p:nvPr/>
        </p:nvSpPr>
        <p:spPr>
          <a:xfrm>
            <a:off x="4614616" y="4508010"/>
            <a:ext cx="314510" cy="184666"/>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140</a:t>
            </a:r>
          </a:p>
        </p:txBody>
      </p:sp>
      <p:sp>
        <p:nvSpPr>
          <p:cNvPr id="2055" name="TextBox 2054">
            <a:extLst>
              <a:ext uri="{FF2B5EF4-FFF2-40B4-BE49-F238E27FC236}">
                <a16:creationId xmlns:a16="http://schemas.microsoft.com/office/drawing/2014/main" id="{1CFB578D-E7EF-BAE2-719E-95157283EE1E}"/>
              </a:ext>
            </a:extLst>
          </p:cNvPr>
          <p:cNvSpPr txBox="1"/>
          <p:nvPr/>
        </p:nvSpPr>
        <p:spPr>
          <a:xfrm>
            <a:off x="4754455" y="4508010"/>
            <a:ext cx="314510" cy="184666"/>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129</a:t>
            </a:r>
          </a:p>
        </p:txBody>
      </p:sp>
      <p:sp>
        <p:nvSpPr>
          <p:cNvPr id="2056" name="TextBox 2055">
            <a:extLst>
              <a:ext uri="{FF2B5EF4-FFF2-40B4-BE49-F238E27FC236}">
                <a16:creationId xmlns:a16="http://schemas.microsoft.com/office/drawing/2014/main" id="{4D4334FB-8447-4A9A-2EFE-292E2608D9BA}"/>
              </a:ext>
            </a:extLst>
          </p:cNvPr>
          <p:cNvSpPr txBox="1"/>
          <p:nvPr/>
        </p:nvSpPr>
        <p:spPr>
          <a:xfrm>
            <a:off x="4910886" y="4508010"/>
            <a:ext cx="314510" cy="184666"/>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117</a:t>
            </a:r>
          </a:p>
        </p:txBody>
      </p:sp>
      <p:sp>
        <p:nvSpPr>
          <p:cNvPr id="2057" name="TextBox 2056">
            <a:extLst>
              <a:ext uri="{FF2B5EF4-FFF2-40B4-BE49-F238E27FC236}">
                <a16:creationId xmlns:a16="http://schemas.microsoft.com/office/drawing/2014/main" id="{6BDAE239-C36A-B660-C9A4-83CDF622351B}"/>
              </a:ext>
            </a:extLst>
          </p:cNvPr>
          <p:cNvSpPr txBox="1"/>
          <p:nvPr/>
        </p:nvSpPr>
        <p:spPr>
          <a:xfrm>
            <a:off x="5050682" y="4508010"/>
            <a:ext cx="314510" cy="184666"/>
          </a:xfrm>
          <a:prstGeom prst="rect">
            <a:avLst/>
          </a:prstGeom>
          <a:noFill/>
        </p:spPr>
        <p:txBody>
          <a:bodyPr wrap="none" rtlCol="0">
            <a:spAutoFit/>
          </a:bodyPr>
          <a:lstStyle/>
          <a:p>
            <a:pPr algn="l"/>
            <a:r>
              <a:rPr lang="en-US" sz="600" dirty="0">
                <a:ln/>
                <a:solidFill>
                  <a:srgbClr val="000000"/>
                </a:solidFill>
                <a:latin typeface="Arial" panose="020B0604020202020204" pitchFamily="34" charset="0"/>
                <a:cs typeface="Arial" panose="020B0604020202020204" pitchFamily="34" charset="0"/>
                <a:sym typeface="HelveticaNeueLTStd-Roman"/>
                <a:rtl val="0"/>
              </a:rPr>
              <a:t>106</a:t>
            </a:r>
          </a:p>
        </p:txBody>
      </p:sp>
      <p:sp>
        <p:nvSpPr>
          <p:cNvPr id="2058" name="TextBox 2057">
            <a:extLst>
              <a:ext uri="{FF2B5EF4-FFF2-40B4-BE49-F238E27FC236}">
                <a16:creationId xmlns:a16="http://schemas.microsoft.com/office/drawing/2014/main" id="{7402B690-C5A7-C149-A342-AAC192036198}"/>
              </a:ext>
            </a:extLst>
          </p:cNvPr>
          <p:cNvSpPr txBox="1"/>
          <p:nvPr/>
        </p:nvSpPr>
        <p:spPr>
          <a:xfrm>
            <a:off x="5221685" y="4508010"/>
            <a:ext cx="271228" cy="184666"/>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90</a:t>
            </a:r>
          </a:p>
        </p:txBody>
      </p:sp>
      <p:sp>
        <p:nvSpPr>
          <p:cNvPr id="2059" name="TextBox 2058">
            <a:extLst>
              <a:ext uri="{FF2B5EF4-FFF2-40B4-BE49-F238E27FC236}">
                <a16:creationId xmlns:a16="http://schemas.microsoft.com/office/drawing/2014/main" id="{4D8A1A21-0486-BA66-4911-E2F18DE2EF25}"/>
              </a:ext>
            </a:extLst>
          </p:cNvPr>
          <p:cNvSpPr txBox="1"/>
          <p:nvPr/>
        </p:nvSpPr>
        <p:spPr>
          <a:xfrm>
            <a:off x="5359947" y="4508010"/>
            <a:ext cx="271228" cy="184666"/>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70</a:t>
            </a:r>
          </a:p>
        </p:txBody>
      </p:sp>
      <p:sp>
        <p:nvSpPr>
          <p:cNvPr id="2060" name="TextBox 2059">
            <a:extLst>
              <a:ext uri="{FF2B5EF4-FFF2-40B4-BE49-F238E27FC236}">
                <a16:creationId xmlns:a16="http://schemas.microsoft.com/office/drawing/2014/main" id="{91AA99C4-5561-39FD-6D21-B6FFFD88511D}"/>
              </a:ext>
            </a:extLst>
          </p:cNvPr>
          <p:cNvSpPr txBox="1"/>
          <p:nvPr/>
        </p:nvSpPr>
        <p:spPr>
          <a:xfrm>
            <a:off x="5509541" y="4508010"/>
            <a:ext cx="271228" cy="184666"/>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59</a:t>
            </a:r>
          </a:p>
        </p:txBody>
      </p:sp>
      <p:sp>
        <p:nvSpPr>
          <p:cNvPr id="2061" name="TextBox 2060">
            <a:extLst>
              <a:ext uri="{FF2B5EF4-FFF2-40B4-BE49-F238E27FC236}">
                <a16:creationId xmlns:a16="http://schemas.microsoft.com/office/drawing/2014/main" id="{7CA69B84-B8DA-DC38-7CBF-D4443E95DABA}"/>
              </a:ext>
            </a:extLst>
          </p:cNvPr>
          <p:cNvSpPr txBox="1"/>
          <p:nvPr/>
        </p:nvSpPr>
        <p:spPr>
          <a:xfrm>
            <a:off x="5649380" y="4508010"/>
            <a:ext cx="271228" cy="184666"/>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45</a:t>
            </a:r>
          </a:p>
        </p:txBody>
      </p:sp>
      <p:sp>
        <p:nvSpPr>
          <p:cNvPr id="2062" name="TextBox 2061">
            <a:extLst>
              <a:ext uri="{FF2B5EF4-FFF2-40B4-BE49-F238E27FC236}">
                <a16:creationId xmlns:a16="http://schemas.microsoft.com/office/drawing/2014/main" id="{0504ADB8-40A8-CF78-9692-FC87D22EB452}"/>
              </a:ext>
            </a:extLst>
          </p:cNvPr>
          <p:cNvSpPr txBox="1"/>
          <p:nvPr/>
        </p:nvSpPr>
        <p:spPr>
          <a:xfrm>
            <a:off x="5798670" y="4508010"/>
            <a:ext cx="271228" cy="184666"/>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41</a:t>
            </a:r>
          </a:p>
        </p:txBody>
      </p:sp>
      <p:sp>
        <p:nvSpPr>
          <p:cNvPr id="2063" name="TextBox 2062">
            <a:extLst>
              <a:ext uri="{FF2B5EF4-FFF2-40B4-BE49-F238E27FC236}">
                <a16:creationId xmlns:a16="http://schemas.microsoft.com/office/drawing/2014/main" id="{22C79669-30D5-03BD-E584-5FB6033463E1}"/>
              </a:ext>
            </a:extLst>
          </p:cNvPr>
          <p:cNvSpPr txBox="1"/>
          <p:nvPr/>
        </p:nvSpPr>
        <p:spPr>
          <a:xfrm>
            <a:off x="5938524" y="4508010"/>
            <a:ext cx="271228" cy="184666"/>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38</a:t>
            </a:r>
          </a:p>
        </p:txBody>
      </p:sp>
      <p:sp>
        <p:nvSpPr>
          <p:cNvPr id="2064" name="TextBox 2063">
            <a:extLst>
              <a:ext uri="{FF2B5EF4-FFF2-40B4-BE49-F238E27FC236}">
                <a16:creationId xmlns:a16="http://schemas.microsoft.com/office/drawing/2014/main" id="{9EF9F158-56CA-921F-739E-340A2E5B7C8D}"/>
              </a:ext>
            </a:extLst>
          </p:cNvPr>
          <p:cNvSpPr txBox="1"/>
          <p:nvPr/>
        </p:nvSpPr>
        <p:spPr>
          <a:xfrm>
            <a:off x="6094976" y="4508010"/>
            <a:ext cx="271228" cy="184666"/>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27</a:t>
            </a:r>
          </a:p>
        </p:txBody>
      </p:sp>
      <p:sp>
        <p:nvSpPr>
          <p:cNvPr id="2065" name="TextBox 2064">
            <a:extLst>
              <a:ext uri="{FF2B5EF4-FFF2-40B4-BE49-F238E27FC236}">
                <a16:creationId xmlns:a16="http://schemas.microsoft.com/office/drawing/2014/main" id="{15D898B2-FFDA-4696-88C5-FDD783FD2353}"/>
              </a:ext>
            </a:extLst>
          </p:cNvPr>
          <p:cNvSpPr txBox="1"/>
          <p:nvPr/>
        </p:nvSpPr>
        <p:spPr>
          <a:xfrm>
            <a:off x="6234815" y="4508010"/>
            <a:ext cx="271228" cy="184666"/>
          </a:xfrm>
          <a:prstGeom prst="rect">
            <a:avLst/>
          </a:prstGeom>
          <a:noFill/>
        </p:spPr>
        <p:txBody>
          <a:bodyPr wrap="none" rtlCol="0">
            <a:spAutoFit/>
          </a:bodyPr>
          <a:lstStyle/>
          <a:p>
            <a:pPr algn="l"/>
            <a:r>
              <a:rPr lang="en-US" sz="600" dirty="0">
                <a:ln/>
                <a:solidFill>
                  <a:srgbClr val="000000"/>
                </a:solidFill>
                <a:latin typeface="Arial" panose="020B0604020202020204" pitchFamily="34" charset="0"/>
                <a:cs typeface="Arial" panose="020B0604020202020204" pitchFamily="34" charset="0"/>
                <a:sym typeface="HelveticaNeueLTStd-Roman"/>
                <a:rtl val="0"/>
              </a:rPr>
              <a:t>20</a:t>
            </a:r>
          </a:p>
        </p:txBody>
      </p:sp>
      <p:sp>
        <p:nvSpPr>
          <p:cNvPr id="2066" name="TextBox 2065">
            <a:extLst>
              <a:ext uri="{FF2B5EF4-FFF2-40B4-BE49-F238E27FC236}">
                <a16:creationId xmlns:a16="http://schemas.microsoft.com/office/drawing/2014/main" id="{2DB02EBF-E453-A9AA-FE51-F10BC7DF33EB}"/>
              </a:ext>
            </a:extLst>
          </p:cNvPr>
          <p:cNvSpPr txBox="1"/>
          <p:nvPr/>
        </p:nvSpPr>
        <p:spPr>
          <a:xfrm>
            <a:off x="6384120" y="4508010"/>
            <a:ext cx="271228" cy="184666"/>
          </a:xfrm>
          <a:prstGeom prst="rect">
            <a:avLst/>
          </a:prstGeom>
          <a:noFill/>
        </p:spPr>
        <p:txBody>
          <a:bodyPr wrap="none" rtlCol="0">
            <a:spAutoFit/>
          </a:bodyPr>
          <a:lstStyle/>
          <a:p>
            <a:pPr algn="l"/>
            <a:r>
              <a:rPr lang="en-US" sz="600" dirty="0">
                <a:ln/>
                <a:solidFill>
                  <a:srgbClr val="000000"/>
                </a:solidFill>
                <a:latin typeface="Arial" panose="020B0604020202020204" pitchFamily="34" charset="0"/>
                <a:cs typeface="Arial" panose="020B0604020202020204" pitchFamily="34" charset="0"/>
                <a:sym typeface="HelveticaNeueLTStd-Roman"/>
                <a:rtl val="0"/>
              </a:rPr>
              <a:t>15</a:t>
            </a:r>
          </a:p>
        </p:txBody>
      </p:sp>
      <p:sp>
        <p:nvSpPr>
          <p:cNvPr id="2067" name="TextBox 2066">
            <a:extLst>
              <a:ext uri="{FF2B5EF4-FFF2-40B4-BE49-F238E27FC236}">
                <a16:creationId xmlns:a16="http://schemas.microsoft.com/office/drawing/2014/main" id="{0B34580A-61DC-2153-A161-B48F2EB8366B}"/>
              </a:ext>
            </a:extLst>
          </p:cNvPr>
          <p:cNvSpPr txBox="1"/>
          <p:nvPr/>
        </p:nvSpPr>
        <p:spPr>
          <a:xfrm>
            <a:off x="6545608" y="4508010"/>
            <a:ext cx="227948" cy="184666"/>
          </a:xfrm>
          <a:prstGeom prst="rect">
            <a:avLst/>
          </a:prstGeom>
          <a:noFill/>
        </p:spPr>
        <p:txBody>
          <a:bodyPr wrap="none" rtlCol="0">
            <a:spAutoFit/>
          </a:bodyPr>
          <a:lstStyle/>
          <a:p>
            <a:pPr algn="l"/>
            <a:r>
              <a:rPr lang="en-US" sz="600" dirty="0">
                <a:ln/>
                <a:solidFill>
                  <a:srgbClr val="000000"/>
                </a:solidFill>
                <a:latin typeface="Arial" panose="020B0604020202020204" pitchFamily="34" charset="0"/>
                <a:cs typeface="Arial" panose="020B0604020202020204" pitchFamily="34" charset="0"/>
                <a:sym typeface="HelveticaNeueLTStd-Roman"/>
                <a:rtl val="0"/>
              </a:rPr>
              <a:t>8</a:t>
            </a:r>
          </a:p>
        </p:txBody>
      </p:sp>
      <p:sp>
        <p:nvSpPr>
          <p:cNvPr id="2068" name="TextBox 2067">
            <a:extLst>
              <a:ext uri="{FF2B5EF4-FFF2-40B4-BE49-F238E27FC236}">
                <a16:creationId xmlns:a16="http://schemas.microsoft.com/office/drawing/2014/main" id="{362C2BD0-A536-5AF2-DE45-5683239A9B6C}"/>
              </a:ext>
            </a:extLst>
          </p:cNvPr>
          <p:cNvSpPr txBox="1"/>
          <p:nvPr/>
        </p:nvSpPr>
        <p:spPr>
          <a:xfrm>
            <a:off x="6689692" y="4508010"/>
            <a:ext cx="227948" cy="184666"/>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7</a:t>
            </a:r>
          </a:p>
        </p:txBody>
      </p:sp>
      <p:sp>
        <p:nvSpPr>
          <p:cNvPr id="2069" name="TextBox 2068">
            <a:extLst>
              <a:ext uri="{FF2B5EF4-FFF2-40B4-BE49-F238E27FC236}">
                <a16:creationId xmlns:a16="http://schemas.microsoft.com/office/drawing/2014/main" id="{AF8DD638-0933-B134-267A-91DE0519F62F}"/>
              </a:ext>
            </a:extLst>
          </p:cNvPr>
          <p:cNvSpPr txBox="1"/>
          <p:nvPr/>
        </p:nvSpPr>
        <p:spPr>
          <a:xfrm>
            <a:off x="6827962" y="4508010"/>
            <a:ext cx="227948" cy="184666"/>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4</a:t>
            </a:r>
          </a:p>
        </p:txBody>
      </p:sp>
      <p:sp>
        <p:nvSpPr>
          <p:cNvPr id="2070" name="TextBox 2069">
            <a:extLst>
              <a:ext uri="{FF2B5EF4-FFF2-40B4-BE49-F238E27FC236}">
                <a16:creationId xmlns:a16="http://schemas.microsoft.com/office/drawing/2014/main" id="{DACBD9E4-54A7-898F-C79B-319D1C2A359E}"/>
              </a:ext>
            </a:extLst>
          </p:cNvPr>
          <p:cNvSpPr txBox="1"/>
          <p:nvPr/>
        </p:nvSpPr>
        <p:spPr>
          <a:xfrm>
            <a:off x="6977252" y="4508010"/>
            <a:ext cx="227948" cy="184666"/>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3</a:t>
            </a:r>
          </a:p>
        </p:txBody>
      </p:sp>
      <p:sp>
        <p:nvSpPr>
          <p:cNvPr id="2071" name="TextBox 2070">
            <a:extLst>
              <a:ext uri="{FF2B5EF4-FFF2-40B4-BE49-F238E27FC236}">
                <a16:creationId xmlns:a16="http://schemas.microsoft.com/office/drawing/2014/main" id="{478AB1D9-8D42-33DC-C539-957732D9AD65}"/>
              </a:ext>
            </a:extLst>
          </p:cNvPr>
          <p:cNvSpPr txBox="1"/>
          <p:nvPr/>
        </p:nvSpPr>
        <p:spPr>
          <a:xfrm>
            <a:off x="7117121" y="4508010"/>
            <a:ext cx="227948" cy="184666"/>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3</a:t>
            </a:r>
          </a:p>
        </p:txBody>
      </p:sp>
      <p:sp>
        <p:nvSpPr>
          <p:cNvPr id="2072" name="TextBox 2071">
            <a:extLst>
              <a:ext uri="{FF2B5EF4-FFF2-40B4-BE49-F238E27FC236}">
                <a16:creationId xmlns:a16="http://schemas.microsoft.com/office/drawing/2014/main" id="{ADA38327-D920-2F3A-4B54-4AAA0A72EC13}"/>
              </a:ext>
            </a:extLst>
          </p:cNvPr>
          <p:cNvSpPr txBox="1"/>
          <p:nvPr/>
        </p:nvSpPr>
        <p:spPr>
          <a:xfrm>
            <a:off x="7273501" y="4508010"/>
            <a:ext cx="227948" cy="184666"/>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1</a:t>
            </a:r>
          </a:p>
        </p:txBody>
      </p:sp>
      <p:sp>
        <p:nvSpPr>
          <p:cNvPr id="2073" name="TextBox 2072">
            <a:extLst>
              <a:ext uri="{FF2B5EF4-FFF2-40B4-BE49-F238E27FC236}">
                <a16:creationId xmlns:a16="http://schemas.microsoft.com/office/drawing/2014/main" id="{73D354BC-16C3-C37B-CB12-921ECF4B17B4}"/>
              </a:ext>
            </a:extLst>
          </p:cNvPr>
          <p:cNvSpPr txBox="1"/>
          <p:nvPr/>
        </p:nvSpPr>
        <p:spPr>
          <a:xfrm>
            <a:off x="7413347" y="4508010"/>
            <a:ext cx="227948" cy="184666"/>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1</a:t>
            </a:r>
          </a:p>
        </p:txBody>
      </p:sp>
      <p:sp>
        <p:nvSpPr>
          <p:cNvPr id="2074" name="TextBox 2073">
            <a:extLst>
              <a:ext uri="{FF2B5EF4-FFF2-40B4-BE49-F238E27FC236}">
                <a16:creationId xmlns:a16="http://schemas.microsoft.com/office/drawing/2014/main" id="{761FFD5E-B02B-2DAC-2CBB-BA0B05918910}"/>
              </a:ext>
            </a:extLst>
          </p:cNvPr>
          <p:cNvSpPr txBox="1"/>
          <p:nvPr/>
        </p:nvSpPr>
        <p:spPr>
          <a:xfrm>
            <a:off x="7568716" y="4508010"/>
            <a:ext cx="227948" cy="184666"/>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0</a:t>
            </a:r>
          </a:p>
        </p:txBody>
      </p:sp>
      <p:grpSp>
        <p:nvGrpSpPr>
          <p:cNvPr id="4" name="Group 3">
            <a:extLst>
              <a:ext uri="{FF2B5EF4-FFF2-40B4-BE49-F238E27FC236}">
                <a16:creationId xmlns:a16="http://schemas.microsoft.com/office/drawing/2014/main" id="{21A32217-0AB2-E010-85EB-2392950E82D3}"/>
              </a:ext>
            </a:extLst>
          </p:cNvPr>
          <p:cNvGrpSpPr/>
          <p:nvPr/>
        </p:nvGrpSpPr>
        <p:grpSpPr>
          <a:xfrm>
            <a:off x="225676" y="1076943"/>
            <a:ext cx="7746907" cy="3449534"/>
            <a:chOff x="300902" y="1432749"/>
            <a:chExt cx="10329208" cy="4599379"/>
          </a:xfrm>
        </p:grpSpPr>
        <p:cxnSp>
          <p:nvCxnSpPr>
            <p:cNvPr id="10" name="Straight Connector 9">
              <a:extLst>
                <a:ext uri="{FF2B5EF4-FFF2-40B4-BE49-F238E27FC236}">
                  <a16:creationId xmlns:a16="http://schemas.microsoft.com/office/drawing/2014/main" id="{BDBE9420-4552-5770-5985-D1D9A9A2C201}"/>
                </a:ext>
              </a:extLst>
            </p:cNvPr>
            <p:cNvCxnSpPr>
              <a:cxnSpLocks/>
            </p:cNvCxnSpPr>
            <p:nvPr/>
          </p:nvCxnSpPr>
          <p:spPr>
            <a:xfrm flipV="1">
              <a:off x="3606932" y="1838001"/>
              <a:ext cx="0" cy="3332627"/>
            </a:xfrm>
            <a:prstGeom prst="line">
              <a:avLst/>
            </a:prstGeom>
            <a:ln w="1905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83835177-D13B-086F-C241-26E9F85AC1E3}"/>
                </a:ext>
              </a:extLst>
            </p:cNvPr>
            <p:cNvCxnSpPr>
              <a:cxnSpLocks/>
            </p:cNvCxnSpPr>
            <p:nvPr/>
          </p:nvCxnSpPr>
          <p:spPr>
            <a:xfrm flipH="1" flipV="1">
              <a:off x="5939321" y="2308428"/>
              <a:ext cx="0" cy="2902609"/>
            </a:xfrm>
            <a:prstGeom prst="line">
              <a:avLst/>
            </a:prstGeom>
            <a:ln w="190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8CAB3B1C-CF32-9CB3-6159-32381F0722B5}"/>
                </a:ext>
              </a:extLst>
            </p:cNvPr>
            <p:cNvSpPr/>
            <p:nvPr/>
          </p:nvSpPr>
          <p:spPr>
            <a:xfrm>
              <a:off x="2173251" y="1432749"/>
              <a:ext cx="3399339" cy="3895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rgbClr val="002985"/>
                  </a:solidFill>
                  <a:latin typeface="Arial" panose="020B0604020202020204" pitchFamily="34" charset="0"/>
                  <a:cs typeface="Arial" panose="020B0604020202020204" pitchFamily="34" charset="0"/>
                </a:rPr>
                <a:t>T-DXd</a:t>
              </a:r>
              <a:r>
                <a:rPr lang="en-US" sz="900" b="1" dirty="0">
                  <a:solidFill>
                    <a:schemeClr val="tx1"/>
                  </a:solidFill>
                  <a:latin typeface="Arial" panose="020B0604020202020204" pitchFamily="34" charset="0"/>
                  <a:cs typeface="Arial" panose="020B0604020202020204" pitchFamily="34" charset="0"/>
                </a:rPr>
                <a:t>:</a:t>
              </a:r>
              <a:r>
                <a:rPr lang="en-US" sz="900" dirty="0">
                  <a:solidFill>
                    <a:schemeClr val="tx1"/>
                  </a:solidFill>
                  <a:latin typeface="Arial" panose="020B0604020202020204" pitchFamily="34" charset="0"/>
                  <a:cs typeface="Arial" panose="020B0604020202020204" pitchFamily="34" charset="0"/>
                </a:rPr>
                <a:t> </a:t>
              </a:r>
              <a:r>
                <a:rPr lang="en-US" sz="900" dirty="0">
                  <a:solidFill>
                    <a:srgbClr val="002985"/>
                  </a:solidFill>
                  <a:latin typeface="Arial" panose="020B0604020202020204" pitchFamily="34" charset="0"/>
                  <a:cs typeface="Arial" panose="020B0604020202020204" pitchFamily="34" charset="0"/>
                </a:rPr>
                <a:t>94.1% (95% CI, 90.4-96.4) </a:t>
              </a:r>
            </a:p>
            <a:p>
              <a:pPr algn="ctr"/>
              <a:r>
                <a:rPr lang="en-US" sz="900" b="1" dirty="0">
                  <a:solidFill>
                    <a:srgbClr val="828283"/>
                  </a:solidFill>
                  <a:latin typeface="Arial" panose="020B0604020202020204" pitchFamily="34" charset="0"/>
                  <a:cs typeface="Arial" panose="020B0604020202020204" pitchFamily="34" charset="0"/>
                </a:rPr>
                <a:t>T-DM1</a:t>
              </a:r>
              <a:r>
                <a:rPr lang="en-US" sz="900" b="1" dirty="0">
                  <a:solidFill>
                    <a:schemeClr val="tx1"/>
                  </a:solidFill>
                  <a:latin typeface="Arial" panose="020B0604020202020204" pitchFamily="34" charset="0"/>
                  <a:cs typeface="Arial" panose="020B0604020202020204" pitchFamily="34" charset="0"/>
                </a:rPr>
                <a:t>: </a:t>
              </a:r>
              <a:r>
                <a:rPr lang="en-US" sz="900" dirty="0">
                  <a:solidFill>
                    <a:srgbClr val="828283"/>
                  </a:solidFill>
                  <a:latin typeface="Arial" panose="020B0604020202020204" pitchFamily="34" charset="0"/>
                  <a:cs typeface="Arial" panose="020B0604020202020204" pitchFamily="34" charset="0"/>
                </a:rPr>
                <a:t>86.0% (95% CI, 81.1-89.8) </a:t>
              </a:r>
            </a:p>
          </p:txBody>
        </p:sp>
        <p:sp>
          <p:nvSpPr>
            <p:cNvPr id="20" name="Rectangle 19">
              <a:extLst>
                <a:ext uri="{FF2B5EF4-FFF2-40B4-BE49-F238E27FC236}">
                  <a16:creationId xmlns:a16="http://schemas.microsoft.com/office/drawing/2014/main" id="{99B6FE93-F28B-B8F5-3A54-33806D5F0F5F}"/>
                </a:ext>
              </a:extLst>
            </p:cNvPr>
            <p:cNvSpPr/>
            <p:nvPr/>
          </p:nvSpPr>
          <p:spPr>
            <a:xfrm>
              <a:off x="4612783" y="1924631"/>
              <a:ext cx="3328892" cy="3837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rgbClr val="002985"/>
                  </a:solidFill>
                  <a:latin typeface="Arial" panose="020B0604020202020204" pitchFamily="34" charset="0"/>
                  <a:cs typeface="Arial" panose="020B0604020202020204" pitchFamily="34" charset="0"/>
                </a:rPr>
                <a:t>T-DXd</a:t>
              </a:r>
              <a:r>
                <a:rPr lang="en-US" sz="900" b="1" dirty="0">
                  <a:solidFill>
                    <a:schemeClr val="tx1"/>
                  </a:solidFill>
                  <a:latin typeface="Arial" panose="020B0604020202020204" pitchFamily="34" charset="0"/>
                  <a:cs typeface="Arial" panose="020B0604020202020204" pitchFamily="34" charset="0"/>
                </a:rPr>
                <a:t>: </a:t>
              </a:r>
              <a:r>
                <a:rPr lang="en-US" sz="900" dirty="0">
                  <a:solidFill>
                    <a:srgbClr val="002985"/>
                  </a:solidFill>
                  <a:latin typeface="Arial" panose="020B0604020202020204" pitchFamily="34" charset="0"/>
                  <a:cs typeface="Arial" panose="020B0604020202020204" pitchFamily="34" charset="0"/>
                </a:rPr>
                <a:t>77.4% (95% CI, 71.7-82.1) </a:t>
              </a:r>
            </a:p>
            <a:p>
              <a:pPr algn="ctr"/>
              <a:r>
                <a:rPr lang="en-US" sz="900" b="1" dirty="0">
                  <a:solidFill>
                    <a:srgbClr val="828283"/>
                  </a:solidFill>
                  <a:latin typeface="Arial" panose="020B0604020202020204" pitchFamily="34" charset="0"/>
                  <a:cs typeface="Arial" panose="020B0604020202020204" pitchFamily="34" charset="0"/>
                </a:rPr>
                <a:t>T-DM</a:t>
              </a:r>
              <a:r>
                <a:rPr lang="en-US" sz="900" dirty="0">
                  <a:solidFill>
                    <a:srgbClr val="828283"/>
                  </a:solidFill>
                  <a:latin typeface="Arial" panose="020B0604020202020204" pitchFamily="34" charset="0"/>
                  <a:cs typeface="Arial" panose="020B0604020202020204" pitchFamily="34" charset="0"/>
                </a:rPr>
                <a:t>1: 69.9% (95% CI, 63.7-75.2) </a:t>
              </a:r>
            </a:p>
          </p:txBody>
        </p:sp>
        <p:grpSp>
          <p:nvGrpSpPr>
            <p:cNvPr id="1910" name="Graphic 3">
              <a:extLst>
                <a:ext uri="{FF2B5EF4-FFF2-40B4-BE49-F238E27FC236}">
                  <a16:creationId xmlns:a16="http://schemas.microsoft.com/office/drawing/2014/main" id="{FBD305B9-BA36-7B5E-F994-0D2D7E94608F}"/>
                </a:ext>
              </a:extLst>
            </p:cNvPr>
            <p:cNvGrpSpPr/>
            <p:nvPr/>
          </p:nvGrpSpPr>
          <p:grpSpPr>
            <a:xfrm>
              <a:off x="1020508" y="1762466"/>
              <a:ext cx="9541745" cy="3482980"/>
              <a:chOff x="1225422" y="1152534"/>
              <a:chExt cx="10490327" cy="3806285"/>
            </a:xfrm>
            <a:noFill/>
          </p:grpSpPr>
          <p:sp>
            <p:nvSpPr>
              <p:cNvPr id="2795" name="Freeform 6">
                <a:extLst>
                  <a:ext uri="{FF2B5EF4-FFF2-40B4-BE49-F238E27FC236}">
                    <a16:creationId xmlns:a16="http://schemas.microsoft.com/office/drawing/2014/main" id="{9EF9868B-FCF8-0D2D-B090-EB8FF26FE848}"/>
                  </a:ext>
                </a:extLst>
              </p:cNvPr>
              <p:cNvSpPr/>
              <p:nvPr/>
            </p:nvSpPr>
            <p:spPr>
              <a:xfrm>
                <a:off x="1316121" y="1152534"/>
                <a:ext cx="10399628" cy="3754670"/>
              </a:xfrm>
              <a:custGeom>
                <a:avLst/>
                <a:gdLst>
                  <a:gd name="connsiteX0" fmla="*/ 0 w 10399628"/>
                  <a:gd name="connsiteY0" fmla="*/ 0 h 3754670"/>
                  <a:gd name="connsiteX1" fmla="*/ 0 w 10399628"/>
                  <a:gd name="connsiteY1" fmla="*/ 3754671 h 3754670"/>
                  <a:gd name="connsiteX2" fmla="*/ 10399629 w 10399628"/>
                  <a:gd name="connsiteY2" fmla="*/ 3754671 h 3754670"/>
                </a:gdLst>
                <a:ahLst/>
                <a:cxnLst>
                  <a:cxn ang="0">
                    <a:pos x="connsiteX0" y="connsiteY0"/>
                  </a:cxn>
                  <a:cxn ang="0">
                    <a:pos x="connsiteX1" y="connsiteY1"/>
                  </a:cxn>
                  <a:cxn ang="0">
                    <a:pos x="connsiteX2" y="connsiteY2"/>
                  </a:cxn>
                </a:cxnLst>
                <a:rect l="l" t="t" r="r" b="b"/>
                <a:pathLst>
                  <a:path w="10399628" h="3754670">
                    <a:moveTo>
                      <a:pt x="0" y="0"/>
                    </a:moveTo>
                    <a:lnTo>
                      <a:pt x="0" y="3754671"/>
                    </a:lnTo>
                    <a:lnTo>
                      <a:pt x="10399629" y="3754671"/>
                    </a:lnTo>
                  </a:path>
                </a:pathLst>
              </a:custGeom>
              <a:noFill/>
              <a:ln w="12700" cap="flat">
                <a:solidFill>
                  <a:srgbClr val="231F20"/>
                </a:solidFill>
                <a:prstDash val="solid"/>
                <a:miter/>
              </a:ln>
            </p:spPr>
            <p:txBody>
              <a:bodyPr rtlCol="0" anchor="ctr"/>
              <a:lstStyle/>
              <a:p>
                <a:endParaRPr lang="en-US" sz="1800"/>
              </a:p>
            </p:txBody>
          </p:sp>
          <p:sp>
            <p:nvSpPr>
              <p:cNvPr id="2796" name="Freeform 7">
                <a:extLst>
                  <a:ext uri="{FF2B5EF4-FFF2-40B4-BE49-F238E27FC236}">
                    <a16:creationId xmlns:a16="http://schemas.microsoft.com/office/drawing/2014/main" id="{185037B2-CCC6-58F2-3A44-0896A0CA99B4}"/>
                  </a:ext>
                </a:extLst>
              </p:cNvPr>
              <p:cNvSpPr/>
              <p:nvPr/>
            </p:nvSpPr>
            <p:spPr>
              <a:xfrm>
                <a:off x="1225422" y="4840975"/>
                <a:ext cx="89662" cy="10583"/>
              </a:xfrm>
              <a:custGeom>
                <a:avLst/>
                <a:gdLst>
                  <a:gd name="connsiteX0" fmla="*/ 89662 w 89662"/>
                  <a:gd name="connsiteY0" fmla="*/ 0 h 10583"/>
                  <a:gd name="connsiteX1" fmla="*/ 0 w 89662"/>
                  <a:gd name="connsiteY1" fmla="*/ 0 h 10583"/>
                </a:gdLst>
                <a:ahLst/>
                <a:cxnLst>
                  <a:cxn ang="0">
                    <a:pos x="connsiteX0" y="connsiteY0"/>
                  </a:cxn>
                  <a:cxn ang="0">
                    <a:pos x="connsiteX1" y="connsiteY1"/>
                  </a:cxn>
                </a:cxnLst>
                <a:rect l="l" t="t" r="r" b="b"/>
                <a:pathLst>
                  <a:path w="89662" h="10583">
                    <a:moveTo>
                      <a:pt x="89662" y="0"/>
                    </a:moveTo>
                    <a:lnTo>
                      <a:pt x="0" y="0"/>
                    </a:lnTo>
                  </a:path>
                </a:pathLst>
              </a:custGeom>
              <a:ln w="12700" cap="flat">
                <a:solidFill>
                  <a:srgbClr val="231F20"/>
                </a:solidFill>
                <a:prstDash val="solid"/>
                <a:miter/>
              </a:ln>
            </p:spPr>
            <p:txBody>
              <a:bodyPr rtlCol="0" anchor="ctr"/>
              <a:lstStyle/>
              <a:p>
                <a:endParaRPr lang="en-US" sz="1800"/>
              </a:p>
            </p:txBody>
          </p:sp>
          <p:sp>
            <p:nvSpPr>
              <p:cNvPr id="2797" name="Freeform 9">
                <a:extLst>
                  <a:ext uri="{FF2B5EF4-FFF2-40B4-BE49-F238E27FC236}">
                    <a16:creationId xmlns:a16="http://schemas.microsoft.com/office/drawing/2014/main" id="{1EEE562C-1AD6-96CD-2ED3-F9E355EB1A02}"/>
                  </a:ext>
                </a:extLst>
              </p:cNvPr>
              <p:cNvSpPr/>
              <p:nvPr/>
            </p:nvSpPr>
            <p:spPr>
              <a:xfrm>
                <a:off x="1225422" y="4118302"/>
                <a:ext cx="89662" cy="10583"/>
              </a:xfrm>
              <a:custGeom>
                <a:avLst/>
                <a:gdLst>
                  <a:gd name="connsiteX0" fmla="*/ 89662 w 89662"/>
                  <a:gd name="connsiteY0" fmla="*/ 0 h 10583"/>
                  <a:gd name="connsiteX1" fmla="*/ 0 w 89662"/>
                  <a:gd name="connsiteY1" fmla="*/ 0 h 10583"/>
                </a:gdLst>
                <a:ahLst/>
                <a:cxnLst>
                  <a:cxn ang="0">
                    <a:pos x="connsiteX0" y="connsiteY0"/>
                  </a:cxn>
                  <a:cxn ang="0">
                    <a:pos x="connsiteX1" y="connsiteY1"/>
                  </a:cxn>
                </a:cxnLst>
                <a:rect l="l" t="t" r="r" b="b"/>
                <a:pathLst>
                  <a:path w="89662" h="10583">
                    <a:moveTo>
                      <a:pt x="89662" y="0"/>
                    </a:moveTo>
                    <a:lnTo>
                      <a:pt x="0" y="0"/>
                    </a:lnTo>
                  </a:path>
                </a:pathLst>
              </a:custGeom>
              <a:ln w="12700" cap="flat">
                <a:solidFill>
                  <a:srgbClr val="231F20"/>
                </a:solidFill>
                <a:prstDash val="solid"/>
                <a:miter/>
              </a:ln>
            </p:spPr>
            <p:txBody>
              <a:bodyPr rtlCol="0" anchor="ctr"/>
              <a:lstStyle/>
              <a:p>
                <a:endParaRPr lang="en-US" sz="1800"/>
              </a:p>
            </p:txBody>
          </p:sp>
          <p:sp>
            <p:nvSpPr>
              <p:cNvPr id="2798" name="Freeform 10">
                <a:extLst>
                  <a:ext uri="{FF2B5EF4-FFF2-40B4-BE49-F238E27FC236}">
                    <a16:creationId xmlns:a16="http://schemas.microsoft.com/office/drawing/2014/main" id="{CC48FB3B-8003-1E6B-7D18-383C48C2C301}"/>
                  </a:ext>
                </a:extLst>
              </p:cNvPr>
              <p:cNvSpPr/>
              <p:nvPr/>
            </p:nvSpPr>
            <p:spPr>
              <a:xfrm>
                <a:off x="1265088" y="4482792"/>
                <a:ext cx="49995" cy="10583"/>
              </a:xfrm>
              <a:custGeom>
                <a:avLst/>
                <a:gdLst>
                  <a:gd name="connsiteX0" fmla="*/ 49996 w 49995"/>
                  <a:gd name="connsiteY0" fmla="*/ 0 h 10583"/>
                  <a:gd name="connsiteX1" fmla="*/ 0 w 49995"/>
                  <a:gd name="connsiteY1" fmla="*/ 0 h 10583"/>
                </a:gdLst>
                <a:ahLst/>
                <a:cxnLst>
                  <a:cxn ang="0">
                    <a:pos x="connsiteX0" y="connsiteY0"/>
                  </a:cxn>
                  <a:cxn ang="0">
                    <a:pos x="connsiteX1" y="connsiteY1"/>
                  </a:cxn>
                </a:cxnLst>
                <a:rect l="l" t="t" r="r" b="b"/>
                <a:pathLst>
                  <a:path w="49995" h="10583">
                    <a:moveTo>
                      <a:pt x="49996" y="0"/>
                    </a:moveTo>
                    <a:lnTo>
                      <a:pt x="0" y="0"/>
                    </a:lnTo>
                  </a:path>
                </a:pathLst>
              </a:custGeom>
              <a:ln w="12700" cap="flat">
                <a:solidFill>
                  <a:srgbClr val="231F20"/>
                </a:solidFill>
                <a:prstDash val="solid"/>
                <a:miter/>
              </a:ln>
            </p:spPr>
            <p:txBody>
              <a:bodyPr rtlCol="0" anchor="ctr"/>
              <a:lstStyle/>
              <a:p>
                <a:endParaRPr lang="en-US" sz="1800"/>
              </a:p>
            </p:txBody>
          </p:sp>
          <p:sp>
            <p:nvSpPr>
              <p:cNvPr id="2799" name="Freeform 11">
                <a:extLst>
                  <a:ext uri="{FF2B5EF4-FFF2-40B4-BE49-F238E27FC236}">
                    <a16:creationId xmlns:a16="http://schemas.microsoft.com/office/drawing/2014/main" id="{1C1C4418-B5B0-832B-2C6C-F1659DE5AA31}"/>
                  </a:ext>
                </a:extLst>
              </p:cNvPr>
              <p:cNvSpPr/>
              <p:nvPr/>
            </p:nvSpPr>
            <p:spPr>
              <a:xfrm>
                <a:off x="1225422" y="3394444"/>
                <a:ext cx="89662" cy="10583"/>
              </a:xfrm>
              <a:custGeom>
                <a:avLst/>
                <a:gdLst>
                  <a:gd name="connsiteX0" fmla="*/ 89662 w 89662"/>
                  <a:gd name="connsiteY0" fmla="*/ 0 h 10583"/>
                  <a:gd name="connsiteX1" fmla="*/ 0 w 89662"/>
                  <a:gd name="connsiteY1" fmla="*/ 0 h 10583"/>
                </a:gdLst>
                <a:ahLst/>
                <a:cxnLst>
                  <a:cxn ang="0">
                    <a:pos x="connsiteX0" y="connsiteY0"/>
                  </a:cxn>
                  <a:cxn ang="0">
                    <a:pos x="connsiteX1" y="connsiteY1"/>
                  </a:cxn>
                </a:cxnLst>
                <a:rect l="l" t="t" r="r" b="b"/>
                <a:pathLst>
                  <a:path w="89662" h="10583">
                    <a:moveTo>
                      <a:pt x="89662" y="0"/>
                    </a:moveTo>
                    <a:lnTo>
                      <a:pt x="0" y="0"/>
                    </a:lnTo>
                  </a:path>
                </a:pathLst>
              </a:custGeom>
              <a:ln w="12700" cap="flat">
                <a:solidFill>
                  <a:srgbClr val="231F20"/>
                </a:solidFill>
                <a:prstDash val="solid"/>
                <a:miter/>
              </a:ln>
            </p:spPr>
            <p:txBody>
              <a:bodyPr rtlCol="0" anchor="ctr"/>
              <a:lstStyle/>
              <a:p>
                <a:endParaRPr lang="en-US" sz="1800"/>
              </a:p>
            </p:txBody>
          </p:sp>
          <p:sp>
            <p:nvSpPr>
              <p:cNvPr id="2800" name="Freeform 12">
                <a:extLst>
                  <a:ext uri="{FF2B5EF4-FFF2-40B4-BE49-F238E27FC236}">
                    <a16:creationId xmlns:a16="http://schemas.microsoft.com/office/drawing/2014/main" id="{E694E03A-1F61-F30B-4EB2-A97D9F5661FF}"/>
                  </a:ext>
                </a:extLst>
              </p:cNvPr>
              <p:cNvSpPr/>
              <p:nvPr/>
            </p:nvSpPr>
            <p:spPr>
              <a:xfrm>
                <a:off x="1265088" y="3758934"/>
                <a:ext cx="49995" cy="10583"/>
              </a:xfrm>
              <a:custGeom>
                <a:avLst/>
                <a:gdLst>
                  <a:gd name="connsiteX0" fmla="*/ 49996 w 49995"/>
                  <a:gd name="connsiteY0" fmla="*/ 0 h 10583"/>
                  <a:gd name="connsiteX1" fmla="*/ 0 w 49995"/>
                  <a:gd name="connsiteY1" fmla="*/ 0 h 10583"/>
                </a:gdLst>
                <a:ahLst/>
                <a:cxnLst>
                  <a:cxn ang="0">
                    <a:pos x="connsiteX0" y="connsiteY0"/>
                  </a:cxn>
                  <a:cxn ang="0">
                    <a:pos x="connsiteX1" y="connsiteY1"/>
                  </a:cxn>
                </a:cxnLst>
                <a:rect l="l" t="t" r="r" b="b"/>
                <a:pathLst>
                  <a:path w="49995" h="10583">
                    <a:moveTo>
                      <a:pt x="49996" y="0"/>
                    </a:moveTo>
                    <a:lnTo>
                      <a:pt x="0" y="0"/>
                    </a:lnTo>
                  </a:path>
                </a:pathLst>
              </a:custGeom>
              <a:ln w="12700" cap="flat">
                <a:solidFill>
                  <a:srgbClr val="231F20"/>
                </a:solidFill>
                <a:prstDash val="solid"/>
                <a:miter/>
              </a:ln>
            </p:spPr>
            <p:txBody>
              <a:bodyPr rtlCol="0" anchor="ctr"/>
              <a:lstStyle/>
              <a:p>
                <a:endParaRPr lang="en-US" sz="1800"/>
              </a:p>
            </p:txBody>
          </p:sp>
          <p:sp>
            <p:nvSpPr>
              <p:cNvPr id="2801" name="Freeform 13">
                <a:extLst>
                  <a:ext uri="{FF2B5EF4-FFF2-40B4-BE49-F238E27FC236}">
                    <a16:creationId xmlns:a16="http://schemas.microsoft.com/office/drawing/2014/main" id="{EF20294D-10DC-E31B-282D-D6BCE62E481C}"/>
                  </a:ext>
                </a:extLst>
              </p:cNvPr>
              <p:cNvSpPr/>
              <p:nvPr/>
            </p:nvSpPr>
            <p:spPr>
              <a:xfrm>
                <a:off x="1225422" y="2672449"/>
                <a:ext cx="89662" cy="10583"/>
              </a:xfrm>
              <a:custGeom>
                <a:avLst/>
                <a:gdLst>
                  <a:gd name="connsiteX0" fmla="*/ 89662 w 89662"/>
                  <a:gd name="connsiteY0" fmla="*/ 0 h 10583"/>
                  <a:gd name="connsiteX1" fmla="*/ 0 w 89662"/>
                  <a:gd name="connsiteY1" fmla="*/ 0 h 10583"/>
                </a:gdLst>
                <a:ahLst/>
                <a:cxnLst>
                  <a:cxn ang="0">
                    <a:pos x="connsiteX0" y="connsiteY0"/>
                  </a:cxn>
                  <a:cxn ang="0">
                    <a:pos x="connsiteX1" y="connsiteY1"/>
                  </a:cxn>
                </a:cxnLst>
                <a:rect l="l" t="t" r="r" b="b"/>
                <a:pathLst>
                  <a:path w="89662" h="10583">
                    <a:moveTo>
                      <a:pt x="89662" y="0"/>
                    </a:moveTo>
                    <a:lnTo>
                      <a:pt x="0" y="0"/>
                    </a:lnTo>
                  </a:path>
                </a:pathLst>
              </a:custGeom>
              <a:ln w="12700" cap="flat">
                <a:solidFill>
                  <a:srgbClr val="231F20"/>
                </a:solidFill>
                <a:prstDash val="solid"/>
                <a:miter/>
              </a:ln>
            </p:spPr>
            <p:txBody>
              <a:bodyPr rtlCol="0" anchor="ctr"/>
              <a:lstStyle/>
              <a:p>
                <a:endParaRPr lang="en-US" sz="1800"/>
              </a:p>
            </p:txBody>
          </p:sp>
          <p:sp>
            <p:nvSpPr>
              <p:cNvPr id="2802" name="Freeform 14">
                <a:extLst>
                  <a:ext uri="{FF2B5EF4-FFF2-40B4-BE49-F238E27FC236}">
                    <a16:creationId xmlns:a16="http://schemas.microsoft.com/office/drawing/2014/main" id="{3239E9B0-1AD7-67D7-1527-992884E50DD1}"/>
                  </a:ext>
                </a:extLst>
              </p:cNvPr>
              <p:cNvSpPr/>
              <p:nvPr/>
            </p:nvSpPr>
            <p:spPr>
              <a:xfrm>
                <a:off x="1265088" y="3036939"/>
                <a:ext cx="49995" cy="10583"/>
              </a:xfrm>
              <a:custGeom>
                <a:avLst/>
                <a:gdLst>
                  <a:gd name="connsiteX0" fmla="*/ 49996 w 49995"/>
                  <a:gd name="connsiteY0" fmla="*/ 0 h 10583"/>
                  <a:gd name="connsiteX1" fmla="*/ 0 w 49995"/>
                  <a:gd name="connsiteY1" fmla="*/ 0 h 10583"/>
                </a:gdLst>
                <a:ahLst/>
                <a:cxnLst>
                  <a:cxn ang="0">
                    <a:pos x="connsiteX0" y="connsiteY0"/>
                  </a:cxn>
                  <a:cxn ang="0">
                    <a:pos x="connsiteX1" y="connsiteY1"/>
                  </a:cxn>
                </a:cxnLst>
                <a:rect l="l" t="t" r="r" b="b"/>
                <a:pathLst>
                  <a:path w="49995" h="10583">
                    <a:moveTo>
                      <a:pt x="49996" y="0"/>
                    </a:moveTo>
                    <a:lnTo>
                      <a:pt x="0" y="0"/>
                    </a:lnTo>
                  </a:path>
                </a:pathLst>
              </a:custGeom>
              <a:ln w="12700" cap="flat">
                <a:solidFill>
                  <a:srgbClr val="231F20"/>
                </a:solidFill>
                <a:prstDash val="solid"/>
                <a:miter/>
              </a:ln>
            </p:spPr>
            <p:txBody>
              <a:bodyPr rtlCol="0" anchor="ctr"/>
              <a:lstStyle/>
              <a:p>
                <a:endParaRPr lang="en-US" sz="1800"/>
              </a:p>
            </p:txBody>
          </p:sp>
          <p:sp>
            <p:nvSpPr>
              <p:cNvPr id="2803" name="Freeform 15">
                <a:extLst>
                  <a:ext uri="{FF2B5EF4-FFF2-40B4-BE49-F238E27FC236}">
                    <a16:creationId xmlns:a16="http://schemas.microsoft.com/office/drawing/2014/main" id="{42352161-3BF9-EE10-69BE-6454C8F42BEF}"/>
                  </a:ext>
                </a:extLst>
              </p:cNvPr>
              <p:cNvSpPr/>
              <p:nvPr/>
            </p:nvSpPr>
            <p:spPr>
              <a:xfrm>
                <a:off x="1225422" y="1948581"/>
                <a:ext cx="89662" cy="10583"/>
              </a:xfrm>
              <a:custGeom>
                <a:avLst/>
                <a:gdLst>
                  <a:gd name="connsiteX0" fmla="*/ 89662 w 89662"/>
                  <a:gd name="connsiteY0" fmla="*/ 0 h 10583"/>
                  <a:gd name="connsiteX1" fmla="*/ 0 w 89662"/>
                  <a:gd name="connsiteY1" fmla="*/ 0 h 10583"/>
                </a:gdLst>
                <a:ahLst/>
                <a:cxnLst>
                  <a:cxn ang="0">
                    <a:pos x="connsiteX0" y="connsiteY0"/>
                  </a:cxn>
                  <a:cxn ang="0">
                    <a:pos x="connsiteX1" y="connsiteY1"/>
                  </a:cxn>
                </a:cxnLst>
                <a:rect l="l" t="t" r="r" b="b"/>
                <a:pathLst>
                  <a:path w="89662" h="10583">
                    <a:moveTo>
                      <a:pt x="89662" y="0"/>
                    </a:moveTo>
                    <a:lnTo>
                      <a:pt x="0" y="0"/>
                    </a:lnTo>
                  </a:path>
                </a:pathLst>
              </a:custGeom>
              <a:ln w="12700" cap="flat">
                <a:solidFill>
                  <a:srgbClr val="231F20"/>
                </a:solidFill>
                <a:prstDash val="solid"/>
                <a:miter/>
              </a:ln>
            </p:spPr>
            <p:txBody>
              <a:bodyPr rtlCol="0" anchor="ctr"/>
              <a:lstStyle/>
              <a:p>
                <a:endParaRPr lang="en-US" sz="1800"/>
              </a:p>
            </p:txBody>
          </p:sp>
          <p:sp>
            <p:nvSpPr>
              <p:cNvPr id="2804" name="Freeform 16">
                <a:extLst>
                  <a:ext uri="{FF2B5EF4-FFF2-40B4-BE49-F238E27FC236}">
                    <a16:creationId xmlns:a16="http://schemas.microsoft.com/office/drawing/2014/main" id="{940D4FB4-BACE-9F7F-15B3-BB59892BFA30}"/>
                  </a:ext>
                </a:extLst>
              </p:cNvPr>
              <p:cNvSpPr/>
              <p:nvPr/>
            </p:nvSpPr>
            <p:spPr>
              <a:xfrm>
                <a:off x="1265088" y="2313082"/>
                <a:ext cx="49995" cy="10583"/>
              </a:xfrm>
              <a:custGeom>
                <a:avLst/>
                <a:gdLst>
                  <a:gd name="connsiteX0" fmla="*/ 49996 w 49995"/>
                  <a:gd name="connsiteY0" fmla="*/ 0 h 10583"/>
                  <a:gd name="connsiteX1" fmla="*/ 0 w 49995"/>
                  <a:gd name="connsiteY1" fmla="*/ 0 h 10583"/>
                </a:gdLst>
                <a:ahLst/>
                <a:cxnLst>
                  <a:cxn ang="0">
                    <a:pos x="connsiteX0" y="connsiteY0"/>
                  </a:cxn>
                  <a:cxn ang="0">
                    <a:pos x="connsiteX1" y="connsiteY1"/>
                  </a:cxn>
                </a:cxnLst>
                <a:rect l="l" t="t" r="r" b="b"/>
                <a:pathLst>
                  <a:path w="49995" h="10583">
                    <a:moveTo>
                      <a:pt x="49996" y="0"/>
                    </a:moveTo>
                    <a:lnTo>
                      <a:pt x="0" y="0"/>
                    </a:lnTo>
                  </a:path>
                </a:pathLst>
              </a:custGeom>
              <a:ln w="12700" cap="flat">
                <a:solidFill>
                  <a:srgbClr val="231F20"/>
                </a:solidFill>
                <a:prstDash val="solid"/>
                <a:miter/>
              </a:ln>
            </p:spPr>
            <p:txBody>
              <a:bodyPr rtlCol="0" anchor="ctr"/>
              <a:lstStyle/>
              <a:p>
                <a:endParaRPr lang="en-US" sz="1800"/>
              </a:p>
            </p:txBody>
          </p:sp>
          <p:sp>
            <p:nvSpPr>
              <p:cNvPr id="2805" name="Freeform 17">
                <a:extLst>
                  <a:ext uri="{FF2B5EF4-FFF2-40B4-BE49-F238E27FC236}">
                    <a16:creationId xmlns:a16="http://schemas.microsoft.com/office/drawing/2014/main" id="{E2FBA5EF-25AF-5883-0D77-0B391EDFE91C}"/>
                  </a:ext>
                </a:extLst>
              </p:cNvPr>
              <p:cNvSpPr/>
              <p:nvPr/>
            </p:nvSpPr>
            <p:spPr>
              <a:xfrm>
                <a:off x="1225422" y="1229179"/>
                <a:ext cx="89662" cy="10583"/>
              </a:xfrm>
              <a:custGeom>
                <a:avLst/>
                <a:gdLst>
                  <a:gd name="connsiteX0" fmla="*/ 89662 w 89662"/>
                  <a:gd name="connsiteY0" fmla="*/ 0 h 10583"/>
                  <a:gd name="connsiteX1" fmla="*/ 0 w 89662"/>
                  <a:gd name="connsiteY1" fmla="*/ 0 h 10583"/>
                </a:gdLst>
                <a:ahLst/>
                <a:cxnLst>
                  <a:cxn ang="0">
                    <a:pos x="connsiteX0" y="connsiteY0"/>
                  </a:cxn>
                  <a:cxn ang="0">
                    <a:pos x="connsiteX1" y="connsiteY1"/>
                  </a:cxn>
                </a:cxnLst>
                <a:rect l="l" t="t" r="r" b="b"/>
                <a:pathLst>
                  <a:path w="89662" h="10583">
                    <a:moveTo>
                      <a:pt x="89662" y="0"/>
                    </a:moveTo>
                    <a:lnTo>
                      <a:pt x="0" y="0"/>
                    </a:lnTo>
                  </a:path>
                </a:pathLst>
              </a:custGeom>
              <a:ln w="12700" cap="flat">
                <a:solidFill>
                  <a:srgbClr val="231F20"/>
                </a:solidFill>
                <a:prstDash val="solid"/>
                <a:miter/>
              </a:ln>
            </p:spPr>
            <p:txBody>
              <a:bodyPr rtlCol="0" anchor="ctr"/>
              <a:lstStyle/>
              <a:p>
                <a:endParaRPr lang="en-US" sz="1800"/>
              </a:p>
            </p:txBody>
          </p:sp>
          <p:sp>
            <p:nvSpPr>
              <p:cNvPr id="2806" name="Freeform 18">
                <a:extLst>
                  <a:ext uri="{FF2B5EF4-FFF2-40B4-BE49-F238E27FC236}">
                    <a16:creationId xmlns:a16="http://schemas.microsoft.com/office/drawing/2014/main" id="{E7489749-F4DE-3897-C891-958F30A1842D}"/>
                  </a:ext>
                </a:extLst>
              </p:cNvPr>
              <p:cNvSpPr/>
              <p:nvPr/>
            </p:nvSpPr>
            <p:spPr>
              <a:xfrm>
                <a:off x="1265088" y="1593679"/>
                <a:ext cx="49995" cy="10583"/>
              </a:xfrm>
              <a:custGeom>
                <a:avLst/>
                <a:gdLst>
                  <a:gd name="connsiteX0" fmla="*/ 49996 w 49995"/>
                  <a:gd name="connsiteY0" fmla="*/ 0 h 10583"/>
                  <a:gd name="connsiteX1" fmla="*/ 0 w 49995"/>
                  <a:gd name="connsiteY1" fmla="*/ 0 h 10583"/>
                </a:gdLst>
                <a:ahLst/>
                <a:cxnLst>
                  <a:cxn ang="0">
                    <a:pos x="connsiteX0" y="connsiteY0"/>
                  </a:cxn>
                  <a:cxn ang="0">
                    <a:pos x="connsiteX1" y="connsiteY1"/>
                  </a:cxn>
                </a:cxnLst>
                <a:rect l="l" t="t" r="r" b="b"/>
                <a:pathLst>
                  <a:path w="49995" h="10583">
                    <a:moveTo>
                      <a:pt x="49996" y="0"/>
                    </a:moveTo>
                    <a:lnTo>
                      <a:pt x="0" y="0"/>
                    </a:lnTo>
                  </a:path>
                </a:pathLst>
              </a:custGeom>
              <a:ln w="12700" cap="flat">
                <a:solidFill>
                  <a:srgbClr val="231F20"/>
                </a:solidFill>
                <a:prstDash val="solid"/>
                <a:miter/>
              </a:ln>
            </p:spPr>
            <p:txBody>
              <a:bodyPr rtlCol="0" anchor="ctr"/>
              <a:lstStyle/>
              <a:p>
                <a:endParaRPr lang="en-US" sz="1800"/>
              </a:p>
            </p:txBody>
          </p:sp>
          <p:grpSp>
            <p:nvGrpSpPr>
              <p:cNvPr id="2807" name="Graphic 3">
                <a:extLst>
                  <a:ext uri="{FF2B5EF4-FFF2-40B4-BE49-F238E27FC236}">
                    <a16:creationId xmlns:a16="http://schemas.microsoft.com/office/drawing/2014/main" id="{52CF6E34-B5F0-CAEF-0BA2-84422AC56C2B}"/>
                  </a:ext>
                </a:extLst>
              </p:cNvPr>
              <p:cNvGrpSpPr/>
              <p:nvPr/>
            </p:nvGrpSpPr>
            <p:grpSpPr>
              <a:xfrm>
                <a:off x="1498218" y="4904845"/>
                <a:ext cx="10036027" cy="53975"/>
                <a:chOff x="1498218" y="4904845"/>
                <a:chExt cx="10036027" cy="53975"/>
              </a:xfrm>
            </p:grpSpPr>
            <p:sp>
              <p:nvSpPr>
                <p:cNvPr id="2808" name="Freeform 20">
                  <a:extLst>
                    <a:ext uri="{FF2B5EF4-FFF2-40B4-BE49-F238E27FC236}">
                      <a16:creationId xmlns:a16="http://schemas.microsoft.com/office/drawing/2014/main" id="{9BE99CF8-918D-8A20-65F3-9B6FC451B300}"/>
                    </a:ext>
                  </a:extLst>
                </p:cNvPr>
                <p:cNvSpPr/>
                <p:nvPr/>
              </p:nvSpPr>
              <p:spPr>
                <a:xfrm>
                  <a:off x="1498218" y="4904845"/>
                  <a:ext cx="10583" cy="53975"/>
                </a:xfrm>
                <a:custGeom>
                  <a:avLst/>
                  <a:gdLst>
                    <a:gd name="connsiteX0" fmla="*/ 0 w 10583"/>
                    <a:gd name="connsiteY0" fmla="*/ 0 h 53975"/>
                    <a:gd name="connsiteX1" fmla="*/ 0 w 10583"/>
                    <a:gd name="connsiteY1" fmla="*/ 53975 h 53975"/>
                  </a:gdLst>
                  <a:ahLst/>
                  <a:cxnLst>
                    <a:cxn ang="0">
                      <a:pos x="connsiteX0" y="connsiteY0"/>
                    </a:cxn>
                    <a:cxn ang="0">
                      <a:pos x="connsiteX1" y="connsiteY1"/>
                    </a:cxn>
                  </a:cxnLst>
                  <a:rect l="l" t="t" r="r" b="b"/>
                  <a:pathLst>
                    <a:path w="10583" h="53975">
                      <a:moveTo>
                        <a:pt x="0" y="0"/>
                      </a:moveTo>
                      <a:lnTo>
                        <a:pt x="0" y="53975"/>
                      </a:lnTo>
                    </a:path>
                  </a:pathLst>
                </a:custGeom>
                <a:ln w="12700" cap="flat">
                  <a:solidFill>
                    <a:srgbClr val="231F20"/>
                  </a:solidFill>
                  <a:prstDash val="solid"/>
                  <a:miter/>
                </a:ln>
              </p:spPr>
              <p:txBody>
                <a:bodyPr rtlCol="0" anchor="ctr"/>
                <a:lstStyle/>
                <a:p>
                  <a:endParaRPr lang="en-US" sz="1800"/>
                </a:p>
              </p:txBody>
            </p:sp>
            <p:sp>
              <p:nvSpPr>
                <p:cNvPr id="2809" name="Freeform 21">
                  <a:extLst>
                    <a:ext uri="{FF2B5EF4-FFF2-40B4-BE49-F238E27FC236}">
                      <a16:creationId xmlns:a16="http://schemas.microsoft.com/office/drawing/2014/main" id="{CDFB255E-5727-E99B-0DE0-534FD259FF77}"/>
                    </a:ext>
                  </a:extLst>
                </p:cNvPr>
                <p:cNvSpPr/>
                <p:nvPr/>
              </p:nvSpPr>
              <p:spPr>
                <a:xfrm>
                  <a:off x="1711758" y="4904845"/>
                  <a:ext cx="10583" cy="53975"/>
                </a:xfrm>
                <a:custGeom>
                  <a:avLst/>
                  <a:gdLst>
                    <a:gd name="connsiteX0" fmla="*/ 0 w 10583"/>
                    <a:gd name="connsiteY0" fmla="*/ 0 h 53975"/>
                    <a:gd name="connsiteX1" fmla="*/ 0 w 10583"/>
                    <a:gd name="connsiteY1" fmla="*/ 53975 h 53975"/>
                  </a:gdLst>
                  <a:ahLst/>
                  <a:cxnLst>
                    <a:cxn ang="0">
                      <a:pos x="connsiteX0" y="connsiteY0"/>
                    </a:cxn>
                    <a:cxn ang="0">
                      <a:pos x="connsiteX1" y="connsiteY1"/>
                    </a:cxn>
                  </a:cxnLst>
                  <a:rect l="l" t="t" r="r" b="b"/>
                  <a:pathLst>
                    <a:path w="10583" h="53975">
                      <a:moveTo>
                        <a:pt x="0" y="0"/>
                      </a:moveTo>
                      <a:lnTo>
                        <a:pt x="0" y="53975"/>
                      </a:lnTo>
                    </a:path>
                  </a:pathLst>
                </a:custGeom>
                <a:ln w="12700" cap="flat">
                  <a:solidFill>
                    <a:srgbClr val="231F20"/>
                  </a:solidFill>
                  <a:prstDash val="solid"/>
                  <a:miter/>
                </a:ln>
              </p:spPr>
              <p:txBody>
                <a:bodyPr rtlCol="0" anchor="ctr"/>
                <a:lstStyle/>
                <a:p>
                  <a:endParaRPr lang="en-US" sz="1800"/>
                </a:p>
              </p:txBody>
            </p:sp>
            <p:sp>
              <p:nvSpPr>
                <p:cNvPr id="2810" name="Freeform 22">
                  <a:extLst>
                    <a:ext uri="{FF2B5EF4-FFF2-40B4-BE49-F238E27FC236}">
                      <a16:creationId xmlns:a16="http://schemas.microsoft.com/office/drawing/2014/main" id="{C0568203-3DC1-0D61-46D6-153A74629861}"/>
                    </a:ext>
                  </a:extLst>
                </p:cNvPr>
                <p:cNvSpPr/>
                <p:nvPr/>
              </p:nvSpPr>
              <p:spPr>
                <a:xfrm>
                  <a:off x="1925223" y="4904845"/>
                  <a:ext cx="10583" cy="53975"/>
                </a:xfrm>
                <a:custGeom>
                  <a:avLst/>
                  <a:gdLst>
                    <a:gd name="connsiteX0" fmla="*/ 0 w 10583"/>
                    <a:gd name="connsiteY0" fmla="*/ 0 h 53975"/>
                    <a:gd name="connsiteX1" fmla="*/ 0 w 10583"/>
                    <a:gd name="connsiteY1" fmla="*/ 53975 h 53975"/>
                  </a:gdLst>
                  <a:ahLst/>
                  <a:cxnLst>
                    <a:cxn ang="0">
                      <a:pos x="connsiteX0" y="connsiteY0"/>
                    </a:cxn>
                    <a:cxn ang="0">
                      <a:pos x="connsiteX1" y="connsiteY1"/>
                    </a:cxn>
                  </a:cxnLst>
                  <a:rect l="l" t="t" r="r" b="b"/>
                  <a:pathLst>
                    <a:path w="10583" h="53975">
                      <a:moveTo>
                        <a:pt x="0" y="0"/>
                      </a:moveTo>
                      <a:lnTo>
                        <a:pt x="0" y="53975"/>
                      </a:lnTo>
                    </a:path>
                  </a:pathLst>
                </a:custGeom>
                <a:ln w="12700" cap="flat">
                  <a:solidFill>
                    <a:srgbClr val="231F20"/>
                  </a:solidFill>
                  <a:prstDash val="solid"/>
                  <a:miter/>
                </a:ln>
              </p:spPr>
              <p:txBody>
                <a:bodyPr rtlCol="0" anchor="ctr"/>
                <a:lstStyle/>
                <a:p>
                  <a:endParaRPr lang="en-US" sz="1800"/>
                </a:p>
              </p:txBody>
            </p:sp>
            <p:sp>
              <p:nvSpPr>
                <p:cNvPr id="2811" name="Freeform 23">
                  <a:extLst>
                    <a:ext uri="{FF2B5EF4-FFF2-40B4-BE49-F238E27FC236}">
                      <a16:creationId xmlns:a16="http://schemas.microsoft.com/office/drawing/2014/main" id="{195425E3-8E1F-E42A-6FC5-14A11E73AB36}"/>
                    </a:ext>
                  </a:extLst>
                </p:cNvPr>
                <p:cNvSpPr/>
                <p:nvPr/>
              </p:nvSpPr>
              <p:spPr>
                <a:xfrm>
                  <a:off x="2138859" y="4904845"/>
                  <a:ext cx="10583" cy="53975"/>
                </a:xfrm>
                <a:custGeom>
                  <a:avLst/>
                  <a:gdLst>
                    <a:gd name="connsiteX0" fmla="*/ 0 w 10583"/>
                    <a:gd name="connsiteY0" fmla="*/ 0 h 53975"/>
                    <a:gd name="connsiteX1" fmla="*/ 0 w 10583"/>
                    <a:gd name="connsiteY1" fmla="*/ 53975 h 53975"/>
                  </a:gdLst>
                  <a:ahLst/>
                  <a:cxnLst>
                    <a:cxn ang="0">
                      <a:pos x="connsiteX0" y="connsiteY0"/>
                    </a:cxn>
                    <a:cxn ang="0">
                      <a:pos x="connsiteX1" y="connsiteY1"/>
                    </a:cxn>
                  </a:cxnLst>
                  <a:rect l="l" t="t" r="r" b="b"/>
                  <a:pathLst>
                    <a:path w="10583" h="53975">
                      <a:moveTo>
                        <a:pt x="0" y="0"/>
                      </a:moveTo>
                      <a:lnTo>
                        <a:pt x="0" y="53975"/>
                      </a:lnTo>
                    </a:path>
                  </a:pathLst>
                </a:custGeom>
                <a:ln w="12700" cap="flat">
                  <a:solidFill>
                    <a:srgbClr val="231F20"/>
                  </a:solidFill>
                  <a:prstDash val="solid"/>
                  <a:miter/>
                </a:ln>
              </p:spPr>
              <p:txBody>
                <a:bodyPr rtlCol="0" anchor="ctr"/>
                <a:lstStyle/>
                <a:p>
                  <a:endParaRPr lang="en-US" sz="1800"/>
                </a:p>
              </p:txBody>
            </p:sp>
            <p:sp>
              <p:nvSpPr>
                <p:cNvPr id="2812" name="Freeform 24">
                  <a:extLst>
                    <a:ext uri="{FF2B5EF4-FFF2-40B4-BE49-F238E27FC236}">
                      <a16:creationId xmlns:a16="http://schemas.microsoft.com/office/drawing/2014/main" id="{290891F4-7209-CA0B-1D26-B36CF0545E88}"/>
                    </a:ext>
                  </a:extLst>
                </p:cNvPr>
                <p:cNvSpPr/>
                <p:nvPr/>
              </p:nvSpPr>
              <p:spPr>
                <a:xfrm>
                  <a:off x="2352324" y="4904845"/>
                  <a:ext cx="10583" cy="53975"/>
                </a:xfrm>
                <a:custGeom>
                  <a:avLst/>
                  <a:gdLst>
                    <a:gd name="connsiteX0" fmla="*/ 0 w 10583"/>
                    <a:gd name="connsiteY0" fmla="*/ 0 h 53975"/>
                    <a:gd name="connsiteX1" fmla="*/ 0 w 10583"/>
                    <a:gd name="connsiteY1" fmla="*/ 53975 h 53975"/>
                  </a:gdLst>
                  <a:ahLst/>
                  <a:cxnLst>
                    <a:cxn ang="0">
                      <a:pos x="connsiteX0" y="connsiteY0"/>
                    </a:cxn>
                    <a:cxn ang="0">
                      <a:pos x="connsiteX1" y="connsiteY1"/>
                    </a:cxn>
                  </a:cxnLst>
                  <a:rect l="l" t="t" r="r" b="b"/>
                  <a:pathLst>
                    <a:path w="10583" h="53975">
                      <a:moveTo>
                        <a:pt x="0" y="0"/>
                      </a:moveTo>
                      <a:lnTo>
                        <a:pt x="0" y="53975"/>
                      </a:lnTo>
                    </a:path>
                  </a:pathLst>
                </a:custGeom>
                <a:ln w="12700" cap="flat">
                  <a:solidFill>
                    <a:srgbClr val="231F20"/>
                  </a:solidFill>
                  <a:prstDash val="solid"/>
                  <a:miter/>
                </a:ln>
              </p:spPr>
              <p:txBody>
                <a:bodyPr rtlCol="0" anchor="ctr"/>
                <a:lstStyle/>
                <a:p>
                  <a:endParaRPr lang="en-US" sz="1800"/>
                </a:p>
              </p:txBody>
            </p:sp>
            <p:sp>
              <p:nvSpPr>
                <p:cNvPr id="2813" name="Freeform 25">
                  <a:extLst>
                    <a:ext uri="{FF2B5EF4-FFF2-40B4-BE49-F238E27FC236}">
                      <a16:creationId xmlns:a16="http://schemas.microsoft.com/office/drawing/2014/main" id="{593628FF-51AE-DF83-CAD2-27C2C982DD7F}"/>
                    </a:ext>
                  </a:extLst>
                </p:cNvPr>
                <p:cNvSpPr/>
                <p:nvPr/>
              </p:nvSpPr>
              <p:spPr>
                <a:xfrm>
                  <a:off x="2565960" y="4904845"/>
                  <a:ext cx="10583" cy="53975"/>
                </a:xfrm>
                <a:custGeom>
                  <a:avLst/>
                  <a:gdLst>
                    <a:gd name="connsiteX0" fmla="*/ 0 w 10583"/>
                    <a:gd name="connsiteY0" fmla="*/ 0 h 53975"/>
                    <a:gd name="connsiteX1" fmla="*/ 0 w 10583"/>
                    <a:gd name="connsiteY1" fmla="*/ 53975 h 53975"/>
                  </a:gdLst>
                  <a:ahLst/>
                  <a:cxnLst>
                    <a:cxn ang="0">
                      <a:pos x="connsiteX0" y="connsiteY0"/>
                    </a:cxn>
                    <a:cxn ang="0">
                      <a:pos x="connsiteX1" y="connsiteY1"/>
                    </a:cxn>
                  </a:cxnLst>
                  <a:rect l="l" t="t" r="r" b="b"/>
                  <a:pathLst>
                    <a:path w="10583" h="53975">
                      <a:moveTo>
                        <a:pt x="0" y="0"/>
                      </a:moveTo>
                      <a:lnTo>
                        <a:pt x="0" y="53975"/>
                      </a:lnTo>
                    </a:path>
                  </a:pathLst>
                </a:custGeom>
                <a:ln w="12700" cap="flat">
                  <a:solidFill>
                    <a:srgbClr val="231F20"/>
                  </a:solidFill>
                  <a:prstDash val="solid"/>
                  <a:miter/>
                </a:ln>
              </p:spPr>
              <p:txBody>
                <a:bodyPr rtlCol="0" anchor="ctr"/>
                <a:lstStyle/>
                <a:p>
                  <a:endParaRPr lang="en-US" sz="1800"/>
                </a:p>
              </p:txBody>
            </p:sp>
            <p:sp>
              <p:nvSpPr>
                <p:cNvPr id="2814" name="Freeform 26">
                  <a:extLst>
                    <a:ext uri="{FF2B5EF4-FFF2-40B4-BE49-F238E27FC236}">
                      <a16:creationId xmlns:a16="http://schemas.microsoft.com/office/drawing/2014/main" id="{72E0005B-12C5-E479-0232-8E6CF9FAF272}"/>
                    </a:ext>
                  </a:extLst>
                </p:cNvPr>
                <p:cNvSpPr/>
                <p:nvPr/>
              </p:nvSpPr>
              <p:spPr>
                <a:xfrm>
                  <a:off x="2779425" y="4904845"/>
                  <a:ext cx="10583" cy="53975"/>
                </a:xfrm>
                <a:custGeom>
                  <a:avLst/>
                  <a:gdLst>
                    <a:gd name="connsiteX0" fmla="*/ 0 w 10583"/>
                    <a:gd name="connsiteY0" fmla="*/ 0 h 53975"/>
                    <a:gd name="connsiteX1" fmla="*/ 0 w 10583"/>
                    <a:gd name="connsiteY1" fmla="*/ 53975 h 53975"/>
                  </a:gdLst>
                  <a:ahLst/>
                  <a:cxnLst>
                    <a:cxn ang="0">
                      <a:pos x="connsiteX0" y="connsiteY0"/>
                    </a:cxn>
                    <a:cxn ang="0">
                      <a:pos x="connsiteX1" y="connsiteY1"/>
                    </a:cxn>
                  </a:cxnLst>
                  <a:rect l="l" t="t" r="r" b="b"/>
                  <a:pathLst>
                    <a:path w="10583" h="53975">
                      <a:moveTo>
                        <a:pt x="0" y="0"/>
                      </a:moveTo>
                      <a:lnTo>
                        <a:pt x="0" y="53975"/>
                      </a:lnTo>
                    </a:path>
                  </a:pathLst>
                </a:custGeom>
                <a:ln w="12700" cap="flat">
                  <a:solidFill>
                    <a:srgbClr val="231F20"/>
                  </a:solidFill>
                  <a:prstDash val="solid"/>
                  <a:miter/>
                </a:ln>
              </p:spPr>
              <p:txBody>
                <a:bodyPr rtlCol="0" anchor="ctr"/>
                <a:lstStyle/>
                <a:p>
                  <a:endParaRPr lang="en-US" sz="1800"/>
                </a:p>
              </p:txBody>
            </p:sp>
            <p:sp>
              <p:nvSpPr>
                <p:cNvPr id="2815" name="Freeform 27">
                  <a:extLst>
                    <a:ext uri="{FF2B5EF4-FFF2-40B4-BE49-F238E27FC236}">
                      <a16:creationId xmlns:a16="http://schemas.microsoft.com/office/drawing/2014/main" id="{9188DE66-C617-53FA-39D4-B0CB71EBC37B}"/>
                    </a:ext>
                  </a:extLst>
                </p:cNvPr>
                <p:cNvSpPr/>
                <p:nvPr/>
              </p:nvSpPr>
              <p:spPr>
                <a:xfrm>
                  <a:off x="2992891" y="4904845"/>
                  <a:ext cx="10583" cy="53975"/>
                </a:xfrm>
                <a:custGeom>
                  <a:avLst/>
                  <a:gdLst>
                    <a:gd name="connsiteX0" fmla="*/ 0 w 10583"/>
                    <a:gd name="connsiteY0" fmla="*/ 0 h 53975"/>
                    <a:gd name="connsiteX1" fmla="*/ 0 w 10583"/>
                    <a:gd name="connsiteY1" fmla="*/ 53975 h 53975"/>
                  </a:gdLst>
                  <a:ahLst/>
                  <a:cxnLst>
                    <a:cxn ang="0">
                      <a:pos x="connsiteX0" y="connsiteY0"/>
                    </a:cxn>
                    <a:cxn ang="0">
                      <a:pos x="connsiteX1" y="connsiteY1"/>
                    </a:cxn>
                  </a:cxnLst>
                  <a:rect l="l" t="t" r="r" b="b"/>
                  <a:pathLst>
                    <a:path w="10583" h="53975">
                      <a:moveTo>
                        <a:pt x="0" y="0"/>
                      </a:moveTo>
                      <a:lnTo>
                        <a:pt x="0" y="53975"/>
                      </a:lnTo>
                    </a:path>
                  </a:pathLst>
                </a:custGeom>
                <a:ln w="12700" cap="flat">
                  <a:solidFill>
                    <a:srgbClr val="231F20"/>
                  </a:solidFill>
                  <a:prstDash val="solid"/>
                  <a:miter/>
                </a:ln>
              </p:spPr>
              <p:txBody>
                <a:bodyPr rtlCol="0" anchor="ctr"/>
                <a:lstStyle/>
                <a:p>
                  <a:endParaRPr lang="en-US" sz="1800"/>
                </a:p>
              </p:txBody>
            </p:sp>
            <p:sp>
              <p:nvSpPr>
                <p:cNvPr id="2816" name="Freeform 28">
                  <a:extLst>
                    <a:ext uri="{FF2B5EF4-FFF2-40B4-BE49-F238E27FC236}">
                      <a16:creationId xmlns:a16="http://schemas.microsoft.com/office/drawing/2014/main" id="{B60B7AEF-A7B1-117F-C158-56FC9F4277B0}"/>
                    </a:ext>
                  </a:extLst>
                </p:cNvPr>
                <p:cNvSpPr/>
                <p:nvPr/>
              </p:nvSpPr>
              <p:spPr>
                <a:xfrm>
                  <a:off x="3206527" y="4904845"/>
                  <a:ext cx="10583" cy="53975"/>
                </a:xfrm>
                <a:custGeom>
                  <a:avLst/>
                  <a:gdLst>
                    <a:gd name="connsiteX0" fmla="*/ 0 w 10583"/>
                    <a:gd name="connsiteY0" fmla="*/ 0 h 53975"/>
                    <a:gd name="connsiteX1" fmla="*/ 0 w 10583"/>
                    <a:gd name="connsiteY1" fmla="*/ 53975 h 53975"/>
                  </a:gdLst>
                  <a:ahLst/>
                  <a:cxnLst>
                    <a:cxn ang="0">
                      <a:pos x="connsiteX0" y="connsiteY0"/>
                    </a:cxn>
                    <a:cxn ang="0">
                      <a:pos x="connsiteX1" y="connsiteY1"/>
                    </a:cxn>
                  </a:cxnLst>
                  <a:rect l="l" t="t" r="r" b="b"/>
                  <a:pathLst>
                    <a:path w="10583" h="53975">
                      <a:moveTo>
                        <a:pt x="0" y="0"/>
                      </a:moveTo>
                      <a:lnTo>
                        <a:pt x="0" y="53975"/>
                      </a:lnTo>
                    </a:path>
                  </a:pathLst>
                </a:custGeom>
                <a:ln w="12700" cap="flat">
                  <a:solidFill>
                    <a:srgbClr val="231F20"/>
                  </a:solidFill>
                  <a:prstDash val="solid"/>
                  <a:miter/>
                </a:ln>
              </p:spPr>
              <p:txBody>
                <a:bodyPr rtlCol="0" anchor="ctr"/>
                <a:lstStyle/>
                <a:p>
                  <a:endParaRPr lang="en-US" sz="1800"/>
                </a:p>
              </p:txBody>
            </p:sp>
            <p:sp>
              <p:nvSpPr>
                <p:cNvPr id="2817" name="Freeform 29">
                  <a:extLst>
                    <a:ext uri="{FF2B5EF4-FFF2-40B4-BE49-F238E27FC236}">
                      <a16:creationId xmlns:a16="http://schemas.microsoft.com/office/drawing/2014/main" id="{DEFC6973-EA78-1303-1CE8-4D9416257408}"/>
                    </a:ext>
                  </a:extLst>
                </p:cNvPr>
                <p:cNvSpPr/>
                <p:nvPr/>
              </p:nvSpPr>
              <p:spPr>
                <a:xfrm>
                  <a:off x="3420003" y="4904845"/>
                  <a:ext cx="10583" cy="53975"/>
                </a:xfrm>
                <a:custGeom>
                  <a:avLst/>
                  <a:gdLst>
                    <a:gd name="connsiteX0" fmla="*/ 0 w 10583"/>
                    <a:gd name="connsiteY0" fmla="*/ 0 h 53975"/>
                    <a:gd name="connsiteX1" fmla="*/ 0 w 10583"/>
                    <a:gd name="connsiteY1" fmla="*/ 53975 h 53975"/>
                  </a:gdLst>
                  <a:ahLst/>
                  <a:cxnLst>
                    <a:cxn ang="0">
                      <a:pos x="connsiteX0" y="connsiteY0"/>
                    </a:cxn>
                    <a:cxn ang="0">
                      <a:pos x="connsiteX1" y="connsiteY1"/>
                    </a:cxn>
                  </a:cxnLst>
                  <a:rect l="l" t="t" r="r" b="b"/>
                  <a:pathLst>
                    <a:path w="10583" h="53975">
                      <a:moveTo>
                        <a:pt x="0" y="0"/>
                      </a:moveTo>
                      <a:lnTo>
                        <a:pt x="0" y="53975"/>
                      </a:lnTo>
                    </a:path>
                  </a:pathLst>
                </a:custGeom>
                <a:ln w="12700" cap="flat">
                  <a:solidFill>
                    <a:srgbClr val="231F20"/>
                  </a:solidFill>
                  <a:prstDash val="solid"/>
                  <a:miter/>
                </a:ln>
              </p:spPr>
              <p:txBody>
                <a:bodyPr rtlCol="0" anchor="ctr"/>
                <a:lstStyle/>
                <a:p>
                  <a:endParaRPr lang="en-US" sz="1800"/>
                </a:p>
              </p:txBody>
            </p:sp>
            <p:sp>
              <p:nvSpPr>
                <p:cNvPr id="2818" name="Freeform 30">
                  <a:extLst>
                    <a:ext uri="{FF2B5EF4-FFF2-40B4-BE49-F238E27FC236}">
                      <a16:creationId xmlns:a16="http://schemas.microsoft.com/office/drawing/2014/main" id="{BAC13921-658B-9744-25E7-FD4E45D262D9}"/>
                    </a:ext>
                  </a:extLst>
                </p:cNvPr>
                <p:cNvSpPr/>
                <p:nvPr/>
              </p:nvSpPr>
              <p:spPr>
                <a:xfrm>
                  <a:off x="3633638" y="4904845"/>
                  <a:ext cx="10583" cy="53975"/>
                </a:xfrm>
                <a:custGeom>
                  <a:avLst/>
                  <a:gdLst>
                    <a:gd name="connsiteX0" fmla="*/ 0 w 10583"/>
                    <a:gd name="connsiteY0" fmla="*/ 0 h 53975"/>
                    <a:gd name="connsiteX1" fmla="*/ 0 w 10583"/>
                    <a:gd name="connsiteY1" fmla="*/ 53975 h 53975"/>
                  </a:gdLst>
                  <a:ahLst/>
                  <a:cxnLst>
                    <a:cxn ang="0">
                      <a:pos x="connsiteX0" y="connsiteY0"/>
                    </a:cxn>
                    <a:cxn ang="0">
                      <a:pos x="connsiteX1" y="connsiteY1"/>
                    </a:cxn>
                  </a:cxnLst>
                  <a:rect l="l" t="t" r="r" b="b"/>
                  <a:pathLst>
                    <a:path w="10583" h="53975">
                      <a:moveTo>
                        <a:pt x="0" y="0"/>
                      </a:moveTo>
                      <a:lnTo>
                        <a:pt x="0" y="53975"/>
                      </a:lnTo>
                    </a:path>
                  </a:pathLst>
                </a:custGeom>
                <a:ln w="12700" cap="flat">
                  <a:solidFill>
                    <a:srgbClr val="231F20"/>
                  </a:solidFill>
                  <a:prstDash val="solid"/>
                  <a:miter/>
                </a:ln>
              </p:spPr>
              <p:txBody>
                <a:bodyPr rtlCol="0" anchor="ctr"/>
                <a:lstStyle/>
                <a:p>
                  <a:endParaRPr lang="en-US" sz="1800"/>
                </a:p>
              </p:txBody>
            </p:sp>
            <p:sp>
              <p:nvSpPr>
                <p:cNvPr id="2819" name="Freeform 31">
                  <a:extLst>
                    <a:ext uri="{FF2B5EF4-FFF2-40B4-BE49-F238E27FC236}">
                      <a16:creationId xmlns:a16="http://schemas.microsoft.com/office/drawing/2014/main" id="{C411E04E-F2CE-95F3-F72F-059C921EA7F7}"/>
                    </a:ext>
                  </a:extLst>
                </p:cNvPr>
                <p:cNvSpPr/>
                <p:nvPr/>
              </p:nvSpPr>
              <p:spPr>
                <a:xfrm>
                  <a:off x="3847104" y="4904845"/>
                  <a:ext cx="10583" cy="53975"/>
                </a:xfrm>
                <a:custGeom>
                  <a:avLst/>
                  <a:gdLst>
                    <a:gd name="connsiteX0" fmla="*/ 0 w 10583"/>
                    <a:gd name="connsiteY0" fmla="*/ 0 h 53975"/>
                    <a:gd name="connsiteX1" fmla="*/ 0 w 10583"/>
                    <a:gd name="connsiteY1" fmla="*/ 53975 h 53975"/>
                  </a:gdLst>
                  <a:ahLst/>
                  <a:cxnLst>
                    <a:cxn ang="0">
                      <a:pos x="connsiteX0" y="connsiteY0"/>
                    </a:cxn>
                    <a:cxn ang="0">
                      <a:pos x="connsiteX1" y="connsiteY1"/>
                    </a:cxn>
                  </a:cxnLst>
                  <a:rect l="l" t="t" r="r" b="b"/>
                  <a:pathLst>
                    <a:path w="10583" h="53975">
                      <a:moveTo>
                        <a:pt x="0" y="0"/>
                      </a:moveTo>
                      <a:lnTo>
                        <a:pt x="0" y="53975"/>
                      </a:lnTo>
                    </a:path>
                  </a:pathLst>
                </a:custGeom>
                <a:ln w="12700" cap="flat">
                  <a:solidFill>
                    <a:srgbClr val="231F20"/>
                  </a:solidFill>
                  <a:prstDash val="solid"/>
                  <a:miter/>
                </a:ln>
              </p:spPr>
              <p:txBody>
                <a:bodyPr rtlCol="0" anchor="ctr"/>
                <a:lstStyle/>
                <a:p>
                  <a:endParaRPr lang="en-US" sz="1800"/>
                </a:p>
              </p:txBody>
            </p:sp>
            <p:sp>
              <p:nvSpPr>
                <p:cNvPr id="2820" name="Freeform 32">
                  <a:extLst>
                    <a:ext uri="{FF2B5EF4-FFF2-40B4-BE49-F238E27FC236}">
                      <a16:creationId xmlns:a16="http://schemas.microsoft.com/office/drawing/2014/main" id="{87B0CA2D-084E-87D6-6DD1-C1C501EA39D7}"/>
                    </a:ext>
                  </a:extLst>
                </p:cNvPr>
                <p:cNvSpPr/>
                <p:nvPr/>
              </p:nvSpPr>
              <p:spPr>
                <a:xfrm>
                  <a:off x="4060570" y="4904845"/>
                  <a:ext cx="10583" cy="53975"/>
                </a:xfrm>
                <a:custGeom>
                  <a:avLst/>
                  <a:gdLst>
                    <a:gd name="connsiteX0" fmla="*/ 0 w 10583"/>
                    <a:gd name="connsiteY0" fmla="*/ 0 h 53975"/>
                    <a:gd name="connsiteX1" fmla="*/ 0 w 10583"/>
                    <a:gd name="connsiteY1" fmla="*/ 53975 h 53975"/>
                  </a:gdLst>
                  <a:ahLst/>
                  <a:cxnLst>
                    <a:cxn ang="0">
                      <a:pos x="connsiteX0" y="connsiteY0"/>
                    </a:cxn>
                    <a:cxn ang="0">
                      <a:pos x="connsiteX1" y="connsiteY1"/>
                    </a:cxn>
                  </a:cxnLst>
                  <a:rect l="l" t="t" r="r" b="b"/>
                  <a:pathLst>
                    <a:path w="10583" h="53975">
                      <a:moveTo>
                        <a:pt x="0" y="0"/>
                      </a:moveTo>
                      <a:lnTo>
                        <a:pt x="0" y="53975"/>
                      </a:lnTo>
                    </a:path>
                  </a:pathLst>
                </a:custGeom>
                <a:ln w="12700" cap="flat">
                  <a:solidFill>
                    <a:srgbClr val="231F20"/>
                  </a:solidFill>
                  <a:prstDash val="solid"/>
                  <a:miter/>
                </a:ln>
              </p:spPr>
              <p:txBody>
                <a:bodyPr rtlCol="0" anchor="ctr"/>
                <a:lstStyle/>
                <a:p>
                  <a:endParaRPr lang="en-US" sz="1800"/>
                </a:p>
              </p:txBody>
            </p:sp>
            <p:sp>
              <p:nvSpPr>
                <p:cNvPr id="2821" name="Freeform 33">
                  <a:extLst>
                    <a:ext uri="{FF2B5EF4-FFF2-40B4-BE49-F238E27FC236}">
                      <a16:creationId xmlns:a16="http://schemas.microsoft.com/office/drawing/2014/main" id="{FE0B4C0B-6126-8195-A184-5DBC6880085E}"/>
                    </a:ext>
                  </a:extLst>
                </p:cNvPr>
                <p:cNvSpPr/>
                <p:nvPr/>
              </p:nvSpPr>
              <p:spPr>
                <a:xfrm>
                  <a:off x="4274205" y="4904845"/>
                  <a:ext cx="10583" cy="53975"/>
                </a:xfrm>
                <a:custGeom>
                  <a:avLst/>
                  <a:gdLst>
                    <a:gd name="connsiteX0" fmla="*/ 0 w 10583"/>
                    <a:gd name="connsiteY0" fmla="*/ 0 h 53975"/>
                    <a:gd name="connsiteX1" fmla="*/ 0 w 10583"/>
                    <a:gd name="connsiteY1" fmla="*/ 53975 h 53975"/>
                  </a:gdLst>
                  <a:ahLst/>
                  <a:cxnLst>
                    <a:cxn ang="0">
                      <a:pos x="connsiteX0" y="connsiteY0"/>
                    </a:cxn>
                    <a:cxn ang="0">
                      <a:pos x="connsiteX1" y="connsiteY1"/>
                    </a:cxn>
                  </a:cxnLst>
                  <a:rect l="l" t="t" r="r" b="b"/>
                  <a:pathLst>
                    <a:path w="10583" h="53975">
                      <a:moveTo>
                        <a:pt x="0" y="0"/>
                      </a:moveTo>
                      <a:lnTo>
                        <a:pt x="0" y="53975"/>
                      </a:lnTo>
                    </a:path>
                  </a:pathLst>
                </a:custGeom>
                <a:ln w="12700" cap="flat">
                  <a:solidFill>
                    <a:srgbClr val="231F20"/>
                  </a:solidFill>
                  <a:prstDash val="solid"/>
                  <a:miter/>
                </a:ln>
              </p:spPr>
              <p:txBody>
                <a:bodyPr rtlCol="0" anchor="ctr"/>
                <a:lstStyle/>
                <a:p>
                  <a:endParaRPr lang="en-US" sz="1800"/>
                </a:p>
              </p:txBody>
            </p:sp>
            <p:sp>
              <p:nvSpPr>
                <p:cNvPr id="2822" name="Freeform 34">
                  <a:extLst>
                    <a:ext uri="{FF2B5EF4-FFF2-40B4-BE49-F238E27FC236}">
                      <a16:creationId xmlns:a16="http://schemas.microsoft.com/office/drawing/2014/main" id="{FB4E007D-AFC7-8688-7E92-EF323936804F}"/>
                    </a:ext>
                  </a:extLst>
                </p:cNvPr>
                <p:cNvSpPr/>
                <p:nvPr/>
              </p:nvSpPr>
              <p:spPr>
                <a:xfrm>
                  <a:off x="4487671" y="4904845"/>
                  <a:ext cx="10583" cy="53975"/>
                </a:xfrm>
                <a:custGeom>
                  <a:avLst/>
                  <a:gdLst>
                    <a:gd name="connsiteX0" fmla="*/ 0 w 10583"/>
                    <a:gd name="connsiteY0" fmla="*/ 0 h 53975"/>
                    <a:gd name="connsiteX1" fmla="*/ 0 w 10583"/>
                    <a:gd name="connsiteY1" fmla="*/ 53975 h 53975"/>
                  </a:gdLst>
                  <a:ahLst/>
                  <a:cxnLst>
                    <a:cxn ang="0">
                      <a:pos x="connsiteX0" y="connsiteY0"/>
                    </a:cxn>
                    <a:cxn ang="0">
                      <a:pos x="connsiteX1" y="connsiteY1"/>
                    </a:cxn>
                  </a:cxnLst>
                  <a:rect l="l" t="t" r="r" b="b"/>
                  <a:pathLst>
                    <a:path w="10583" h="53975">
                      <a:moveTo>
                        <a:pt x="0" y="0"/>
                      </a:moveTo>
                      <a:lnTo>
                        <a:pt x="0" y="53975"/>
                      </a:lnTo>
                    </a:path>
                  </a:pathLst>
                </a:custGeom>
                <a:ln w="12700" cap="flat">
                  <a:solidFill>
                    <a:srgbClr val="231F20"/>
                  </a:solidFill>
                  <a:prstDash val="solid"/>
                  <a:miter/>
                </a:ln>
              </p:spPr>
              <p:txBody>
                <a:bodyPr rtlCol="0" anchor="ctr"/>
                <a:lstStyle/>
                <a:p>
                  <a:endParaRPr lang="en-US" sz="1800"/>
                </a:p>
              </p:txBody>
            </p:sp>
            <p:sp>
              <p:nvSpPr>
                <p:cNvPr id="2823" name="Freeform 35">
                  <a:extLst>
                    <a:ext uri="{FF2B5EF4-FFF2-40B4-BE49-F238E27FC236}">
                      <a16:creationId xmlns:a16="http://schemas.microsoft.com/office/drawing/2014/main" id="{3193648A-61E5-D0B0-8CF1-DEA8F51F21BC}"/>
                    </a:ext>
                  </a:extLst>
                </p:cNvPr>
                <p:cNvSpPr/>
                <p:nvPr/>
              </p:nvSpPr>
              <p:spPr>
                <a:xfrm>
                  <a:off x="4701306" y="4904845"/>
                  <a:ext cx="10583" cy="53975"/>
                </a:xfrm>
                <a:custGeom>
                  <a:avLst/>
                  <a:gdLst>
                    <a:gd name="connsiteX0" fmla="*/ 0 w 10583"/>
                    <a:gd name="connsiteY0" fmla="*/ 0 h 53975"/>
                    <a:gd name="connsiteX1" fmla="*/ 0 w 10583"/>
                    <a:gd name="connsiteY1" fmla="*/ 53975 h 53975"/>
                  </a:gdLst>
                  <a:ahLst/>
                  <a:cxnLst>
                    <a:cxn ang="0">
                      <a:pos x="connsiteX0" y="connsiteY0"/>
                    </a:cxn>
                    <a:cxn ang="0">
                      <a:pos x="connsiteX1" y="connsiteY1"/>
                    </a:cxn>
                  </a:cxnLst>
                  <a:rect l="l" t="t" r="r" b="b"/>
                  <a:pathLst>
                    <a:path w="10583" h="53975">
                      <a:moveTo>
                        <a:pt x="0" y="0"/>
                      </a:moveTo>
                      <a:lnTo>
                        <a:pt x="0" y="53975"/>
                      </a:lnTo>
                    </a:path>
                  </a:pathLst>
                </a:custGeom>
                <a:ln w="12700" cap="flat">
                  <a:solidFill>
                    <a:srgbClr val="231F20"/>
                  </a:solidFill>
                  <a:prstDash val="solid"/>
                  <a:miter/>
                </a:ln>
              </p:spPr>
              <p:txBody>
                <a:bodyPr rtlCol="0" anchor="ctr"/>
                <a:lstStyle/>
                <a:p>
                  <a:endParaRPr lang="en-US" sz="1800"/>
                </a:p>
              </p:txBody>
            </p:sp>
            <p:sp>
              <p:nvSpPr>
                <p:cNvPr id="2824" name="Freeform 36">
                  <a:extLst>
                    <a:ext uri="{FF2B5EF4-FFF2-40B4-BE49-F238E27FC236}">
                      <a16:creationId xmlns:a16="http://schemas.microsoft.com/office/drawing/2014/main" id="{D2055B06-74D8-9D20-9998-E6905688EB5D}"/>
                    </a:ext>
                  </a:extLst>
                </p:cNvPr>
                <p:cNvSpPr/>
                <p:nvPr/>
              </p:nvSpPr>
              <p:spPr>
                <a:xfrm>
                  <a:off x="4914772" y="4904845"/>
                  <a:ext cx="10583" cy="53975"/>
                </a:xfrm>
                <a:custGeom>
                  <a:avLst/>
                  <a:gdLst>
                    <a:gd name="connsiteX0" fmla="*/ 0 w 10583"/>
                    <a:gd name="connsiteY0" fmla="*/ 0 h 53975"/>
                    <a:gd name="connsiteX1" fmla="*/ 0 w 10583"/>
                    <a:gd name="connsiteY1" fmla="*/ 53975 h 53975"/>
                  </a:gdLst>
                  <a:ahLst/>
                  <a:cxnLst>
                    <a:cxn ang="0">
                      <a:pos x="connsiteX0" y="connsiteY0"/>
                    </a:cxn>
                    <a:cxn ang="0">
                      <a:pos x="connsiteX1" y="connsiteY1"/>
                    </a:cxn>
                  </a:cxnLst>
                  <a:rect l="l" t="t" r="r" b="b"/>
                  <a:pathLst>
                    <a:path w="10583" h="53975">
                      <a:moveTo>
                        <a:pt x="0" y="0"/>
                      </a:moveTo>
                      <a:lnTo>
                        <a:pt x="0" y="53975"/>
                      </a:lnTo>
                    </a:path>
                  </a:pathLst>
                </a:custGeom>
                <a:ln w="12700" cap="flat">
                  <a:solidFill>
                    <a:srgbClr val="231F20"/>
                  </a:solidFill>
                  <a:prstDash val="solid"/>
                  <a:miter/>
                </a:ln>
              </p:spPr>
              <p:txBody>
                <a:bodyPr rtlCol="0" anchor="ctr"/>
                <a:lstStyle/>
                <a:p>
                  <a:endParaRPr lang="en-US" sz="1800"/>
                </a:p>
              </p:txBody>
            </p:sp>
            <p:sp>
              <p:nvSpPr>
                <p:cNvPr id="2825" name="Freeform 37">
                  <a:extLst>
                    <a:ext uri="{FF2B5EF4-FFF2-40B4-BE49-F238E27FC236}">
                      <a16:creationId xmlns:a16="http://schemas.microsoft.com/office/drawing/2014/main" id="{06E65201-A108-4E4D-97A5-9B0B4919B403}"/>
                    </a:ext>
                  </a:extLst>
                </p:cNvPr>
                <p:cNvSpPr/>
                <p:nvPr/>
              </p:nvSpPr>
              <p:spPr>
                <a:xfrm>
                  <a:off x="5128248" y="4904845"/>
                  <a:ext cx="10583" cy="53975"/>
                </a:xfrm>
                <a:custGeom>
                  <a:avLst/>
                  <a:gdLst>
                    <a:gd name="connsiteX0" fmla="*/ 0 w 10583"/>
                    <a:gd name="connsiteY0" fmla="*/ 0 h 53975"/>
                    <a:gd name="connsiteX1" fmla="*/ 0 w 10583"/>
                    <a:gd name="connsiteY1" fmla="*/ 53975 h 53975"/>
                  </a:gdLst>
                  <a:ahLst/>
                  <a:cxnLst>
                    <a:cxn ang="0">
                      <a:pos x="connsiteX0" y="connsiteY0"/>
                    </a:cxn>
                    <a:cxn ang="0">
                      <a:pos x="connsiteX1" y="connsiteY1"/>
                    </a:cxn>
                  </a:cxnLst>
                  <a:rect l="l" t="t" r="r" b="b"/>
                  <a:pathLst>
                    <a:path w="10583" h="53975">
                      <a:moveTo>
                        <a:pt x="0" y="0"/>
                      </a:moveTo>
                      <a:lnTo>
                        <a:pt x="0" y="53975"/>
                      </a:lnTo>
                    </a:path>
                  </a:pathLst>
                </a:custGeom>
                <a:ln w="12700" cap="flat">
                  <a:solidFill>
                    <a:srgbClr val="231F20"/>
                  </a:solidFill>
                  <a:prstDash val="solid"/>
                  <a:miter/>
                </a:ln>
              </p:spPr>
              <p:txBody>
                <a:bodyPr rtlCol="0" anchor="ctr"/>
                <a:lstStyle/>
                <a:p>
                  <a:endParaRPr lang="en-US" sz="1800"/>
                </a:p>
              </p:txBody>
            </p:sp>
            <p:sp>
              <p:nvSpPr>
                <p:cNvPr id="2826" name="Freeform 38">
                  <a:extLst>
                    <a:ext uri="{FF2B5EF4-FFF2-40B4-BE49-F238E27FC236}">
                      <a16:creationId xmlns:a16="http://schemas.microsoft.com/office/drawing/2014/main" id="{1E01F163-C150-C48C-0AED-A244B2924473}"/>
                    </a:ext>
                  </a:extLst>
                </p:cNvPr>
                <p:cNvSpPr/>
                <p:nvPr/>
              </p:nvSpPr>
              <p:spPr>
                <a:xfrm>
                  <a:off x="5341884" y="4904845"/>
                  <a:ext cx="10583" cy="53975"/>
                </a:xfrm>
                <a:custGeom>
                  <a:avLst/>
                  <a:gdLst>
                    <a:gd name="connsiteX0" fmla="*/ 0 w 10583"/>
                    <a:gd name="connsiteY0" fmla="*/ 0 h 53975"/>
                    <a:gd name="connsiteX1" fmla="*/ 0 w 10583"/>
                    <a:gd name="connsiteY1" fmla="*/ 53975 h 53975"/>
                  </a:gdLst>
                  <a:ahLst/>
                  <a:cxnLst>
                    <a:cxn ang="0">
                      <a:pos x="connsiteX0" y="connsiteY0"/>
                    </a:cxn>
                    <a:cxn ang="0">
                      <a:pos x="connsiteX1" y="connsiteY1"/>
                    </a:cxn>
                  </a:cxnLst>
                  <a:rect l="l" t="t" r="r" b="b"/>
                  <a:pathLst>
                    <a:path w="10583" h="53975">
                      <a:moveTo>
                        <a:pt x="0" y="0"/>
                      </a:moveTo>
                      <a:lnTo>
                        <a:pt x="0" y="53975"/>
                      </a:lnTo>
                    </a:path>
                  </a:pathLst>
                </a:custGeom>
                <a:ln w="12700" cap="flat">
                  <a:solidFill>
                    <a:srgbClr val="231F20"/>
                  </a:solidFill>
                  <a:prstDash val="solid"/>
                  <a:miter/>
                </a:ln>
              </p:spPr>
              <p:txBody>
                <a:bodyPr rtlCol="0" anchor="ctr"/>
                <a:lstStyle/>
                <a:p>
                  <a:endParaRPr lang="en-US" sz="1800"/>
                </a:p>
              </p:txBody>
            </p:sp>
            <p:sp>
              <p:nvSpPr>
                <p:cNvPr id="2827" name="Freeform 39">
                  <a:extLst>
                    <a:ext uri="{FF2B5EF4-FFF2-40B4-BE49-F238E27FC236}">
                      <a16:creationId xmlns:a16="http://schemas.microsoft.com/office/drawing/2014/main" id="{8A4B838B-4D58-4F07-64EB-B51DABC44178}"/>
                    </a:ext>
                  </a:extLst>
                </p:cNvPr>
                <p:cNvSpPr/>
                <p:nvPr/>
              </p:nvSpPr>
              <p:spPr>
                <a:xfrm>
                  <a:off x="5555349" y="4904845"/>
                  <a:ext cx="10583" cy="53975"/>
                </a:xfrm>
                <a:custGeom>
                  <a:avLst/>
                  <a:gdLst>
                    <a:gd name="connsiteX0" fmla="*/ 0 w 10583"/>
                    <a:gd name="connsiteY0" fmla="*/ 0 h 53975"/>
                    <a:gd name="connsiteX1" fmla="*/ 0 w 10583"/>
                    <a:gd name="connsiteY1" fmla="*/ 53975 h 53975"/>
                  </a:gdLst>
                  <a:ahLst/>
                  <a:cxnLst>
                    <a:cxn ang="0">
                      <a:pos x="connsiteX0" y="connsiteY0"/>
                    </a:cxn>
                    <a:cxn ang="0">
                      <a:pos x="connsiteX1" y="connsiteY1"/>
                    </a:cxn>
                  </a:cxnLst>
                  <a:rect l="l" t="t" r="r" b="b"/>
                  <a:pathLst>
                    <a:path w="10583" h="53975">
                      <a:moveTo>
                        <a:pt x="0" y="0"/>
                      </a:moveTo>
                      <a:lnTo>
                        <a:pt x="0" y="53975"/>
                      </a:lnTo>
                    </a:path>
                  </a:pathLst>
                </a:custGeom>
                <a:ln w="12700" cap="flat">
                  <a:solidFill>
                    <a:srgbClr val="231F20"/>
                  </a:solidFill>
                  <a:prstDash val="solid"/>
                  <a:miter/>
                </a:ln>
              </p:spPr>
              <p:txBody>
                <a:bodyPr rtlCol="0" anchor="ctr"/>
                <a:lstStyle/>
                <a:p>
                  <a:endParaRPr lang="en-US" sz="1800"/>
                </a:p>
              </p:txBody>
            </p:sp>
            <p:sp>
              <p:nvSpPr>
                <p:cNvPr id="2828" name="Freeform 40">
                  <a:extLst>
                    <a:ext uri="{FF2B5EF4-FFF2-40B4-BE49-F238E27FC236}">
                      <a16:creationId xmlns:a16="http://schemas.microsoft.com/office/drawing/2014/main" id="{55817250-A0DB-DBCB-2F6A-0302ABAB16FB}"/>
                    </a:ext>
                  </a:extLst>
                </p:cNvPr>
                <p:cNvSpPr/>
                <p:nvPr/>
              </p:nvSpPr>
              <p:spPr>
                <a:xfrm>
                  <a:off x="5768985" y="4904845"/>
                  <a:ext cx="10583" cy="53975"/>
                </a:xfrm>
                <a:custGeom>
                  <a:avLst/>
                  <a:gdLst>
                    <a:gd name="connsiteX0" fmla="*/ 0 w 10583"/>
                    <a:gd name="connsiteY0" fmla="*/ 0 h 53975"/>
                    <a:gd name="connsiteX1" fmla="*/ 0 w 10583"/>
                    <a:gd name="connsiteY1" fmla="*/ 53975 h 53975"/>
                  </a:gdLst>
                  <a:ahLst/>
                  <a:cxnLst>
                    <a:cxn ang="0">
                      <a:pos x="connsiteX0" y="connsiteY0"/>
                    </a:cxn>
                    <a:cxn ang="0">
                      <a:pos x="connsiteX1" y="connsiteY1"/>
                    </a:cxn>
                  </a:cxnLst>
                  <a:rect l="l" t="t" r="r" b="b"/>
                  <a:pathLst>
                    <a:path w="10583" h="53975">
                      <a:moveTo>
                        <a:pt x="0" y="0"/>
                      </a:moveTo>
                      <a:lnTo>
                        <a:pt x="0" y="53975"/>
                      </a:lnTo>
                    </a:path>
                  </a:pathLst>
                </a:custGeom>
                <a:ln w="12700" cap="flat">
                  <a:solidFill>
                    <a:srgbClr val="231F20"/>
                  </a:solidFill>
                  <a:prstDash val="solid"/>
                  <a:miter/>
                </a:ln>
              </p:spPr>
              <p:txBody>
                <a:bodyPr rtlCol="0" anchor="ctr"/>
                <a:lstStyle/>
                <a:p>
                  <a:endParaRPr lang="en-US" sz="1800"/>
                </a:p>
              </p:txBody>
            </p:sp>
            <p:sp>
              <p:nvSpPr>
                <p:cNvPr id="2829" name="Freeform 41">
                  <a:extLst>
                    <a:ext uri="{FF2B5EF4-FFF2-40B4-BE49-F238E27FC236}">
                      <a16:creationId xmlns:a16="http://schemas.microsoft.com/office/drawing/2014/main" id="{242B5DFC-1907-A932-7260-8C851EA4F5F7}"/>
                    </a:ext>
                  </a:extLst>
                </p:cNvPr>
                <p:cNvSpPr/>
                <p:nvPr/>
              </p:nvSpPr>
              <p:spPr>
                <a:xfrm>
                  <a:off x="5982450" y="4904845"/>
                  <a:ext cx="10583" cy="53975"/>
                </a:xfrm>
                <a:custGeom>
                  <a:avLst/>
                  <a:gdLst>
                    <a:gd name="connsiteX0" fmla="*/ 0 w 10583"/>
                    <a:gd name="connsiteY0" fmla="*/ 0 h 53975"/>
                    <a:gd name="connsiteX1" fmla="*/ 0 w 10583"/>
                    <a:gd name="connsiteY1" fmla="*/ 53975 h 53975"/>
                  </a:gdLst>
                  <a:ahLst/>
                  <a:cxnLst>
                    <a:cxn ang="0">
                      <a:pos x="connsiteX0" y="connsiteY0"/>
                    </a:cxn>
                    <a:cxn ang="0">
                      <a:pos x="connsiteX1" y="connsiteY1"/>
                    </a:cxn>
                  </a:cxnLst>
                  <a:rect l="l" t="t" r="r" b="b"/>
                  <a:pathLst>
                    <a:path w="10583" h="53975">
                      <a:moveTo>
                        <a:pt x="0" y="0"/>
                      </a:moveTo>
                      <a:lnTo>
                        <a:pt x="0" y="53975"/>
                      </a:lnTo>
                    </a:path>
                  </a:pathLst>
                </a:custGeom>
                <a:ln w="12700" cap="flat">
                  <a:solidFill>
                    <a:srgbClr val="231F20"/>
                  </a:solidFill>
                  <a:prstDash val="solid"/>
                  <a:miter/>
                </a:ln>
              </p:spPr>
              <p:txBody>
                <a:bodyPr rtlCol="0" anchor="ctr"/>
                <a:lstStyle/>
                <a:p>
                  <a:endParaRPr lang="en-US" sz="1800"/>
                </a:p>
              </p:txBody>
            </p:sp>
            <p:sp>
              <p:nvSpPr>
                <p:cNvPr id="2830" name="Freeform 42">
                  <a:extLst>
                    <a:ext uri="{FF2B5EF4-FFF2-40B4-BE49-F238E27FC236}">
                      <a16:creationId xmlns:a16="http://schemas.microsoft.com/office/drawing/2014/main" id="{B47C1E5D-4439-3808-E0F0-22E10D3D55DB}"/>
                    </a:ext>
                  </a:extLst>
                </p:cNvPr>
                <p:cNvSpPr/>
                <p:nvPr/>
              </p:nvSpPr>
              <p:spPr>
                <a:xfrm>
                  <a:off x="6195916" y="4904845"/>
                  <a:ext cx="10583" cy="53975"/>
                </a:xfrm>
                <a:custGeom>
                  <a:avLst/>
                  <a:gdLst>
                    <a:gd name="connsiteX0" fmla="*/ 0 w 10583"/>
                    <a:gd name="connsiteY0" fmla="*/ 0 h 53975"/>
                    <a:gd name="connsiteX1" fmla="*/ 0 w 10583"/>
                    <a:gd name="connsiteY1" fmla="*/ 53975 h 53975"/>
                  </a:gdLst>
                  <a:ahLst/>
                  <a:cxnLst>
                    <a:cxn ang="0">
                      <a:pos x="connsiteX0" y="connsiteY0"/>
                    </a:cxn>
                    <a:cxn ang="0">
                      <a:pos x="connsiteX1" y="connsiteY1"/>
                    </a:cxn>
                  </a:cxnLst>
                  <a:rect l="l" t="t" r="r" b="b"/>
                  <a:pathLst>
                    <a:path w="10583" h="53975">
                      <a:moveTo>
                        <a:pt x="0" y="0"/>
                      </a:moveTo>
                      <a:lnTo>
                        <a:pt x="0" y="53975"/>
                      </a:lnTo>
                    </a:path>
                  </a:pathLst>
                </a:custGeom>
                <a:ln w="12700" cap="flat">
                  <a:solidFill>
                    <a:srgbClr val="231F20"/>
                  </a:solidFill>
                  <a:prstDash val="solid"/>
                  <a:miter/>
                </a:ln>
              </p:spPr>
              <p:txBody>
                <a:bodyPr rtlCol="0" anchor="ctr"/>
                <a:lstStyle/>
                <a:p>
                  <a:endParaRPr lang="en-US" sz="1800"/>
                </a:p>
              </p:txBody>
            </p:sp>
            <p:sp>
              <p:nvSpPr>
                <p:cNvPr id="2831" name="Freeform 43">
                  <a:extLst>
                    <a:ext uri="{FF2B5EF4-FFF2-40B4-BE49-F238E27FC236}">
                      <a16:creationId xmlns:a16="http://schemas.microsoft.com/office/drawing/2014/main" id="{8414020B-9FE1-1D91-DAFC-0D1873E2E26E}"/>
                    </a:ext>
                  </a:extLst>
                </p:cNvPr>
                <p:cNvSpPr/>
                <p:nvPr/>
              </p:nvSpPr>
              <p:spPr>
                <a:xfrm>
                  <a:off x="6409551" y="4904845"/>
                  <a:ext cx="10583" cy="53975"/>
                </a:xfrm>
                <a:custGeom>
                  <a:avLst/>
                  <a:gdLst>
                    <a:gd name="connsiteX0" fmla="*/ 0 w 10583"/>
                    <a:gd name="connsiteY0" fmla="*/ 0 h 53975"/>
                    <a:gd name="connsiteX1" fmla="*/ 0 w 10583"/>
                    <a:gd name="connsiteY1" fmla="*/ 53975 h 53975"/>
                  </a:gdLst>
                  <a:ahLst/>
                  <a:cxnLst>
                    <a:cxn ang="0">
                      <a:pos x="connsiteX0" y="connsiteY0"/>
                    </a:cxn>
                    <a:cxn ang="0">
                      <a:pos x="connsiteX1" y="connsiteY1"/>
                    </a:cxn>
                  </a:cxnLst>
                  <a:rect l="l" t="t" r="r" b="b"/>
                  <a:pathLst>
                    <a:path w="10583" h="53975">
                      <a:moveTo>
                        <a:pt x="0" y="0"/>
                      </a:moveTo>
                      <a:lnTo>
                        <a:pt x="0" y="53975"/>
                      </a:lnTo>
                    </a:path>
                  </a:pathLst>
                </a:custGeom>
                <a:ln w="12700" cap="flat">
                  <a:solidFill>
                    <a:srgbClr val="231F20"/>
                  </a:solidFill>
                  <a:prstDash val="solid"/>
                  <a:miter/>
                </a:ln>
              </p:spPr>
              <p:txBody>
                <a:bodyPr rtlCol="0" anchor="ctr"/>
                <a:lstStyle/>
                <a:p>
                  <a:endParaRPr lang="en-US" sz="1800"/>
                </a:p>
              </p:txBody>
            </p:sp>
            <p:sp>
              <p:nvSpPr>
                <p:cNvPr id="2832" name="Freeform 44">
                  <a:extLst>
                    <a:ext uri="{FF2B5EF4-FFF2-40B4-BE49-F238E27FC236}">
                      <a16:creationId xmlns:a16="http://schemas.microsoft.com/office/drawing/2014/main" id="{EDFCF301-780F-5DEE-FFE0-1B55537C58C5}"/>
                    </a:ext>
                  </a:extLst>
                </p:cNvPr>
                <p:cNvSpPr/>
                <p:nvPr/>
              </p:nvSpPr>
              <p:spPr>
                <a:xfrm>
                  <a:off x="6623017" y="4904845"/>
                  <a:ext cx="10583" cy="53975"/>
                </a:xfrm>
                <a:custGeom>
                  <a:avLst/>
                  <a:gdLst>
                    <a:gd name="connsiteX0" fmla="*/ 0 w 10583"/>
                    <a:gd name="connsiteY0" fmla="*/ 0 h 53975"/>
                    <a:gd name="connsiteX1" fmla="*/ 0 w 10583"/>
                    <a:gd name="connsiteY1" fmla="*/ 53975 h 53975"/>
                  </a:gdLst>
                  <a:ahLst/>
                  <a:cxnLst>
                    <a:cxn ang="0">
                      <a:pos x="connsiteX0" y="connsiteY0"/>
                    </a:cxn>
                    <a:cxn ang="0">
                      <a:pos x="connsiteX1" y="connsiteY1"/>
                    </a:cxn>
                  </a:cxnLst>
                  <a:rect l="l" t="t" r="r" b="b"/>
                  <a:pathLst>
                    <a:path w="10583" h="53975">
                      <a:moveTo>
                        <a:pt x="0" y="0"/>
                      </a:moveTo>
                      <a:lnTo>
                        <a:pt x="0" y="53975"/>
                      </a:lnTo>
                    </a:path>
                  </a:pathLst>
                </a:custGeom>
                <a:ln w="12700" cap="flat">
                  <a:solidFill>
                    <a:srgbClr val="231F20"/>
                  </a:solidFill>
                  <a:prstDash val="solid"/>
                  <a:miter/>
                </a:ln>
              </p:spPr>
              <p:txBody>
                <a:bodyPr rtlCol="0" anchor="ctr"/>
                <a:lstStyle/>
                <a:p>
                  <a:endParaRPr lang="en-US" sz="1800"/>
                </a:p>
              </p:txBody>
            </p:sp>
            <p:sp>
              <p:nvSpPr>
                <p:cNvPr id="2833" name="Freeform 45">
                  <a:extLst>
                    <a:ext uri="{FF2B5EF4-FFF2-40B4-BE49-F238E27FC236}">
                      <a16:creationId xmlns:a16="http://schemas.microsoft.com/office/drawing/2014/main" id="{67890E4C-1731-21AB-83E2-396BF23C411A}"/>
                    </a:ext>
                  </a:extLst>
                </p:cNvPr>
                <p:cNvSpPr/>
                <p:nvPr/>
              </p:nvSpPr>
              <p:spPr>
                <a:xfrm>
                  <a:off x="6836652" y="4904845"/>
                  <a:ext cx="10583" cy="53975"/>
                </a:xfrm>
                <a:custGeom>
                  <a:avLst/>
                  <a:gdLst>
                    <a:gd name="connsiteX0" fmla="*/ 0 w 10583"/>
                    <a:gd name="connsiteY0" fmla="*/ 0 h 53975"/>
                    <a:gd name="connsiteX1" fmla="*/ 0 w 10583"/>
                    <a:gd name="connsiteY1" fmla="*/ 53975 h 53975"/>
                  </a:gdLst>
                  <a:ahLst/>
                  <a:cxnLst>
                    <a:cxn ang="0">
                      <a:pos x="connsiteX0" y="connsiteY0"/>
                    </a:cxn>
                    <a:cxn ang="0">
                      <a:pos x="connsiteX1" y="connsiteY1"/>
                    </a:cxn>
                  </a:cxnLst>
                  <a:rect l="l" t="t" r="r" b="b"/>
                  <a:pathLst>
                    <a:path w="10583" h="53975">
                      <a:moveTo>
                        <a:pt x="0" y="0"/>
                      </a:moveTo>
                      <a:lnTo>
                        <a:pt x="0" y="53975"/>
                      </a:lnTo>
                    </a:path>
                  </a:pathLst>
                </a:custGeom>
                <a:ln w="12700" cap="flat">
                  <a:solidFill>
                    <a:srgbClr val="231F20"/>
                  </a:solidFill>
                  <a:prstDash val="solid"/>
                  <a:miter/>
                </a:ln>
              </p:spPr>
              <p:txBody>
                <a:bodyPr rtlCol="0" anchor="ctr"/>
                <a:lstStyle/>
                <a:p>
                  <a:endParaRPr lang="en-US" sz="1800"/>
                </a:p>
              </p:txBody>
            </p:sp>
            <p:sp>
              <p:nvSpPr>
                <p:cNvPr id="2834" name="Freeform 46">
                  <a:extLst>
                    <a:ext uri="{FF2B5EF4-FFF2-40B4-BE49-F238E27FC236}">
                      <a16:creationId xmlns:a16="http://schemas.microsoft.com/office/drawing/2014/main" id="{2391D67A-1CD6-CB4F-FBD4-641D1F27177D}"/>
                    </a:ext>
                  </a:extLst>
                </p:cNvPr>
                <p:cNvSpPr/>
                <p:nvPr/>
              </p:nvSpPr>
              <p:spPr>
                <a:xfrm>
                  <a:off x="7050118" y="4904845"/>
                  <a:ext cx="10583" cy="53975"/>
                </a:xfrm>
                <a:custGeom>
                  <a:avLst/>
                  <a:gdLst>
                    <a:gd name="connsiteX0" fmla="*/ 0 w 10583"/>
                    <a:gd name="connsiteY0" fmla="*/ 0 h 53975"/>
                    <a:gd name="connsiteX1" fmla="*/ 0 w 10583"/>
                    <a:gd name="connsiteY1" fmla="*/ 53975 h 53975"/>
                  </a:gdLst>
                  <a:ahLst/>
                  <a:cxnLst>
                    <a:cxn ang="0">
                      <a:pos x="connsiteX0" y="connsiteY0"/>
                    </a:cxn>
                    <a:cxn ang="0">
                      <a:pos x="connsiteX1" y="connsiteY1"/>
                    </a:cxn>
                  </a:cxnLst>
                  <a:rect l="l" t="t" r="r" b="b"/>
                  <a:pathLst>
                    <a:path w="10583" h="53975">
                      <a:moveTo>
                        <a:pt x="0" y="0"/>
                      </a:moveTo>
                      <a:lnTo>
                        <a:pt x="0" y="53975"/>
                      </a:lnTo>
                    </a:path>
                  </a:pathLst>
                </a:custGeom>
                <a:ln w="12700" cap="flat">
                  <a:solidFill>
                    <a:srgbClr val="231F20"/>
                  </a:solidFill>
                  <a:prstDash val="solid"/>
                  <a:miter/>
                </a:ln>
              </p:spPr>
              <p:txBody>
                <a:bodyPr rtlCol="0" anchor="ctr"/>
                <a:lstStyle/>
                <a:p>
                  <a:endParaRPr lang="en-US" sz="1800"/>
                </a:p>
              </p:txBody>
            </p:sp>
            <p:sp>
              <p:nvSpPr>
                <p:cNvPr id="2835" name="Freeform 47">
                  <a:extLst>
                    <a:ext uri="{FF2B5EF4-FFF2-40B4-BE49-F238E27FC236}">
                      <a16:creationId xmlns:a16="http://schemas.microsoft.com/office/drawing/2014/main" id="{1F33EAC4-D15C-2195-9C49-6AC15202DB6C}"/>
                    </a:ext>
                  </a:extLst>
                </p:cNvPr>
                <p:cNvSpPr/>
                <p:nvPr/>
              </p:nvSpPr>
              <p:spPr>
                <a:xfrm>
                  <a:off x="7263595" y="4904845"/>
                  <a:ext cx="10583" cy="53975"/>
                </a:xfrm>
                <a:custGeom>
                  <a:avLst/>
                  <a:gdLst>
                    <a:gd name="connsiteX0" fmla="*/ 0 w 10583"/>
                    <a:gd name="connsiteY0" fmla="*/ 0 h 53975"/>
                    <a:gd name="connsiteX1" fmla="*/ 0 w 10583"/>
                    <a:gd name="connsiteY1" fmla="*/ 53975 h 53975"/>
                  </a:gdLst>
                  <a:ahLst/>
                  <a:cxnLst>
                    <a:cxn ang="0">
                      <a:pos x="connsiteX0" y="connsiteY0"/>
                    </a:cxn>
                    <a:cxn ang="0">
                      <a:pos x="connsiteX1" y="connsiteY1"/>
                    </a:cxn>
                  </a:cxnLst>
                  <a:rect l="l" t="t" r="r" b="b"/>
                  <a:pathLst>
                    <a:path w="10583" h="53975">
                      <a:moveTo>
                        <a:pt x="0" y="0"/>
                      </a:moveTo>
                      <a:lnTo>
                        <a:pt x="0" y="53975"/>
                      </a:lnTo>
                    </a:path>
                  </a:pathLst>
                </a:custGeom>
                <a:ln w="12700" cap="flat">
                  <a:solidFill>
                    <a:srgbClr val="231F20"/>
                  </a:solidFill>
                  <a:prstDash val="solid"/>
                  <a:miter/>
                </a:ln>
              </p:spPr>
              <p:txBody>
                <a:bodyPr rtlCol="0" anchor="ctr"/>
                <a:lstStyle/>
                <a:p>
                  <a:endParaRPr lang="en-US" sz="1800"/>
                </a:p>
              </p:txBody>
            </p:sp>
            <p:sp>
              <p:nvSpPr>
                <p:cNvPr id="2836" name="Freeform 48">
                  <a:extLst>
                    <a:ext uri="{FF2B5EF4-FFF2-40B4-BE49-F238E27FC236}">
                      <a16:creationId xmlns:a16="http://schemas.microsoft.com/office/drawing/2014/main" id="{2A835234-BFC7-3056-7E1D-E87C9A31B1DE}"/>
                    </a:ext>
                  </a:extLst>
                </p:cNvPr>
                <p:cNvSpPr/>
                <p:nvPr/>
              </p:nvSpPr>
              <p:spPr>
                <a:xfrm>
                  <a:off x="7477230" y="4904845"/>
                  <a:ext cx="10583" cy="53975"/>
                </a:xfrm>
                <a:custGeom>
                  <a:avLst/>
                  <a:gdLst>
                    <a:gd name="connsiteX0" fmla="*/ 0 w 10583"/>
                    <a:gd name="connsiteY0" fmla="*/ 0 h 53975"/>
                    <a:gd name="connsiteX1" fmla="*/ 0 w 10583"/>
                    <a:gd name="connsiteY1" fmla="*/ 53975 h 53975"/>
                  </a:gdLst>
                  <a:ahLst/>
                  <a:cxnLst>
                    <a:cxn ang="0">
                      <a:pos x="connsiteX0" y="connsiteY0"/>
                    </a:cxn>
                    <a:cxn ang="0">
                      <a:pos x="connsiteX1" y="connsiteY1"/>
                    </a:cxn>
                  </a:cxnLst>
                  <a:rect l="l" t="t" r="r" b="b"/>
                  <a:pathLst>
                    <a:path w="10583" h="53975">
                      <a:moveTo>
                        <a:pt x="0" y="0"/>
                      </a:moveTo>
                      <a:lnTo>
                        <a:pt x="0" y="53975"/>
                      </a:lnTo>
                    </a:path>
                  </a:pathLst>
                </a:custGeom>
                <a:ln w="12700" cap="flat">
                  <a:solidFill>
                    <a:srgbClr val="231F20"/>
                  </a:solidFill>
                  <a:prstDash val="solid"/>
                  <a:miter/>
                </a:ln>
              </p:spPr>
              <p:txBody>
                <a:bodyPr rtlCol="0" anchor="ctr"/>
                <a:lstStyle/>
                <a:p>
                  <a:endParaRPr lang="en-US" sz="1800"/>
                </a:p>
              </p:txBody>
            </p:sp>
            <p:sp>
              <p:nvSpPr>
                <p:cNvPr id="2837" name="Freeform 49">
                  <a:extLst>
                    <a:ext uri="{FF2B5EF4-FFF2-40B4-BE49-F238E27FC236}">
                      <a16:creationId xmlns:a16="http://schemas.microsoft.com/office/drawing/2014/main" id="{42111E8B-C1C5-043A-723B-182C1B3F134C}"/>
                    </a:ext>
                  </a:extLst>
                </p:cNvPr>
                <p:cNvSpPr/>
                <p:nvPr/>
              </p:nvSpPr>
              <p:spPr>
                <a:xfrm>
                  <a:off x="7690696" y="4904845"/>
                  <a:ext cx="10583" cy="53975"/>
                </a:xfrm>
                <a:custGeom>
                  <a:avLst/>
                  <a:gdLst>
                    <a:gd name="connsiteX0" fmla="*/ 0 w 10583"/>
                    <a:gd name="connsiteY0" fmla="*/ 0 h 53975"/>
                    <a:gd name="connsiteX1" fmla="*/ 0 w 10583"/>
                    <a:gd name="connsiteY1" fmla="*/ 53975 h 53975"/>
                  </a:gdLst>
                  <a:ahLst/>
                  <a:cxnLst>
                    <a:cxn ang="0">
                      <a:pos x="connsiteX0" y="connsiteY0"/>
                    </a:cxn>
                    <a:cxn ang="0">
                      <a:pos x="connsiteX1" y="connsiteY1"/>
                    </a:cxn>
                  </a:cxnLst>
                  <a:rect l="l" t="t" r="r" b="b"/>
                  <a:pathLst>
                    <a:path w="10583" h="53975">
                      <a:moveTo>
                        <a:pt x="0" y="0"/>
                      </a:moveTo>
                      <a:lnTo>
                        <a:pt x="0" y="53975"/>
                      </a:lnTo>
                    </a:path>
                  </a:pathLst>
                </a:custGeom>
                <a:ln w="12700" cap="flat">
                  <a:solidFill>
                    <a:srgbClr val="231F20"/>
                  </a:solidFill>
                  <a:prstDash val="solid"/>
                  <a:miter/>
                </a:ln>
              </p:spPr>
              <p:txBody>
                <a:bodyPr rtlCol="0" anchor="ctr"/>
                <a:lstStyle/>
                <a:p>
                  <a:endParaRPr lang="en-US" sz="1800"/>
                </a:p>
              </p:txBody>
            </p:sp>
            <p:sp>
              <p:nvSpPr>
                <p:cNvPr id="2838" name="Freeform 50">
                  <a:extLst>
                    <a:ext uri="{FF2B5EF4-FFF2-40B4-BE49-F238E27FC236}">
                      <a16:creationId xmlns:a16="http://schemas.microsoft.com/office/drawing/2014/main" id="{01E25282-688B-A452-960C-41913B29CEB0}"/>
                    </a:ext>
                  </a:extLst>
                </p:cNvPr>
                <p:cNvSpPr/>
                <p:nvPr/>
              </p:nvSpPr>
              <p:spPr>
                <a:xfrm>
                  <a:off x="7904331" y="4904845"/>
                  <a:ext cx="10583" cy="53975"/>
                </a:xfrm>
                <a:custGeom>
                  <a:avLst/>
                  <a:gdLst>
                    <a:gd name="connsiteX0" fmla="*/ 0 w 10583"/>
                    <a:gd name="connsiteY0" fmla="*/ 0 h 53975"/>
                    <a:gd name="connsiteX1" fmla="*/ 0 w 10583"/>
                    <a:gd name="connsiteY1" fmla="*/ 53975 h 53975"/>
                  </a:gdLst>
                  <a:ahLst/>
                  <a:cxnLst>
                    <a:cxn ang="0">
                      <a:pos x="connsiteX0" y="connsiteY0"/>
                    </a:cxn>
                    <a:cxn ang="0">
                      <a:pos x="connsiteX1" y="connsiteY1"/>
                    </a:cxn>
                  </a:cxnLst>
                  <a:rect l="l" t="t" r="r" b="b"/>
                  <a:pathLst>
                    <a:path w="10583" h="53975">
                      <a:moveTo>
                        <a:pt x="0" y="0"/>
                      </a:moveTo>
                      <a:lnTo>
                        <a:pt x="0" y="53975"/>
                      </a:lnTo>
                    </a:path>
                  </a:pathLst>
                </a:custGeom>
                <a:ln w="12700" cap="flat">
                  <a:solidFill>
                    <a:srgbClr val="231F20"/>
                  </a:solidFill>
                  <a:prstDash val="solid"/>
                  <a:miter/>
                </a:ln>
              </p:spPr>
              <p:txBody>
                <a:bodyPr rtlCol="0" anchor="ctr"/>
                <a:lstStyle/>
                <a:p>
                  <a:endParaRPr lang="en-US" sz="1800"/>
                </a:p>
              </p:txBody>
            </p:sp>
            <p:sp>
              <p:nvSpPr>
                <p:cNvPr id="2839" name="Freeform 51">
                  <a:extLst>
                    <a:ext uri="{FF2B5EF4-FFF2-40B4-BE49-F238E27FC236}">
                      <a16:creationId xmlns:a16="http://schemas.microsoft.com/office/drawing/2014/main" id="{BCEB72F8-C3E1-C868-7077-AB92ED0786DF}"/>
                    </a:ext>
                  </a:extLst>
                </p:cNvPr>
                <p:cNvSpPr/>
                <p:nvPr/>
              </p:nvSpPr>
              <p:spPr>
                <a:xfrm>
                  <a:off x="8117797" y="4904845"/>
                  <a:ext cx="10583" cy="53975"/>
                </a:xfrm>
                <a:custGeom>
                  <a:avLst/>
                  <a:gdLst>
                    <a:gd name="connsiteX0" fmla="*/ 0 w 10583"/>
                    <a:gd name="connsiteY0" fmla="*/ 0 h 53975"/>
                    <a:gd name="connsiteX1" fmla="*/ 0 w 10583"/>
                    <a:gd name="connsiteY1" fmla="*/ 53975 h 53975"/>
                  </a:gdLst>
                  <a:ahLst/>
                  <a:cxnLst>
                    <a:cxn ang="0">
                      <a:pos x="connsiteX0" y="connsiteY0"/>
                    </a:cxn>
                    <a:cxn ang="0">
                      <a:pos x="connsiteX1" y="connsiteY1"/>
                    </a:cxn>
                  </a:cxnLst>
                  <a:rect l="l" t="t" r="r" b="b"/>
                  <a:pathLst>
                    <a:path w="10583" h="53975">
                      <a:moveTo>
                        <a:pt x="0" y="0"/>
                      </a:moveTo>
                      <a:lnTo>
                        <a:pt x="0" y="53975"/>
                      </a:lnTo>
                    </a:path>
                  </a:pathLst>
                </a:custGeom>
                <a:ln w="12700" cap="flat">
                  <a:solidFill>
                    <a:srgbClr val="231F20"/>
                  </a:solidFill>
                  <a:prstDash val="solid"/>
                  <a:miter/>
                </a:ln>
              </p:spPr>
              <p:txBody>
                <a:bodyPr rtlCol="0" anchor="ctr"/>
                <a:lstStyle/>
                <a:p>
                  <a:endParaRPr lang="en-US" sz="1800"/>
                </a:p>
              </p:txBody>
            </p:sp>
            <p:sp>
              <p:nvSpPr>
                <p:cNvPr id="2840" name="Freeform 52">
                  <a:extLst>
                    <a:ext uri="{FF2B5EF4-FFF2-40B4-BE49-F238E27FC236}">
                      <a16:creationId xmlns:a16="http://schemas.microsoft.com/office/drawing/2014/main" id="{104FFB89-560C-75B3-3476-0D28CA4DB430}"/>
                    </a:ext>
                  </a:extLst>
                </p:cNvPr>
                <p:cNvSpPr/>
                <p:nvPr/>
              </p:nvSpPr>
              <p:spPr>
                <a:xfrm>
                  <a:off x="8331263" y="4904845"/>
                  <a:ext cx="10583" cy="53975"/>
                </a:xfrm>
                <a:custGeom>
                  <a:avLst/>
                  <a:gdLst>
                    <a:gd name="connsiteX0" fmla="*/ 0 w 10583"/>
                    <a:gd name="connsiteY0" fmla="*/ 0 h 53975"/>
                    <a:gd name="connsiteX1" fmla="*/ 0 w 10583"/>
                    <a:gd name="connsiteY1" fmla="*/ 53975 h 53975"/>
                  </a:gdLst>
                  <a:ahLst/>
                  <a:cxnLst>
                    <a:cxn ang="0">
                      <a:pos x="connsiteX0" y="connsiteY0"/>
                    </a:cxn>
                    <a:cxn ang="0">
                      <a:pos x="connsiteX1" y="connsiteY1"/>
                    </a:cxn>
                  </a:cxnLst>
                  <a:rect l="l" t="t" r="r" b="b"/>
                  <a:pathLst>
                    <a:path w="10583" h="53975">
                      <a:moveTo>
                        <a:pt x="0" y="0"/>
                      </a:moveTo>
                      <a:lnTo>
                        <a:pt x="0" y="53975"/>
                      </a:lnTo>
                    </a:path>
                  </a:pathLst>
                </a:custGeom>
                <a:ln w="12700" cap="flat">
                  <a:solidFill>
                    <a:srgbClr val="231F20"/>
                  </a:solidFill>
                  <a:prstDash val="solid"/>
                  <a:miter/>
                </a:ln>
              </p:spPr>
              <p:txBody>
                <a:bodyPr rtlCol="0" anchor="ctr"/>
                <a:lstStyle/>
                <a:p>
                  <a:endParaRPr lang="en-US" sz="1800"/>
                </a:p>
              </p:txBody>
            </p:sp>
            <p:sp>
              <p:nvSpPr>
                <p:cNvPr id="2841" name="Freeform 53">
                  <a:extLst>
                    <a:ext uri="{FF2B5EF4-FFF2-40B4-BE49-F238E27FC236}">
                      <a16:creationId xmlns:a16="http://schemas.microsoft.com/office/drawing/2014/main" id="{22EC510F-AA8F-14B8-5BA1-07E16688D872}"/>
                    </a:ext>
                  </a:extLst>
                </p:cNvPr>
                <p:cNvSpPr/>
                <p:nvPr/>
              </p:nvSpPr>
              <p:spPr>
                <a:xfrm>
                  <a:off x="8544898" y="4904845"/>
                  <a:ext cx="10583" cy="53975"/>
                </a:xfrm>
                <a:custGeom>
                  <a:avLst/>
                  <a:gdLst>
                    <a:gd name="connsiteX0" fmla="*/ 0 w 10583"/>
                    <a:gd name="connsiteY0" fmla="*/ 0 h 53975"/>
                    <a:gd name="connsiteX1" fmla="*/ 0 w 10583"/>
                    <a:gd name="connsiteY1" fmla="*/ 53975 h 53975"/>
                  </a:gdLst>
                  <a:ahLst/>
                  <a:cxnLst>
                    <a:cxn ang="0">
                      <a:pos x="connsiteX0" y="connsiteY0"/>
                    </a:cxn>
                    <a:cxn ang="0">
                      <a:pos x="connsiteX1" y="connsiteY1"/>
                    </a:cxn>
                  </a:cxnLst>
                  <a:rect l="l" t="t" r="r" b="b"/>
                  <a:pathLst>
                    <a:path w="10583" h="53975">
                      <a:moveTo>
                        <a:pt x="0" y="0"/>
                      </a:moveTo>
                      <a:lnTo>
                        <a:pt x="0" y="53975"/>
                      </a:lnTo>
                    </a:path>
                  </a:pathLst>
                </a:custGeom>
                <a:ln w="12700" cap="flat">
                  <a:solidFill>
                    <a:srgbClr val="231F20"/>
                  </a:solidFill>
                  <a:prstDash val="solid"/>
                  <a:miter/>
                </a:ln>
              </p:spPr>
              <p:txBody>
                <a:bodyPr rtlCol="0" anchor="ctr"/>
                <a:lstStyle/>
                <a:p>
                  <a:endParaRPr lang="en-US" sz="1800"/>
                </a:p>
              </p:txBody>
            </p:sp>
            <p:sp>
              <p:nvSpPr>
                <p:cNvPr id="2842" name="Freeform 54">
                  <a:extLst>
                    <a:ext uri="{FF2B5EF4-FFF2-40B4-BE49-F238E27FC236}">
                      <a16:creationId xmlns:a16="http://schemas.microsoft.com/office/drawing/2014/main" id="{F359BA97-0213-BA1C-F5EF-363E946F55C2}"/>
                    </a:ext>
                  </a:extLst>
                </p:cNvPr>
                <p:cNvSpPr/>
                <p:nvPr/>
              </p:nvSpPr>
              <p:spPr>
                <a:xfrm>
                  <a:off x="8758364" y="4904845"/>
                  <a:ext cx="10583" cy="53975"/>
                </a:xfrm>
                <a:custGeom>
                  <a:avLst/>
                  <a:gdLst>
                    <a:gd name="connsiteX0" fmla="*/ 0 w 10583"/>
                    <a:gd name="connsiteY0" fmla="*/ 0 h 53975"/>
                    <a:gd name="connsiteX1" fmla="*/ 0 w 10583"/>
                    <a:gd name="connsiteY1" fmla="*/ 53975 h 53975"/>
                  </a:gdLst>
                  <a:ahLst/>
                  <a:cxnLst>
                    <a:cxn ang="0">
                      <a:pos x="connsiteX0" y="connsiteY0"/>
                    </a:cxn>
                    <a:cxn ang="0">
                      <a:pos x="connsiteX1" y="connsiteY1"/>
                    </a:cxn>
                  </a:cxnLst>
                  <a:rect l="l" t="t" r="r" b="b"/>
                  <a:pathLst>
                    <a:path w="10583" h="53975">
                      <a:moveTo>
                        <a:pt x="0" y="0"/>
                      </a:moveTo>
                      <a:lnTo>
                        <a:pt x="0" y="53975"/>
                      </a:lnTo>
                    </a:path>
                  </a:pathLst>
                </a:custGeom>
                <a:ln w="12700" cap="flat">
                  <a:solidFill>
                    <a:srgbClr val="231F20"/>
                  </a:solidFill>
                  <a:prstDash val="solid"/>
                  <a:miter/>
                </a:ln>
              </p:spPr>
              <p:txBody>
                <a:bodyPr rtlCol="0" anchor="ctr"/>
                <a:lstStyle/>
                <a:p>
                  <a:endParaRPr lang="en-US" sz="1800"/>
                </a:p>
              </p:txBody>
            </p:sp>
            <p:sp>
              <p:nvSpPr>
                <p:cNvPr id="2843" name="Freeform 55">
                  <a:extLst>
                    <a:ext uri="{FF2B5EF4-FFF2-40B4-BE49-F238E27FC236}">
                      <a16:creationId xmlns:a16="http://schemas.microsoft.com/office/drawing/2014/main" id="{1F515E7D-ED7C-9E4D-7039-90CFEB418485}"/>
                    </a:ext>
                  </a:extLst>
                </p:cNvPr>
                <p:cNvSpPr/>
                <p:nvPr/>
              </p:nvSpPr>
              <p:spPr>
                <a:xfrm>
                  <a:off x="8971999" y="4904845"/>
                  <a:ext cx="10583" cy="53975"/>
                </a:xfrm>
                <a:custGeom>
                  <a:avLst/>
                  <a:gdLst>
                    <a:gd name="connsiteX0" fmla="*/ 0 w 10583"/>
                    <a:gd name="connsiteY0" fmla="*/ 0 h 53975"/>
                    <a:gd name="connsiteX1" fmla="*/ 0 w 10583"/>
                    <a:gd name="connsiteY1" fmla="*/ 53975 h 53975"/>
                  </a:gdLst>
                  <a:ahLst/>
                  <a:cxnLst>
                    <a:cxn ang="0">
                      <a:pos x="connsiteX0" y="connsiteY0"/>
                    </a:cxn>
                    <a:cxn ang="0">
                      <a:pos x="connsiteX1" y="connsiteY1"/>
                    </a:cxn>
                  </a:cxnLst>
                  <a:rect l="l" t="t" r="r" b="b"/>
                  <a:pathLst>
                    <a:path w="10583" h="53975">
                      <a:moveTo>
                        <a:pt x="0" y="0"/>
                      </a:moveTo>
                      <a:lnTo>
                        <a:pt x="0" y="53975"/>
                      </a:lnTo>
                    </a:path>
                  </a:pathLst>
                </a:custGeom>
                <a:ln w="12700" cap="flat">
                  <a:solidFill>
                    <a:srgbClr val="231F20"/>
                  </a:solidFill>
                  <a:prstDash val="solid"/>
                  <a:miter/>
                </a:ln>
              </p:spPr>
              <p:txBody>
                <a:bodyPr rtlCol="0" anchor="ctr"/>
                <a:lstStyle/>
                <a:p>
                  <a:endParaRPr lang="en-US" sz="1800"/>
                </a:p>
              </p:txBody>
            </p:sp>
            <p:sp>
              <p:nvSpPr>
                <p:cNvPr id="2844" name="Freeform 56">
                  <a:extLst>
                    <a:ext uri="{FF2B5EF4-FFF2-40B4-BE49-F238E27FC236}">
                      <a16:creationId xmlns:a16="http://schemas.microsoft.com/office/drawing/2014/main" id="{9FDF2B60-0FC8-DE56-A9F4-B8CA10DC278E}"/>
                    </a:ext>
                  </a:extLst>
                </p:cNvPr>
                <p:cNvSpPr/>
                <p:nvPr/>
              </p:nvSpPr>
              <p:spPr>
                <a:xfrm>
                  <a:off x="9185475" y="4904845"/>
                  <a:ext cx="10583" cy="53975"/>
                </a:xfrm>
                <a:custGeom>
                  <a:avLst/>
                  <a:gdLst>
                    <a:gd name="connsiteX0" fmla="*/ 0 w 10583"/>
                    <a:gd name="connsiteY0" fmla="*/ 0 h 53975"/>
                    <a:gd name="connsiteX1" fmla="*/ 0 w 10583"/>
                    <a:gd name="connsiteY1" fmla="*/ 53975 h 53975"/>
                  </a:gdLst>
                  <a:ahLst/>
                  <a:cxnLst>
                    <a:cxn ang="0">
                      <a:pos x="connsiteX0" y="connsiteY0"/>
                    </a:cxn>
                    <a:cxn ang="0">
                      <a:pos x="connsiteX1" y="connsiteY1"/>
                    </a:cxn>
                  </a:cxnLst>
                  <a:rect l="l" t="t" r="r" b="b"/>
                  <a:pathLst>
                    <a:path w="10583" h="53975">
                      <a:moveTo>
                        <a:pt x="0" y="0"/>
                      </a:moveTo>
                      <a:lnTo>
                        <a:pt x="0" y="53975"/>
                      </a:lnTo>
                    </a:path>
                  </a:pathLst>
                </a:custGeom>
                <a:ln w="12700" cap="flat">
                  <a:solidFill>
                    <a:srgbClr val="231F20"/>
                  </a:solidFill>
                  <a:prstDash val="solid"/>
                  <a:miter/>
                </a:ln>
              </p:spPr>
              <p:txBody>
                <a:bodyPr rtlCol="0" anchor="ctr"/>
                <a:lstStyle/>
                <a:p>
                  <a:endParaRPr lang="en-US" sz="1800"/>
                </a:p>
              </p:txBody>
            </p:sp>
            <p:sp>
              <p:nvSpPr>
                <p:cNvPr id="2845" name="Freeform 57">
                  <a:extLst>
                    <a:ext uri="{FF2B5EF4-FFF2-40B4-BE49-F238E27FC236}">
                      <a16:creationId xmlns:a16="http://schemas.microsoft.com/office/drawing/2014/main" id="{9A911A2E-4836-2D2C-134E-7729C1DBAB26}"/>
                    </a:ext>
                  </a:extLst>
                </p:cNvPr>
                <p:cNvSpPr/>
                <p:nvPr/>
              </p:nvSpPr>
              <p:spPr>
                <a:xfrm>
                  <a:off x="9398941" y="4904845"/>
                  <a:ext cx="10583" cy="53975"/>
                </a:xfrm>
                <a:custGeom>
                  <a:avLst/>
                  <a:gdLst>
                    <a:gd name="connsiteX0" fmla="*/ 0 w 10583"/>
                    <a:gd name="connsiteY0" fmla="*/ 0 h 53975"/>
                    <a:gd name="connsiteX1" fmla="*/ 0 w 10583"/>
                    <a:gd name="connsiteY1" fmla="*/ 53975 h 53975"/>
                  </a:gdLst>
                  <a:ahLst/>
                  <a:cxnLst>
                    <a:cxn ang="0">
                      <a:pos x="connsiteX0" y="connsiteY0"/>
                    </a:cxn>
                    <a:cxn ang="0">
                      <a:pos x="connsiteX1" y="connsiteY1"/>
                    </a:cxn>
                  </a:cxnLst>
                  <a:rect l="l" t="t" r="r" b="b"/>
                  <a:pathLst>
                    <a:path w="10583" h="53975">
                      <a:moveTo>
                        <a:pt x="0" y="0"/>
                      </a:moveTo>
                      <a:lnTo>
                        <a:pt x="0" y="53975"/>
                      </a:lnTo>
                    </a:path>
                  </a:pathLst>
                </a:custGeom>
                <a:ln w="12700" cap="flat">
                  <a:solidFill>
                    <a:srgbClr val="231F20"/>
                  </a:solidFill>
                  <a:prstDash val="solid"/>
                  <a:miter/>
                </a:ln>
              </p:spPr>
              <p:txBody>
                <a:bodyPr rtlCol="0" anchor="ctr"/>
                <a:lstStyle/>
                <a:p>
                  <a:endParaRPr lang="en-US" sz="1800"/>
                </a:p>
              </p:txBody>
            </p:sp>
            <p:sp>
              <p:nvSpPr>
                <p:cNvPr id="2846" name="Freeform 58">
                  <a:extLst>
                    <a:ext uri="{FF2B5EF4-FFF2-40B4-BE49-F238E27FC236}">
                      <a16:creationId xmlns:a16="http://schemas.microsoft.com/office/drawing/2014/main" id="{60534626-9ECE-03F0-CCFA-76B796E84B7A}"/>
                    </a:ext>
                  </a:extLst>
                </p:cNvPr>
                <p:cNvSpPr/>
                <p:nvPr/>
              </p:nvSpPr>
              <p:spPr>
                <a:xfrm>
                  <a:off x="9612576" y="4904845"/>
                  <a:ext cx="10583" cy="53975"/>
                </a:xfrm>
                <a:custGeom>
                  <a:avLst/>
                  <a:gdLst>
                    <a:gd name="connsiteX0" fmla="*/ 0 w 10583"/>
                    <a:gd name="connsiteY0" fmla="*/ 0 h 53975"/>
                    <a:gd name="connsiteX1" fmla="*/ 0 w 10583"/>
                    <a:gd name="connsiteY1" fmla="*/ 53975 h 53975"/>
                  </a:gdLst>
                  <a:ahLst/>
                  <a:cxnLst>
                    <a:cxn ang="0">
                      <a:pos x="connsiteX0" y="connsiteY0"/>
                    </a:cxn>
                    <a:cxn ang="0">
                      <a:pos x="connsiteX1" y="connsiteY1"/>
                    </a:cxn>
                  </a:cxnLst>
                  <a:rect l="l" t="t" r="r" b="b"/>
                  <a:pathLst>
                    <a:path w="10583" h="53975">
                      <a:moveTo>
                        <a:pt x="0" y="0"/>
                      </a:moveTo>
                      <a:lnTo>
                        <a:pt x="0" y="53975"/>
                      </a:lnTo>
                    </a:path>
                  </a:pathLst>
                </a:custGeom>
                <a:ln w="12700" cap="flat">
                  <a:solidFill>
                    <a:srgbClr val="231F20"/>
                  </a:solidFill>
                  <a:prstDash val="solid"/>
                  <a:miter/>
                </a:ln>
              </p:spPr>
              <p:txBody>
                <a:bodyPr rtlCol="0" anchor="ctr"/>
                <a:lstStyle/>
                <a:p>
                  <a:endParaRPr lang="en-US" sz="1800"/>
                </a:p>
              </p:txBody>
            </p:sp>
            <p:sp>
              <p:nvSpPr>
                <p:cNvPr id="2847" name="Freeform 59">
                  <a:extLst>
                    <a:ext uri="{FF2B5EF4-FFF2-40B4-BE49-F238E27FC236}">
                      <a16:creationId xmlns:a16="http://schemas.microsoft.com/office/drawing/2014/main" id="{3656E499-0DCE-7EC2-D7C7-2D09AE0A2755}"/>
                    </a:ext>
                  </a:extLst>
                </p:cNvPr>
                <p:cNvSpPr/>
                <p:nvPr/>
              </p:nvSpPr>
              <p:spPr>
                <a:xfrm>
                  <a:off x="9826042" y="4904845"/>
                  <a:ext cx="10583" cy="53975"/>
                </a:xfrm>
                <a:custGeom>
                  <a:avLst/>
                  <a:gdLst>
                    <a:gd name="connsiteX0" fmla="*/ 0 w 10583"/>
                    <a:gd name="connsiteY0" fmla="*/ 0 h 53975"/>
                    <a:gd name="connsiteX1" fmla="*/ 0 w 10583"/>
                    <a:gd name="connsiteY1" fmla="*/ 53975 h 53975"/>
                  </a:gdLst>
                  <a:ahLst/>
                  <a:cxnLst>
                    <a:cxn ang="0">
                      <a:pos x="connsiteX0" y="connsiteY0"/>
                    </a:cxn>
                    <a:cxn ang="0">
                      <a:pos x="connsiteX1" y="connsiteY1"/>
                    </a:cxn>
                  </a:cxnLst>
                  <a:rect l="l" t="t" r="r" b="b"/>
                  <a:pathLst>
                    <a:path w="10583" h="53975">
                      <a:moveTo>
                        <a:pt x="0" y="0"/>
                      </a:moveTo>
                      <a:lnTo>
                        <a:pt x="0" y="53975"/>
                      </a:lnTo>
                    </a:path>
                  </a:pathLst>
                </a:custGeom>
                <a:ln w="12700" cap="flat">
                  <a:solidFill>
                    <a:srgbClr val="231F20"/>
                  </a:solidFill>
                  <a:prstDash val="solid"/>
                  <a:miter/>
                </a:ln>
              </p:spPr>
              <p:txBody>
                <a:bodyPr rtlCol="0" anchor="ctr"/>
                <a:lstStyle/>
                <a:p>
                  <a:endParaRPr lang="en-US" sz="1800"/>
                </a:p>
              </p:txBody>
            </p:sp>
            <p:sp>
              <p:nvSpPr>
                <p:cNvPr id="2848" name="Freeform 60">
                  <a:extLst>
                    <a:ext uri="{FF2B5EF4-FFF2-40B4-BE49-F238E27FC236}">
                      <a16:creationId xmlns:a16="http://schemas.microsoft.com/office/drawing/2014/main" id="{187453BF-DF4B-EA98-5488-3ADF9B4D9964}"/>
                    </a:ext>
                  </a:extLst>
                </p:cNvPr>
                <p:cNvSpPr/>
                <p:nvPr/>
              </p:nvSpPr>
              <p:spPr>
                <a:xfrm>
                  <a:off x="10039677" y="4904845"/>
                  <a:ext cx="10583" cy="53975"/>
                </a:xfrm>
                <a:custGeom>
                  <a:avLst/>
                  <a:gdLst>
                    <a:gd name="connsiteX0" fmla="*/ 0 w 10583"/>
                    <a:gd name="connsiteY0" fmla="*/ 0 h 53975"/>
                    <a:gd name="connsiteX1" fmla="*/ 0 w 10583"/>
                    <a:gd name="connsiteY1" fmla="*/ 53975 h 53975"/>
                  </a:gdLst>
                  <a:ahLst/>
                  <a:cxnLst>
                    <a:cxn ang="0">
                      <a:pos x="connsiteX0" y="connsiteY0"/>
                    </a:cxn>
                    <a:cxn ang="0">
                      <a:pos x="connsiteX1" y="connsiteY1"/>
                    </a:cxn>
                  </a:cxnLst>
                  <a:rect l="l" t="t" r="r" b="b"/>
                  <a:pathLst>
                    <a:path w="10583" h="53975">
                      <a:moveTo>
                        <a:pt x="0" y="0"/>
                      </a:moveTo>
                      <a:lnTo>
                        <a:pt x="0" y="53975"/>
                      </a:lnTo>
                    </a:path>
                  </a:pathLst>
                </a:custGeom>
                <a:ln w="12700" cap="flat">
                  <a:solidFill>
                    <a:srgbClr val="231F20"/>
                  </a:solidFill>
                  <a:prstDash val="solid"/>
                  <a:miter/>
                </a:ln>
              </p:spPr>
              <p:txBody>
                <a:bodyPr rtlCol="0" anchor="ctr"/>
                <a:lstStyle/>
                <a:p>
                  <a:endParaRPr lang="en-US" sz="1800"/>
                </a:p>
              </p:txBody>
            </p:sp>
            <p:sp>
              <p:nvSpPr>
                <p:cNvPr id="2849" name="Freeform 61">
                  <a:extLst>
                    <a:ext uri="{FF2B5EF4-FFF2-40B4-BE49-F238E27FC236}">
                      <a16:creationId xmlns:a16="http://schemas.microsoft.com/office/drawing/2014/main" id="{11910B20-C4BF-1DA3-483D-9451D47B7C8B}"/>
                    </a:ext>
                  </a:extLst>
                </p:cNvPr>
                <p:cNvSpPr/>
                <p:nvPr/>
              </p:nvSpPr>
              <p:spPr>
                <a:xfrm>
                  <a:off x="10253143" y="4904845"/>
                  <a:ext cx="10583" cy="53975"/>
                </a:xfrm>
                <a:custGeom>
                  <a:avLst/>
                  <a:gdLst>
                    <a:gd name="connsiteX0" fmla="*/ 0 w 10583"/>
                    <a:gd name="connsiteY0" fmla="*/ 0 h 53975"/>
                    <a:gd name="connsiteX1" fmla="*/ 0 w 10583"/>
                    <a:gd name="connsiteY1" fmla="*/ 53975 h 53975"/>
                  </a:gdLst>
                  <a:ahLst/>
                  <a:cxnLst>
                    <a:cxn ang="0">
                      <a:pos x="connsiteX0" y="connsiteY0"/>
                    </a:cxn>
                    <a:cxn ang="0">
                      <a:pos x="connsiteX1" y="connsiteY1"/>
                    </a:cxn>
                  </a:cxnLst>
                  <a:rect l="l" t="t" r="r" b="b"/>
                  <a:pathLst>
                    <a:path w="10583" h="53975">
                      <a:moveTo>
                        <a:pt x="0" y="0"/>
                      </a:moveTo>
                      <a:lnTo>
                        <a:pt x="0" y="53975"/>
                      </a:lnTo>
                    </a:path>
                  </a:pathLst>
                </a:custGeom>
                <a:ln w="12700" cap="flat">
                  <a:solidFill>
                    <a:srgbClr val="231F20"/>
                  </a:solidFill>
                  <a:prstDash val="solid"/>
                  <a:miter/>
                </a:ln>
              </p:spPr>
              <p:txBody>
                <a:bodyPr rtlCol="0" anchor="ctr"/>
                <a:lstStyle/>
                <a:p>
                  <a:endParaRPr lang="en-US" sz="1800"/>
                </a:p>
              </p:txBody>
            </p:sp>
            <p:sp>
              <p:nvSpPr>
                <p:cNvPr id="2850" name="Freeform 62">
                  <a:extLst>
                    <a:ext uri="{FF2B5EF4-FFF2-40B4-BE49-F238E27FC236}">
                      <a16:creationId xmlns:a16="http://schemas.microsoft.com/office/drawing/2014/main" id="{66C89AF7-560B-FAAC-E519-4B2F908FEB14}"/>
                    </a:ext>
                  </a:extLst>
                </p:cNvPr>
                <p:cNvSpPr/>
                <p:nvPr/>
              </p:nvSpPr>
              <p:spPr>
                <a:xfrm>
                  <a:off x="10466609" y="4904845"/>
                  <a:ext cx="10583" cy="53975"/>
                </a:xfrm>
                <a:custGeom>
                  <a:avLst/>
                  <a:gdLst>
                    <a:gd name="connsiteX0" fmla="*/ 0 w 10583"/>
                    <a:gd name="connsiteY0" fmla="*/ 0 h 53975"/>
                    <a:gd name="connsiteX1" fmla="*/ 0 w 10583"/>
                    <a:gd name="connsiteY1" fmla="*/ 53975 h 53975"/>
                  </a:gdLst>
                  <a:ahLst/>
                  <a:cxnLst>
                    <a:cxn ang="0">
                      <a:pos x="connsiteX0" y="connsiteY0"/>
                    </a:cxn>
                    <a:cxn ang="0">
                      <a:pos x="connsiteX1" y="connsiteY1"/>
                    </a:cxn>
                  </a:cxnLst>
                  <a:rect l="l" t="t" r="r" b="b"/>
                  <a:pathLst>
                    <a:path w="10583" h="53975">
                      <a:moveTo>
                        <a:pt x="0" y="0"/>
                      </a:moveTo>
                      <a:lnTo>
                        <a:pt x="0" y="53975"/>
                      </a:lnTo>
                    </a:path>
                  </a:pathLst>
                </a:custGeom>
                <a:ln w="12700" cap="flat">
                  <a:solidFill>
                    <a:srgbClr val="231F20"/>
                  </a:solidFill>
                  <a:prstDash val="solid"/>
                  <a:miter/>
                </a:ln>
              </p:spPr>
              <p:txBody>
                <a:bodyPr rtlCol="0" anchor="ctr"/>
                <a:lstStyle/>
                <a:p>
                  <a:endParaRPr lang="en-US" sz="1800"/>
                </a:p>
              </p:txBody>
            </p:sp>
            <p:sp>
              <p:nvSpPr>
                <p:cNvPr id="2851" name="Freeform 63">
                  <a:extLst>
                    <a:ext uri="{FF2B5EF4-FFF2-40B4-BE49-F238E27FC236}">
                      <a16:creationId xmlns:a16="http://schemas.microsoft.com/office/drawing/2014/main" id="{DE258F77-292C-6AC1-FABA-DAE5D6D7AB7D}"/>
                    </a:ext>
                  </a:extLst>
                </p:cNvPr>
                <p:cNvSpPr/>
                <p:nvPr/>
              </p:nvSpPr>
              <p:spPr>
                <a:xfrm>
                  <a:off x="10680276" y="4904845"/>
                  <a:ext cx="10583" cy="53975"/>
                </a:xfrm>
                <a:custGeom>
                  <a:avLst/>
                  <a:gdLst>
                    <a:gd name="connsiteX0" fmla="*/ 0 w 10583"/>
                    <a:gd name="connsiteY0" fmla="*/ 0 h 53975"/>
                    <a:gd name="connsiteX1" fmla="*/ 0 w 10583"/>
                    <a:gd name="connsiteY1" fmla="*/ 53975 h 53975"/>
                  </a:gdLst>
                  <a:ahLst/>
                  <a:cxnLst>
                    <a:cxn ang="0">
                      <a:pos x="connsiteX0" y="connsiteY0"/>
                    </a:cxn>
                    <a:cxn ang="0">
                      <a:pos x="connsiteX1" y="connsiteY1"/>
                    </a:cxn>
                  </a:cxnLst>
                  <a:rect l="l" t="t" r="r" b="b"/>
                  <a:pathLst>
                    <a:path w="10583" h="53975">
                      <a:moveTo>
                        <a:pt x="0" y="0"/>
                      </a:moveTo>
                      <a:lnTo>
                        <a:pt x="0" y="53975"/>
                      </a:lnTo>
                    </a:path>
                  </a:pathLst>
                </a:custGeom>
                <a:ln w="12700" cap="flat">
                  <a:solidFill>
                    <a:srgbClr val="231F20"/>
                  </a:solidFill>
                  <a:prstDash val="solid"/>
                  <a:miter/>
                </a:ln>
              </p:spPr>
              <p:txBody>
                <a:bodyPr rtlCol="0" anchor="ctr"/>
                <a:lstStyle/>
                <a:p>
                  <a:endParaRPr lang="en-US" sz="1800"/>
                </a:p>
              </p:txBody>
            </p:sp>
            <p:sp>
              <p:nvSpPr>
                <p:cNvPr id="2852" name="Freeform 64">
                  <a:extLst>
                    <a:ext uri="{FF2B5EF4-FFF2-40B4-BE49-F238E27FC236}">
                      <a16:creationId xmlns:a16="http://schemas.microsoft.com/office/drawing/2014/main" id="{8214035D-8D94-D9A0-11F5-CB82903A11A7}"/>
                    </a:ext>
                  </a:extLst>
                </p:cNvPr>
                <p:cNvSpPr/>
                <p:nvPr/>
              </p:nvSpPr>
              <p:spPr>
                <a:xfrm>
                  <a:off x="10893742" y="4904845"/>
                  <a:ext cx="10583" cy="53975"/>
                </a:xfrm>
                <a:custGeom>
                  <a:avLst/>
                  <a:gdLst>
                    <a:gd name="connsiteX0" fmla="*/ 0 w 10583"/>
                    <a:gd name="connsiteY0" fmla="*/ 0 h 53975"/>
                    <a:gd name="connsiteX1" fmla="*/ 0 w 10583"/>
                    <a:gd name="connsiteY1" fmla="*/ 53975 h 53975"/>
                  </a:gdLst>
                  <a:ahLst/>
                  <a:cxnLst>
                    <a:cxn ang="0">
                      <a:pos x="connsiteX0" y="connsiteY0"/>
                    </a:cxn>
                    <a:cxn ang="0">
                      <a:pos x="connsiteX1" y="connsiteY1"/>
                    </a:cxn>
                  </a:cxnLst>
                  <a:rect l="l" t="t" r="r" b="b"/>
                  <a:pathLst>
                    <a:path w="10583" h="53975">
                      <a:moveTo>
                        <a:pt x="0" y="0"/>
                      </a:moveTo>
                      <a:lnTo>
                        <a:pt x="0" y="53975"/>
                      </a:lnTo>
                    </a:path>
                  </a:pathLst>
                </a:custGeom>
                <a:ln w="12700" cap="flat">
                  <a:solidFill>
                    <a:srgbClr val="231F20"/>
                  </a:solidFill>
                  <a:prstDash val="solid"/>
                  <a:miter/>
                </a:ln>
              </p:spPr>
              <p:txBody>
                <a:bodyPr rtlCol="0" anchor="ctr"/>
                <a:lstStyle/>
                <a:p>
                  <a:endParaRPr lang="en-US" sz="1800"/>
                </a:p>
              </p:txBody>
            </p:sp>
            <p:sp>
              <p:nvSpPr>
                <p:cNvPr id="2853" name="Freeform 65">
                  <a:extLst>
                    <a:ext uri="{FF2B5EF4-FFF2-40B4-BE49-F238E27FC236}">
                      <a16:creationId xmlns:a16="http://schemas.microsoft.com/office/drawing/2014/main" id="{F17FFA74-FED9-67C0-4230-C0C06C665120}"/>
                    </a:ext>
                  </a:extLst>
                </p:cNvPr>
                <p:cNvSpPr/>
                <p:nvPr/>
              </p:nvSpPr>
              <p:spPr>
                <a:xfrm>
                  <a:off x="11107314" y="4904845"/>
                  <a:ext cx="10583" cy="53975"/>
                </a:xfrm>
                <a:custGeom>
                  <a:avLst/>
                  <a:gdLst>
                    <a:gd name="connsiteX0" fmla="*/ 0 w 10583"/>
                    <a:gd name="connsiteY0" fmla="*/ 0 h 53975"/>
                    <a:gd name="connsiteX1" fmla="*/ 0 w 10583"/>
                    <a:gd name="connsiteY1" fmla="*/ 53975 h 53975"/>
                  </a:gdLst>
                  <a:ahLst/>
                  <a:cxnLst>
                    <a:cxn ang="0">
                      <a:pos x="connsiteX0" y="connsiteY0"/>
                    </a:cxn>
                    <a:cxn ang="0">
                      <a:pos x="connsiteX1" y="connsiteY1"/>
                    </a:cxn>
                  </a:cxnLst>
                  <a:rect l="l" t="t" r="r" b="b"/>
                  <a:pathLst>
                    <a:path w="10583" h="53975">
                      <a:moveTo>
                        <a:pt x="0" y="0"/>
                      </a:moveTo>
                      <a:lnTo>
                        <a:pt x="0" y="53975"/>
                      </a:lnTo>
                    </a:path>
                  </a:pathLst>
                </a:custGeom>
                <a:ln w="12700" cap="flat">
                  <a:solidFill>
                    <a:srgbClr val="231F20"/>
                  </a:solidFill>
                  <a:prstDash val="solid"/>
                  <a:miter/>
                </a:ln>
              </p:spPr>
              <p:txBody>
                <a:bodyPr rtlCol="0" anchor="ctr"/>
                <a:lstStyle/>
                <a:p>
                  <a:endParaRPr lang="en-US" sz="1800"/>
                </a:p>
              </p:txBody>
            </p:sp>
            <p:sp>
              <p:nvSpPr>
                <p:cNvPr id="2854" name="Freeform 66">
                  <a:extLst>
                    <a:ext uri="{FF2B5EF4-FFF2-40B4-BE49-F238E27FC236}">
                      <a16:creationId xmlns:a16="http://schemas.microsoft.com/office/drawing/2014/main" id="{93ECE428-2634-3EF2-89C3-4C44EBD5A06E}"/>
                    </a:ext>
                  </a:extLst>
                </p:cNvPr>
                <p:cNvSpPr/>
                <p:nvPr/>
              </p:nvSpPr>
              <p:spPr>
                <a:xfrm>
                  <a:off x="11320779" y="4904845"/>
                  <a:ext cx="10583" cy="53975"/>
                </a:xfrm>
                <a:custGeom>
                  <a:avLst/>
                  <a:gdLst>
                    <a:gd name="connsiteX0" fmla="*/ 1 w 10583"/>
                    <a:gd name="connsiteY0" fmla="*/ 0 h 53975"/>
                    <a:gd name="connsiteX1" fmla="*/ 1 w 10583"/>
                    <a:gd name="connsiteY1" fmla="*/ 53975 h 53975"/>
                  </a:gdLst>
                  <a:ahLst/>
                  <a:cxnLst>
                    <a:cxn ang="0">
                      <a:pos x="connsiteX0" y="connsiteY0"/>
                    </a:cxn>
                    <a:cxn ang="0">
                      <a:pos x="connsiteX1" y="connsiteY1"/>
                    </a:cxn>
                  </a:cxnLst>
                  <a:rect l="l" t="t" r="r" b="b"/>
                  <a:pathLst>
                    <a:path w="10583" h="53975">
                      <a:moveTo>
                        <a:pt x="1" y="0"/>
                      </a:moveTo>
                      <a:lnTo>
                        <a:pt x="1" y="53975"/>
                      </a:lnTo>
                    </a:path>
                  </a:pathLst>
                </a:custGeom>
                <a:ln w="12700" cap="flat">
                  <a:solidFill>
                    <a:srgbClr val="231F20"/>
                  </a:solidFill>
                  <a:prstDash val="solid"/>
                  <a:miter/>
                </a:ln>
              </p:spPr>
              <p:txBody>
                <a:bodyPr rtlCol="0" anchor="ctr"/>
                <a:lstStyle/>
                <a:p>
                  <a:endParaRPr lang="en-US" sz="1800"/>
                </a:p>
              </p:txBody>
            </p:sp>
            <p:sp>
              <p:nvSpPr>
                <p:cNvPr id="2855" name="Freeform 67">
                  <a:extLst>
                    <a:ext uri="{FF2B5EF4-FFF2-40B4-BE49-F238E27FC236}">
                      <a16:creationId xmlns:a16="http://schemas.microsoft.com/office/drawing/2014/main" id="{55403A49-D823-AD2B-1A19-6BEA06123212}"/>
                    </a:ext>
                  </a:extLst>
                </p:cNvPr>
                <p:cNvSpPr/>
                <p:nvPr/>
              </p:nvSpPr>
              <p:spPr>
                <a:xfrm>
                  <a:off x="11534245" y="4904845"/>
                  <a:ext cx="10583" cy="53975"/>
                </a:xfrm>
                <a:custGeom>
                  <a:avLst/>
                  <a:gdLst>
                    <a:gd name="connsiteX0" fmla="*/ 0 w 10583"/>
                    <a:gd name="connsiteY0" fmla="*/ 0 h 53975"/>
                    <a:gd name="connsiteX1" fmla="*/ 0 w 10583"/>
                    <a:gd name="connsiteY1" fmla="*/ 53975 h 53975"/>
                  </a:gdLst>
                  <a:ahLst/>
                  <a:cxnLst>
                    <a:cxn ang="0">
                      <a:pos x="connsiteX0" y="connsiteY0"/>
                    </a:cxn>
                    <a:cxn ang="0">
                      <a:pos x="connsiteX1" y="connsiteY1"/>
                    </a:cxn>
                  </a:cxnLst>
                  <a:rect l="l" t="t" r="r" b="b"/>
                  <a:pathLst>
                    <a:path w="10583" h="53975">
                      <a:moveTo>
                        <a:pt x="0" y="0"/>
                      </a:moveTo>
                      <a:lnTo>
                        <a:pt x="0" y="53975"/>
                      </a:lnTo>
                    </a:path>
                  </a:pathLst>
                </a:custGeom>
                <a:ln w="12700" cap="flat">
                  <a:solidFill>
                    <a:srgbClr val="231F20"/>
                  </a:solidFill>
                  <a:prstDash val="solid"/>
                  <a:miter/>
                </a:ln>
              </p:spPr>
              <p:txBody>
                <a:bodyPr rtlCol="0" anchor="ctr"/>
                <a:lstStyle/>
                <a:p>
                  <a:endParaRPr lang="en-US" sz="1800"/>
                </a:p>
              </p:txBody>
            </p:sp>
          </p:grpSp>
        </p:grpSp>
        <p:grpSp>
          <p:nvGrpSpPr>
            <p:cNvPr id="1911" name="Graphic 3">
              <a:extLst>
                <a:ext uri="{FF2B5EF4-FFF2-40B4-BE49-F238E27FC236}">
                  <a16:creationId xmlns:a16="http://schemas.microsoft.com/office/drawing/2014/main" id="{DED689EF-042F-1A20-1947-A637D337F650}"/>
                </a:ext>
              </a:extLst>
            </p:cNvPr>
            <p:cNvGrpSpPr/>
            <p:nvPr/>
          </p:nvGrpSpPr>
          <p:grpSpPr>
            <a:xfrm>
              <a:off x="1429946" y="4619760"/>
              <a:ext cx="55448" cy="52692"/>
              <a:chOff x="1675563" y="4257124"/>
              <a:chExt cx="60960" cy="57583"/>
            </a:xfrm>
          </p:grpSpPr>
          <p:sp>
            <p:nvSpPr>
              <p:cNvPr id="2793" name="Freeform 70">
                <a:extLst>
                  <a:ext uri="{FF2B5EF4-FFF2-40B4-BE49-F238E27FC236}">
                    <a16:creationId xmlns:a16="http://schemas.microsoft.com/office/drawing/2014/main" id="{A5ED136A-11D7-0653-03F3-6CDA34B0FBD3}"/>
                  </a:ext>
                </a:extLst>
              </p:cNvPr>
              <p:cNvSpPr/>
              <p:nvPr/>
            </p:nvSpPr>
            <p:spPr>
              <a:xfrm>
                <a:off x="1706043" y="4257124"/>
                <a:ext cx="10583" cy="57583"/>
              </a:xfrm>
              <a:custGeom>
                <a:avLst/>
                <a:gdLst>
                  <a:gd name="connsiteX0" fmla="*/ 0 w 10583"/>
                  <a:gd name="connsiteY0" fmla="*/ 0 h 57583"/>
                  <a:gd name="connsiteX1" fmla="*/ 0 w 10583"/>
                  <a:gd name="connsiteY1" fmla="*/ 57584 h 57583"/>
                </a:gdLst>
                <a:ahLst/>
                <a:cxnLst>
                  <a:cxn ang="0">
                    <a:pos x="connsiteX0" y="connsiteY0"/>
                  </a:cxn>
                  <a:cxn ang="0">
                    <a:pos x="connsiteX1" y="connsiteY1"/>
                  </a:cxn>
                </a:cxnLst>
                <a:rect l="l" t="t" r="r" b="b"/>
                <a:pathLst>
                  <a:path w="10583" h="57583">
                    <a:moveTo>
                      <a:pt x="0" y="0"/>
                    </a:moveTo>
                    <a:lnTo>
                      <a:pt x="0" y="57584"/>
                    </a:lnTo>
                  </a:path>
                </a:pathLst>
              </a:custGeom>
              <a:ln w="9448" cap="flat">
                <a:solidFill>
                  <a:srgbClr val="231F20"/>
                </a:solidFill>
                <a:prstDash val="solid"/>
                <a:miter/>
              </a:ln>
            </p:spPr>
            <p:txBody>
              <a:bodyPr rtlCol="0" anchor="ctr"/>
              <a:lstStyle/>
              <a:p>
                <a:endParaRPr lang="en-US" sz="1800"/>
              </a:p>
            </p:txBody>
          </p:sp>
          <p:sp>
            <p:nvSpPr>
              <p:cNvPr id="2794" name="Freeform 71">
                <a:extLst>
                  <a:ext uri="{FF2B5EF4-FFF2-40B4-BE49-F238E27FC236}">
                    <a16:creationId xmlns:a16="http://schemas.microsoft.com/office/drawing/2014/main" id="{47E73A33-B092-B582-EDDB-D8E906344F4C}"/>
                  </a:ext>
                </a:extLst>
              </p:cNvPr>
              <p:cNvSpPr/>
              <p:nvPr/>
            </p:nvSpPr>
            <p:spPr>
              <a:xfrm>
                <a:off x="1675563" y="4285921"/>
                <a:ext cx="60960" cy="10583"/>
              </a:xfrm>
              <a:custGeom>
                <a:avLst/>
                <a:gdLst>
                  <a:gd name="connsiteX0" fmla="*/ 0 w 60960"/>
                  <a:gd name="connsiteY0" fmla="*/ 0 h 10583"/>
                  <a:gd name="connsiteX1" fmla="*/ 60960 w 60960"/>
                  <a:gd name="connsiteY1" fmla="*/ 0 h 10583"/>
                </a:gdLst>
                <a:ahLst/>
                <a:cxnLst>
                  <a:cxn ang="0">
                    <a:pos x="connsiteX0" y="connsiteY0"/>
                  </a:cxn>
                  <a:cxn ang="0">
                    <a:pos x="connsiteX1" y="connsiteY1"/>
                  </a:cxn>
                </a:cxnLst>
                <a:rect l="l" t="t" r="r" b="b"/>
                <a:pathLst>
                  <a:path w="60960" h="10583">
                    <a:moveTo>
                      <a:pt x="0" y="0"/>
                    </a:moveTo>
                    <a:lnTo>
                      <a:pt x="60960" y="0"/>
                    </a:lnTo>
                  </a:path>
                </a:pathLst>
              </a:custGeom>
              <a:ln w="9448" cap="flat">
                <a:solidFill>
                  <a:srgbClr val="231F20"/>
                </a:solidFill>
                <a:prstDash val="solid"/>
                <a:miter/>
              </a:ln>
            </p:spPr>
            <p:txBody>
              <a:bodyPr rtlCol="0" anchor="ctr"/>
              <a:lstStyle/>
              <a:p>
                <a:endParaRPr lang="en-US" sz="1800"/>
              </a:p>
            </p:txBody>
          </p:sp>
        </p:grpSp>
        <p:grpSp>
          <p:nvGrpSpPr>
            <p:cNvPr id="1912" name="Graphic 3">
              <a:extLst>
                <a:ext uri="{FF2B5EF4-FFF2-40B4-BE49-F238E27FC236}">
                  <a16:creationId xmlns:a16="http://schemas.microsoft.com/office/drawing/2014/main" id="{8D936B14-B9FD-A4A8-DE39-1BE2D4D11603}"/>
                </a:ext>
              </a:extLst>
            </p:cNvPr>
            <p:cNvGrpSpPr/>
            <p:nvPr/>
          </p:nvGrpSpPr>
          <p:grpSpPr>
            <a:xfrm>
              <a:off x="1429946" y="4833013"/>
              <a:ext cx="55448" cy="52692"/>
              <a:chOff x="1675563" y="4454312"/>
              <a:chExt cx="60960" cy="57583"/>
            </a:xfrm>
          </p:grpSpPr>
          <p:sp>
            <p:nvSpPr>
              <p:cNvPr id="2791" name="Freeform 73">
                <a:extLst>
                  <a:ext uri="{FF2B5EF4-FFF2-40B4-BE49-F238E27FC236}">
                    <a16:creationId xmlns:a16="http://schemas.microsoft.com/office/drawing/2014/main" id="{0FB1EB6D-C1A5-F46E-25AA-08789EE1863C}"/>
                  </a:ext>
                </a:extLst>
              </p:cNvPr>
              <p:cNvSpPr/>
              <p:nvPr/>
            </p:nvSpPr>
            <p:spPr>
              <a:xfrm>
                <a:off x="1706043" y="4454312"/>
                <a:ext cx="10583" cy="57583"/>
              </a:xfrm>
              <a:custGeom>
                <a:avLst/>
                <a:gdLst>
                  <a:gd name="connsiteX0" fmla="*/ 0 w 10583"/>
                  <a:gd name="connsiteY0" fmla="*/ 0 h 57583"/>
                  <a:gd name="connsiteX1" fmla="*/ 0 w 10583"/>
                  <a:gd name="connsiteY1" fmla="*/ 57584 h 57583"/>
                </a:gdLst>
                <a:ahLst/>
                <a:cxnLst>
                  <a:cxn ang="0">
                    <a:pos x="connsiteX0" y="connsiteY0"/>
                  </a:cxn>
                  <a:cxn ang="0">
                    <a:pos x="connsiteX1" y="connsiteY1"/>
                  </a:cxn>
                </a:cxnLst>
                <a:rect l="l" t="t" r="r" b="b"/>
                <a:pathLst>
                  <a:path w="10583" h="57583">
                    <a:moveTo>
                      <a:pt x="0" y="0"/>
                    </a:moveTo>
                    <a:lnTo>
                      <a:pt x="0" y="57584"/>
                    </a:lnTo>
                  </a:path>
                </a:pathLst>
              </a:custGeom>
              <a:ln w="9448" cap="flat">
                <a:solidFill>
                  <a:srgbClr val="005BAA"/>
                </a:solidFill>
                <a:prstDash val="solid"/>
                <a:miter/>
              </a:ln>
            </p:spPr>
            <p:txBody>
              <a:bodyPr rtlCol="0" anchor="ctr"/>
              <a:lstStyle/>
              <a:p>
                <a:endParaRPr lang="en-US" sz="1800"/>
              </a:p>
            </p:txBody>
          </p:sp>
          <p:sp>
            <p:nvSpPr>
              <p:cNvPr id="2792" name="Freeform 74">
                <a:extLst>
                  <a:ext uri="{FF2B5EF4-FFF2-40B4-BE49-F238E27FC236}">
                    <a16:creationId xmlns:a16="http://schemas.microsoft.com/office/drawing/2014/main" id="{EBF6D1C1-F0D0-8C12-53DA-4C2C171FEBF0}"/>
                  </a:ext>
                </a:extLst>
              </p:cNvPr>
              <p:cNvSpPr/>
              <p:nvPr/>
            </p:nvSpPr>
            <p:spPr>
              <a:xfrm>
                <a:off x="1675563" y="4483110"/>
                <a:ext cx="60960" cy="10583"/>
              </a:xfrm>
              <a:custGeom>
                <a:avLst/>
                <a:gdLst>
                  <a:gd name="connsiteX0" fmla="*/ 0 w 60960"/>
                  <a:gd name="connsiteY0" fmla="*/ 0 h 10583"/>
                  <a:gd name="connsiteX1" fmla="*/ 60960 w 60960"/>
                  <a:gd name="connsiteY1" fmla="*/ 0 h 10583"/>
                </a:gdLst>
                <a:ahLst/>
                <a:cxnLst>
                  <a:cxn ang="0">
                    <a:pos x="connsiteX0" y="connsiteY0"/>
                  </a:cxn>
                  <a:cxn ang="0">
                    <a:pos x="connsiteX1" y="connsiteY1"/>
                  </a:cxn>
                </a:cxnLst>
                <a:rect l="l" t="t" r="r" b="b"/>
                <a:pathLst>
                  <a:path w="60960" h="10583">
                    <a:moveTo>
                      <a:pt x="0" y="0"/>
                    </a:moveTo>
                    <a:lnTo>
                      <a:pt x="60960" y="0"/>
                    </a:lnTo>
                  </a:path>
                </a:pathLst>
              </a:custGeom>
              <a:ln w="9448" cap="flat">
                <a:solidFill>
                  <a:srgbClr val="005BAA"/>
                </a:solidFill>
                <a:prstDash val="solid"/>
                <a:miter/>
              </a:ln>
            </p:spPr>
            <p:txBody>
              <a:bodyPr rtlCol="0" anchor="ctr"/>
              <a:lstStyle/>
              <a:p>
                <a:endParaRPr lang="en-US" sz="1800"/>
              </a:p>
            </p:txBody>
          </p:sp>
        </p:grpSp>
        <p:sp>
          <p:nvSpPr>
            <p:cNvPr id="1913" name="Freeform 75">
              <a:extLst>
                <a:ext uri="{FF2B5EF4-FFF2-40B4-BE49-F238E27FC236}">
                  <a16:creationId xmlns:a16="http://schemas.microsoft.com/office/drawing/2014/main" id="{28245286-ADA5-1E57-826A-EF306355B3D7}"/>
                </a:ext>
              </a:extLst>
            </p:cNvPr>
            <p:cNvSpPr/>
            <p:nvPr/>
          </p:nvSpPr>
          <p:spPr>
            <a:xfrm>
              <a:off x="1260474" y="4859365"/>
              <a:ext cx="394439" cy="9684"/>
            </a:xfrm>
            <a:custGeom>
              <a:avLst/>
              <a:gdLst>
                <a:gd name="connsiteX0" fmla="*/ 0 w 433652"/>
                <a:gd name="connsiteY0" fmla="*/ 0 h 10583"/>
                <a:gd name="connsiteX1" fmla="*/ 433652 w 433652"/>
                <a:gd name="connsiteY1" fmla="*/ 0 h 10583"/>
              </a:gdLst>
              <a:ahLst/>
              <a:cxnLst>
                <a:cxn ang="0">
                  <a:pos x="connsiteX0" y="connsiteY0"/>
                </a:cxn>
                <a:cxn ang="0">
                  <a:pos x="connsiteX1" y="connsiteY1"/>
                </a:cxn>
              </a:cxnLst>
              <a:rect l="l" t="t" r="r" b="b"/>
              <a:pathLst>
                <a:path w="433652" h="10583">
                  <a:moveTo>
                    <a:pt x="0" y="0"/>
                  </a:moveTo>
                  <a:lnTo>
                    <a:pt x="433652" y="0"/>
                  </a:lnTo>
                </a:path>
              </a:pathLst>
            </a:custGeom>
            <a:ln w="10583" cap="flat">
              <a:solidFill>
                <a:srgbClr val="002985"/>
              </a:solidFill>
              <a:prstDash val="solid"/>
              <a:miter/>
            </a:ln>
          </p:spPr>
          <p:txBody>
            <a:bodyPr rtlCol="0" anchor="ctr"/>
            <a:lstStyle/>
            <a:p>
              <a:endParaRPr lang="en-US" sz="1800"/>
            </a:p>
          </p:txBody>
        </p:sp>
        <p:grpSp>
          <p:nvGrpSpPr>
            <p:cNvPr id="1914" name="Graphic 3">
              <a:extLst>
                <a:ext uri="{FF2B5EF4-FFF2-40B4-BE49-F238E27FC236}">
                  <a16:creationId xmlns:a16="http://schemas.microsoft.com/office/drawing/2014/main" id="{6B65FC18-5FF9-98E0-20CC-7853CDBADB38}"/>
                </a:ext>
              </a:extLst>
            </p:cNvPr>
            <p:cNvGrpSpPr/>
            <p:nvPr/>
          </p:nvGrpSpPr>
          <p:grpSpPr>
            <a:xfrm>
              <a:off x="1429946" y="5021867"/>
              <a:ext cx="55448" cy="52692"/>
              <a:chOff x="1675563" y="4678626"/>
              <a:chExt cx="60960" cy="57583"/>
            </a:xfrm>
          </p:grpSpPr>
          <p:sp>
            <p:nvSpPr>
              <p:cNvPr id="2789" name="Freeform 77">
                <a:extLst>
                  <a:ext uri="{FF2B5EF4-FFF2-40B4-BE49-F238E27FC236}">
                    <a16:creationId xmlns:a16="http://schemas.microsoft.com/office/drawing/2014/main" id="{3CC1363C-5C1B-2663-AE47-663A76D8FB5B}"/>
                  </a:ext>
                </a:extLst>
              </p:cNvPr>
              <p:cNvSpPr/>
              <p:nvPr/>
            </p:nvSpPr>
            <p:spPr>
              <a:xfrm>
                <a:off x="1706043" y="4678626"/>
                <a:ext cx="10583" cy="57583"/>
              </a:xfrm>
              <a:custGeom>
                <a:avLst/>
                <a:gdLst>
                  <a:gd name="connsiteX0" fmla="*/ 0 w 10583"/>
                  <a:gd name="connsiteY0" fmla="*/ 0 h 57583"/>
                  <a:gd name="connsiteX1" fmla="*/ 0 w 10583"/>
                  <a:gd name="connsiteY1" fmla="*/ 57584 h 57583"/>
                </a:gdLst>
                <a:ahLst/>
                <a:cxnLst>
                  <a:cxn ang="0">
                    <a:pos x="connsiteX0" y="connsiteY0"/>
                  </a:cxn>
                  <a:cxn ang="0">
                    <a:pos x="connsiteX1" y="connsiteY1"/>
                  </a:cxn>
                </a:cxnLst>
                <a:rect l="l" t="t" r="r" b="b"/>
                <a:pathLst>
                  <a:path w="10583" h="57583">
                    <a:moveTo>
                      <a:pt x="0" y="0"/>
                    </a:moveTo>
                    <a:lnTo>
                      <a:pt x="0" y="57584"/>
                    </a:lnTo>
                  </a:path>
                </a:pathLst>
              </a:custGeom>
              <a:ln w="9448" cap="flat">
                <a:solidFill>
                  <a:srgbClr val="9A9B9C"/>
                </a:solidFill>
                <a:prstDash val="solid"/>
                <a:miter/>
              </a:ln>
            </p:spPr>
            <p:txBody>
              <a:bodyPr rtlCol="0" anchor="ctr"/>
              <a:lstStyle/>
              <a:p>
                <a:endParaRPr lang="en-US" sz="1800"/>
              </a:p>
            </p:txBody>
          </p:sp>
          <p:sp>
            <p:nvSpPr>
              <p:cNvPr id="2790" name="Freeform 78">
                <a:extLst>
                  <a:ext uri="{FF2B5EF4-FFF2-40B4-BE49-F238E27FC236}">
                    <a16:creationId xmlns:a16="http://schemas.microsoft.com/office/drawing/2014/main" id="{EFB15999-0C11-36FC-5593-728EDDE9F361}"/>
                  </a:ext>
                </a:extLst>
              </p:cNvPr>
              <p:cNvSpPr/>
              <p:nvPr/>
            </p:nvSpPr>
            <p:spPr>
              <a:xfrm>
                <a:off x="1675563" y="4707424"/>
                <a:ext cx="60960" cy="10583"/>
              </a:xfrm>
              <a:custGeom>
                <a:avLst/>
                <a:gdLst>
                  <a:gd name="connsiteX0" fmla="*/ 0 w 60960"/>
                  <a:gd name="connsiteY0" fmla="*/ 0 h 10583"/>
                  <a:gd name="connsiteX1" fmla="*/ 60960 w 60960"/>
                  <a:gd name="connsiteY1" fmla="*/ 0 h 10583"/>
                </a:gdLst>
                <a:ahLst/>
                <a:cxnLst>
                  <a:cxn ang="0">
                    <a:pos x="connsiteX0" y="connsiteY0"/>
                  </a:cxn>
                  <a:cxn ang="0">
                    <a:pos x="connsiteX1" y="connsiteY1"/>
                  </a:cxn>
                </a:cxnLst>
                <a:rect l="l" t="t" r="r" b="b"/>
                <a:pathLst>
                  <a:path w="60960" h="10583">
                    <a:moveTo>
                      <a:pt x="0" y="0"/>
                    </a:moveTo>
                    <a:lnTo>
                      <a:pt x="60960" y="0"/>
                    </a:lnTo>
                  </a:path>
                </a:pathLst>
              </a:custGeom>
              <a:ln w="9448" cap="flat">
                <a:solidFill>
                  <a:srgbClr val="9A9B9C"/>
                </a:solidFill>
                <a:prstDash val="solid"/>
                <a:miter/>
              </a:ln>
            </p:spPr>
            <p:txBody>
              <a:bodyPr rtlCol="0" anchor="ctr"/>
              <a:lstStyle/>
              <a:p>
                <a:endParaRPr lang="en-US" sz="1800"/>
              </a:p>
            </p:txBody>
          </p:sp>
        </p:grpSp>
        <p:sp>
          <p:nvSpPr>
            <p:cNvPr id="1915" name="Freeform 79">
              <a:extLst>
                <a:ext uri="{FF2B5EF4-FFF2-40B4-BE49-F238E27FC236}">
                  <a16:creationId xmlns:a16="http://schemas.microsoft.com/office/drawing/2014/main" id="{5F8A9F94-FD99-F988-64D1-D3B59CDEF662}"/>
                </a:ext>
              </a:extLst>
            </p:cNvPr>
            <p:cNvSpPr/>
            <p:nvPr/>
          </p:nvSpPr>
          <p:spPr>
            <a:xfrm>
              <a:off x="1260474" y="5048219"/>
              <a:ext cx="394439" cy="9684"/>
            </a:xfrm>
            <a:custGeom>
              <a:avLst/>
              <a:gdLst>
                <a:gd name="connsiteX0" fmla="*/ 0 w 433652"/>
                <a:gd name="connsiteY0" fmla="*/ 0 h 10583"/>
                <a:gd name="connsiteX1" fmla="*/ 433652 w 433652"/>
                <a:gd name="connsiteY1" fmla="*/ 0 h 10583"/>
              </a:gdLst>
              <a:ahLst/>
              <a:cxnLst>
                <a:cxn ang="0">
                  <a:pos x="connsiteX0" y="connsiteY0"/>
                </a:cxn>
                <a:cxn ang="0">
                  <a:pos x="connsiteX1" y="connsiteY1"/>
                </a:cxn>
              </a:cxnLst>
              <a:rect l="l" t="t" r="r" b="b"/>
              <a:pathLst>
                <a:path w="433652" h="10583">
                  <a:moveTo>
                    <a:pt x="0" y="0"/>
                  </a:moveTo>
                  <a:lnTo>
                    <a:pt x="433652" y="0"/>
                  </a:lnTo>
                </a:path>
              </a:pathLst>
            </a:custGeom>
            <a:ln w="10583" cap="flat">
              <a:solidFill>
                <a:srgbClr val="929294"/>
              </a:solidFill>
              <a:prstDash val="solid"/>
              <a:miter/>
            </a:ln>
          </p:spPr>
          <p:txBody>
            <a:bodyPr rtlCol="0" anchor="ctr"/>
            <a:lstStyle/>
            <a:p>
              <a:endParaRPr lang="en-US" sz="1800"/>
            </a:p>
          </p:txBody>
        </p:sp>
        <p:grpSp>
          <p:nvGrpSpPr>
            <p:cNvPr id="1916" name="Graphic 3">
              <a:extLst>
                <a:ext uri="{FF2B5EF4-FFF2-40B4-BE49-F238E27FC236}">
                  <a16:creationId xmlns:a16="http://schemas.microsoft.com/office/drawing/2014/main" id="{B1BE7CB4-AC5B-AE44-BDAF-FAEF106C21AC}"/>
                </a:ext>
              </a:extLst>
            </p:cNvPr>
            <p:cNvGrpSpPr/>
            <p:nvPr/>
          </p:nvGrpSpPr>
          <p:grpSpPr>
            <a:xfrm>
              <a:off x="1240836" y="1807460"/>
              <a:ext cx="9161524" cy="1290047"/>
              <a:chOff x="1467653" y="1201704"/>
              <a:chExt cx="10072307" cy="1409795"/>
            </a:xfrm>
            <a:noFill/>
          </p:grpSpPr>
          <p:sp>
            <p:nvSpPr>
              <p:cNvPr id="2410" name="Freeform 81">
                <a:extLst>
                  <a:ext uri="{FF2B5EF4-FFF2-40B4-BE49-F238E27FC236}">
                    <a16:creationId xmlns:a16="http://schemas.microsoft.com/office/drawing/2014/main" id="{57D8D935-B763-18B4-14AA-E851A6C8B94C}"/>
                  </a:ext>
                </a:extLst>
              </p:cNvPr>
              <p:cNvSpPr/>
              <p:nvPr/>
            </p:nvSpPr>
            <p:spPr>
              <a:xfrm>
                <a:off x="1498218" y="1227009"/>
                <a:ext cx="10004171" cy="1359185"/>
              </a:xfrm>
              <a:custGeom>
                <a:avLst/>
                <a:gdLst>
                  <a:gd name="connsiteX0" fmla="*/ 0 w 10004171"/>
                  <a:gd name="connsiteY0" fmla="*/ 0 h 1359185"/>
                  <a:gd name="connsiteX1" fmla="*/ 154337 w 10004171"/>
                  <a:gd name="connsiteY1" fmla="*/ 0 h 1359185"/>
                  <a:gd name="connsiteX2" fmla="*/ 154337 w 10004171"/>
                  <a:gd name="connsiteY2" fmla="*/ 13938 h 1359185"/>
                  <a:gd name="connsiteX3" fmla="*/ 505174 w 10004171"/>
                  <a:gd name="connsiteY3" fmla="*/ 13938 h 1359185"/>
                  <a:gd name="connsiteX4" fmla="*/ 505174 w 10004171"/>
                  <a:gd name="connsiteY4" fmla="*/ 27993 h 1359185"/>
                  <a:gd name="connsiteX5" fmla="*/ 799825 w 10004171"/>
                  <a:gd name="connsiteY5" fmla="*/ 27993 h 1359185"/>
                  <a:gd name="connsiteX6" fmla="*/ 799825 w 10004171"/>
                  <a:gd name="connsiteY6" fmla="*/ 42048 h 1359185"/>
                  <a:gd name="connsiteX7" fmla="*/ 1269852 w 10004171"/>
                  <a:gd name="connsiteY7" fmla="*/ 42048 h 1359185"/>
                  <a:gd name="connsiteX8" fmla="*/ 1269852 w 10004171"/>
                  <a:gd name="connsiteY8" fmla="*/ 56335 h 1359185"/>
                  <a:gd name="connsiteX9" fmla="*/ 1375082 w 10004171"/>
                  <a:gd name="connsiteY9" fmla="*/ 56335 h 1359185"/>
                  <a:gd name="connsiteX10" fmla="*/ 1375082 w 10004171"/>
                  <a:gd name="connsiteY10" fmla="*/ 70612 h 1359185"/>
                  <a:gd name="connsiteX11" fmla="*/ 1410155 w 10004171"/>
                  <a:gd name="connsiteY11" fmla="*/ 70612 h 1359185"/>
                  <a:gd name="connsiteX12" fmla="*/ 1410155 w 10004171"/>
                  <a:gd name="connsiteY12" fmla="*/ 84889 h 1359185"/>
                  <a:gd name="connsiteX13" fmla="*/ 1438222 w 10004171"/>
                  <a:gd name="connsiteY13" fmla="*/ 84889 h 1359185"/>
                  <a:gd name="connsiteX14" fmla="*/ 1438222 w 10004171"/>
                  <a:gd name="connsiteY14" fmla="*/ 99176 h 1359185"/>
                  <a:gd name="connsiteX15" fmla="*/ 1480312 w 10004171"/>
                  <a:gd name="connsiteY15" fmla="*/ 99176 h 1359185"/>
                  <a:gd name="connsiteX16" fmla="*/ 1480312 w 10004171"/>
                  <a:gd name="connsiteY16" fmla="*/ 113453 h 1359185"/>
                  <a:gd name="connsiteX17" fmla="*/ 1557486 w 10004171"/>
                  <a:gd name="connsiteY17" fmla="*/ 113453 h 1359185"/>
                  <a:gd name="connsiteX18" fmla="*/ 1557486 w 10004171"/>
                  <a:gd name="connsiteY18" fmla="*/ 127847 h 1359185"/>
                  <a:gd name="connsiteX19" fmla="*/ 1859143 w 10004171"/>
                  <a:gd name="connsiteY19" fmla="*/ 127847 h 1359185"/>
                  <a:gd name="connsiteX20" fmla="*/ 1859143 w 10004171"/>
                  <a:gd name="connsiteY20" fmla="*/ 142240 h 1359185"/>
                  <a:gd name="connsiteX21" fmla="*/ 1957356 w 10004171"/>
                  <a:gd name="connsiteY21" fmla="*/ 142240 h 1359185"/>
                  <a:gd name="connsiteX22" fmla="*/ 1957356 w 10004171"/>
                  <a:gd name="connsiteY22" fmla="*/ 156633 h 1359185"/>
                  <a:gd name="connsiteX23" fmla="*/ 2069603 w 10004171"/>
                  <a:gd name="connsiteY23" fmla="*/ 156633 h 1359185"/>
                  <a:gd name="connsiteX24" fmla="*/ 2069603 w 10004171"/>
                  <a:gd name="connsiteY24" fmla="*/ 185409 h 1359185"/>
                  <a:gd name="connsiteX25" fmla="*/ 2174833 w 10004171"/>
                  <a:gd name="connsiteY25" fmla="*/ 185409 h 1359185"/>
                  <a:gd name="connsiteX26" fmla="*/ 2174833 w 10004171"/>
                  <a:gd name="connsiteY26" fmla="*/ 199803 h 1359185"/>
                  <a:gd name="connsiteX27" fmla="*/ 2259024 w 10004171"/>
                  <a:gd name="connsiteY27" fmla="*/ 199803 h 1359185"/>
                  <a:gd name="connsiteX28" fmla="*/ 2259024 w 10004171"/>
                  <a:gd name="connsiteY28" fmla="*/ 214196 h 1359185"/>
                  <a:gd name="connsiteX29" fmla="*/ 2778157 w 10004171"/>
                  <a:gd name="connsiteY29" fmla="*/ 214196 h 1359185"/>
                  <a:gd name="connsiteX30" fmla="*/ 2778157 w 10004171"/>
                  <a:gd name="connsiteY30" fmla="*/ 228589 h 1359185"/>
                  <a:gd name="connsiteX31" fmla="*/ 2841297 w 10004171"/>
                  <a:gd name="connsiteY31" fmla="*/ 228589 h 1359185"/>
                  <a:gd name="connsiteX32" fmla="*/ 2841297 w 10004171"/>
                  <a:gd name="connsiteY32" fmla="*/ 242983 h 1359185"/>
                  <a:gd name="connsiteX33" fmla="*/ 2953544 w 10004171"/>
                  <a:gd name="connsiteY33" fmla="*/ 242983 h 1359185"/>
                  <a:gd name="connsiteX34" fmla="*/ 2953544 w 10004171"/>
                  <a:gd name="connsiteY34" fmla="*/ 257493 h 1359185"/>
                  <a:gd name="connsiteX35" fmla="*/ 3009667 w 10004171"/>
                  <a:gd name="connsiteY35" fmla="*/ 257493 h 1359185"/>
                  <a:gd name="connsiteX36" fmla="*/ 3009667 w 10004171"/>
                  <a:gd name="connsiteY36" fmla="*/ 271992 h 1359185"/>
                  <a:gd name="connsiteX37" fmla="*/ 3044741 w 10004171"/>
                  <a:gd name="connsiteY37" fmla="*/ 271992 h 1359185"/>
                  <a:gd name="connsiteX38" fmla="*/ 3044741 w 10004171"/>
                  <a:gd name="connsiteY38" fmla="*/ 286607 h 1359185"/>
                  <a:gd name="connsiteX39" fmla="*/ 3065791 w 10004171"/>
                  <a:gd name="connsiteY39" fmla="*/ 286607 h 1359185"/>
                  <a:gd name="connsiteX40" fmla="*/ 3065791 w 10004171"/>
                  <a:gd name="connsiteY40" fmla="*/ 301117 h 1359185"/>
                  <a:gd name="connsiteX41" fmla="*/ 3107881 w 10004171"/>
                  <a:gd name="connsiteY41" fmla="*/ 301117 h 1359185"/>
                  <a:gd name="connsiteX42" fmla="*/ 3107881 w 10004171"/>
                  <a:gd name="connsiteY42" fmla="*/ 330242 h 1359185"/>
                  <a:gd name="connsiteX43" fmla="*/ 3135948 w 10004171"/>
                  <a:gd name="connsiteY43" fmla="*/ 330242 h 1359185"/>
                  <a:gd name="connsiteX44" fmla="*/ 3135948 w 10004171"/>
                  <a:gd name="connsiteY44" fmla="*/ 344858 h 1359185"/>
                  <a:gd name="connsiteX45" fmla="*/ 3234161 w 10004171"/>
                  <a:gd name="connsiteY45" fmla="*/ 344858 h 1359185"/>
                  <a:gd name="connsiteX46" fmla="*/ 3234161 w 10004171"/>
                  <a:gd name="connsiteY46" fmla="*/ 359474 h 1359185"/>
                  <a:gd name="connsiteX47" fmla="*/ 3276251 w 10004171"/>
                  <a:gd name="connsiteY47" fmla="*/ 359474 h 1359185"/>
                  <a:gd name="connsiteX48" fmla="*/ 3276251 w 10004171"/>
                  <a:gd name="connsiteY48" fmla="*/ 373973 h 1359185"/>
                  <a:gd name="connsiteX49" fmla="*/ 3283268 w 10004171"/>
                  <a:gd name="connsiteY49" fmla="*/ 373973 h 1359185"/>
                  <a:gd name="connsiteX50" fmla="*/ 3283268 w 10004171"/>
                  <a:gd name="connsiteY50" fmla="*/ 388599 h 1359185"/>
                  <a:gd name="connsiteX51" fmla="*/ 3311324 w 10004171"/>
                  <a:gd name="connsiteY51" fmla="*/ 388599 h 1359185"/>
                  <a:gd name="connsiteX52" fmla="*/ 3311324 w 10004171"/>
                  <a:gd name="connsiteY52" fmla="*/ 403214 h 1359185"/>
                  <a:gd name="connsiteX53" fmla="*/ 3388498 w 10004171"/>
                  <a:gd name="connsiteY53" fmla="*/ 403214 h 1359185"/>
                  <a:gd name="connsiteX54" fmla="*/ 3388498 w 10004171"/>
                  <a:gd name="connsiteY54" fmla="*/ 417714 h 1359185"/>
                  <a:gd name="connsiteX55" fmla="*/ 3402531 w 10004171"/>
                  <a:gd name="connsiteY55" fmla="*/ 417714 h 1359185"/>
                  <a:gd name="connsiteX56" fmla="*/ 3402531 w 10004171"/>
                  <a:gd name="connsiteY56" fmla="*/ 432340 h 1359185"/>
                  <a:gd name="connsiteX57" fmla="*/ 3458655 w 10004171"/>
                  <a:gd name="connsiteY57" fmla="*/ 432340 h 1359185"/>
                  <a:gd name="connsiteX58" fmla="*/ 3458655 w 10004171"/>
                  <a:gd name="connsiteY58" fmla="*/ 446955 h 1359185"/>
                  <a:gd name="connsiteX59" fmla="*/ 3556868 w 10004171"/>
                  <a:gd name="connsiteY59" fmla="*/ 446955 h 1359185"/>
                  <a:gd name="connsiteX60" fmla="*/ 3556868 w 10004171"/>
                  <a:gd name="connsiteY60" fmla="*/ 461571 h 1359185"/>
                  <a:gd name="connsiteX61" fmla="*/ 3570891 w 10004171"/>
                  <a:gd name="connsiteY61" fmla="*/ 461571 h 1359185"/>
                  <a:gd name="connsiteX62" fmla="*/ 3570891 w 10004171"/>
                  <a:gd name="connsiteY62" fmla="*/ 476187 h 1359185"/>
                  <a:gd name="connsiteX63" fmla="*/ 3584925 w 10004171"/>
                  <a:gd name="connsiteY63" fmla="*/ 476187 h 1359185"/>
                  <a:gd name="connsiteX64" fmla="*/ 3584925 w 10004171"/>
                  <a:gd name="connsiteY64" fmla="*/ 490919 h 1359185"/>
                  <a:gd name="connsiteX65" fmla="*/ 3683138 w 10004171"/>
                  <a:gd name="connsiteY65" fmla="*/ 490919 h 1359185"/>
                  <a:gd name="connsiteX66" fmla="*/ 3683138 w 10004171"/>
                  <a:gd name="connsiteY66" fmla="*/ 505534 h 1359185"/>
                  <a:gd name="connsiteX67" fmla="*/ 3795385 w 10004171"/>
                  <a:gd name="connsiteY67" fmla="*/ 505534 h 1359185"/>
                  <a:gd name="connsiteX68" fmla="*/ 3795385 w 10004171"/>
                  <a:gd name="connsiteY68" fmla="*/ 520150 h 1359185"/>
                  <a:gd name="connsiteX69" fmla="*/ 3879575 w 10004171"/>
                  <a:gd name="connsiteY69" fmla="*/ 520150 h 1359185"/>
                  <a:gd name="connsiteX70" fmla="*/ 3879575 w 10004171"/>
                  <a:gd name="connsiteY70" fmla="*/ 534765 h 1359185"/>
                  <a:gd name="connsiteX71" fmla="*/ 3886592 w 10004171"/>
                  <a:gd name="connsiteY71" fmla="*/ 534765 h 1359185"/>
                  <a:gd name="connsiteX72" fmla="*/ 3886592 w 10004171"/>
                  <a:gd name="connsiteY72" fmla="*/ 549497 h 1359185"/>
                  <a:gd name="connsiteX73" fmla="*/ 4040929 w 10004171"/>
                  <a:gd name="connsiteY73" fmla="*/ 549497 h 1359185"/>
                  <a:gd name="connsiteX74" fmla="*/ 4040929 w 10004171"/>
                  <a:gd name="connsiteY74" fmla="*/ 564113 h 1359185"/>
                  <a:gd name="connsiteX75" fmla="*/ 4047946 w 10004171"/>
                  <a:gd name="connsiteY75" fmla="*/ 564113 h 1359185"/>
                  <a:gd name="connsiteX76" fmla="*/ 4047946 w 10004171"/>
                  <a:gd name="connsiteY76" fmla="*/ 578845 h 1359185"/>
                  <a:gd name="connsiteX77" fmla="*/ 4153176 w 10004171"/>
                  <a:gd name="connsiteY77" fmla="*/ 578845 h 1359185"/>
                  <a:gd name="connsiteX78" fmla="*/ 4153176 w 10004171"/>
                  <a:gd name="connsiteY78" fmla="*/ 593577 h 1359185"/>
                  <a:gd name="connsiteX79" fmla="*/ 4230339 w 10004171"/>
                  <a:gd name="connsiteY79" fmla="*/ 593577 h 1359185"/>
                  <a:gd name="connsiteX80" fmla="*/ 4230339 w 10004171"/>
                  <a:gd name="connsiteY80" fmla="*/ 608309 h 1359185"/>
                  <a:gd name="connsiteX81" fmla="*/ 4251389 w 10004171"/>
                  <a:gd name="connsiteY81" fmla="*/ 608309 h 1359185"/>
                  <a:gd name="connsiteX82" fmla="*/ 4251389 w 10004171"/>
                  <a:gd name="connsiteY82" fmla="*/ 623030 h 1359185"/>
                  <a:gd name="connsiteX83" fmla="*/ 4258406 w 10004171"/>
                  <a:gd name="connsiteY83" fmla="*/ 623030 h 1359185"/>
                  <a:gd name="connsiteX84" fmla="*/ 4258406 w 10004171"/>
                  <a:gd name="connsiteY84" fmla="*/ 652494 h 1359185"/>
                  <a:gd name="connsiteX85" fmla="*/ 4314530 w 10004171"/>
                  <a:gd name="connsiteY85" fmla="*/ 652494 h 1359185"/>
                  <a:gd name="connsiteX86" fmla="*/ 4314530 w 10004171"/>
                  <a:gd name="connsiteY86" fmla="*/ 667226 h 1359185"/>
                  <a:gd name="connsiteX87" fmla="*/ 4517973 w 10004171"/>
                  <a:gd name="connsiteY87" fmla="*/ 667226 h 1359185"/>
                  <a:gd name="connsiteX88" fmla="*/ 4517973 w 10004171"/>
                  <a:gd name="connsiteY88" fmla="*/ 681958 h 1359185"/>
                  <a:gd name="connsiteX89" fmla="*/ 4651270 w 10004171"/>
                  <a:gd name="connsiteY89" fmla="*/ 681958 h 1359185"/>
                  <a:gd name="connsiteX90" fmla="*/ 4651270 w 10004171"/>
                  <a:gd name="connsiteY90" fmla="*/ 696796 h 1359185"/>
                  <a:gd name="connsiteX91" fmla="*/ 4721416 w 10004171"/>
                  <a:gd name="connsiteY91" fmla="*/ 696796 h 1359185"/>
                  <a:gd name="connsiteX92" fmla="*/ 4721416 w 10004171"/>
                  <a:gd name="connsiteY92" fmla="*/ 711750 h 1359185"/>
                  <a:gd name="connsiteX93" fmla="*/ 4812623 w 10004171"/>
                  <a:gd name="connsiteY93" fmla="*/ 711750 h 1359185"/>
                  <a:gd name="connsiteX94" fmla="*/ 4812623 w 10004171"/>
                  <a:gd name="connsiteY94" fmla="*/ 726588 h 1359185"/>
                  <a:gd name="connsiteX95" fmla="*/ 4847697 w 10004171"/>
                  <a:gd name="connsiteY95" fmla="*/ 726588 h 1359185"/>
                  <a:gd name="connsiteX96" fmla="*/ 4847697 w 10004171"/>
                  <a:gd name="connsiteY96" fmla="*/ 741437 h 1359185"/>
                  <a:gd name="connsiteX97" fmla="*/ 5044123 w 10004171"/>
                  <a:gd name="connsiteY97" fmla="*/ 741437 h 1359185"/>
                  <a:gd name="connsiteX98" fmla="*/ 5044123 w 10004171"/>
                  <a:gd name="connsiteY98" fmla="*/ 756275 h 1359185"/>
                  <a:gd name="connsiteX99" fmla="*/ 5058157 w 10004171"/>
                  <a:gd name="connsiteY99" fmla="*/ 756275 h 1359185"/>
                  <a:gd name="connsiteX100" fmla="*/ 5058157 w 10004171"/>
                  <a:gd name="connsiteY100" fmla="*/ 786183 h 1359185"/>
                  <a:gd name="connsiteX101" fmla="*/ 5079207 w 10004171"/>
                  <a:gd name="connsiteY101" fmla="*/ 786183 h 1359185"/>
                  <a:gd name="connsiteX102" fmla="*/ 5079207 w 10004171"/>
                  <a:gd name="connsiteY102" fmla="*/ 816091 h 1359185"/>
                  <a:gd name="connsiteX103" fmla="*/ 5142336 w 10004171"/>
                  <a:gd name="connsiteY103" fmla="*/ 816091 h 1359185"/>
                  <a:gd name="connsiteX104" fmla="*/ 5142336 w 10004171"/>
                  <a:gd name="connsiteY104" fmla="*/ 831056 h 1359185"/>
                  <a:gd name="connsiteX105" fmla="*/ 5184437 w 10004171"/>
                  <a:gd name="connsiteY105" fmla="*/ 831056 h 1359185"/>
                  <a:gd name="connsiteX106" fmla="*/ 5184437 w 10004171"/>
                  <a:gd name="connsiteY106" fmla="*/ 846011 h 1359185"/>
                  <a:gd name="connsiteX107" fmla="*/ 5247566 w 10004171"/>
                  <a:gd name="connsiteY107" fmla="*/ 846011 h 1359185"/>
                  <a:gd name="connsiteX108" fmla="*/ 5247566 w 10004171"/>
                  <a:gd name="connsiteY108" fmla="*/ 860848 h 1359185"/>
                  <a:gd name="connsiteX109" fmla="*/ 5359813 w 10004171"/>
                  <a:gd name="connsiteY109" fmla="*/ 860848 h 1359185"/>
                  <a:gd name="connsiteX110" fmla="*/ 5359813 w 10004171"/>
                  <a:gd name="connsiteY110" fmla="*/ 876141 h 1359185"/>
                  <a:gd name="connsiteX111" fmla="*/ 5500127 w 10004171"/>
                  <a:gd name="connsiteY111" fmla="*/ 876141 h 1359185"/>
                  <a:gd name="connsiteX112" fmla="*/ 5500127 w 10004171"/>
                  <a:gd name="connsiteY112" fmla="*/ 891540 h 1359185"/>
                  <a:gd name="connsiteX113" fmla="*/ 5528184 w 10004171"/>
                  <a:gd name="connsiteY113" fmla="*/ 891540 h 1359185"/>
                  <a:gd name="connsiteX114" fmla="*/ 5528184 w 10004171"/>
                  <a:gd name="connsiteY114" fmla="*/ 906949 h 1359185"/>
                  <a:gd name="connsiteX115" fmla="*/ 5605357 w 10004171"/>
                  <a:gd name="connsiteY115" fmla="*/ 906949 h 1359185"/>
                  <a:gd name="connsiteX116" fmla="*/ 5605357 w 10004171"/>
                  <a:gd name="connsiteY116" fmla="*/ 922920 h 1359185"/>
                  <a:gd name="connsiteX117" fmla="*/ 5633414 w 10004171"/>
                  <a:gd name="connsiteY117" fmla="*/ 922920 h 1359185"/>
                  <a:gd name="connsiteX118" fmla="*/ 5633414 w 10004171"/>
                  <a:gd name="connsiteY118" fmla="*/ 938774 h 1359185"/>
                  <a:gd name="connsiteX119" fmla="*/ 5724621 w 10004171"/>
                  <a:gd name="connsiteY119" fmla="*/ 938774 h 1359185"/>
                  <a:gd name="connsiteX120" fmla="*/ 5724621 w 10004171"/>
                  <a:gd name="connsiteY120" fmla="*/ 955527 h 1359185"/>
                  <a:gd name="connsiteX121" fmla="*/ 5857908 w 10004171"/>
                  <a:gd name="connsiteY121" fmla="*/ 955527 h 1359185"/>
                  <a:gd name="connsiteX122" fmla="*/ 5857908 w 10004171"/>
                  <a:gd name="connsiteY122" fmla="*/ 973064 h 1359185"/>
                  <a:gd name="connsiteX123" fmla="*/ 6033294 w 10004171"/>
                  <a:gd name="connsiteY123" fmla="*/ 973064 h 1359185"/>
                  <a:gd name="connsiteX124" fmla="*/ 6033294 w 10004171"/>
                  <a:gd name="connsiteY124" fmla="*/ 992632 h 1359185"/>
                  <a:gd name="connsiteX125" fmla="*/ 6222705 w 10004171"/>
                  <a:gd name="connsiteY125" fmla="*/ 992632 h 1359185"/>
                  <a:gd name="connsiteX126" fmla="*/ 6222705 w 10004171"/>
                  <a:gd name="connsiteY126" fmla="*/ 1014222 h 1359185"/>
                  <a:gd name="connsiteX127" fmla="*/ 6454215 w 10004171"/>
                  <a:gd name="connsiteY127" fmla="*/ 1014222 h 1359185"/>
                  <a:gd name="connsiteX128" fmla="*/ 6454215 w 10004171"/>
                  <a:gd name="connsiteY128" fmla="*/ 1038733 h 1359185"/>
                  <a:gd name="connsiteX129" fmla="*/ 6671692 w 10004171"/>
                  <a:gd name="connsiteY129" fmla="*/ 1038733 h 1359185"/>
                  <a:gd name="connsiteX130" fmla="*/ 6671692 w 10004171"/>
                  <a:gd name="connsiteY130" fmla="*/ 1068642 h 1359185"/>
                  <a:gd name="connsiteX131" fmla="*/ 7064556 w 10004171"/>
                  <a:gd name="connsiteY131" fmla="*/ 1068642 h 1359185"/>
                  <a:gd name="connsiteX132" fmla="*/ 7064556 w 10004171"/>
                  <a:gd name="connsiteY132" fmla="*/ 1109006 h 1359185"/>
                  <a:gd name="connsiteX133" fmla="*/ 8650193 w 10004171"/>
                  <a:gd name="connsiteY133" fmla="*/ 1109006 h 1359185"/>
                  <a:gd name="connsiteX134" fmla="*/ 8650193 w 10004171"/>
                  <a:gd name="connsiteY134" fmla="*/ 1359186 h 1359185"/>
                  <a:gd name="connsiteX135" fmla="*/ 10004172 w 10004171"/>
                  <a:gd name="connsiteY135" fmla="*/ 1359186 h 1359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10004171" h="1359185">
                    <a:moveTo>
                      <a:pt x="0" y="0"/>
                    </a:moveTo>
                    <a:lnTo>
                      <a:pt x="154337" y="0"/>
                    </a:lnTo>
                    <a:lnTo>
                      <a:pt x="154337" y="13938"/>
                    </a:lnTo>
                    <a:lnTo>
                      <a:pt x="505174" y="13938"/>
                    </a:lnTo>
                    <a:lnTo>
                      <a:pt x="505174" y="27993"/>
                    </a:lnTo>
                    <a:lnTo>
                      <a:pt x="799825" y="27993"/>
                    </a:lnTo>
                    <a:lnTo>
                      <a:pt x="799825" y="42048"/>
                    </a:lnTo>
                    <a:lnTo>
                      <a:pt x="1269852" y="42048"/>
                    </a:lnTo>
                    <a:lnTo>
                      <a:pt x="1269852" y="56335"/>
                    </a:lnTo>
                    <a:lnTo>
                      <a:pt x="1375082" y="56335"/>
                    </a:lnTo>
                    <a:lnTo>
                      <a:pt x="1375082" y="70612"/>
                    </a:lnTo>
                    <a:lnTo>
                      <a:pt x="1410155" y="70612"/>
                    </a:lnTo>
                    <a:lnTo>
                      <a:pt x="1410155" y="84889"/>
                    </a:lnTo>
                    <a:lnTo>
                      <a:pt x="1438222" y="84889"/>
                    </a:lnTo>
                    <a:lnTo>
                      <a:pt x="1438222" y="99176"/>
                    </a:lnTo>
                    <a:lnTo>
                      <a:pt x="1480312" y="99176"/>
                    </a:lnTo>
                    <a:lnTo>
                      <a:pt x="1480312" y="113453"/>
                    </a:lnTo>
                    <a:lnTo>
                      <a:pt x="1557486" y="113453"/>
                    </a:lnTo>
                    <a:lnTo>
                      <a:pt x="1557486" y="127847"/>
                    </a:lnTo>
                    <a:lnTo>
                      <a:pt x="1859143" y="127847"/>
                    </a:lnTo>
                    <a:lnTo>
                      <a:pt x="1859143" y="142240"/>
                    </a:lnTo>
                    <a:lnTo>
                      <a:pt x="1957356" y="142240"/>
                    </a:lnTo>
                    <a:lnTo>
                      <a:pt x="1957356" y="156633"/>
                    </a:lnTo>
                    <a:lnTo>
                      <a:pt x="2069603" y="156633"/>
                    </a:lnTo>
                    <a:lnTo>
                      <a:pt x="2069603" y="185409"/>
                    </a:lnTo>
                    <a:lnTo>
                      <a:pt x="2174833" y="185409"/>
                    </a:lnTo>
                    <a:lnTo>
                      <a:pt x="2174833" y="199803"/>
                    </a:lnTo>
                    <a:lnTo>
                      <a:pt x="2259024" y="199803"/>
                    </a:lnTo>
                    <a:lnTo>
                      <a:pt x="2259024" y="214196"/>
                    </a:lnTo>
                    <a:lnTo>
                      <a:pt x="2778157" y="214196"/>
                    </a:lnTo>
                    <a:lnTo>
                      <a:pt x="2778157" y="228589"/>
                    </a:lnTo>
                    <a:lnTo>
                      <a:pt x="2841297" y="228589"/>
                    </a:lnTo>
                    <a:lnTo>
                      <a:pt x="2841297" y="242983"/>
                    </a:lnTo>
                    <a:lnTo>
                      <a:pt x="2953544" y="242983"/>
                    </a:lnTo>
                    <a:lnTo>
                      <a:pt x="2953544" y="257493"/>
                    </a:lnTo>
                    <a:lnTo>
                      <a:pt x="3009667" y="257493"/>
                    </a:lnTo>
                    <a:lnTo>
                      <a:pt x="3009667" y="271992"/>
                    </a:lnTo>
                    <a:lnTo>
                      <a:pt x="3044741" y="271992"/>
                    </a:lnTo>
                    <a:lnTo>
                      <a:pt x="3044741" y="286607"/>
                    </a:lnTo>
                    <a:lnTo>
                      <a:pt x="3065791" y="286607"/>
                    </a:lnTo>
                    <a:lnTo>
                      <a:pt x="3065791" y="301117"/>
                    </a:lnTo>
                    <a:lnTo>
                      <a:pt x="3107881" y="301117"/>
                    </a:lnTo>
                    <a:lnTo>
                      <a:pt x="3107881" y="330242"/>
                    </a:lnTo>
                    <a:lnTo>
                      <a:pt x="3135948" y="330242"/>
                    </a:lnTo>
                    <a:lnTo>
                      <a:pt x="3135948" y="344858"/>
                    </a:lnTo>
                    <a:lnTo>
                      <a:pt x="3234161" y="344858"/>
                    </a:lnTo>
                    <a:lnTo>
                      <a:pt x="3234161" y="359474"/>
                    </a:lnTo>
                    <a:lnTo>
                      <a:pt x="3276251" y="359474"/>
                    </a:lnTo>
                    <a:lnTo>
                      <a:pt x="3276251" y="373973"/>
                    </a:lnTo>
                    <a:lnTo>
                      <a:pt x="3283268" y="373973"/>
                    </a:lnTo>
                    <a:lnTo>
                      <a:pt x="3283268" y="388599"/>
                    </a:lnTo>
                    <a:lnTo>
                      <a:pt x="3311324" y="388599"/>
                    </a:lnTo>
                    <a:lnTo>
                      <a:pt x="3311324" y="403214"/>
                    </a:lnTo>
                    <a:lnTo>
                      <a:pt x="3388498" y="403214"/>
                    </a:lnTo>
                    <a:lnTo>
                      <a:pt x="3388498" y="417714"/>
                    </a:lnTo>
                    <a:lnTo>
                      <a:pt x="3402531" y="417714"/>
                    </a:lnTo>
                    <a:lnTo>
                      <a:pt x="3402531" y="432340"/>
                    </a:lnTo>
                    <a:lnTo>
                      <a:pt x="3458655" y="432340"/>
                    </a:lnTo>
                    <a:lnTo>
                      <a:pt x="3458655" y="446955"/>
                    </a:lnTo>
                    <a:lnTo>
                      <a:pt x="3556868" y="446955"/>
                    </a:lnTo>
                    <a:lnTo>
                      <a:pt x="3556868" y="461571"/>
                    </a:lnTo>
                    <a:lnTo>
                      <a:pt x="3570891" y="461571"/>
                    </a:lnTo>
                    <a:lnTo>
                      <a:pt x="3570891" y="476187"/>
                    </a:lnTo>
                    <a:lnTo>
                      <a:pt x="3584925" y="476187"/>
                    </a:lnTo>
                    <a:lnTo>
                      <a:pt x="3584925" y="490919"/>
                    </a:lnTo>
                    <a:lnTo>
                      <a:pt x="3683138" y="490919"/>
                    </a:lnTo>
                    <a:lnTo>
                      <a:pt x="3683138" y="505534"/>
                    </a:lnTo>
                    <a:lnTo>
                      <a:pt x="3795385" y="505534"/>
                    </a:lnTo>
                    <a:lnTo>
                      <a:pt x="3795385" y="520150"/>
                    </a:lnTo>
                    <a:lnTo>
                      <a:pt x="3879575" y="520150"/>
                    </a:lnTo>
                    <a:lnTo>
                      <a:pt x="3879575" y="534765"/>
                    </a:lnTo>
                    <a:lnTo>
                      <a:pt x="3886592" y="534765"/>
                    </a:lnTo>
                    <a:lnTo>
                      <a:pt x="3886592" y="549497"/>
                    </a:lnTo>
                    <a:lnTo>
                      <a:pt x="4040929" y="549497"/>
                    </a:lnTo>
                    <a:lnTo>
                      <a:pt x="4040929" y="564113"/>
                    </a:lnTo>
                    <a:lnTo>
                      <a:pt x="4047946" y="564113"/>
                    </a:lnTo>
                    <a:lnTo>
                      <a:pt x="4047946" y="578845"/>
                    </a:lnTo>
                    <a:lnTo>
                      <a:pt x="4153176" y="578845"/>
                    </a:lnTo>
                    <a:lnTo>
                      <a:pt x="4153176" y="593577"/>
                    </a:lnTo>
                    <a:lnTo>
                      <a:pt x="4230339" y="593577"/>
                    </a:lnTo>
                    <a:lnTo>
                      <a:pt x="4230339" y="608309"/>
                    </a:lnTo>
                    <a:lnTo>
                      <a:pt x="4251389" y="608309"/>
                    </a:lnTo>
                    <a:lnTo>
                      <a:pt x="4251389" y="623030"/>
                    </a:lnTo>
                    <a:lnTo>
                      <a:pt x="4258406" y="623030"/>
                    </a:lnTo>
                    <a:lnTo>
                      <a:pt x="4258406" y="652494"/>
                    </a:lnTo>
                    <a:lnTo>
                      <a:pt x="4314530" y="652494"/>
                    </a:lnTo>
                    <a:lnTo>
                      <a:pt x="4314530" y="667226"/>
                    </a:lnTo>
                    <a:lnTo>
                      <a:pt x="4517973" y="667226"/>
                    </a:lnTo>
                    <a:lnTo>
                      <a:pt x="4517973" y="681958"/>
                    </a:lnTo>
                    <a:lnTo>
                      <a:pt x="4651270" y="681958"/>
                    </a:lnTo>
                    <a:lnTo>
                      <a:pt x="4651270" y="696796"/>
                    </a:lnTo>
                    <a:lnTo>
                      <a:pt x="4721416" y="696796"/>
                    </a:lnTo>
                    <a:lnTo>
                      <a:pt x="4721416" y="711750"/>
                    </a:lnTo>
                    <a:lnTo>
                      <a:pt x="4812623" y="711750"/>
                    </a:lnTo>
                    <a:lnTo>
                      <a:pt x="4812623" y="726588"/>
                    </a:lnTo>
                    <a:lnTo>
                      <a:pt x="4847697" y="726588"/>
                    </a:lnTo>
                    <a:lnTo>
                      <a:pt x="4847697" y="741437"/>
                    </a:lnTo>
                    <a:lnTo>
                      <a:pt x="5044123" y="741437"/>
                    </a:lnTo>
                    <a:lnTo>
                      <a:pt x="5044123" y="756275"/>
                    </a:lnTo>
                    <a:lnTo>
                      <a:pt x="5058157" y="756275"/>
                    </a:lnTo>
                    <a:lnTo>
                      <a:pt x="5058157" y="786183"/>
                    </a:lnTo>
                    <a:lnTo>
                      <a:pt x="5079207" y="786183"/>
                    </a:lnTo>
                    <a:lnTo>
                      <a:pt x="5079207" y="816091"/>
                    </a:lnTo>
                    <a:lnTo>
                      <a:pt x="5142336" y="816091"/>
                    </a:lnTo>
                    <a:lnTo>
                      <a:pt x="5142336" y="831056"/>
                    </a:lnTo>
                    <a:lnTo>
                      <a:pt x="5184437" y="831056"/>
                    </a:lnTo>
                    <a:lnTo>
                      <a:pt x="5184437" y="846011"/>
                    </a:lnTo>
                    <a:lnTo>
                      <a:pt x="5247566" y="846011"/>
                    </a:lnTo>
                    <a:lnTo>
                      <a:pt x="5247566" y="860848"/>
                    </a:lnTo>
                    <a:lnTo>
                      <a:pt x="5359813" y="860848"/>
                    </a:lnTo>
                    <a:lnTo>
                      <a:pt x="5359813" y="876141"/>
                    </a:lnTo>
                    <a:lnTo>
                      <a:pt x="5500127" y="876141"/>
                    </a:lnTo>
                    <a:lnTo>
                      <a:pt x="5500127" y="891540"/>
                    </a:lnTo>
                    <a:lnTo>
                      <a:pt x="5528184" y="891540"/>
                    </a:lnTo>
                    <a:lnTo>
                      <a:pt x="5528184" y="906949"/>
                    </a:lnTo>
                    <a:lnTo>
                      <a:pt x="5605357" y="906949"/>
                    </a:lnTo>
                    <a:lnTo>
                      <a:pt x="5605357" y="922920"/>
                    </a:lnTo>
                    <a:lnTo>
                      <a:pt x="5633414" y="922920"/>
                    </a:lnTo>
                    <a:lnTo>
                      <a:pt x="5633414" y="938774"/>
                    </a:lnTo>
                    <a:lnTo>
                      <a:pt x="5724621" y="938774"/>
                    </a:lnTo>
                    <a:lnTo>
                      <a:pt x="5724621" y="955527"/>
                    </a:lnTo>
                    <a:lnTo>
                      <a:pt x="5857908" y="955527"/>
                    </a:lnTo>
                    <a:lnTo>
                      <a:pt x="5857908" y="973064"/>
                    </a:lnTo>
                    <a:lnTo>
                      <a:pt x="6033294" y="973064"/>
                    </a:lnTo>
                    <a:lnTo>
                      <a:pt x="6033294" y="992632"/>
                    </a:lnTo>
                    <a:lnTo>
                      <a:pt x="6222705" y="992632"/>
                    </a:lnTo>
                    <a:lnTo>
                      <a:pt x="6222705" y="1014222"/>
                    </a:lnTo>
                    <a:lnTo>
                      <a:pt x="6454215" y="1014222"/>
                    </a:lnTo>
                    <a:lnTo>
                      <a:pt x="6454215" y="1038733"/>
                    </a:lnTo>
                    <a:lnTo>
                      <a:pt x="6671692" y="1038733"/>
                    </a:lnTo>
                    <a:lnTo>
                      <a:pt x="6671692" y="1068642"/>
                    </a:lnTo>
                    <a:lnTo>
                      <a:pt x="7064556" y="1068642"/>
                    </a:lnTo>
                    <a:lnTo>
                      <a:pt x="7064556" y="1109006"/>
                    </a:lnTo>
                    <a:lnTo>
                      <a:pt x="8650193" y="1109006"/>
                    </a:lnTo>
                    <a:lnTo>
                      <a:pt x="8650193" y="1359186"/>
                    </a:lnTo>
                    <a:lnTo>
                      <a:pt x="10004172" y="1359186"/>
                    </a:lnTo>
                  </a:path>
                </a:pathLst>
              </a:custGeom>
              <a:noFill/>
              <a:ln w="12700" cap="flat">
                <a:solidFill>
                  <a:srgbClr val="002985"/>
                </a:solidFill>
                <a:prstDash val="solid"/>
                <a:miter/>
              </a:ln>
            </p:spPr>
            <p:txBody>
              <a:bodyPr rtlCol="0" anchor="ctr"/>
              <a:lstStyle/>
              <a:p>
                <a:endParaRPr lang="en-US" sz="1800"/>
              </a:p>
            </p:txBody>
          </p:sp>
          <p:sp>
            <p:nvSpPr>
              <p:cNvPr id="2411" name="Freeform 82">
                <a:extLst>
                  <a:ext uri="{FF2B5EF4-FFF2-40B4-BE49-F238E27FC236}">
                    <a16:creationId xmlns:a16="http://schemas.microsoft.com/office/drawing/2014/main" id="{370AD8F3-27A9-2408-707A-393AFF7F4F3D}"/>
                  </a:ext>
                </a:extLst>
              </p:cNvPr>
              <p:cNvSpPr/>
              <p:nvPr/>
            </p:nvSpPr>
            <p:spPr>
              <a:xfrm>
                <a:off x="1467653" y="1227009"/>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412" name="Freeform 83">
                <a:extLst>
                  <a:ext uri="{FF2B5EF4-FFF2-40B4-BE49-F238E27FC236}">
                    <a16:creationId xmlns:a16="http://schemas.microsoft.com/office/drawing/2014/main" id="{DBC43090-7D81-A07A-EF8F-86AFFB089696}"/>
                  </a:ext>
                </a:extLst>
              </p:cNvPr>
              <p:cNvSpPr/>
              <p:nvPr/>
            </p:nvSpPr>
            <p:spPr>
              <a:xfrm>
                <a:off x="1505234" y="1201704"/>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413" name="Freeform 84">
                <a:extLst>
                  <a:ext uri="{FF2B5EF4-FFF2-40B4-BE49-F238E27FC236}">
                    <a16:creationId xmlns:a16="http://schemas.microsoft.com/office/drawing/2014/main" id="{6CD1D6D4-8DBE-B467-4774-A281248D21AD}"/>
                  </a:ext>
                </a:extLst>
              </p:cNvPr>
              <p:cNvSpPr/>
              <p:nvPr/>
            </p:nvSpPr>
            <p:spPr>
              <a:xfrm>
                <a:off x="1474670" y="1227009"/>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414" name="Freeform 85">
                <a:extLst>
                  <a:ext uri="{FF2B5EF4-FFF2-40B4-BE49-F238E27FC236}">
                    <a16:creationId xmlns:a16="http://schemas.microsoft.com/office/drawing/2014/main" id="{8653F6EE-AC08-BA67-E62B-84FCF59CF24F}"/>
                  </a:ext>
                </a:extLst>
              </p:cNvPr>
              <p:cNvSpPr/>
              <p:nvPr/>
            </p:nvSpPr>
            <p:spPr>
              <a:xfrm>
                <a:off x="1512251" y="1201704"/>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415" name="Freeform 86">
                <a:extLst>
                  <a:ext uri="{FF2B5EF4-FFF2-40B4-BE49-F238E27FC236}">
                    <a16:creationId xmlns:a16="http://schemas.microsoft.com/office/drawing/2014/main" id="{5093B733-62EE-BDFC-648E-BE90BB32D70A}"/>
                  </a:ext>
                </a:extLst>
              </p:cNvPr>
              <p:cNvSpPr/>
              <p:nvPr/>
            </p:nvSpPr>
            <p:spPr>
              <a:xfrm>
                <a:off x="1593933" y="1227009"/>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416" name="Freeform 87">
                <a:extLst>
                  <a:ext uri="{FF2B5EF4-FFF2-40B4-BE49-F238E27FC236}">
                    <a16:creationId xmlns:a16="http://schemas.microsoft.com/office/drawing/2014/main" id="{69D2853A-D071-9B03-EF99-9CB56EDA331D}"/>
                  </a:ext>
                </a:extLst>
              </p:cNvPr>
              <p:cNvSpPr/>
              <p:nvPr/>
            </p:nvSpPr>
            <p:spPr>
              <a:xfrm>
                <a:off x="1631515" y="1201704"/>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417" name="Freeform 88">
                <a:extLst>
                  <a:ext uri="{FF2B5EF4-FFF2-40B4-BE49-F238E27FC236}">
                    <a16:creationId xmlns:a16="http://schemas.microsoft.com/office/drawing/2014/main" id="{2712C8E5-0FF7-3DC8-F785-DA4F35C29BEF}"/>
                  </a:ext>
                </a:extLst>
              </p:cNvPr>
              <p:cNvSpPr/>
              <p:nvPr/>
            </p:nvSpPr>
            <p:spPr>
              <a:xfrm>
                <a:off x="1614973" y="1240947"/>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418" name="Freeform 89">
                <a:extLst>
                  <a:ext uri="{FF2B5EF4-FFF2-40B4-BE49-F238E27FC236}">
                    <a16:creationId xmlns:a16="http://schemas.microsoft.com/office/drawing/2014/main" id="{599715F9-D7EC-B698-F696-E7487F4931CA}"/>
                  </a:ext>
                </a:extLst>
              </p:cNvPr>
              <p:cNvSpPr/>
              <p:nvPr/>
            </p:nvSpPr>
            <p:spPr>
              <a:xfrm>
                <a:off x="1652554" y="1215653"/>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419" name="Freeform 90">
                <a:extLst>
                  <a:ext uri="{FF2B5EF4-FFF2-40B4-BE49-F238E27FC236}">
                    <a16:creationId xmlns:a16="http://schemas.microsoft.com/office/drawing/2014/main" id="{0BC8E657-2FD0-EDFA-1B95-C8D5050476A0}"/>
                  </a:ext>
                </a:extLst>
              </p:cNvPr>
              <p:cNvSpPr/>
              <p:nvPr/>
            </p:nvSpPr>
            <p:spPr>
              <a:xfrm>
                <a:off x="2316585" y="1269057"/>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420" name="Freeform 91">
                <a:extLst>
                  <a:ext uri="{FF2B5EF4-FFF2-40B4-BE49-F238E27FC236}">
                    <a16:creationId xmlns:a16="http://schemas.microsoft.com/office/drawing/2014/main" id="{D753CBE3-6A18-C648-BEC1-0EB33AB4C898}"/>
                  </a:ext>
                </a:extLst>
              </p:cNvPr>
              <p:cNvSpPr/>
              <p:nvPr/>
            </p:nvSpPr>
            <p:spPr>
              <a:xfrm>
                <a:off x="2354166" y="1243763"/>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421" name="Freeform 92">
                <a:extLst>
                  <a:ext uri="{FF2B5EF4-FFF2-40B4-BE49-F238E27FC236}">
                    <a16:creationId xmlns:a16="http://schemas.microsoft.com/office/drawing/2014/main" id="{313EC52E-DE31-9058-E582-88FF4BE23858}"/>
                  </a:ext>
                </a:extLst>
              </p:cNvPr>
              <p:cNvSpPr/>
              <p:nvPr/>
            </p:nvSpPr>
            <p:spPr>
              <a:xfrm>
                <a:off x="2428831" y="1269057"/>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422" name="Freeform 93">
                <a:extLst>
                  <a:ext uri="{FF2B5EF4-FFF2-40B4-BE49-F238E27FC236}">
                    <a16:creationId xmlns:a16="http://schemas.microsoft.com/office/drawing/2014/main" id="{F2F9A576-4375-26AB-81A4-E940F2EE168C}"/>
                  </a:ext>
                </a:extLst>
              </p:cNvPr>
              <p:cNvSpPr/>
              <p:nvPr/>
            </p:nvSpPr>
            <p:spPr>
              <a:xfrm>
                <a:off x="2466413" y="1243763"/>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423" name="Freeform 94">
                <a:extLst>
                  <a:ext uri="{FF2B5EF4-FFF2-40B4-BE49-F238E27FC236}">
                    <a16:creationId xmlns:a16="http://schemas.microsoft.com/office/drawing/2014/main" id="{BC5075F8-8EC3-DB67-F0C9-9E708DAE51D2}"/>
                  </a:ext>
                </a:extLst>
              </p:cNvPr>
              <p:cNvSpPr/>
              <p:nvPr/>
            </p:nvSpPr>
            <p:spPr>
              <a:xfrm>
                <a:off x="2527045" y="1269057"/>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424" name="Freeform 95">
                <a:extLst>
                  <a:ext uri="{FF2B5EF4-FFF2-40B4-BE49-F238E27FC236}">
                    <a16:creationId xmlns:a16="http://schemas.microsoft.com/office/drawing/2014/main" id="{E9D71BAE-B169-993C-6E4E-4D303EF6391E}"/>
                  </a:ext>
                </a:extLst>
              </p:cNvPr>
              <p:cNvSpPr/>
              <p:nvPr/>
            </p:nvSpPr>
            <p:spPr>
              <a:xfrm>
                <a:off x="2564626" y="1243763"/>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425" name="Freeform 96">
                <a:extLst>
                  <a:ext uri="{FF2B5EF4-FFF2-40B4-BE49-F238E27FC236}">
                    <a16:creationId xmlns:a16="http://schemas.microsoft.com/office/drawing/2014/main" id="{91A43A33-7967-CB8F-D0D1-0442BDEEE9E8}"/>
                  </a:ext>
                </a:extLst>
              </p:cNvPr>
              <p:cNvSpPr/>
              <p:nvPr/>
            </p:nvSpPr>
            <p:spPr>
              <a:xfrm>
                <a:off x="2541068" y="1269057"/>
                <a:ext cx="75173" cy="10583"/>
              </a:xfrm>
              <a:custGeom>
                <a:avLst/>
                <a:gdLst>
                  <a:gd name="connsiteX0" fmla="*/ 0 w 75173"/>
                  <a:gd name="connsiteY0" fmla="*/ 0 h 10583"/>
                  <a:gd name="connsiteX1" fmla="*/ 75173 w 75173"/>
                  <a:gd name="connsiteY1" fmla="*/ 0 h 10583"/>
                </a:gdLst>
                <a:ahLst/>
                <a:cxnLst>
                  <a:cxn ang="0">
                    <a:pos x="connsiteX0" y="connsiteY0"/>
                  </a:cxn>
                  <a:cxn ang="0">
                    <a:pos x="connsiteX1" y="connsiteY1"/>
                  </a:cxn>
                </a:cxnLst>
                <a:rect l="l" t="t" r="r" b="b"/>
                <a:pathLst>
                  <a:path w="75173" h="10583">
                    <a:moveTo>
                      <a:pt x="0" y="0"/>
                    </a:moveTo>
                    <a:lnTo>
                      <a:pt x="75173" y="0"/>
                    </a:lnTo>
                  </a:path>
                </a:pathLst>
              </a:custGeom>
              <a:ln w="12700" cap="sq">
                <a:solidFill>
                  <a:srgbClr val="002985"/>
                </a:solidFill>
                <a:prstDash val="solid"/>
                <a:miter/>
              </a:ln>
            </p:spPr>
            <p:txBody>
              <a:bodyPr rtlCol="0" anchor="ctr"/>
              <a:lstStyle/>
              <a:p>
                <a:endParaRPr lang="en-US" sz="1800"/>
              </a:p>
            </p:txBody>
          </p:sp>
          <p:sp>
            <p:nvSpPr>
              <p:cNvPr id="2426" name="Freeform 97">
                <a:extLst>
                  <a:ext uri="{FF2B5EF4-FFF2-40B4-BE49-F238E27FC236}">
                    <a16:creationId xmlns:a16="http://schemas.microsoft.com/office/drawing/2014/main" id="{16ABC3DB-5A00-C673-D1BD-B805FA2AF3FD}"/>
                  </a:ext>
                </a:extLst>
              </p:cNvPr>
              <p:cNvSpPr/>
              <p:nvPr/>
            </p:nvSpPr>
            <p:spPr>
              <a:xfrm>
                <a:off x="2578660" y="1243763"/>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427" name="Freeform 98">
                <a:extLst>
                  <a:ext uri="{FF2B5EF4-FFF2-40B4-BE49-F238E27FC236}">
                    <a16:creationId xmlns:a16="http://schemas.microsoft.com/office/drawing/2014/main" id="{9B137DCA-0ED8-CD8E-ABD1-05BA20B51F8C}"/>
                  </a:ext>
                </a:extLst>
              </p:cNvPr>
              <p:cNvSpPr/>
              <p:nvPr/>
            </p:nvSpPr>
            <p:spPr>
              <a:xfrm>
                <a:off x="2898858" y="1326186"/>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428" name="Freeform 99">
                <a:extLst>
                  <a:ext uri="{FF2B5EF4-FFF2-40B4-BE49-F238E27FC236}">
                    <a16:creationId xmlns:a16="http://schemas.microsoft.com/office/drawing/2014/main" id="{70A673B5-3F99-7278-6945-F55EFD097119}"/>
                  </a:ext>
                </a:extLst>
              </p:cNvPr>
              <p:cNvSpPr/>
              <p:nvPr/>
            </p:nvSpPr>
            <p:spPr>
              <a:xfrm>
                <a:off x="2936440" y="130088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429" name="Freeform 100">
                <a:extLst>
                  <a:ext uri="{FF2B5EF4-FFF2-40B4-BE49-F238E27FC236}">
                    <a16:creationId xmlns:a16="http://schemas.microsoft.com/office/drawing/2014/main" id="{4BD522DA-0152-41E5-C979-BDB3F33E38DF}"/>
                  </a:ext>
                </a:extLst>
              </p:cNvPr>
              <p:cNvSpPr/>
              <p:nvPr/>
            </p:nvSpPr>
            <p:spPr>
              <a:xfrm>
                <a:off x="3249622" y="1354856"/>
                <a:ext cx="75173" cy="10583"/>
              </a:xfrm>
              <a:custGeom>
                <a:avLst/>
                <a:gdLst>
                  <a:gd name="connsiteX0" fmla="*/ 0 w 75173"/>
                  <a:gd name="connsiteY0" fmla="*/ 0 h 10583"/>
                  <a:gd name="connsiteX1" fmla="*/ 75173 w 75173"/>
                  <a:gd name="connsiteY1" fmla="*/ 0 h 10583"/>
                </a:gdLst>
                <a:ahLst/>
                <a:cxnLst>
                  <a:cxn ang="0">
                    <a:pos x="connsiteX0" y="connsiteY0"/>
                  </a:cxn>
                  <a:cxn ang="0">
                    <a:pos x="connsiteX1" y="connsiteY1"/>
                  </a:cxn>
                </a:cxnLst>
                <a:rect l="l" t="t" r="r" b="b"/>
                <a:pathLst>
                  <a:path w="75173" h="10583">
                    <a:moveTo>
                      <a:pt x="0" y="0"/>
                    </a:moveTo>
                    <a:lnTo>
                      <a:pt x="75173" y="0"/>
                    </a:lnTo>
                  </a:path>
                </a:pathLst>
              </a:custGeom>
              <a:ln w="12700" cap="sq">
                <a:solidFill>
                  <a:srgbClr val="002985"/>
                </a:solidFill>
                <a:prstDash val="solid"/>
                <a:miter/>
              </a:ln>
            </p:spPr>
            <p:txBody>
              <a:bodyPr rtlCol="0" anchor="ctr"/>
              <a:lstStyle/>
              <a:p>
                <a:endParaRPr lang="en-US" sz="1800"/>
              </a:p>
            </p:txBody>
          </p:sp>
          <p:sp>
            <p:nvSpPr>
              <p:cNvPr id="2430" name="Freeform 101">
                <a:extLst>
                  <a:ext uri="{FF2B5EF4-FFF2-40B4-BE49-F238E27FC236}">
                    <a16:creationId xmlns:a16="http://schemas.microsoft.com/office/drawing/2014/main" id="{64C4506C-6FC4-B606-B57C-E94040C17079}"/>
                  </a:ext>
                </a:extLst>
              </p:cNvPr>
              <p:cNvSpPr/>
              <p:nvPr/>
            </p:nvSpPr>
            <p:spPr>
              <a:xfrm>
                <a:off x="3287203" y="132955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431" name="Freeform 102">
                <a:extLst>
                  <a:ext uri="{FF2B5EF4-FFF2-40B4-BE49-F238E27FC236}">
                    <a16:creationId xmlns:a16="http://schemas.microsoft.com/office/drawing/2014/main" id="{EFEA24C6-3D44-E6F6-07DE-18B147B5C343}"/>
                  </a:ext>
                </a:extLst>
              </p:cNvPr>
              <p:cNvSpPr/>
              <p:nvPr/>
            </p:nvSpPr>
            <p:spPr>
              <a:xfrm>
                <a:off x="4238793" y="1455599"/>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432" name="Freeform 103">
                <a:extLst>
                  <a:ext uri="{FF2B5EF4-FFF2-40B4-BE49-F238E27FC236}">
                    <a16:creationId xmlns:a16="http://schemas.microsoft.com/office/drawing/2014/main" id="{4362251B-9B35-15A3-E954-E6708E79044A}"/>
                  </a:ext>
                </a:extLst>
              </p:cNvPr>
              <p:cNvSpPr/>
              <p:nvPr/>
            </p:nvSpPr>
            <p:spPr>
              <a:xfrm>
                <a:off x="4276375" y="1430304"/>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433" name="Freeform 104">
                <a:extLst>
                  <a:ext uri="{FF2B5EF4-FFF2-40B4-BE49-F238E27FC236}">
                    <a16:creationId xmlns:a16="http://schemas.microsoft.com/office/drawing/2014/main" id="{D7DE9872-D734-45AC-DEAB-8DDB53473DB5}"/>
                  </a:ext>
                </a:extLst>
              </p:cNvPr>
              <p:cNvSpPr/>
              <p:nvPr/>
            </p:nvSpPr>
            <p:spPr>
              <a:xfrm>
                <a:off x="4308950" y="1469992"/>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434" name="Freeform 105">
                <a:extLst>
                  <a:ext uri="{FF2B5EF4-FFF2-40B4-BE49-F238E27FC236}">
                    <a16:creationId xmlns:a16="http://schemas.microsoft.com/office/drawing/2014/main" id="{121153F9-6851-8C00-8E77-DF91B2F2E637}"/>
                  </a:ext>
                </a:extLst>
              </p:cNvPr>
              <p:cNvSpPr/>
              <p:nvPr/>
            </p:nvSpPr>
            <p:spPr>
              <a:xfrm>
                <a:off x="4346532" y="1444698"/>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435" name="Freeform 106">
                <a:extLst>
                  <a:ext uri="{FF2B5EF4-FFF2-40B4-BE49-F238E27FC236}">
                    <a16:creationId xmlns:a16="http://schemas.microsoft.com/office/drawing/2014/main" id="{DE294819-2D49-10C9-848F-086EF39DBF2E}"/>
                  </a:ext>
                </a:extLst>
              </p:cNvPr>
              <p:cNvSpPr/>
              <p:nvPr/>
            </p:nvSpPr>
            <p:spPr>
              <a:xfrm>
                <a:off x="4512394" y="1513616"/>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436" name="Freeform 107">
                <a:extLst>
                  <a:ext uri="{FF2B5EF4-FFF2-40B4-BE49-F238E27FC236}">
                    <a16:creationId xmlns:a16="http://schemas.microsoft.com/office/drawing/2014/main" id="{0D501B8F-31E7-B918-2876-63AA3DA1C1B0}"/>
                  </a:ext>
                </a:extLst>
              </p:cNvPr>
              <p:cNvSpPr/>
              <p:nvPr/>
            </p:nvSpPr>
            <p:spPr>
              <a:xfrm>
                <a:off x="4549975" y="1488322"/>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437" name="Freeform 108">
                <a:extLst>
                  <a:ext uri="{FF2B5EF4-FFF2-40B4-BE49-F238E27FC236}">
                    <a16:creationId xmlns:a16="http://schemas.microsoft.com/office/drawing/2014/main" id="{39E5A313-6A87-A7BE-E0A3-5056441EE98B}"/>
                  </a:ext>
                </a:extLst>
              </p:cNvPr>
              <p:cNvSpPr/>
              <p:nvPr/>
            </p:nvSpPr>
            <p:spPr>
              <a:xfrm>
                <a:off x="4982421" y="1673965"/>
                <a:ext cx="75173" cy="10583"/>
              </a:xfrm>
              <a:custGeom>
                <a:avLst/>
                <a:gdLst>
                  <a:gd name="connsiteX0" fmla="*/ 0 w 75173"/>
                  <a:gd name="connsiteY0" fmla="*/ 0 h 10583"/>
                  <a:gd name="connsiteX1" fmla="*/ 75173 w 75173"/>
                  <a:gd name="connsiteY1" fmla="*/ 0 h 10583"/>
                </a:gdLst>
                <a:ahLst/>
                <a:cxnLst>
                  <a:cxn ang="0">
                    <a:pos x="connsiteX0" y="connsiteY0"/>
                  </a:cxn>
                  <a:cxn ang="0">
                    <a:pos x="connsiteX1" y="connsiteY1"/>
                  </a:cxn>
                </a:cxnLst>
                <a:rect l="l" t="t" r="r" b="b"/>
                <a:pathLst>
                  <a:path w="75173" h="10583">
                    <a:moveTo>
                      <a:pt x="0" y="0"/>
                    </a:moveTo>
                    <a:lnTo>
                      <a:pt x="75173" y="0"/>
                    </a:lnTo>
                  </a:path>
                </a:pathLst>
              </a:custGeom>
              <a:ln w="12700" cap="sq">
                <a:solidFill>
                  <a:srgbClr val="002985"/>
                </a:solidFill>
                <a:prstDash val="solid"/>
                <a:miter/>
              </a:ln>
            </p:spPr>
            <p:txBody>
              <a:bodyPr rtlCol="0" anchor="ctr"/>
              <a:lstStyle/>
              <a:p>
                <a:endParaRPr lang="en-US" sz="1800"/>
              </a:p>
            </p:txBody>
          </p:sp>
          <p:sp>
            <p:nvSpPr>
              <p:cNvPr id="2438" name="Freeform 109">
                <a:extLst>
                  <a:ext uri="{FF2B5EF4-FFF2-40B4-BE49-F238E27FC236}">
                    <a16:creationId xmlns:a16="http://schemas.microsoft.com/office/drawing/2014/main" id="{1FCB2D8B-FF49-D9E8-260A-96CA3A25E8CE}"/>
                  </a:ext>
                </a:extLst>
              </p:cNvPr>
              <p:cNvSpPr/>
              <p:nvPr/>
            </p:nvSpPr>
            <p:spPr>
              <a:xfrm>
                <a:off x="5020002" y="164866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439" name="Freeform 110">
                <a:extLst>
                  <a:ext uri="{FF2B5EF4-FFF2-40B4-BE49-F238E27FC236}">
                    <a16:creationId xmlns:a16="http://schemas.microsoft.com/office/drawing/2014/main" id="{666478DB-519D-66E6-65CA-6538C9080BCA}"/>
                  </a:ext>
                </a:extLst>
              </p:cNvPr>
              <p:cNvSpPr/>
              <p:nvPr/>
            </p:nvSpPr>
            <p:spPr>
              <a:xfrm>
                <a:off x="5431408" y="1776507"/>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440" name="Freeform 111">
                <a:extLst>
                  <a:ext uri="{FF2B5EF4-FFF2-40B4-BE49-F238E27FC236}">
                    <a16:creationId xmlns:a16="http://schemas.microsoft.com/office/drawing/2014/main" id="{F74CA73B-77B0-D700-74F0-A6EE2866CDF0}"/>
                  </a:ext>
                </a:extLst>
              </p:cNvPr>
              <p:cNvSpPr/>
              <p:nvPr/>
            </p:nvSpPr>
            <p:spPr>
              <a:xfrm>
                <a:off x="5468989" y="1751212"/>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441" name="Freeform 112">
                <a:extLst>
                  <a:ext uri="{FF2B5EF4-FFF2-40B4-BE49-F238E27FC236}">
                    <a16:creationId xmlns:a16="http://schemas.microsoft.com/office/drawing/2014/main" id="{AC72677B-1EA1-38C8-B990-C113F30F4470}"/>
                  </a:ext>
                </a:extLst>
              </p:cNvPr>
              <p:cNvSpPr/>
              <p:nvPr/>
            </p:nvSpPr>
            <p:spPr>
              <a:xfrm>
                <a:off x="5950542" y="1894236"/>
                <a:ext cx="75173" cy="10583"/>
              </a:xfrm>
              <a:custGeom>
                <a:avLst/>
                <a:gdLst>
                  <a:gd name="connsiteX0" fmla="*/ 0 w 75173"/>
                  <a:gd name="connsiteY0" fmla="*/ 0 h 10583"/>
                  <a:gd name="connsiteX1" fmla="*/ 75174 w 75173"/>
                  <a:gd name="connsiteY1" fmla="*/ 0 h 10583"/>
                </a:gdLst>
                <a:ahLst/>
                <a:cxnLst>
                  <a:cxn ang="0">
                    <a:pos x="connsiteX0" y="connsiteY0"/>
                  </a:cxn>
                  <a:cxn ang="0">
                    <a:pos x="connsiteX1" y="connsiteY1"/>
                  </a:cxn>
                </a:cxnLst>
                <a:rect l="l" t="t" r="r" b="b"/>
                <a:pathLst>
                  <a:path w="75173" h="10583">
                    <a:moveTo>
                      <a:pt x="0" y="0"/>
                    </a:moveTo>
                    <a:lnTo>
                      <a:pt x="75174" y="0"/>
                    </a:lnTo>
                  </a:path>
                </a:pathLst>
              </a:custGeom>
              <a:ln w="12700" cap="sq">
                <a:solidFill>
                  <a:srgbClr val="002985"/>
                </a:solidFill>
                <a:prstDash val="solid"/>
                <a:miter/>
              </a:ln>
            </p:spPr>
            <p:txBody>
              <a:bodyPr rtlCol="0" anchor="ctr"/>
              <a:lstStyle/>
              <a:p>
                <a:endParaRPr lang="en-US" sz="1800"/>
              </a:p>
            </p:txBody>
          </p:sp>
          <p:sp>
            <p:nvSpPr>
              <p:cNvPr id="2442" name="Freeform 113">
                <a:extLst>
                  <a:ext uri="{FF2B5EF4-FFF2-40B4-BE49-F238E27FC236}">
                    <a16:creationId xmlns:a16="http://schemas.microsoft.com/office/drawing/2014/main" id="{22B72010-C8C4-C1D2-A983-BDCDB4F07E1A}"/>
                  </a:ext>
                </a:extLst>
              </p:cNvPr>
              <p:cNvSpPr/>
              <p:nvPr/>
            </p:nvSpPr>
            <p:spPr>
              <a:xfrm>
                <a:off x="5988123" y="186893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443" name="Freeform 114">
                <a:extLst>
                  <a:ext uri="{FF2B5EF4-FFF2-40B4-BE49-F238E27FC236}">
                    <a16:creationId xmlns:a16="http://schemas.microsoft.com/office/drawing/2014/main" id="{1450C079-106F-B648-26F6-B3264765B364}"/>
                  </a:ext>
                </a:extLst>
              </p:cNvPr>
              <p:cNvSpPr/>
              <p:nvPr/>
            </p:nvSpPr>
            <p:spPr>
              <a:xfrm>
                <a:off x="5978609" y="1908968"/>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444" name="Freeform 115">
                <a:extLst>
                  <a:ext uri="{FF2B5EF4-FFF2-40B4-BE49-F238E27FC236}">
                    <a16:creationId xmlns:a16="http://schemas.microsoft.com/office/drawing/2014/main" id="{65C7A2D5-3A98-5298-DF3B-BA15BE9AF28D}"/>
                  </a:ext>
                </a:extLst>
              </p:cNvPr>
              <p:cNvSpPr/>
              <p:nvPr/>
            </p:nvSpPr>
            <p:spPr>
              <a:xfrm>
                <a:off x="6016190" y="1883663"/>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445" name="Freeform 116">
                <a:extLst>
                  <a:ext uri="{FF2B5EF4-FFF2-40B4-BE49-F238E27FC236}">
                    <a16:creationId xmlns:a16="http://schemas.microsoft.com/office/drawing/2014/main" id="{12AEF59A-151C-E2D8-85DD-2D722F306EFA}"/>
                  </a:ext>
                </a:extLst>
              </p:cNvPr>
              <p:cNvSpPr/>
              <p:nvPr/>
            </p:nvSpPr>
            <p:spPr>
              <a:xfrm>
                <a:off x="6511776" y="1983284"/>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446" name="Freeform 117">
                <a:extLst>
                  <a:ext uri="{FF2B5EF4-FFF2-40B4-BE49-F238E27FC236}">
                    <a16:creationId xmlns:a16="http://schemas.microsoft.com/office/drawing/2014/main" id="{A1B361C9-2899-E4EB-BC88-C66B129F63B9}"/>
                  </a:ext>
                </a:extLst>
              </p:cNvPr>
              <p:cNvSpPr/>
              <p:nvPr/>
            </p:nvSpPr>
            <p:spPr>
              <a:xfrm>
                <a:off x="6549357" y="195799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447" name="Freeform 118">
                <a:extLst>
                  <a:ext uri="{FF2B5EF4-FFF2-40B4-BE49-F238E27FC236}">
                    <a16:creationId xmlns:a16="http://schemas.microsoft.com/office/drawing/2014/main" id="{DFA8B923-B1E7-158A-ECA6-FB3F1A8D8F0F}"/>
                  </a:ext>
                </a:extLst>
              </p:cNvPr>
              <p:cNvSpPr/>
              <p:nvPr/>
            </p:nvSpPr>
            <p:spPr>
              <a:xfrm>
                <a:off x="6757309" y="2087858"/>
                <a:ext cx="75173" cy="10583"/>
              </a:xfrm>
              <a:custGeom>
                <a:avLst/>
                <a:gdLst>
                  <a:gd name="connsiteX0" fmla="*/ 0 w 75173"/>
                  <a:gd name="connsiteY0" fmla="*/ 0 h 10583"/>
                  <a:gd name="connsiteX1" fmla="*/ 75173 w 75173"/>
                  <a:gd name="connsiteY1" fmla="*/ 0 h 10583"/>
                </a:gdLst>
                <a:ahLst/>
                <a:cxnLst>
                  <a:cxn ang="0">
                    <a:pos x="connsiteX0" y="connsiteY0"/>
                  </a:cxn>
                  <a:cxn ang="0">
                    <a:pos x="connsiteX1" y="connsiteY1"/>
                  </a:cxn>
                </a:cxnLst>
                <a:rect l="l" t="t" r="r" b="b"/>
                <a:pathLst>
                  <a:path w="75173" h="10583">
                    <a:moveTo>
                      <a:pt x="0" y="0"/>
                    </a:moveTo>
                    <a:lnTo>
                      <a:pt x="75173" y="0"/>
                    </a:lnTo>
                  </a:path>
                </a:pathLst>
              </a:custGeom>
              <a:ln w="12700" cap="sq">
                <a:solidFill>
                  <a:srgbClr val="002985"/>
                </a:solidFill>
                <a:prstDash val="solid"/>
                <a:miter/>
              </a:ln>
            </p:spPr>
            <p:txBody>
              <a:bodyPr rtlCol="0" anchor="ctr"/>
              <a:lstStyle/>
              <a:p>
                <a:endParaRPr lang="en-US" sz="1800"/>
              </a:p>
            </p:txBody>
          </p:sp>
          <p:sp>
            <p:nvSpPr>
              <p:cNvPr id="2448" name="Freeform 119">
                <a:extLst>
                  <a:ext uri="{FF2B5EF4-FFF2-40B4-BE49-F238E27FC236}">
                    <a16:creationId xmlns:a16="http://schemas.microsoft.com/office/drawing/2014/main" id="{C9B509DD-8458-E439-A0B3-DAD8713E3AC4}"/>
                  </a:ext>
                </a:extLst>
              </p:cNvPr>
              <p:cNvSpPr/>
              <p:nvPr/>
            </p:nvSpPr>
            <p:spPr>
              <a:xfrm>
                <a:off x="6794901" y="2062553"/>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449" name="Freeform 120">
                <a:extLst>
                  <a:ext uri="{FF2B5EF4-FFF2-40B4-BE49-F238E27FC236}">
                    <a16:creationId xmlns:a16="http://schemas.microsoft.com/office/drawing/2014/main" id="{F2F0306F-AFF9-82DB-136C-ADAB4DD9646D}"/>
                  </a:ext>
                </a:extLst>
              </p:cNvPr>
              <p:cNvSpPr/>
              <p:nvPr/>
            </p:nvSpPr>
            <p:spPr>
              <a:xfrm>
                <a:off x="6785376" y="2087858"/>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450" name="Freeform 121">
                <a:extLst>
                  <a:ext uri="{FF2B5EF4-FFF2-40B4-BE49-F238E27FC236}">
                    <a16:creationId xmlns:a16="http://schemas.microsoft.com/office/drawing/2014/main" id="{932242B7-1AA6-DBAC-5BEA-BEDB619498B1}"/>
                  </a:ext>
                </a:extLst>
              </p:cNvPr>
              <p:cNvSpPr/>
              <p:nvPr/>
            </p:nvSpPr>
            <p:spPr>
              <a:xfrm>
                <a:off x="6822958" y="2062553"/>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451" name="Freeform 122">
                <a:extLst>
                  <a:ext uri="{FF2B5EF4-FFF2-40B4-BE49-F238E27FC236}">
                    <a16:creationId xmlns:a16="http://schemas.microsoft.com/office/drawing/2014/main" id="{67312674-D23E-C360-DDA8-2E7B458FC174}"/>
                  </a:ext>
                </a:extLst>
              </p:cNvPr>
              <p:cNvSpPr/>
              <p:nvPr/>
            </p:nvSpPr>
            <p:spPr>
              <a:xfrm>
                <a:off x="6813433" y="2087858"/>
                <a:ext cx="75173" cy="10583"/>
              </a:xfrm>
              <a:custGeom>
                <a:avLst/>
                <a:gdLst>
                  <a:gd name="connsiteX0" fmla="*/ 0 w 75173"/>
                  <a:gd name="connsiteY0" fmla="*/ 0 h 10583"/>
                  <a:gd name="connsiteX1" fmla="*/ 75174 w 75173"/>
                  <a:gd name="connsiteY1" fmla="*/ 0 h 10583"/>
                </a:gdLst>
                <a:ahLst/>
                <a:cxnLst>
                  <a:cxn ang="0">
                    <a:pos x="connsiteX0" y="connsiteY0"/>
                  </a:cxn>
                  <a:cxn ang="0">
                    <a:pos x="connsiteX1" y="connsiteY1"/>
                  </a:cxn>
                </a:cxnLst>
                <a:rect l="l" t="t" r="r" b="b"/>
                <a:pathLst>
                  <a:path w="75173" h="10583">
                    <a:moveTo>
                      <a:pt x="0" y="0"/>
                    </a:moveTo>
                    <a:lnTo>
                      <a:pt x="75174" y="0"/>
                    </a:lnTo>
                  </a:path>
                </a:pathLst>
              </a:custGeom>
              <a:ln w="12700" cap="sq">
                <a:solidFill>
                  <a:srgbClr val="002985"/>
                </a:solidFill>
                <a:prstDash val="solid"/>
                <a:miter/>
              </a:ln>
            </p:spPr>
            <p:txBody>
              <a:bodyPr rtlCol="0" anchor="ctr"/>
              <a:lstStyle/>
              <a:p>
                <a:endParaRPr lang="en-US" sz="1800"/>
              </a:p>
            </p:txBody>
          </p:sp>
          <p:sp>
            <p:nvSpPr>
              <p:cNvPr id="2452" name="Freeform 123">
                <a:extLst>
                  <a:ext uri="{FF2B5EF4-FFF2-40B4-BE49-F238E27FC236}">
                    <a16:creationId xmlns:a16="http://schemas.microsoft.com/office/drawing/2014/main" id="{12DF444E-683D-C856-8B3D-3A397C759ECF}"/>
                  </a:ext>
                </a:extLst>
              </p:cNvPr>
              <p:cNvSpPr/>
              <p:nvPr/>
            </p:nvSpPr>
            <p:spPr>
              <a:xfrm>
                <a:off x="6851025" y="2062553"/>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453" name="Freeform 124">
                <a:extLst>
                  <a:ext uri="{FF2B5EF4-FFF2-40B4-BE49-F238E27FC236}">
                    <a16:creationId xmlns:a16="http://schemas.microsoft.com/office/drawing/2014/main" id="{C0369D68-6AF1-7A6B-675E-207362AA73D2}"/>
                  </a:ext>
                </a:extLst>
              </p:cNvPr>
              <p:cNvSpPr/>
              <p:nvPr/>
            </p:nvSpPr>
            <p:spPr>
              <a:xfrm>
                <a:off x="6820449" y="2103151"/>
                <a:ext cx="75173" cy="10583"/>
              </a:xfrm>
              <a:custGeom>
                <a:avLst/>
                <a:gdLst>
                  <a:gd name="connsiteX0" fmla="*/ 0 w 75173"/>
                  <a:gd name="connsiteY0" fmla="*/ 0 h 10583"/>
                  <a:gd name="connsiteX1" fmla="*/ 75173 w 75173"/>
                  <a:gd name="connsiteY1" fmla="*/ 0 h 10583"/>
                </a:gdLst>
                <a:ahLst/>
                <a:cxnLst>
                  <a:cxn ang="0">
                    <a:pos x="connsiteX0" y="connsiteY0"/>
                  </a:cxn>
                  <a:cxn ang="0">
                    <a:pos x="connsiteX1" y="connsiteY1"/>
                  </a:cxn>
                </a:cxnLst>
                <a:rect l="l" t="t" r="r" b="b"/>
                <a:pathLst>
                  <a:path w="75173" h="10583">
                    <a:moveTo>
                      <a:pt x="0" y="0"/>
                    </a:moveTo>
                    <a:lnTo>
                      <a:pt x="75173" y="0"/>
                    </a:lnTo>
                  </a:path>
                </a:pathLst>
              </a:custGeom>
              <a:ln w="12700" cap="sq">
                <a:solidFill>
                  <a:srgbClr val="002985"/>
                </a:solidFill>
                <a:prstDash val="solid"/>
                <a:miter/>
              </a:ln>
            </p:spPr>
            <p:txBody>
              <a:bodyPr rtlCol="0" anchor="ctr"/>
              <a:lstStyle/>
              <a:p>
                <a:endParaRPr lang="en-US" sz="1800"/>
              </a:p>
            </p:txBody>
          </p:sp>
          <p:sp>
            <p:nvSpPr>
              <p:cNvPr id="2454" name="Freeform 125">
                <a:extLst>
                  <a:ext uri="{FF2B5EF4-FFF2-40B4-BE49-F238E27FC236}">
                    <a16:creationId xmlns:a16="http://schemas.microsoft.com/office/drawing/2014/main" id="{1AC89D5B-0274-A22E-C451-54C67E971C8D}"/>
                  </a:ext>
                </a:extLst>
              </p:cNvPr>
              <p:cNvSpPr/>
              <p:nvPr/>
            </p:nvSpPr>
            <p:spPr>
              <a:xfrm>
                <a:off x="6858031" y="2077846"/>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455" name="Freeform 126">
                <a:extLst>
                  <a:ext uri="{FF2B5EF4-FFF2-40B4-BE49-F238E27FC236}">
                    <a16:creationId xmlns:a16="http://schemas.microsoft.com/office/drawing/2014/main" id="{7967BFB0-B2BC-D402-91F9-E34B1A3ED9D4}"/>
                  </a:ext>
                </a:extLst>
              </p:cNvPr>
              <p:cNvSpPr/>
              <p:nvPr/>
            </p:nvSpPr>
            <p:spPr>
              <a:xfrm>
                <a:off x="6834483" y="2103151"/>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456" name="Freeform 127">
                <a:extLst>
                  <a:ext uri="{FF2B5EF4-FFF2-40B4-BE49-F238E27FC236}">
                    <a16:creationId xmlns:a16="http://schemas.microsoft.com/office/drawing/2014/main" id="{172F0C4B-130C-9D0A-7BB6-863B07068BC7}"/>
                  </a:ext>
                </a:extLst>
              </p:cNvPr>
              <p:cNvSpPr/>
              <p:nvPr/>
            </p:nvSpPr>
            <p:spPr>
              <a:xfrm>
                <a:off x="6872064" y="2077846"/>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457" name="Freeform 128">
                <a:extLst>
                  <a:ext uri="{FF2B5EF4-FFF2-40B4-BE49-F238E27FC236}">
                    <a16:creationId xmlns:a16="http://schemas.microsoft.com/office/drawing/2014/main" id="{7A4DDDB6-1A1F-F2D5-21B4-E68513B337C1}"/>
                  </a:ext>
                </a:extLst>
              </p:cNvPr>
              <p:cNvSpPr/>
              <p:nvPr/>
            </p:nvSpPr>
            <p:spPr>
              <a:xfrm>
                <a:off x="6869556" y="2103151"/>
                <a:ext cx="75173" cy="10583"/>
              </a:xfrm>
              <a:custGeom>
                <a:avLst/>
                <a:gdLst>
                  <a:gd name="connsiteX0" fmla="*/ 0 w 75173"/>
                  <a:gd name="connsiteY0" fmla="*/ 0 h 10583"/>
                  <a:gd name="connsiteX1" fmla="*/ 75174 w 75173"/>
                  <a:gd name="connsiteY1" fmla="*/ 0 h 10583"/>
                </a:gdLst>
                <a:ahLst/>
                <a:cxnLst>
                  <a:cxn ang="0">
                    <a:pos x="connsiteX0" y="connsiteY0"/>
                  </a:cxn>
                  <a:cxn ang="0">
                    <a:pos x="connsiteX1" y="connsiteY1"/>
                  </a:cxn>
                </a:cxnLst>
                <a:rect l="l" t="t" r="r" b="b"/>
                <a:pathLst>
                  <a:path w="75173" h="10583">
                    <a:moveTo>
                      <a:pt x="0" y="0"/>
                    </a:moveTo>
                    <a:lnTo>
                      <a:pt x="75174" y="0"/>
                    </a:lnTo>
                  </a:path>
                </a:pathLst>
              </a:custGeom>
              <a:ln w="12700" cap="sq">
                <a:solidFill>
                  <a:srgbClr val="002985"/>
                </a:solidFill>
                <a:prstDash val="solid"/>
                <a:miter/>
              </a:ln>
            </p:spPr>
            <p:txBody>
              <a:bodyPr rtlCol="0" anchor="ctr"/>
              <a:lstStyle/>
              <a:p>
                <a:endParaRPr lang="en-US" sz="1800"/>
              </a:p>
            </p:txBody>
          </p:sp>
          <p:sp>
            <p:nvSpPr>
              <p:cNvPr id="2458" name="Freeform 129">
                <a:extLst>
                  <a:ext uri="{FF2B5EF4-FFF2-40B4-BE49-F238E27FC236}">
                    <a16:creationId xmlns:a16="http://schemas.microsoft.com/office/drawing/2014/main" id="{FED5B428-6EA4-224B-B000-A173E0D909CA}"/>
                  </a:ext>
                </a:extLst>
              </p:cNvPr>
              <p:cNvSpPr/>
              <p:nvPr/>
            </p:nvSpPr>
            <p:spPr>
              <a:xfrm>
                <a:off x="6907137" y="2077846"/>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459" name="Freeform 130">
                <a:extLst>
                  <a:ext uri="{FF2B5EF4-FFF2-40B4-BE49-F238E27FC236}">
                    <a16:creationId xmlns:a16="http://schemas.microsoft.com/office/drawing/2014/main" id="{3CD3B959-BB34-EE58-AEBE-C5F7F00FC1C6}"/>
                  </a:ext>
                </a:extLst>
              </p:cNvPr>
              <p:cNvSpPr/>
              <p:nvPr/>
            </p:nvSpPr>
            <p:spPr>
              <a:xfrm>
                <a:off x="7002853" y="2133959"/>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460" name="Freeform 131">
                <a:extLst>
                  <a:ext uri="{FF2B5EF4-FFF2-40B4-BE49-F238E27FC236}">
                    <a16:creationId xmlns:a16="http://schemas.microsoft.com/office/drawing/2014/main" id="{1474BC58-72F5-6580-83C8-B5DA2018B8E9}"/>
                  </a:ext>
                </a:extLst>
              </p:cNvPr>
              <p:cNvSpPr/>
              <p:nvPr/>
            </p:nvSpPr>
            <p:spPr>
              <a:xfrm>
                <a:off x="7040435" y="2108654"/>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461" name="Freeform 132">
                <a:extLst>
                  <a:ext uri="{FF2B5EF4-FFF2-40B4-BE49-F238E27FC236}">
                    <a16:creationId xmlns:a16="http://schemas.microsoft.com/office/drawing/2014/main" id="{16A2C062-C36E-A0CE-4673-E97FAC7657E8}"/>
                  </a:ext>
                </a:extLst>
              </p:cNvPr>
              <p:cNvSpPr/>
              <p:nvPr/>
            </p:nvSpPr>
            <p:spPr>
              <a:xfrm>
                <a:off x="7009870" y="2133959"/>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462" name="Freeform 133">
                <a:extLst>
                  <a:ext uri="{FF2B5EF4-FFF2-40B4-BE49-F238E27FC236}">
                    <a16:creationId xmlns:a16="http://schemas.microsoft.com/office/drawing/2014/main" id="{0B06043F-C79E-4494-4196-A8C1044B4D90}"/>
                  </a:ext>
                </a:extLst>
              </p:cNvPr>
              <p:cNvSpPr/>
              <p:nvPr/>
            </p:nvSpPr>
            <p:spPr>
              <a:xfrm>
                <a:off x="7047451" y="2108654"/>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463" name="Freeform 134">
                <a:extLst>
                  <a:ext uri="{FF2B5EF4-FFF2-40B4-BE49-F238E27FC236}">
                    <a16:creationId xmlns:a16="http://schemas.microsoft.com/office/drawing/2014/main" id="{CDAA7A91-9E1B-0ECA-4DD0-90CBCA118D35}"/>
                  </a:ext>
                </a:extLst>
              </p:cNvPr>
              <p:cNvSpPr/>
              <p:nvPr/>
            </p:nvSpPr>
            <p:spPr>
              <a:xfrm>
                <a:off x="7023903" y="2133959"/>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464" name="Freeform 135">
                <a:extLst>
                  <a:ext uri="{FF2B5EF4-FFF2-40B4-BE49-F238E27FC236}">
                    <a16:creationId xmlns:a16="http://schemas.microsoft.com/office/drawing/2014/main" id="{84D6E0D4-C271-1D7C-BC78-150FC89B260C}"/>
                  </a:ext>
                </a:extLst>
              </p:cNvPr>
              <p:cNvSpPr/>
              <p:nvPr/>
            </p:nvSpPr>
            <p:spPr>
              <a:xfrm>
                <a:off x="7061485" y="2108654"/>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465" name="Freeform 136">
                <a:extLst>
                  <a:ext uri="{FF2B5EF4-FFF2-40B4-BE49-F238E27FC236}">
                    <a16:creationId xmlns:a16="http://schemas.microsoft.com/office/drawing/2014/main" id="{B5C6D14F-2D24-2622-E5C1-21E1E0E95C4B}"/>
                  </a:ext>
                </a:extLst>
              </p:cNvPr>
              <p:cNvSpPr/>
              <p:nvPr/>
            </p:nvSpPr>
            <p:spPr>
              <a:xfrm>
                <a:off x="7023903" y="2133959"/>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466" name="Freeform 137">
                <a:extLst>
                  <a:ext uri="{FF2B5EF4-FFF2-40B4-BE49-F238E27FC236}">
                    <a16:creationId xmlns:a16="http://schemas.microsoft.com/office/drawing/2014/main" id="{B6D70FA3-BDFF-259D-0244-1A73291326C8}"/>
                  </a:ext>
                </a:extLst>
              </p:cNvPr>
              <p:cNvSpPr/>
              <p:nvPr/>
            </p:nvSpPr>
            <p:spPr>
              <a:xfrm>
                <a:off x="7061485" y="2108654"/>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467" name="Freeform 138">
                <a:extLst>
                  <a:ext uri="{FF2B5EF4-FFF2-40B4-BE49-F238E27FC236}">
                    <a16:creationId xmlns:a16="http://schemas.microsoft.com/office/drawing/2014/main" id="{971931FB-959D-A548-17C7-D7FAA5B08405}"/>
                  </a:ext>
                </a:extLst>
              </p:cNvPr>
              <p:cNvSpPr/>
              <p:nvPr/>
            </p:nvSpPr>
            <p:spPr>
              <a:xfrm>
                <a:off x="7030910" y="2133959"/>
                <a:ext cx="75173" cy="10583"/>
              </a:xfrm>
              <a:custGeom>
                <a:avLst/>
                <a:gdLst>
                  <a:gd name="connsiteX0" fmla="*/ 0 w 75173"/>
                  <a:gd name="connsiteY0" fmla="*/ 0 h 10583"/>
                  <a:gd name="connsiteX1" fmla="*/ 75173 w 75173"/>
                  <a:gd name="connsiteY1" fmla="*/ 0 h 10583"/>
                </a:gdLst>
                <a:ahLst/>
                <a:cxnLst>
                  <a:cxn ang="0">
                    <a:pos x="connsiteX0" y="connsiteY0"/>
                  </a:cxn>
                  <a:cxn ang="0">
                    <a:pos x="connsiteX1" y="connsiteY1"/>
                  </a:cxn>
                </a:cxnLst>
                <a:rect l="l" t="t" r="r" b="b"/>
                <a:pathLst>
                  <a:path w="75173" h="10583">
                    <a:moveTo>
                      <a:pt x="0" y="0"/>
                    </a:moveTo>
                    <a:lnTo>
                      <a:pt x="75173" y="0"/>
                    </a:lnTo>
                  </a:path>
                </a:pathLst>
              </a:custGeom>
              <a:ln w="12700" cap="sq">
                <a:solidFill>
                  <a:srgbClr val="002985"/>
                </a:solidFill>
                <a:prstDash val="solid"/>
                <a:miter/>
              </a:ln>
            </p:spPr>
            <p:txBody>
              <a:bodyPr rtlCol="0" anchor="ctr"/>
              <a:lstStyle/>
              <a:p>
                <a:endParaRPr lang="en-US" sz="1800"/>
              </a:p>
            </p:txBody>
          </p:sp>
          <p:sp>
            <p:nvSpPr>
              <p:cNvPr id="2468" name="Freeform 139">
                <a:extLst>
                  <a:ext uri="{FF2B5EF4-FFF2-40B4-BE49-F238E27FC236}">
                    <a16:creationId xmlns:a16="http://schemas.microsoft.com/office/drawing/2014/main" id="{81F51CE0-514D-F840-11FA-B9450B7E53BA}"/>
                  </a:ext>
                </a:extLst>
              </p:cNvPr>
              <p:cNvSpPr/>
              <p:nvPr/>
            </p:nvSpPr>
            <p:spPr>
              <a:xfrm>
                <a:off x="7068502" y="2108654"/>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469" name="Freeform 140">
                <a:extLst>
                  <a:ext uri="{FF2B5EF4-FFF2-40B4-BE49-F238E27FC236}">
                    <a16:creationId xmlns:a16="http://schemas.microsoft.com/office/drawing/2014/main" id="{811154AD-6754-0C6A-CF96-89FD31AFEC02}"/>
                  </a:ext>
                </a:extLst>
              </p:cNvPr>
              <p:cNvSpPr/>
              <p:nvPr/>
            </p:nvSpPr>
            <p:spPr>
              <a:xfrm>
                <a:off x="7094050" y="2165783"/>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470" name="Freeform 141">
                <a:extLst>
                  <a:ext uri="{FF2B5EF4-FFF2-40B4-BE49-F238E27FC236}">
                    <a16:creationId xmlns:a16="http://schemas.microsoft.com/office/drawing/2014/main" id="{9AE5577D-D041-1956-7B0C-8AE88FEFC33C}"/>
                  </a:ext>
                </a:extLst>
              </p:cNvPr>
              <p:cNvSpPr/>
              <p:nvPr/>
            </p:nvSpPr>
            <p:spPr>
              <a:xfrm>
                <a:off x="7131631" y="2140478"/>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471" name="Freeform 142">
                <a:extLst>
                  <a:ext uri="{FF2B5EF4-FFF2-40B4-BE49-F238E27FC236}">
                    <a16:creationId xmlns:a16="http://schemas.microsoft.com/office/drawing/2014/main" id="{49AFF029-092B-F2F7-E488-C78C2FA76DAD}"/>
                  </a:ext>
                </a:extLst>
              </p:cNvPr>
              <p:cNvSpPr/>
              <p:nvPr/>
            </p:nvSpPr>
            <p:spPr>
              <a:xfrm>
                <a:off x="7108083" y="2165783"/>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472" name="Freeform 143">
                <a:extLst>
                  <a:ext uri="{FF2B5EF4-FFF2-40B4-BE49-F238E27FC236}">
                    <a16:creationId xmlns:a16="http://schemas.microsoft.com/office/drawing/2014/main" id="{AB8C2274-C45A-0B4B-BD14-1E3D31FDEACC}"/>
                  </a:ext>
                </a:extLst>
              </p:cNvPr>
              <p:cNvSpPr/>
              <p:nvPr/>
            </p:nvSpPr>
            <p:spPr>
              <a:xfrm>
                <a:off x="7145665" y="2140478"/>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473" name="Freeform 144">
                <a:extLst>
                  <a:ext uri="{FF2B5EF4-FFF2-40B4-BE49-F238E27FC236}">
                    <a16:creationId xmlns:a16="http://schemas.microsoft.com/office/drawing/2014/main" id="{B81B5D16-2C4A-AEB2-ED1A-9BFB31D186B9}"/>
                  </a:ext>
                </a:extLst>
              </p:cNvPr>
              <p:cNvSpPr/>
              <p:nvPr/>
            </p:nvSpPr>
            <p:spPr>
              <a:xfrm>
                <a:off x="7129134" y="2165783"/>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474" name="Freeform 145">
                <a:extLst>
                  <a:ext uri="{FF2B5EF4-FFF2-40B4-BE49-F238E27FC236}">
                    <a16:creationId xmlns:a16="http://schemas.microsoft.com/office/drawing/2014/main" id="{C5FF0BF7-3986-D681-CB2B-E666F346A37D}"/>
                  </a:ext>
                </a:extLst>
              </p:cNvPr>
              <p:cNvSpPr/>
              <p:nvPr/>
            </p:nvSpPr>
            <p:spPr>
              <a:xfrm>
                <a:off x="7166715" y="2140478"/>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475" name="Freeform 146">
                <a:extLst>
                  <a:ext uri="{FF2B5EF4-FFF2-40B4-BE49-F238E27FC236}">
                    <a16:creationId xmlns:a16="http://schemas.microsoft.com/office/drawing/2014/main" id="{7A26ACA5-7AB4-5B60-A847-CC7F231DC2CB}"/>
                  </a:ext>
                </a:extLst>
              </p:cNvPr>
              <p:cNvSpPr/>
              <p:nvPr/>
            </p:nvSpPr>
            <p:spPr>
              <a:xfrm>
                <a:off x="7157190" y="2165783"/>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476" name="Freeform 147">
                <a:extLst>
                  <a:ext uri="{FF2B5EF4-FFF2-40B4-BE49-F238E27FC236}">
                    <a16:creationId xmlns:a16="http://schemas.microsoft.com/office/drawing/2014/main" id="{50D2CD0C-5A2A-8318-F769-AF01A352AE9C}"/>
                  </a:ext>
                </a:extLst>
              </p:cNvPr>
              <p:cNvSpPr/>
              <p:nvPr/>
            </p:nvSpPr>
            <p:spPr>
              <a:xfrm>
                <a:off x="7194771" y="2140478"/>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477" name="Freeform 148">
                <a:extLst>
                  <a:ext uri="{FF2B5EF4-FFF2-40B4-BE49-F238E27FC236}">
                    <a16:creationId xmlns:a16="http://schemas.microsoft.com/office/drawing/2014/main" id="{005943B8-795F-DB33-0602-811B26A53016}"/>
                  </a:ext>
                </a:extLst>
              </p:cNvPr>
              <p:cNvSpPr/>
              <p:nvPr/>
            </p:nvSpPr>
            <p:spPr>
              <a:xfrm>
                <a:off x="7157190" y="2165783"/>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478" name="Freeform 149">
                <a:extLst>
                  <a:ext uri="{FF2B5EF4-FFF2-40B4-BE49-F238E27FC236}">
                    <a16:creationId xmlns:a16="http://schemas.microsoft.com/office/drawing/2014/main" id="{EC78C882-8428-CE27-2A8C-FDDE4B303A66}"/>
                  </a:ext>
                </a:extLst>
              </p:cNvPr>
              <p:cNvSpPr/>
              <p:nvPr/>
            </p:nvSpPr>
            <p:spPr>
              <a:xfrm>
                <a:off x="7194771" y="2140478"/>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479" name="Freeform 150">
                <a:extLst>
                  <a:ext uri="{FF2B5EF4-FFF2-40B4-BE49-F238E27FC236}">
                    <a16:creationId xmlns:a16="http://schemas.microsoft.com/office/drawing/2014/main" id="{2AE8C24E-2FCA-50C4-47E0-A858491F2474}"/>
                  </a:ext>
                </a:extLst>
              </p:cNvPr>
              <p:cNvSpPr/>
              <p:nvPr/>
            </p:nvSpPr>
            <p:spPr>
              <a:xfrm>
                <a:off x="7164207" y="2165783"/>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480" name="Freeform 151">
                <a:extLst>
                  <a:ext uri="{FF2B5EF4-FFF2-40B4-BE49-F238E27FC236}">
                    <a16:creationId xmlns:a16="http://schemas.microsoft.com/office/drawing/2014/main" id="{9E553186-18DF-FA81-CBC8-5D92C6AC0237}"/>
                  </a:ext>
                </a:extLst>
              </p:cNvPr>
              <p:cNvSpPr/>
              <p:nvPr/>
            </p:nvSpPr>
            <p:spPr>
              <a:xfrm>
                <a:off x="7201788" y="2140478"/>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481" name="Freeform 152">
                <a:extLst>
                  <a:ext uri="{FF2B5EF4-FFF2-40B4-BE49-F238E27FC236}">
                    <a16:creationId xmlns:a16="http://schemas.microsoft.com/office/drawing/2014/main" id="{ABA953E5-6F18-E251-0FAC-B4017FFACB3D}"/>
                  </a:ext>
                </a:extLst>
              </p:cNvPr>
              <p:cNvSpPr/>
              <p:nvPr/>
            </p:nvSpPr>
            <p:spPr>
              <a:xfrm>
                <a:off x="7171223" y="2165783"/>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482" name="Freeform 153">
                <a:extLst>
                  <a:ext uri="{FF2B5EF4-FFF2-40B4-BE49-F238E27FC236}">
                    <a16:creationId xmlns:a16="http://schemas.microsoft.com/office/drawing/2014/main" id="{577BAB69-0C20-0F8C-CDFD-5040DBF3EA73}"/>
                  </a:ext>
                </a:extLst>
              </p:cNvPr>
              <p:cNvSpPr/>
              <p:nvPr/>
            </p:nvSpPr>
            <p:spPr>
              <a:xfrm>
                <a:off x="7208805" y="2140478"/>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483" name="Freeform 154">
                <a:extLst>
                  <a:ext uri="{FF2B5EF4-FFF2-40B4-BE49-F238E27FC236}">
                    <a16:creationId xmlns:a16="http://schemas.microsoft.com/office/drawing/2014/main" id="{7C292911-F13C-B39A-6EF5-20E55B7C35EF}"/>
                  </a:ext>
                </a:extLst>
              </p:cNvPr>
              <p:cNvSpPr/>
              <p:nvPr/>
            </p:nvSpPr>
            <p:spPr>
              <a:xfrm>
                <a:off x="7178240" y="2165783"/>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484" name="Freeform 155">
                <a:extLst>
                  <a:ext uri="{FF2B5EF4-FFF2-40B4-BE49-F238E27FC236}">
                    <a16:creationId xmlns:a16="http://schemas.microsoft.com/office/drawing/2014/main" id="{2F8B3178-00B4-9F3D-45BD-919DEC7E3946}"/>
                  </a:ext>
                </a:extLst>
              </p:cNvPr>
              <p:cNvSpPr/>
              <p:nvPr/>
            </p:nvSpPr>
            <p:spPr>
              <a:xfrm>
                <a:off x="7215822" y="2140478"/>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485" name="Freeform 156">
                <a:extLst>
                  <a:ext uri="{FF2B5EF4-FFF2-40B4-BE49-F238E27FC236}">
                    <a16:creationId xmlns:a16="http://schemas.microsoft.com/office/drawing/2014/main" id="{811102C7-B290-B30C-0C5D-561F779B6F86}"/>
                  </a:ext>
                </a:extLst>
              </p:cNvPr>
              <p:cNvSpPr/>
              <p:nvPr/>
            </p:nvSpPr>
            <p:spPr>
              <a:xfrm>
                <a:off x="7192263" y="2182536"/>
                <a:ext cx="75173" cy="10583"/>
              </a:xfrm>
              <a:custGeom>
                <a:avLst/>
                <a:gdLst>
                  <a:gd name="connsiteX0" fmla="*/ 0 w 75173"/>
                  <a:gd name="connsiteY0" fmla="*/ 0 h 10583"/>
                  <a:gd name="connsiteX1" fmla="*/ 75174 w 75173"/>
                  <a:gd name="connsiteY1" fmla="*/ 0 h 10583"/>
                </a:gdLst>
                <a:ahLst/>
                <a:cxnLst>
                  <a:cxn ang="0">
                    <a:pos x="connsiteX0" y="connsiteY0"/>
                  </a:cxn>
                  <a:cxn ang="0">
                    <a:pos x="connsiteX1" y="connsiteY1"/>
                  </a:cxn>
                </a:cxnLst>
                <a:rect l="l" t="t" r="r" b="b"/>
                <a:pathLst>
                  <a:path w="75173" h="10583">
                    <a:moveTo>
                      <a:pt x="0" y="0"/>
                    </a:moveTo>
                    <a:lnTo>
                      <a:pt x="75174" y="0"/>
                    </a:lnTo>
                  </a:path>
                </a:pathLst>
              </a:custGeom>
              <a:ln w="12700" cap="sq">
                <a:solidFill>
                  <a:srgbClr val="002985"/>
                </a:solidFill>
                <a:prstDash val="solid"/>
                <a:miter/>
              </a:ln>
            </p:spPr>
            <p:txBody>
              <a:bodyPr rtlCol="0" anchor="ctr"/>
              <a:lstStyle/>
              <a:p>
                <a:endParaRPr lang="en-US" sz="1800"/>
              </a:p>
            </p:txBody>
          </p:sp>
          <p:sp>
            <p:nvSpPr>
              <p:cNvPr id="2486" name="Freeform 157">
                <a:extLst>
                  <a:ext uri="{FF2B5EF4-FFF2-40B4-BE49-F238E27FC236}">
                    <a16:creationId xmlns:a16="http://schemas.microsoft.com/office/drawing/2014/main" id="{2008A7D0-3A35-AF91-67BF-2B572889652C}"/>
                  </a:ext>
                </a:extLst>
              </p:cNvPr>
              <p:cNvSpPr/>
              <p:nvPr/>
            </p:nvSpPr>
            <p:spPr>
              <a:xfrm>
                <a:off x="7229855" y="215723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487" name="Freeform 158">
                <a:extLst>
                  <a:ext uri="{FF2B5EF4-FFF2-40B4-BE49-F238E27FC236}">
                    <a16:creationId xmlns:a16="http://schemas.microsoft.com/office/drawing/2014/main" id="{CFDC2229-7213-33E5-7161-E5170741475F}"/>
                  </a:ext>
                </a:extLst>
              </p:cNvPr>
              <p:cNvSpPr/>
              <p:nvPr/>
            </p:nvSpPr>
            <p:spPr>
              <a:xfrm>
                <a:off x="7213313" y="2182536"/>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488" name="Freeform 159">
                <a:extLst>
                  <a:ext uri="{FF2B5EF4-FFF2-40B4-BE49-F238E27FC236}">
                    <a16:creationId xmlns:a16="http://schemas.microsoft.com/office/drawing/2014/main" id="{8D9FF52D-27BE-7FA1-A98D-624AF71A238C}"/>
                  </a:ext>
                </a:extLst>
              </p:cNvPr>
              <p:cNvSpPr/>
              <p:nvPr/>
            </p:nvSpPr>
            <p:spPr>
              <a:xfrm>
                <a:off x="7250895" y="215723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489" name="Freeform 160">
                <a:extLst>
                  <a:ext uri="{FF2B5EF4-FFF2-40B4-BE49-F238E27FC236}">
                    <a16:creationId xmlns:a16="http://schemas.microsoft.com/office/drawing/2014/main" id="{74447007-F87C-832B-DB58-4F2C6D999F2B}"/>
                  </a:ext>
                </a:extLst>
              </p:cNvPr>
              <p:cNvSpPr/>
              <p:nvPr/>
            </p:nvSpPr>
            <p:spPr>
              <a:xfrm>
                <a:off x="7220330" y="2182536"/>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490" name="Freeform 161">
                <a:extLst>
                  <a:ext uri="{FF2B5EF4-FFF2-40B4-BE49-F238E27FC236}">
                    <a16:creationId xmlns:a16="http://schemas.microsoft.com/office/drawing/2014/main" id="{C1B0E2BE-77ED-2A46-4262-002BB5150615}"/>
                  </a:ext>
                </a:extLst>
              </p:cNvPr>
              <p:cNvSpPr/>
              <p:nvPr/>
            </p:nvSpPr>
            <p:spPr>
              <a:xfrm>
                <a:off x="7257912" y="215723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491" name="Freeform 162">
                <a:extLst>
                  <a:ext uri="{FF2B5EF4-FFF2-40B4-BE49-F238E27FC236}">
                    <a16:creationId xmlns:a16="http://schemas.microsoft.com/office/drawing/2014/main" id="{DECAD2BC-CB92-4862-6C3D-79AA04A8486C}"/>
                  </a:ext>
                </a:extLst>
              </p:cNvPr>
              <p:cNvSpPr/>
              <p:nvPr/>
            </p:nvSpPr>
            <p:spPr>
              <a:xfrm>
                <a:off x="7241380" y="2182536"/>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492" name="Freeform 163">
                <a:extLst>
                  <a:ext uri="{FF2B5EF4-FFF2-40B4-BE49-F238E27FC236}">
                    <a16:creationId xmlns:a16="http://schemas.microsoft.com/office/drawing/2014/main" id="{CF680B1C-BCAC-0663-C9E4-1B088C854B4D}"/>
                  </a:ext>
                </a:extLst>
              </p:cNvPr>
              <p:cNvSpPr/>
              <p:nvPr/>
            </p:nvSpPr>
            <p:spPr>
              <a:xfrm>
                <a:off x="7278962" y="215723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493" name="Freeform 164">
                <a:extLst>
                  <a:ext uri="{FF2B5EF4-FFF2-40B4-BE49-F238E27FC236}">
                    <a16:creationId xmlns:a16="http://schemas.microsoft.com/office/drawing/2014/main" id="{CC1F201D-64F6-7A94-A3B4-A972F6747109}"/>
                  </a:ext>
                </a:extLst>
              </p:cNvPr>
              <p:cNvSpPr/>
              <p:nvPr/>
            </p:nvSpPr>
            <p:spPr>
              <a:xfrm>
                <a:off x="7262420" y="2182536"/>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494" name="Freeform 165">
                <a:extLst>
                  <a:ext uri="{FF2B5EF4-FFF2-40B4-BE49-F238E27FC236}">
                    <a16:creationId xmlns:a16="http://schemas.microsoft.com/office/drawing/2014/main" id="{7EBD1D4E-3541-C3AB-5672-6A6746DD286F}"/>
                  </a:ext>
                </a:extLst>
              </p:cNvPr>
              <p:cNvSpPr/>
              <p:nvPr/>
            </p:nvSpPr>
            <p:spPr>
              <a:xfrm>
                <a:off x="7300001" y="215723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495" name="Freeform 166">
                <a:extLst>
                  <a:ext uri="{FF2B5EF4-FFF2-40B4-BE49-F238E27FC236}">
                    <a16:creationId xmlns:a16="http://schemas.microsoft.com/office/drawing/2014/main" id="{BF6024F1-B803-2138-D7EF-1890DFCCC87C}"/>
                  </a:ext>
                </a:extLst>
              </p:cNvPr>
              <p:cNvSpPr/>
              <p:nvPr/>
            </p:nvSpPr>
            <p:spPr>
              <a:xfrm>
                <a:off x="7269437" y="2182536"/>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496" name="Freeform 167">
                <a:extLst>
                  <a:ext uri="{FF2B5EF4-FFF2-40B4-BE49-F238E27FC236}">
                    <a16:creationId xmlns:a16="http://schemas.microsoft.com/office/drawing/2014/main" id="{BD5C540F-3A71-6948-DB72-B05F2F011AD1}"/>
                  </a:ext>
                </a:extLst>
              </p:cNvPr>
              <p:cNvSpPr/>
              <p:nvPr/>
            </p:nvSpPr>
            <p:spPr>
              <a:xfrm>
                <a:off x="7307018" y="215723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497" name="Freeform 168">
                <a:extLst>
                  <a:ext uri="{FF2B5EF4-FFF2-40B4-BE49-F238E27FC236}">
                    <a16:creationId xmlns:a16="http://schemas.microsoft.com/office/drawing/2014/main" id="{FBE7E5B8-FC0A-2541-208A-7D94380AEFBF}"/>
                  </a:ext>
                </a:extLst>
              </p:cNvPr>
              <p:cNvSpPr/>
              <p:nvPr/>
            </p:nvSpPr>
            <p:spPr>
              <a:xfrm>
                <a:off x="7276454" y="2182536"/>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498" name="Freeform 169">
                <a:extLst>
                  <a:ext uri="{FF2B5EF4-FFF2-40B4-BE49-F238E27FC236}">
                    <a16:creationId xmlns:a16="http://schemas.microsoft.com/office/drawing/2014/main" id="{B5161DC6-8B98-CD05-D08B-67488497AC6E}"/>
                  </a:ext>
                </a:extLst>
              </p:cNvPr>
              <p:cNvSpPr/>
              <p:nvPr/>
            </p:nvSpPr>
            <p:spPr>
              <a:xfrm>
                <a:off x="7314035" y="215723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499" name="Freeform 170">
                <a:extLst>
                  <a:ext uri="{FF2B5EF4-FFF2-40B4-BE49-F238E27FC236}">
                    <a16:creationId xmlns:a16="http://schemas.microsoft.com/office/drawing/2014/main" id="{0A977A90-AD7B-131B-1B1D-C4AB26E67A4E}"/>
                  </a:ext>
                </a:extLst>
              </p:cNvPr>
              <p:cNvSpPr/>
              <p:nvPr/>
            </p:nvSpPr>
            <p:spPr>
              <a:xfrm>
                <a:off x="7304510" y="2182536"/>
                <a:ext cx="75173" cy="10583"/>
              </a:xfrm>
              <a:custGeom>
                <a:avLst/>
                <a:gdLst>
                  <a:gd name="connsiteX0" fmla="*/ 0 w 75173"/>
                  <a:gd name="connsiteY0" fmla="*/ 0 h 10583"/>
                  <a:gd name="connsiteX1" fmla="*/ 75174 w 75173"/>
                  <a:gd name="connsiteY1" fmla="*/ 0 h 10583"/>
                </a:gdLst>
                <a:ahLst/>
                <a:cxnLst>
                  <a:cxn ang="0">
                    <a:pos x="connsiteX0" y="connsiteY0"/>
                  </a:cxn>
                  <a:cxn ang="0">
                    <a:pos x="connsiteX1" y="connsiteY1"/>
                  </a:cxn>
                </a:cxnLst>
                <a:rect l="l" t="t" r="r" b="b"/>
                <a:pathLst>
                  <a:path w="75173" h="10583">
                    <a:moveTo>
                      <a:pt x="0" y="0"/>
                    </a:moveTo>
                    <a:lnTo>
                      <a:pt x="75174" y="0"/>
                    </a:lnTo>
                  </a:path>
                </a:pathLst>
              </a:custGeom>
              <a:ln w="12700" cap="sq">
                <a:solidFill>
                  <a:srgbClr val="002985"/>
                </a:solidFill>
                <a:prstDash val="solid"/>
                <a:miter/>
              </a:ln>
            </p:spPr>
            <p:txBody>
              <a:bodyPr rtlCol="0" anchor="ctr"/>
              <a:lstStyle/>
              <a:p>
                <a:endParaRPr lang="en-US" sz="1800"/>
              </a:p>
            </p:txBody>
          </p:sp>
          <p:sp>
            <p:nvSpPr>
              <p:cNvPr id="2500" name="Freeform 171">
                <a:extLst>
                  <a:ext uri="{FF2B5EF4-FFF2-40B4-BE49-F238E27FC236}">
                    <a16:creationId xmlns:a16="http://schemas.microsoft.com/office/drawing/2014/main" id="{258D8EBC-1447-8384-DCB5-4F9DDA83576B}"/>
                  </a:ext>
                </a:extLst>
              </p:cNvPr>
              <p:cNvSpPr/>
              <p:nvPr/>
            </p:nvSpPr>
            <p:spPr>
              <a:xfrm>
                <a:off x="7342091" y="215723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501" name="Freeform 172">
                <a:extLst>
                  <a:ext uri="{FF2B5EF4-FFF2-40B4-BE49-F238E27FC236}">
                    <a16:creationId xmlns:a16="http://schemas.microsoft.com/office/drawing/2014/main" id="{D48DFF84-95B6-EAEB-0EA1-95183B046D17}"/>
                  </a:ext>
                </a:extLst>
              </p:cNvPr>
              <p:cNvSpPr/>
              <p:nvPr/>
            </p:nvSpPr>
            <p:spPr>
              <a:xfrm>
                <a:off x="7332577" y="2200073"/>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502" name="Freeform 173">
                <a:extLst>
                  <a:ext uri="{FF2B5EF4-FFF2-40B4-BE49-F238E27FC236}">
                    <a16:creationId xmlns:a16="http://schemas.microsoft.com/office/drawing/2014/main" id="{4512D7A1-0541-272E-9100-87109A952C80}"/>
                  </a:ext>
                </a:extLst>
              </p:cNvPr>
              <p:cNvSpPr/>
              <p:nvPr/>
            </p:nvSpPr>
            <p:spPr>
              <a:xfrm>
                <a:off x="7370158" y="2174779"/>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503" name="Freeform 174">
                <a:extLst>
                  <a:ext uri="{FF2B5EF4-FFF2-40B4-BE49-F238E27FC236}">
                    <a16:creationId xmlns:a16="http://schemas.microsoft.com/office/drawing/2014/main" id="{15DE3185-F972-01BB-8196-EAE919D742C4}"/>
                  </a:ext>
                </a:extLst>
              </p:cNvPr>
              <p:cNvSpPr/>
              <p:nvPr/>
            </p:nvSpPr>
            <p:spPr>
              <a:xfrm>
                <a:off x="7374667" y="2200073"/>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504" name="Freeform 175">
                <a:extLst>
                  <a:ext uri="{FF2B5EF4-FFF2-40B4-BE49-F238E27FC236}">
                    <a16:creationId xmlns:a16="http://schemas.microsoft.com/office/drawing/2014/main" id="{9ADC3FCD-4A81-1058-46ED-370E399BB21B}"/>
                  </a:ext>
                </a:extLst>
              </p:cNvPr>
              <p:cNvSpPr/>
              <p:nvPr/>
            </p:nvSpPr>
            <p:spPr>
              <a:xfrm>
                <a:off x="7412248" y="2174779"/>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505" name="Freeform 176">
                <a:extLst>
                  <a:ext uri="{FF2B5EF4-FFF2-40B4-BE49-F238E27FC236}">
                    <a16:creationId xmlns:a16="http://schemas.microsoft.com/office/drawing/2014/main" id="{F90E5B97-D3EB-A71D-F394-F5072ACC7FE4}"/>
                  </a:ext>
                </a:extLst>
              </p:cNvPr>
              <p:cNvSpPr/>
              <p:nvPr/>
            </p:nvSpPr>
            <p:spPr>
              <a:xfrm>
                <a:off x="7381684" y="2200073"/>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506" name="Freeform 177">
                <a:extLst>
                  <a:ext uri="{FF2B5EF4-FFF2-40B4-BE49-F238E27FC236}">
                    <a16:creationId xmlns:a16="http://schemas.microsoft.com/office/drawing/2014/main" id="{2752D12B-ECD4-F478-D116-550301C0CC8B}"/>
                  </a:ext>
                </a:extLst>
              </p:cNvPr>
              <p:cNvSpPr/>
              <p:nvPr/>
            </p:nvSpPr>
            <p:spPr>
              <a:xfrm>
                <a:off x="7419265" y="2174779"/>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507" name="Freeform 178">
                <a:extLst>
                  <a:ext uri="{FF2B5EF4-FFF2-40B4-BE49-F238E27FC236}">
                    <a16:creationId xmlns:a16="http://schemas.microsoft.com/office/drawing/2014/main" id="{72E62B2D-8A6C-EB10-8AC6-C91ABCDC1F8B}"/>
                  </a:ext>
                </a:extLst>
              </p:cNvPr>
              <p:cNvSpPr/>
              <p:nvPr/>
            </p:nvSpPr>
            <p:spPr>
              <a:xfrm>
                <a:off x="7381684" y="2200073"/>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508" name="Freeform 179">
                <a:extLst>
                  <a:ext uri="{FF2B5EF4-FFF2-40B4-BE49-F238E27FC236}">
                    <a16:creationId xmlns:a16="http://schemas.microsoft.com/office/drawing/2014/main" id="{6B1CFBF1-9975-1A94-2C75-E6D6A5942F53}"/>
                  </a:ext>
                </a:extLst>
              </p:cNvPr>
              <p:cNvSpPr/>
              <p:nvPr/>
            </p:nvSpPr>
            <p:spPr>
              <a:xfrm>
                <a:off x="7419265" y="2174779"/>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509" name="Freeform 180">
                <a:extLst>
                  <a:ext uri="{FF2B5EF4-FFF2-40B4-BE49-F238E27FC236}">
                    <a16:creationId xmlns:a16="http://schemas.microsoft.com/office/drawing/2014/main" id="{02863695-083A-ED72-EC52-DD6A459A77C9}"/>
                  </a:ext>
                </a:extLst>
              </p:cNvPr>
              <p:cNvSpPr/>
              <p:nvPr/>
            </p:nvSpPr>
            <p:spPr>
              <a:xfrm>
                <a:off x="7402734" y="2200073"/>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510" name="Freeform 181">
                <a:extLst>
                  <a:ext uri="{FF2B5EF4-FFF2-40B4-BE49-F238E27FC236}">
                    <a16:creationId xmlns:a16="http://schemas.microsoft.com/office/drawing/2014/main" id="{6D5EE119-1748-852A-81C9-8E61915DFC21}"/>
                  </a:ext>
                </a:extLst>
              </p:cNvPr>
              <p:cNvSpPr/>
              <p:nvPr/>
            </p:nvSpPr>
            <p:spPr>
              <a:xfrm>
                <a:off x="7440315" y="2174779"/>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511" name="Freeform 182">
                <a:extLst>
                  <a:ext uri="{FF2B5EF4-FFF2-40B4-BE49-F238E27FC236}">
                    <a16:creationId xmlns:a16="http://schemas.microsoft.com/office/drawing/2014/main" id="{4A290712-1F4B-2876-8AB3-B3E73F33E65B}"/>
                  </a:ext>
                </a:extLst>
              </p:cNvPr>
              <p:cNvSpPr/>
              <p:nvPr/>
            </p:nvSpPr>
            <p:spPr>
              <a:xfrm>
                <a:off x="7402734" y="2200073"/>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512" name="Freeform 183">
                <a:extLst>
                  <a:ext uri="{FF2B5EF4-FFF2-40B4-BE49-F238E27FC236}">
                    <a16:creationId xmlns:a16="http://schemas.microsoft.com/office/drawing/2014/main" id="{630F966D-A09F-6DF2-36A3-B573828A9AF9}"/>
                  </a:ext>
                </a:extLst>
              </p:cNvPr>
              <p:cNvSpPr/>
              <p:nvPr/>
            </p:nvSpPr>
            <p:spPr>
              <a:xfrm>
                <a:off x="7440315" y="2174779"/>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513" name="Freeform 184">
                <a:extLst>
                  <a:ext uri="{FF2B5EF4-FFF2-40B4-BE49-F238E27FC236}">
                    <a16:creationId xmlns:a16="http://schemas.microsoft.com/office/drawing/2014/main" id="{19B55ACA-8AD3-EBD0-70E9-3B91DEE7C8C7}"/>
                  </a:ext>
                </a:extLst>
              </p:cNvPr>
              <p:cNvSpPr/>
              <p:nvPr/>
            </p:nvSpPr>
            <p:spPr>
              <a:xfrm>
                <a:off x="7430790" y="2200073"/>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514" name="Freeform 185">
                <a:extLst>
                  <a:ext uri="{FF2B5EF4-FFF2-40B4-BE49-F238E27FC236}">
                    <a16:creationId xmlns:a16="http://schemas.microsoft.com/office/drawing/2014/main" id="{56DFF6FF-9BB5-9203-C724-037488BF6D93}"/>
                  </a:ext>
                </a:extLst>
              </p:cNvPr>
              <p:cNvSpPr/>
              <p:nvPr/>
            </p:nvSpPr>
            <p:spPr>
              <a:xfrm>
                <a:off x="7468372" y="2174779"/>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515" name="Freeform 186">
                <a:extLst>
                  <a:ext uri="{FF2B5EF4-FFF2-40B4-BE49-F238E27FC236}">
                    <a16:creationId xmlns:a16="http://schemas.microsoft.com/office/drawing/2014/main" id="{4D2BA160-5C92-F751-8867-567975998CE1}"/>
                  </a:ext>
                </a:extLst>
              </p:cNvPr>
              <p:cNvSpPr/>
              <p:nvPr/>
            </p:nvSpPr>
            <p:spPr>
              <a:xfrm>
                <a:off x="7437807" y="2200073"/>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516" name="Freeform 187">
                <a:extLst>
                  <a:ext uri="{FF2B5EF4-FFF2-40B4-BE49-F238E27FC236}">
                    <a16:creationId xmlns:a16="http://schemas.microsoft.com/office/drawing/2014/main" id="{68F9420C-7FED-FA1D-1625-67D646B818F8}"/>
                  </a:ext>
                </a:extLst>
              </p:cNvPr>
              <p:cNvSpPr/>
              <p:nvPr/>
            </p:nvSpPr>
            <p:spPr>
              <a:xfrm>
                <a:off x="7475388" y="2174779"/>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517" name="Freeform 188">
                <a:extLst>
                  <a:ext uri="{FF2B5EF4-FFF2-40B4-BE49-F238E27FC236}">
                    <a16:creationId xmlns:a16="http://schemas.microsoft.com/office/drawing/2014/main" id="{E72C7005-B66E-45B2-88D8-936AE0A7BB0B}"/>
                  </a:ext>
                </a:extLst>
              </p:cNvPr>
              <p:cNvSpPr/>
              <p:nvPr/>
            </p:nvSpPr>
            <p:spPr>
              <a:xfrm>
                <a:off x="7444824" y="2200073"/>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518" name="Freeform 189">
                <a:extLst>
                  <a:ext uri="{FF2B5EF4-FFF2-40B4-BE49-F238E27FC236}">
                    <a16:creationId xmlns:a16="http://schemas.microsoft.com/office/drawing/2014/main" id="{CF29E7FC-4BAF-9596-6BAF-E8F4A8002A9D}"/>
                  </a:ext>
                </a:extLst>
              </p:cNvPr>
              <p:cNvSpPr/>
              <p:nvPr/>
            </p:nvSpPr>
            <p:spPr>
              <a:xfrm>
                <a:off x="7482405" y="2174779"/>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519" name="Freeform 190">
                <a:extLst>
                  <a:ext uri="{FF2B5EF4-FFF2-40B4-BE49-F238E27FC236}">
                    <a16:creationId xmlns:a16="http://schemas.microsoft.com/office/drawing/2014/main" id="{656385D1-38CC-11FD-034D-852A101D82B6}"/>
                  </a:ext>
                </a:extLst>
              </p:cNvPr>
              <p:cNvSpPr/>
              <p:nvPr/>
            </p:nvSpPr>
            <p:spPr>
              <a:xfrm>
                <a:off x="7444824" y="2200073"/>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520" name="Freeform 191">
                <a:extLst>
                  <a:ext uri="{FF2B5EF4-FFF2-40B4-BE49-F238E27FC236}">
                    <a16:creationId xmlns:a16="http://schemas.microsoft.com/office/drawing/2014/main" id="{7610B1E8-B154-72AE-C5F3-674E8609DA39}"/>
                  </a:ext>
                </a:extLst>
              </p:cNvPr>
              <p:cNvSpPr/>
              <p:nvPr/>
            </p:nvSpPr>
            <p:spPr>
              <a:xfrm>
                <a:off x="7482405" y="2174779"/>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521" name="Freeform 192">
                <a:extLst>
                  <a:ext uri="{FF2B5EF4-FFF2-40B4-BE49-F238E27FC236}">
                    <a16:creationId xmlns:a16="http://schemas.microsoft.com/office/drawing/2014/main" id="{6AF743DF-DF58-FE68-AC26-40DA54C7BF14}"/>
                  </a:ext>
                </a:extLst>
              </p:cNvPr>
              <p:cNvSpPr/>
              <p:nvPr/>
            </p:nvSpPr>
            <p:spPr>
              <a:xfrm>
                <a:off x="7444824" y="2200073"/>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522" name="Freeform 193">
                <a:extLst>
                  <a:ext uri="{FF2B5EF4-FFF2-40B4-BE49-F238E27FC236}">
                    <a16:creationId xmlns:a16="http://schemas.microsoft.com/office/drawing/2014/main" id="{6AF1AC36-2325-5A14-32DF-A105788DEEAD}"/>
                  </a:ext>
                </a:extLst>
              </p:cNvPr>
              <p:cNvSpPr/>
              <p:nvPr/>
            </p:nvSpPr>
            <p:spPr>
              <a:xfrm>
                <a:off x="7482405" y="2174779"/>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523" name="Freeform 194">
                <a:extLst>
                  <a:ext uri="{FF2B5EF4-FFF2-40B4-BE49-F238E27FC236}">
                    <a16:creationId xmlns:a16="http://schemas.microsoft.com/office/drawing/2014/main" id="{93778A68-01C8-CF1A-DC5C-47C5404F0BB5}"/>
                  </a:ext>
                </a:extLst>
              </p:cNvPr>
              <p:cNvSpPr/>
              <p:nvPr/>
            </p:nvSpPr>
            <p:spPr>
              <a:xfrm>
                <a:off x="7451841" y="2200073"/>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524" name="Freeform 195">
                <a:extLst>
                  <a:ext uri="{FF2B5EF4-FFF2-40B4-BE49-F238E27FC236}">
                    <a16:creationId xmlns:a16="http://schemas.microsoft.com/office/drawing/2014/main" id="{A06CF71B-048D-44AD-2CA8-0B1B1FA0BE9E}"/>
                  </a:ext>
                </a:extLst>
              </p:cNvPr>
              <p:cNvSpPr/>
              <p:nvPr/>
            </p:nvSpPr>
            <p:spPr>
              <a:xfrm>
                <a:off x="7489422" y="2174779"/>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525" name="Freeform 196">
                <a:extLst>
                  <a:ext uri="{FF2B5EF4-FFF2-40B4-BE49-F238E27FC236}">
                    <a16:creationId xmlns:a16="http://schemas.microsoft.com/office/drawing/2014/main" id="{82CD195A-1FCF-84D6-C708-E0A8FE2E028C}"/>
                  </a:ext>
                </a:extLst>
              </p:cNvPr>
              <p:cNvSpPr/>
              <p:nvPr/>
            </p:nvSpPr>
            <p:spPr>
              <a:xfrm>
                <a:off x="7458847" y="2200073"/>
                <a:ext cx="75173" cy="10583"/>
              </a:xfrm>
              <a:custGeom>
                <a:avLst/>
                <a:gdLst>
                  <a:gd name="connsiteX0" fmla="*/ 0 w 75173"/>
                  <a:gd name="connsiteY0" fmla="*/ 0 h 10583"/>
                  <a:gd name="connsiteX1" fmla="*/ 75173 w 75173"/>
                  <a:gd name="connsiteY1" fmla="*/ 0 h 10583"/>
                </a:gdLst>
                <a:ahLst/>
                <a:cxnLst>
                  <a:cxn ang="0">
                    <a:pos x="connsiteX0" y="connsiteY0"/>
                  </a:cxn>
                  <a:cxn ang="0">
                    <a:pos x="connsiteX1" y="connsiteY1"/>
                  </a:cxn>
                </a:cxnLst>
                <a:rect l="l" t="t" r="r" b="b"/>
                <a:pathLst>
                  <a:path w="75173" h="10583">
                    <a:moveTo>
                      <a:pt x="0" y="0"/>
                    </a:moveTo>
                    <a:lnTo>
                      <a:pt x="75173" y="0"/>
                    </a:lnTo>
                  </a:path>
                </a:pathLst>
              </a:custGeom>
              <a:ln w="12700" cap="sq">
                <a:solidFill>
                  <a:srgbClr val="002985"/>
                </a:solidFill>
                <a:prstDash val="solid"/>
                <a:miter/>
              </a:ln>
            </p:spPr>
            <p:txBody>
              <a:bodyPr rtlCol="0" anchor="ctr"/>
              <a:lstStyle/>
              <a:p>
                <a:endParaRPr lang="en-US" sz="1800"/>
              </a:p>
            </p:txBody>
          </p:sp>
          <p:sp>
            <p:nvSpPr>
              <p:cNvPr id="2526" name="Freeform 197">
                <a:extLst>
                  <a:ext uri="{FF2B5EF4-FFF2-40B4-BE49-F238E27FC236}">
                    <a16:creationId xmlns:a16="http://schemas.microsoft.com/office/drawing/2014/main" id="{7B93D243-F246-8A8C-414F-EEBEBBF6B4A0}"/>
                  </a:ext>
                </a:extLst>
              </p:cNvPr>
              <p:cNvSpPr/>
              <p:nvPr/>
            </p:nvSpPr>
            <p:spPr>
              <a:xfrm>
                <a:off x="7496439" y="2174779"/>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527" name="Freeform 198">
                <a:extLst>
                  <a:ext uri="{FF2B5EF4-FFF2-40B4-BE49-F238E27FC236}">
                    <a16:creationId xmlns:a16="http://schemas.microsoft.com/office/drawing/2014/main" id="{2C9917C3-7A22-AD9D-F59D-15D446B80BD1}"/>
                  </a:ext>
                </a:extLst>
              </p:cNvPr>
              <p:cNvSpPr/>
              <p:nvPr/>
            </p:nvSpPr>
            <p:spPr>
              <a:xfrm>
                <a:off x="7465863" y="2200073"/>
                <a:ext cx="75173" cy="10583"/>
              </a:xfrm>
              <a:custGeom>
                <a:avLst/>
                <a:gdLst>
                  <a:gd name="connsiteX0" fmla="*/ 0 w 75173"/>
                  <a:gd name="connsiteY0" fmla="*/ 0 h 10583"/>
                  <a:gd name="connsiteX1" fmla="*/ 75173 w 75173"/>
                  <a:gd name="connsiteY1" fmla="*/ 0 h 10583"/>
                </a:gdLst>
                <a:ahLst/>
                <a:cxnLst>
                  <a:cxn ang="0">
                    <a:pos x="connsiteX0" y="connsiteY0"/>
                  </a:cxn>
                  <a:cxn ang="0">
                    <a:pos x="connsiteX1" y="connsiteY1"/>
                  </a:cxn>
                </a:cxnLst>
                <a:rect l="l" t="t" r="r" b="b"/>
                <a:pathLst>
                  <a:path w="75173" h="10583">
                    <a:moveTo>
                      <a:pt x="0" y="0"/>
                    </a:moveTo>
                    <a:lnTo>
                      <a:pt x="75173" y="0"/>
                    </a:lnTo>
                  </a:path>
                </a:pathLst>
              </a:custGeom>
              <a:ln w="12700" cap="sq">
                <a:solidFill>
                  <a:srgbClr val="002985"/>
                </a:solidFill>
                <a:prstDash val="solid"/>
                <a:miter/>
              </a:ln>
            </p:spPr>
            <p:txBody>
              <a:bodyPr rtlCol="0" anchor="ctr"/>
              <a:lstStyle/>
              <a:p>
                <a:endParaRPr lang="en-US" sz="1800"/>
              </a:p>
            </p:txBody>
          </p:sp>
          <p:sp>
            <p:nvSpPr>
              <p:cNvPr id="2528" name="Freeform 199">
                <a:extLst>
                  <a:ext uri="{FF2B5EF4-FFF2-40B4-BE49-F238E27FC236}">
                    <a16:creationId xmlns:a16="http://schemas.microsoft.com/office/drawing/2014/main" id="{B64C0E9E-CB54-989B-0AA7-3BA11BBFD879}"/>
                  </a:ext>
                </a:extLst>
              </p:cNvPr>
              <p:cNvSpPr/>
              <p:nvPr/>
            </p:nvSpPr>
            <p:spPr>
              <a:xfrm>
                <a:off x="7503445" y="2174779"/>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529" name="Freeform 200">
                <a:extLst>
                  <a:ext uri="{FF2B5EF4-FFF2-40B4-BE49-F238E27FC236}">
                    <a16:creationId xmlns:a16="http://schemas.microsoft.com/office/drawing/2014/main" id="{B041D138-3754-17CF-437D-209FAE60CBFE}"/>
                  </a:ext>
                </a:extLst>
              </p:cNvPr>
              <p:cNvSpPr/>
              <p:nvPr/>
            </p:nvSpPr>
            <p:spPr>
              <a:xfrm>
                <a:off x="7486914" y="2200073"/>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530" name="Freeform 201">
                <a:extLst>
                  <a:ext uri="{FF2B5EF4-FFF2-40B4-BE49-F238E27FC236}">
                    <a16:creationId xmlns:a16="http://schemas.microsoft.com/office/drawing/2014/main" id="{16245106-C468-F031-227F-E331A64B1BA3}"/>
                  </a:ext>
                </a:extLst>
              </p:cNvPr>
              <p:cNvSpPr/>
              <p:nvPr/>
            </p:nvSpPr>
            <p:spPr>
              <a:xfrm>
                <a:off x="7524495" y="2174779"/>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531" name="Freeform 202">
                <a:extLst>
                  <a:ext uri="{FF2B5EF4-FFF2-40B4-BE49-F238E27FC236}">
                    <a16:creationId xmlns:a16="http://schemas.microsoft.com/office/drawing/2014/main" id="{9F1E47CB-E9BB-2F7E-C709-632AA8CC4320}"/>
                  </a:ext>
                </a:extLst>
              </p:cNvPr>
              <p:cNvSpPr/>
              <p:nvPr/>
            </p:nvSpPr>
            <p:spPr>
              <a:xfrm>
                <a:off x="7493930" y="2219641"/>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532" name="Freeform 203">
                <a:extLst>
                  <a:ext uri="{FF2B5EF4-FFF2-40B4-BE49-F238E27FC236}">
                    <a16:creationId xmlns:a16="http://schemas.microsoft.com/office/drawing/2014/main" id="{55AD83B5-1C00-32BC-D7A0-C54A0C143768}"/>
                  </a:ext>
                </a:extLst>
              </p:cNvPr>
              <p:cNvSpPr/>
              <p:nvPr/>
            </p:nvSpPr>
            <p:spPr>
              <a:xfrm>
                <a:off x="7531512" y="2194337"/>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533" name="Freeform 204">
                <a:extLst>
                  <a:ext uri="{FF2B5EF4-FFF2-40B4-BE49-F238E27FC236}">
                    <a16:creationId xmlns:a16="http://schemas.microsoft.com/office/drawing/2014/main" id="{CD933734-FB72-6247-569A-A24B0B2E1FE7}"/>
                  </a:ext>
                </a:extLst>
              </p:cNvPr>
              <p:cNvSpPr/>
              <p:nvPr/>
            </p:nvSpPr>
            <p:spPr>
              <a:xfrm>
                <a:off x="7507964" y="2219641"/>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534" name="Freeform 205">
                <a:extLst>
                  <a:ext uri="{FF2B5EF4-FFF2-40B4-BE49-F238E27FC236}">
                    <a16:creationId xmlns:a16="http://schemas.microsoft.com/office/drawing/2014/main" id="{86146CBF-2931-30F1-3436-1BEE448B8036}"/>
                  </a:ext>
                </a:extLst>
              </p:cNvPr>
              <p:cNvSpPr/>
              <p:nvPr/>
            </p:nvSpPr>
            <p:spPr>
              <a:xfrm>
                <a:off x="7545545" y="2194337"/>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535" name="Freeform 206">
                <a:extLst>
                  <a:ext uri="{FF2B5EF4-FFF2-40B4-BE49-F238E27FC236}">
                    <a16:creationId xmlns:a16="http://schemas.microsoft.com/office/drawing/2014/main" id="{E6E6FE21-CB27-E192-94B2-CCB6802C0D24}"/>
                  </a:ext>
                </a:extLst>
              </p:cNvPr>
              <p:cNvSpPr/>
              <p:nvPr/>
            </p:nvSpPr>
            <p:spPr>
              <a:xfrm>
                <a:off x="7514970" y="2219641"/>
                <a:ext cx="75173" cy="10583"/>
              </a:xfrm>
              <a:custGeom>
                <a:avLst/>
                <a:gdLst>
                  <a:gd name="connsiteX0" fmla="*/ 0 w 75173"/>
                  <a:gd name="connsiteY0" fmla="*/ 0 h 10583"/>
                  <a:gd name="connsiteX1" fmla="*/ 75174 w 75173"/>
                  <a:gd name="connsiteY1" fmla="*/ 0 h 10583"/>
                </a:gdLst>
                <a:ahLst/>
                <a:cxnLst>
                  <a:cxn ang="0">
                    <a:pos x="connsiteX0" y="connsiteY0"/>
                  </a:cxn>
                  <a:cxn ang="0">
                    <a:pos x="connsiteX1" y="connsiteY1"/>
                  </a:cxn>
                </a:cxnLst>
                <a:rect l="l" t="t" r="r" b="b"/>
                <a:pathLst>
                  <a:path w="75173" h="10583">
                    <a:moveTo>
                      <a:pt x="0" y="0"/>
                    </a:moveTo>
                    <a:lnTo>
                      <a:pt x="75174" y="0"/>
                    </a:lnTo>
                  </a:path>
                </a:pathLst>
              </a:custGeom>
              <a:ln w="12700" cap="sq">
                <a:solidFill>
                  <a:srgbClr val="002985"/>
                </a:solidFill>
                <a:prstDash val="solid"/>
                <a:miter/>
              </a:ln>
            </p:spPr>
            <p:txBody>
              <a:bodyPr rtlCol="0" anchor="ctr"/>
              <a:lstStyle/>
              <a:p>
                <a:endParaRPr lang="en-US" sz="1800"/>
              </a:p>
            </p:txBody>
          </p:sp>
          <p:sp>
            <p:nvSpPr>
              <p:cNvPr id="2536" name="Freeform 207">
                <a:extLst>
                  <a:ext uri="{FF2B5EF4-FFF2-40B4-BE49-F238E27FC236}">
                    <a16:creationId xmlns:a16="http://schemas.microsoft.com/office/drawing/2014/main" id="{FE5E1BF2-EF18-CB27-827A-6032A32DF24F}"/>
                  </a:ext>
                </a:extLst>
              </p:cNvPr>
              <p:cNvSpPr/>
              <p:nvPr/>
            </p:nvSpPr>
            <p:spPr>
              <a:xfrm>
                <a:off x="7552562" y="2194337"/>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537" name="Freeform 208">
                <a:extLst>
                  <a:ext uri="{FF2B5EF4-FFF2-40B4-BE49-F238E27FC236}">
                    <a16:creationId xmlns:a16="http://schemas.microsoft.com/office/drawing/2014/main" id="{B906A6FD-9E50-A02B-CE84-7C1FCECEDB00}"/>
                  </a:ext>
                </a:extLst>
              </p:cNvPr>
              <p:cNvSpPr/>
              <p:nvPr/>
            </p:nvSpPr>
            <p:spPr>
              <a:xfrm>
                <a:off x="7529004" y="2219641"/>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538" name="Freeform 209">
                <a:extLst>
                  <a:ext uri="{FF2B5EF4-FFF2-40B4-BE49-F238E27FC236}">
                    <a16:creationId xmlns:a16="http://schemas.microsoft.com/office/drawing/2014/main" id="{CC7330C7-A1F5-72C5-1556-04C0E56525DA}"/>
                  </a:ext>
                </a:extLst>
              </p:cNvPr>
              <p:cNvSpPr/>
              <p:nvPr/>
            </p:nvSpPr>
            <p:spPr>
              <a:xfrm>
                <a:off x="7566585" y="2194337"/>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539" name="Freeform 210">
                <a:extLst>
                  <a:ext uri="{FF2B5EF4-FFF2-40B4-BE49-F238E27FC236}">
                    <a16:creationId xmlns:a16="http://schemas.microsoft.com/office/drawing/2014/main" id="{0402665E-FFF1-4913-F3CB-ABF824C67AAE}"/>
                  </a:ext>
                </a:extLst>
              </p:cNvPr>
              <p:cNvSpPr/>
              <p:nvPr/>
            </p:nvSpPr>
            <p:spPr>
              <a:xfrm>
                <a:off x="7543037" y="2219641"/>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540" name="Freeform 211">
                <a:extLst>
                  <a:ext uri="{FF2B5EF4-FFF2-40B4-BE49-F238E27FC236}">
                    <a16:creationId xmlns:a16="http://schemas.microsoft.com/office/drawing/2014/main" id="{0C1DB0B8-2A70-BF2D-1189-FF360C69B4E4}"/>
                  </a:ext>
                </a:extLst>
              </p:cNvPr>
              <p:cNvSpPr/>
              <p:nvPr/>
            </p:nvSpPr>
            <p:spPr>
              <a:xfrm>
                <a:off x="7580619" y="2194337"/>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541" name="Freeform 212">
                <a:extLst>
                  <a:ext uri="{FF2B5EF4-FFF2-40B4-BE49-F238E27FC236}">
                    <a16:creationId xmlns:a16="http://schemas.microsoft.com/office/drawing/2014/main" id="{E92C3057-C433-9422-DF1F-9DC420EBCD48}"/>
                  </a:ext>
                </a:extLst>
              </p:cNvPr>
              <p:cNvSpPr/>
              <p:nvPr/>
            </p:nvSpPr>
            <p:spPr>
              <a:xfrm>
                <a:off x="7585127" y="2219641"/>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542" name="Freeform 213">
                <a:extLst>
                  <a:ext uri="{FF2B5EF4-FFF2-40B4-BE49-F238E27FC236}">
                    <a16:creationId xmlns:a16="http://schemas.microsoft.com/office/drawing/2014/main" id="{3E218A7E-651E-6C8F-49F1-94B167995F34}"/>
                  </a:ext>
                </a:extLst>
              </p:cNvPr>
              <p:cNvSpPr/>
              <p:nvPr/>
            </p:nvSpPr>
            <p:spPr>
              <a:xfrm>
                <a:off x="7622708" y="2194337"/>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543" name="Freeform 214">
                <a:extLst>
                  <a:ext uri="{FF2B5EF4-FFF2-40B4-BE49-F238E27FC236}">
                    <a16:creationId xmlns:a16="http://schemas.microsoft.com/office/drawing/2014/main" id="{43D45FF6-6EAF-E500-2603-5D45D0CE71F5}"/>
                  </a:ext>
                </a:extLst>
              </p:cNvPr>
              <p:cNvSpPr/>
              <p:nvPr/>
            </p:nvSpPr>
            <p:spPr>
              <a:xfrm>
                <a:off x="7599161" y="2219641"/>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544" name="Freeform 215">
                <a:extLst>
                  <a:ext uri="{FF2B5EF4-FFF2-40B4-BE49-F238E27FC236}">
                    <a16:creationId xmlns:a16="http://schemas.microsoft.com/office/drawing/2014/main" id="{2B20B17C-CDD8-8D21-B9ED-04CC04B58FC8}"/>
                  </a:ext>
                </a:extLst>
              </p:cNvPr>
              <p:cNvSpPr/>
              <p:nvPr/>
            </p:nvSpPr>
            <p:spPr>
              <a:xfrm>
                <a:off x="7636742" y="2194337"/>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545" name="Freeform 216">
                <a:extLst>
                  <a:ext uri="{FF2B5EF4-FFF2-40B4-BE49-F238E27FC236}">
                    <a16:creationId xmlns:a16="http://schemas.microsoft.com/office/drawing/2014/main" id="{F9D2318A-78C4-FDD3-1952-C9D576F41929}"/>
                  </a:ext>
                </a:extLst>
              </p:cNvPr>
              <p:cNvSpPr/>
              <p:nvPr/>
            </p:nvSpPr>
            <p:spPr>
              <a:xfrm>
                <a:off x="7599161" y="2219641"/>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546" name="Freeform 217">
                <a:extLst>
                  <a:ext uri="{FF2B5EF4-FFF2-40B4-BE49-F238E27FC236}">
                    <a16:creationId xmlns:a16="http://schemas.microsoft.com/office/drawing/2014/main" id="{89DEB4B0-2C1D-5CC0-B892-341F63CDF9DC}"/>
                  </a:ext>
                </a:extLst>
              </p:cNvPr>
              <p:cNvSpPr/>
              <p:nvPr/>
            </p:nvSpPr>
            <p:spPr>
              <a:xfrm>
                <a:off x="7636742" y="2194337"/>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547" name="Freeform 218">
                <a:extLst>
                  <a:ext uri="{FF2B5EF4-FFF2-40B4-BE49-F238E27FC236}">
                    <a16:creationId xmlns:a16="http://schemas.microsoft.com/office/drawing/2014/main" id="{234758D7-7FF3-C2E5-F2DA-ADDFC5D9329D}"/>
                  </a:ext>
                </a:extLst>
              </p:cNvPr>
              <p:cNvSpPr/>
              <p:nvPr/>
            </p:nvSpPr>
            <p:spPr>
              <a:xfrm>
                <a:off x="7641250" y="2219641"/>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548" name="Freeform 219">
                <a:extLst>
                  <a:ext uri="{FF2B5EF4-FFF2-40B4-BE49-F238E27FC236}">
                    <a16:creationId xmlns:a16="http://schemas.microsoft.com/office/drawing/2014/main" id="{EFA2D832-AD58-8755-28A3-9F129C7BE4F1}"/>
                  </a:ext>
                </a:extLst>
              </p:cNvPr>
              <p:cNvSpPr/>
              <p:nvPr/>
            </p:nvSpPr>
            <p:spPr>
              <a:xfrm>
                <a:off x="7678832" y="2194337"/>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549" name="Freeform 220">
                <a:extLst>
                  <a:ext uri="{FF2B5EF4-FFF2-40B4-BE49-F238E27FC236}">
                    <a16:creationId xmlns:a16="http://schemas.microsoft.com/office/drawing/2014/main" id="{9CF07191-3ABD-E897-3B33-EEF465515D68}"/>
                  </a:ext>
                </a:extLst>
              </p:cNvPr>
              <p:cNvSpPr/>
              <p:nvPr/>
            </p:nvSpPr>
            <p:spPr>
              <a:xfrm>
                <a:off x="7648267" y="2219641"/>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550" name="Freeform 221">
                <a:extLst>
                  <a:ext uri="{FF2B5EF4-FFF2-40B4-BE49-F238E27FC236}">
                    <a16:creationId xmlns:a16="http://schemas.microsoft.com/office/drawing/2014/main" id="{D929AEC7-1343-2708-711B-D7DCBCC765CE}"/>
                  </a:ext>
                </a:extLst>
              </p:cNvPr>
              <p:cNvSpPr/>
              <p:nvPr/>
            </p:nvSpPr>
            <p:spPr>
              <a:xfrm>
                <a:off x="7685849" y="2194337"/>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551" name="Freeform 222">
                <a:extLst>
                  <a:ext uri="{FF2B5EF4-FFF2-40B4-BE49-F238E27FC236}">
                    <a16:creationId xmlns:a16="http://schemas.microsoft.com/office/drawing/2014/main" id="{A746C481-D19E-B50E-4819-DFB7E5A8DC5B}"/>
                  </a:ext>
                </a:extLst>
              </p:cNvPr>
              <p:cNvSpPr/>
              <p:nvPr/>
            </p:nvSpPr>
            <p:spPr>
              <a:xfrm>
                <a:off x="7655284" y="2219641"/>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552" name="Freeform 223">
                <a:extLst>
                  <a:ext uri="{FF2B5EF4-FFF2-40B4-BE49-F238E27FC236}">
                    <a16:creationId xmlns:a16="http://schemas.microsoft.com/office/drawing/2014/main" id="{8637C2AD-AEA8-0273-EB0E-F6BBB6964970}"/>
                  </a:ext>
                </a:extLst>
              </p:cNvPr>
              <p:cNvSpPr/>
              <p:nvPr/>
            </p:nvSpPr>
            <p:spPr>
              <a:xfrm>
                <a:off x="7692865" y="2194337"/>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553" name="Freeform 224">
                <a:extLst>
                  <a:ext uri="{FF2B5EF4-FFF2-40B4-BE49-F238E27FC236}">
                    <a16:creationId xmlns:a16="http://schemas.microsoft.com/office/drawing/2014/main" id="{BD3474D8-9312-A1DD-AA40-30189632C277}"/>
                  </a:ext>
                </a:extLst>
              </p:cNvPr>
              <p:cNvSpPr/>
              <p:nvPr/>
            </p:nvSpPr>
            <p:spPr>
              <a:xfrm>
                <a:off x="7655284" y="2219641"/>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554" name="Freeform 225">
                <a:extLst>
                  <a:ext uri="{FF2B5EF4-FFF2-40B4-BE49-F238E27FC236}">
                    <a16:creationId xmlns:a16="http://schemas.microsoft.com/office/drawing/2014/main" id="{04CF4CC2-ACAD-0E34-CD48-89736B5C7501}"/>
                  </a:ext>
                </a:extLst>
              </p:cNvPr>
              <p:cNvSpPr/>
              <p:nvPr/>
            </p:nvSpPr>
            <p:spPr>
              <a:xfrm>
                <a:off x="7692865" y="2194337"/>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555" name="Freeform 226">
                <a:extLst>
                  <a:ext uri="{FF2B5EF4-FFF2-40B4-BE49-F238E27FC236}">
                    <a16:creationId xmlns:a16="http://schemas.microsoft.com/office/drawing/2014/main" id="{ED3878F5-4A20-BC96-281A-11BE4455E063}"/>
                  </a:ext>
                </a:extLst>
              </p:cNvPr>
              <p:cNvSpPr/>
              <p:nvPr/>
            </p:nvSpPr>
            <p:spPr>
              <a:xfrm>
                <a:off x="7662301" y="2219641"/>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556" name="Freeform 227">
                <a:extLst>
                  <a:ext uri="{FF2B5EF4-FFF2-40B4-BE49-F238E27FC236}">
                    <a16:creationId xmlns:a16="http://schemas.microsoft.com/office/drawing/2014/main" id="{200E7811-47A5-1DEC-9417-1F995476B893}"/>
                  </a:ext>
                </a:extLst>
              </p:cNvPr>
              <p:cNvSpPr/>
              <p:nvPr/>
            </p:nvSpPr>
            <p:spPr>
              <a:xfrm>
                <a:off x="7699882" y="2194337"/>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557" name="Freeform 228">
                <a:extLst>
                  <a:ext uri="{FF2B5EF4-FFF2-40B4-BE49-F238E27FC236}">
                    <a16:creationId xmlns:a16="http://schemas.microsoft.com/office/drawing/2014/main" id="{80C008D0-4A3F-9ED7-81DC-B6286E6076C3}"/>
                  </a:ext>
                </a:extLst>
              </p:cNvPr>
              <p:cNvSpPr/>
              <p:nvPr/>
            </p:nvSpPr>
            <p:spPr>
              <a:xfrm>
                <a:off x="7690357" y="2241231"/>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558" name="Freeform 229">
                <a:extLst>
                  <a:ext uri="{FF2B5EF4-FFF2-40B4-BE49-F238E27FC236}">
                    <a16:creationId xmlns:a16="http://schemas.microsoft.com/office/drawing/2014/main" id="{319FC647-1BCF-2710-C36B-D5F5335427C7}"/>
                  </a:ext>
                </a:extLst>
              </p:cNvPr>
              <p:cNvSpPr/>
              <p:nvPr/>
            </p:nvSpPr>
            <p:spPr>
              <a:xfrm>
                <a:off x="7727939" y="2215927"/>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559" name="Freeform 230">
                <a:extLst>
                  <a:ext uri="{FF2B5EF4-FFF2-40B4-BE49-F238E27FC236}">
                    <a16:creationId xmlns:a16="http://schemas.microsoft.com/office/drawing/2014/main" id="{891416A5-EA8E-6A61-EDE2-F8CB52828125}"/>
                  </a:ext>
                </a:extLst>
              </p:cNvPr>
              <p:cNvSpPr/>
              <p:nvPr/>
            </p:nvSpPr>
            <p:spPr>
              <a:xfrm>
                <a:off x="7690357" y="2241231"/>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560" name="Freeform 231">
                <a:extLst>
                  <a:ext uri="{FF2B5EF4-FFF2-40B4-BE49-F238E27FC236}">
                    <a16:creationId xmlns:a16="http://schemas.microsoft.com/office/drawing/2014/main" id="{460820D6-0996-98B3-75EF-D890B31F5BB4}"/>
                  </a:ext>
                </a:extLst>
              </p:cNvPr>
              <p:cNvSpPr/>
              <p:nvPr/>
            </p:nvSpPr>
            <p:spPr>
              <a:xfrm>
                <a:off x="7727939" y="2215927"/>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561" name="Freeform 232">
                <a:extLst>
                  <a:ext uri="{FF2B5EF4-FFF2-40B4-BE49-F238E27FC236}">
                    <a16:creationId xmlns:a16="http://schemas.microsoft.com/office/drawing/2014/main" id="{64B718D6-1772-1795-6D85-F9D73220B510}"/>
                  </a:ext>
                </a:extLst>
              </p:cNvPr>
              <p:cNvSpPr/>
              <p:nvPr/>
            </p:nvSpPr>
            <p:spPr>
              <a:xfrm>
                <a:off x="7739464" y="2241231"/>
                <a:ext cx="75173" cy="10583"/>
              </a:xfrm>
              <a:custGeom>
                <a:avLst/>
                <a:gdLst>
                  <a:gd name="connsiteX0" fmla="*/ 0 w 75173"/>
                  <a:gd name="connsiteY0" fmla="*/ 0 h 10583"/>
                  <a:gd name="connsiteX1" fmla="*/ 75173 w 75173"/>
                  <a:gd name="connsiteY1" fmla="*/ 0 h 10583"/>
                </a:gdLst>
                <a:ahLst/>
                <a:cxnLst>
                  <a:cxn ang="0">
                    <a:pos x="connsiteX0" y="connsiteY0"/>
                  </a:cxn>
                  <a:cxn ang="0">
                    <a:pos x="connsiteX1" y="connsiteY1"/>
                  </a:cxn>
                </a:cxnLst>
                <a:rect l="l" t="t" r="r" b="b"/>
                <a:pathLst>
                  <a:path w="75173" h="10583">
                    <a:moveTo>
                      <a:pt x="0" y="0"/>
                    </a:moveTo>
                    <a:lnTo>
                      <a:pt x="75173" y="0"/>
                    </a:lnTo>
                  </a:path>
                </a:pathLst>
              </a:custGeom>
              <a:ln w="12700" cap="sq">
                <a:solidFill>
                  <a:srgbClr val="002985"/>
                </a:solidFill>
                <a:prstDash val="solid"/>
                <a:miter/>
              </a:ln>
            </p:spPr>
            <p:txBody>
              <a:bodyPr rtlCol="0" anchor="ctr"/>
              <a:lstStyle/>
              <a:p>
                <a:endParaRPr lang="en-US" sz="1800"/>
              </a:p>
            </p:txBody>
          </p:sp>
          <p:sp>
            <p:nvSpPr>
              <p:cNvPr id="2562" name="Freeform 233">
                <a:extLst>
                  <a:ext uri="{FF2B5EF4-FFF2-40B4-BE49-F238E27FC236}">
                    <a16:creationId xmlns:a16="http://schemas.microsoft.com/office/drawing/2014/main" id="{D22F2408-5E5E-6916-11F4-9E92C3616590}"/>
                  </a:ext>
                </a:extLst>
              </p:cNvPr>
              <p:cNvSpPr/>
              <p:nvPr/>
            </p:nvSpPr>
            <p:spPr>
              <a:xfrm>
                <a:off x="7777045" y="2215927"/>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563" name="Freeform 234">
                <a:extLst>
                  <a:ext uri="{FF2B5EF4-FFF2-40B4-BE49-F238E27FC236}">
                    <a16:creationId xmlns:a16="http://schemas.microsoft.com/office/drawing/2014/main" id="{B43B9371-20A6-2272-8D6F-2F2B4D0EAEBF}"/>
                  </a:ext>
                </a:extLst>
              </p:cNvPr>
              <p:cNvSpPr/>
              <p:nvPr/>
            </p:nvSpPr>
            <p:spPr>
              <a:xfrm>
                <a:off x="7767531" y="2241231"/>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564" name="Freeform 235">
                <a:extLst>
                  <a:ext uri="{FF2B5EF4-FFF2-40B4-BE49-F238E27FC236}">
                    <a16:creationId xmlns:a16="http://schemas.microsoft.com/office/drawing/2014/main" id="{23208ECE-64B8-2E78-86DA-C2B369D6F32A}"/>
                  </a:ext>
                </a:extLst>
              </p:cNvPr>
              <p:cNvSpPr/>
              <p:nvPr/>
            </p:nvSpPr>
            <p:spPr>
              <a:xfrm>
                <a:off x="7805112" y="2215927"/>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565" name="Freeform 236">
                <a:extLst>
                  <a:ext uri="{FF2B5EF4-FFF2-40B4-BE49-F238E27FC236}">
                    <a16:creationId xmlns:a16="http://schemas.microsoft.com/office/drawing/2014/main" id="{993CEEA5-B2DD-B412-433B-CE55FF753547}"/>
                  </a:ext>
                </a:extLst>
              </p:cNvPr>
              <p:cNvSpPr/>
              <p:nvPr/>
            </p:nvSpPr>
            <p:spPr>
              <a:xfrm>
                <a:off x="7788570" y="2241231"/>
                <a:ext cx="75173" cy="10583"/>
              </a:xfrm>
              <a:custGeom>
                <a:avLst/>
                <a:gdLst>
                  <a:gd name="connsiteX0" fmla="*/ 0 w 75173"/>
                  <a:gd name="connsiteY0" fmla="*/ 0 h 10583"/>
                  <a:gd name="connsiteX1" fmla="*/ 75173 w 75173"/>
                  <a:gd name="connsiteY1" fmla="*/ 0 h 10583"/>
                </a:gdLst>
                <a:ahLst/>
                <a:cxnLst>
                  <a:cxn ang="0">
                    <a:pos x="connsiteX0" y="connsiteY0"/>
                  </a:cxn>
                  <a:cxn ang="0">
                    <a:pos x="connsiteX1" y="connsiteY1"/>
                  </a:cxn>
                </a:cxnLst>
                <a:rect l="l" t="t" r="r" b="b"/>
                <a:pathLst>
                  <a:path w="75173" h="10583">
                    <a:moveTo>
                      <a:pt x="0" y="0"/>
                    </a:moveTo>
                    <a:lnTo>
                      <a:pt x="75173" y="0"/>
                    </a:lnTo>
                  </a:path>
                </a:pathLst>
              </a:custGeom>
              <a:ln w="12700" cap="sq">
                <a:solidFill>
                  <a:srgbClr val="002985"/>
                </a:solidFill>
                <a:prstDash val="solid"/>
                <a:miter/>
              </a:ln>
            </p:spPr>
            <p:txBody>
              <a:bodyPr rtlCol="0" anchor="ctr"/>
              <a:lstStyle/>
              <a:p>
                <a:endParaRPr lang="en-US" sz="1800"/>
              </a:p>
            </p:txBody>
          </p:sp>
          <p:sp>
            <p:nvSpPr>
              <p:cNvPr id="2566" name="Freeform 237">
                <a:extLst>
                  <a:ext uri="{FF2B5EF4-FFF2-40B4-BE49-F238E27FC236}">
                    <a16:creationId xmlns:a16="http://schemas.microsoft.com/office/drawing/2014/main" id="{4A0F9CC5-A3CF-D7E1-BB29-9FDC08BF6CA1}"/>
                  </a:ext>
                </a:extLst>
              </p:cNvPr>
              <p:cNvSpPr/>
              <p:nvPr/>
            </p:nvSpPr>
            <p:spPr>
              <a:xfrm>
                <a:off x="7826162" y="2215927"/>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567" name="Freeform 238">
                <a:extLst>
                  <a:ext uri="{FF2B5EF4-FFF2-40B4-BE49-F238E27FC236}">
                    <a16:creationId xmlns:a16="http://schemas.microsoft.com/office/drawing/2014/main" id="{86CE98CA-90BD-7019-186F-B6C167F80ED7}"/>
                  </a:ext>
                </a:extLst>
              </p:cNvPr>
              <p:cNvSpPr/>
              <p:nvPr/>
            </p:nvSpPr>
            <p:spPr>
              <a:xfrm>
                <a:off x="7816637" y="2241231"/>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568" name="Freeform 239">
                <a:extLst>
                  <a:ext uri="{FF2B5EF4-FFF2-40B4-BE49-F238E27FC236}">
                    <a16:creationId xmlns:a16="http://schemas.microsoft.com/office/drawing/2014/main" id="{B4E733DA-8991-636F-E0E7-2FCA75639870}"/>
                  </a:ext>
                </a:extLst>
              </p:cNvPr>
              <p:cNvSpPr/>
              <p:nvPr/>
            </p:nvSpPr>
            <p:spPr>
              <a:xfrm>
                <a:off x="7854219" y="2215927"/>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569" name="Freeform 240">
                <a:extLst>
                  <a:ext uri="{FF2B5EF4-FFF2-40B4-BE49-F238E27FC236}">
                    <a16:creationId xmlns:a16="http://schemas.microsoft.com/office/drawing/2014/main" id="{F91F14DA-6A27-ABA9-FDBD-F258F5C8ADB9}"/>
                  </a:ext>
                </a:extLst>
              </p:cNvPr>
              <p:cNvSpPr/>
              <p:nvPr/>
            </p:nvSpPr>
            <p:spPr>
              <a:xfrm>
                <a:off x="7823654" y="2241231"/>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570" name="Freeform 241">
                <a:extLst>
                  <a:ext uri="{FF2B5EF4-FFF2-40B4-BE49-F238E27FC236}">
                    <a16:creationId xmlns:a16="http://schemas.microsoft.com/office/drawing/2014/main" id="{970235F9-0968-3BCF-8977-C39741E69F53}"/>
                  </a:ext>
                </a:extLst>
              </p:cNvPr>
              <p:cNvSpPr/>
              <p:nvPr/>
            </p:nvSpPr>
            <p:spPr>
              <a:xfrm>
                <a:off x="7861236" y="2215927"/>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571" name="Freeform 242">
                <a:extLst>
                  <a:ext uri="{FF2B5EF4-FFF2-40B4-BE49-F238E27FC236}">
                    <a16:creationId xmlns:a16="http://schemas.microsoft.com/office/drawing/2014/main" id="{C5EAAD63-DA05-8983-B59C-E3B804340438}"/>
                  </a:ext>
                </a:extLst>
              </p:cNvPr>
              <p:cNvSpPr/>
              <p:nvPr/>
            </p:nvSpPr>
            <p:spPr>
              <a:xfrm>
                <a:off x="7830671" y="2241231"/>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572" name="Freeform 243">
                <a:extLst>
                  <a:ext uri="{FF2B5EF4-FFF2-40B4-BE49-F238E27FC236}">
                    <a16:creationId xmlns:a16="http://schemas.microsoft.com/office/drawing/2014/main" id="{1C684CAF-710B-2002-B85F-14F1FE8D6EF2}"/>
                  </a:ext>
                </a:extLst>
              </p:cNvPr>
              <p:cNvSpPr/>
              <p:nvPr/>
            </p:nvSpPr>
            <p:spPr>
              <a:xfrm>
                <a:off x="7868252" y="2215927"/>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573" name="Freeform 244">
                <a:extLst>
                  <a:ext uri="{FF2B5EF4-FFF2-40B4-BE49-F238E27FC236}">
                    <a16:creationId xmlns:a16="http://schemas.microsoft.com/office/drawing/2014/main" id="{C862C64C-6DB0-1926-C619-F89C92527EB5}"/>
                  </a:ext>
                </a:extLst>
              </p:cNvPr>
              <p:cNvSpPr/>
              <p:nvPr/>
            </p:nvSpPr>
            <p:spPr>
              <a:xfrm>
                <a:off x="7837688" y="2241231"/>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574" name="Freeform 245">
                <a:extLst>
                  <a:ext uri="{FF2B5EF4-FFF2-40B4-BE49-F238E27FC236}">
                    <a16:creationId xmlns:a16="http://schemas.microsoft.com/office/drawing/2014/main" id="{C341FCD9-8FEC-4CFE-A3F1-7E1F8F3A0C48}"/>
                  </a:ext>
                </a:extLst>
              </p:cNvPr>
              <p:cNvSpPr/>
              <p:nvPr/>
            </p:nvSpPr>
            <p:spPr>
              <a:xfrm>
                <a:off x="7875269" y="2215927"/>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575" name="Freeform 246">
                <a:extLst>
                  <a:ext uri="{FF2B5EF4-FFF2-40B4-BE49-F238E27FC236}">
                    <a16:creationId xmlns:a16="http://schemas.microsoft.com/office/drawing/2014/main" id="{52C05C2C-12D9-6E85-D49B-B06FD67596C7}"/>
                  </a:ext>
                </a:extLst>
              </p:cNvPr>
              <p:cNvSpPr/>
              <p:nvPr/>
            </p:nvSpPr>
            <p:spPr>
              <a:xfrm>
                <a:off x="7851711" y="2241231"/>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576" name="Freeform 247">
                <a:extLst>
                  <a:ext uri="{FF2B5EF4-FFF2-40B4-BE49-F238E27FC236}">
                    <a16:creationId xmlns:a16="http://schemas.microsoft.com/office/drawing/2014/main" id="{E97FF3B9-D92F-28E9-A318-304B86ACF35F}"/>
                  </a:ext>
                </a:extLst>
              </p:cNvPr>
              <p:cNvSpPr/>
              <p:nvPr/>
            </p:nvSpPr>
            <p:spPr>
              <a:xfrm>
                <a:off x="7889292" y="2215927"/>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577" name="Freeform 248">
                <a:extLst>
                  <a:ext uri="{FF2B5EF4-FFF2-40B4-BE49-F238E27FC236}">
                    <a16:creationId xmlns:a16="http://schemas.microsoft.com/office/drawing/2014/main" id="{E41AE578-64F5-2E0F-EC03-A122A5A7E873}"/>
                  </a:ext>
                </a:extLst>
              </p:cNvPr>
              <p:cNvSpPr/>
              <p:nvPr/>
            </p:nvSpPr>
            <p:spPr>
              <a:xfrm>
                <a:off x="7858727" y="2241231"/>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578" name="Freeform 249">
                <a:extLst>
                  <a:ext uri="{FF2B5EF4-FFF2-40B4-BE49-F238E27FC236}">
                    <a16:creationId xmlns:a16="http://schemas.microsoft.com/office/drawing/2014/main" id="{A34C4381-A704-A449-FB79-BB20DE8BDA71}"/>
                  </a:ext>
                </a:extLst>
              </p:cNvPr>
              <p:cNvSpPr/>
              <p:nvPr/>
            </p:nvSpPr>
            <p:spPr>
              <a:xfrm>
                <a:off x="7896309" y="2215927"/>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579" name="Freeform 250">
                <a:extLst>
                  <a:ext uri="{FF2B5EF4-FFF2-40B4-BE49-F238E27FC236}">
                    <a16:creationId xmlns:a16="http://schemas.microsoft.com/office/drawing/2014/main" id="{A7AA5395-6CE6-D436-8B0A-141B3C5C3267}"/>
                  </a:ext>
                </a:extLst>
              </p:cNvPr>
              <p:cNvSpPr/>
              <p:nvPr/>
            </p:nvSpPr>
            <p:spPr>
              <a:xfrm>
                <a:off x="7886794" y="2241231"/>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580" name="Freeform 251">
                <a:extLst>
                  <a:ext uri="{FF2B5EF4-FFF2-40B4-BE49-F238E27FC236}">
                    <a16:creationId xmlns:a16="http://schemas.microsoft.com/office/drawing/2014/main" id="{7C4BE42E-9B24-DDDF-5A99-DD44B70089ED}"/>
                  </a:ext>
                </a:extLst>
              </p:cNvPr>
              <p:cNvSpPr/>
              <p:nvPr/>
            </p:nvSpPr>
            <p:spPr>
              <a:xfrm>
                <a:off x="7924376" y="2215927"/>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581" name="Freeform 252">
                <a:extLst>
                  <a:ext uri="{FF2B5EF4-FFF2-40B4-BE49-F238E27FC236}">
                    <a16:creationId xmlns:a16="http://schemas.microsoft.com/office/drawing/2014/main" id="{ABCDFDD4-4E3B-4459-66A7-ACC4B79B0E78}"/>
                  </a:ext>
                </a:extLst>
              </p:cNvPr>
              <p:cNvSpPr/>
              <p:nvPr/>
            </p:nvSpPr>
            <p:spPr>
              <a:xfrm>
                <a:off x="7900817" y="2241231"/>
                <a:ext cx="75173" cy="10583"/>
              </a:xfrm>
              <a:custGeom>
                <a:avLst/>
                <a:gdLst>
                  <a:gd name="connsiteX0" fmla="*/ 0 w 75173"/>
                  <a:gd name="connsiteY0" fmla="*/ 0 h 10583"/>
                  <a:gd name="connsiteX1" fmla="*/ 75174 w 75173"/>
                  <a:gd name="connsiteY1" fmla="*/ 0 h 10583"/>
                </a:gdLst>
                <a:ahLst/>
                <a:cxnLst>
                  <a:cxn ang="0">
                    <a:pos x="connsiteX0" y="connsiteY0"/>
                  </a:cxn>
                  <a:cxn ang="0">
                    <a:pos x="connsiteX1" y="connsiteY1"/>
                  </a:cxn>
                </a:cxnLst>
                <a:rect l="l" t="t" r="r" b="b"/>
                <a:pathLst>
                  <a:path w="75173" h="10583">
                    <a:moveTo>
                      <a:pt x="0" y="0"/>
                    </a:moveTo>
                    <a:lnTo>
                      <a:pt x="75174" y="0"/>
                    </a:lnTo>
                  </a:path>
                </a:pathLst>
              </a:custGeom>
              <a:ln w="12700" cap="sq">
                <a:solidFill>
                  <a:srgbClr val="002985"/>
                </a:solidFill>
                <a:prstDash val="solid"/>
                <a:miter/>
              </a:ln>
            </p:spPr>
            <p:txBody>
              <a:bodyPr rtlCol="0" anchor="ctr"/>
              <a:lstStyle/>
              <a:p>
                <a:endParaRPr lang="en-US" sz="1800"/>
              </a:p>
            </p:txBody>
          </p:sp>
          <p:sp>
            <p:nvSpPr>
              <p:cNvPr id="2582" name="Freeform 253">
                <a:extLst>
                  <a:ext uri="{FF2B5EF4-FFF2-40B4-BE49-F238E27FC236}">
                    <a16:creationId xmlns:a16="http://schemas.microsoft.com/office/drawing/2014/main" id="{8837424D-2A3C-DB71-5560-89442C058B44}"/>
                  </a:ext>
                </a:extLst>
              </p:cNvPr>
              <p:cNvSpPr/>
              <p:nvPr/>
            </p:nvSpPr>
            <p:spPr>
              <a:xfrm>
                <a:off x="7938399" y="2215927"/>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583" name="Freeform 254">
                <a:extLst>
                  <a:ext uri="{FF2B5EF4-FFF2-40B4-BE49-F238E27FC236}">
                    <a16:creationId xmlns:a16="http://schemas.microsoft.com/office/drawing/2014/main" id="{BE981043-0FBF-8830-249D-A244312FF3B3}"/>
                  </a:ext>
                </a:extLst>
              </p:cNvPr>
              <p:cNvSpPr/>
              <p:nvPr/>
            </p:nvSpPr>
            <p:spPr>
              <a:xfrm>
                <a:off x="7907834" y="2241231"/>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584" name="Freeform 255">
                <a:extLst>
                  <a:ext uri="{FF2B5EF4-FFF2-40B4-BE49-F238E27FC236}">
                    <a16:creationId xmlns:a16="http://schemas.microsoft.com/office/drawing/2014/main" id="{DFE7FAB5-5E4C-7DD1-446E-034663593D87}"/>
                  </a:ext>
                </a:extLst>
              </p:cNvPr>
              <p:cNvSpPr/>
              <p:nvPr/>
            </p:nvSpPr>
            <p:spPr>
              <a:xfrm>
                <a:off x="7945415" y="2215927"/>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585" name="Freeform 256">
                <a:extLst>
                  <a:ext uri="{FF2B5EF4-FFF2-40B4-BE49-F238E27FC236}">
                    <a16:creationId xmlns:a16="http://schemas.microsoft.com/office/drawing/2014/main" id="{2E71075F-1F33-E0AA-1378-600AC939F206}"/>
                  </a:ext>
                </a:extLst>
              </p:cNvPr>
              <p:cNvSpPr/>
              <p:nvPr/>
            </p:nvSpPr>
            <p:spPr>
              <a:xfrm>
                <a:off x="7942918" y="2265742"/>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586" name="Freeform 257">
                <a:extLst>
                  <a:ext uri="{FF2B5EF4-FFF2-40B4-BE49-F238E27FC236}">
                    <a16:creationId xmlns:a16="http://schemas.microsoft.com/office/drawing/2014/main" id="{B0543B2D-95CC-125A-B408-22B1CD9AC547}"/>
                  </a:ext>
                </a:extLst>
              </p:cNvPr>
              <p:cNvSpPr/>
              <p:nvPr/>
            </p:nvSpPr>
            <p:spPr>
              <a:xfrm>
                <a:off x="7980499" y="2240438"/>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587" name="Freeform 258">
                <a:extLst>
                  <a:ext uri="{FF2B5EF4-FFF2-40B4-BE49-F238E27FC236}">
                    <a16:creationId xmlns:a16="http://schemas.microsoft.com/office/drawing/2014/main" id="{13927B15-A8BA-75C5-587A-912F03393E01}"/>
                  </a:ext>
                </a:extLst>
              </p:cNvPr>
              <p:cNvSpPr/>
              <p:nvPr/>
            </p:nvSpPr>
            <p:spPr>
              <a:xfrm>
                <a:off x="7949924" y="2265742"/>
                <a:ext cx="75173" cy="10583"/>
              </a:xfrm>
              <a:custGeom>
                <a:avLst/>
                <a:gdLst>
                  <a:gd name="connsiteX0" fmla="*/ 0 w 75173"/>
                  <a:gd name="connsiteY0" fmla="*/ 0 h 10583"/>
                  <a:gd name="connsiteX1" fmla="*/ 75173 w 75173"/>
                  <a:gd name="connsiteY1" fmla="*/ 0 h 10583"/>
                </a:gdLst>
                <a:ahLst/>
                <a:cxnLst>
                  <a:cxn ang="0">
                    <a:pos x="connsiteX0" y="connsiteY0"/>
                  </a:cxn>
                  <a:cxn ang="0">
                    <a:pos x="connsiteX1" y="connsiteY1"/>
                  </a:cxn>
                </a:cxnLst>
                <a:rect l="l" t="t" r="r" b="b"/>
                <a:pathLst>
                  <a:path w="75173" h="10583">
                    <a:moveTo>
                      <a:pt x="0" y="0"/>
                    </a:moveTo>
                    <a:lnTo>
                      <a:pt x="75173" y="0"/>
                    </a:lnTo>
                  </a:path>
                </a:pathLst>
              </a:custGeom>
              <a:ln w="12700" cap="sq">
                <a:solidFill>
                  <a:srgbClr val="002985"/>
                </a:solidFill>
                <a:prstDash val="solid"/>
                <a:miter/>
              </a:ln>
            </p:spPr>
            <p:txBody>
              <a:bodyPr rtlCol="0" anchor="ctr"/>
              <a:lstStyle/>
              <a:p>
                <a:endParaRPr lang="en-US" sz="1800"/>
              </a:p>
            </p:txBody>
          </p:sp>
          <p:sp>
            <p:nvSpPr>
              <p:cNvPr id="2588" name="Freeform 259">
                <a:extLst>
                  <a:ext uri="{FF2B5EF4-FFF2-40B4-BE49-F238E27FC236}">
                    <a16:creationId xmlns:a16="http://schemas.microsoft.com/office/drawing/2014/main" id="{10B4B8BA-5660-9E18-FD83-A8859BC654A7}"/>
                  </a:ext>
                </a:extLst>
              </p:cNvPr>
              <p:cNvSpPr/>
              <p:nvPr/>
            </p:nvSpPr>
            <p:spPr>
              <a:xfrm>
                <a:off x="7987516" y="2240438"/>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589" name="Freeform 260">
                <a:extLst>
                  <a:ext uri="{FF2B5EF4-FFF2-40B4-BE49-F238E27FC236}">
                    <a16:creationId xmlns:a16="http://schemas.microsoft.com/office/drawing/2014/main" id="{160F7DF4-ECCD-498A-F25C-00B964A81A97}"/>
                  </a:ext>
                </a:extLst>
              </p:cNvPr>
              <p:cNvSpPr/>
              <p:nvPr/>
            </p:nvSpPr>
            <p:spPr>
              <a:xfrm>
                <a:off x="7956941" y="2265742"/>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590" name="Freeform 261">
                <a:extLst>
                  <a:ext uri="{FF2B5EF4-FFF2-40B4-BE49-F238E27FC236}">
                    <a16:creationId xmlns:a16="http://schemas.microsoft.com/office/drawing/2014/main" id="{23F561D6-4D90-9660-3DBC-53428E68B1AE}"/>
                  </a:ext>
                </a:extLst>
              </p:cNvPr>
              <p:cNvSpPr/>
              <p:nvPr/>
            </p:nvSpPr>
            <p:spPr>
              <a:xfrm>
                <a:off x="7994522" y="2240438"/>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591" name="Freeform 262">
                <a:extLst>
                  <a:ext uri="{FF2B5EF4-FFF2-40B4-BE49-F238E27FC236}">
                    <a16:creationId xmlns:a16="http://schemas.microsoft.com/office/drawing/2014/main" id="{962BB943-8126-99AB-0878-FECEDD2259D3}"/>
                  </a:ext>
                </a:extLst>
              </p:cNvPr>
              <p:cNvSpPr/>
              <p:nvPr/>
            </p:nvSpPr>
            <p:spPr>
              <a:xfrm>
                <a:off x="7963957" y="2265742"/>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592" name="Freeform 263">
                <a:extLst>
                  <a:ext uri="{FF2B5EF4-FFF2-40B4-BE49-F238E27FC236}">
                    <a16:creationId xmlns:a16="http://schemas.microsoft.com/office/drawing/2014/main" id="{A7E359F5-470F-05E4-DF4C-2800D493A3CA}"/>
                  </a:ext>
                </a:extLst>
              </p:cNvPr>
              <p:cNvSpPr/>
              <p:nvPr/>
            </p:nvSpPr>
            <p:spPr>
              <a:xfrm>
                <a:off x="8001539" y="2240438"/>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593" name="Freeform 264">
                <a:extLst>
                  <a:ext uri="{FF2B5EF4-FFF2-40B4-BE49-F238E27FC236}">
                    <a16:creationId xmlns:a16="http://schemas.microsoft.com/office/drawing/2014/main" id="{0565EAF4-EB64-A583-C873-6A2D9CC3F199}"/>
                  </a:ext>
                </a:extLst>
              </p:cNvPr>
              <p:cNvSpPr/>
              <p:nvPr/>
            </p:nvSpPr>
            <p:spPr>
              <a:xfrm>
                <a:off x="7977991" y="2265742"/>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594" name="Freeform 265">
                <a:extLst>
                  <a:ext uri="{FF2B5EF4-FFF2-40B4-BE49-F238E27FC236}">
                    <a16:creationId xmlns:a16="http://schemas.microsoft.com/office/drawing/2014/main" id="{7F525F39-17B1-7887-1735-C8CD6A5C2501}"/>
                  </a:ext>
                </a:extLst>
              </p:cNvPr>
              <p:cNvSpPr/>
              <p:nvPr/>
            </p:nvSpPr>
            <p:spPr>
              <a:xfrm>
                <a:off x="8015572" y="2240438"/>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595" name="Freeform 266">
                <a:extLst>
                  <a:ext uri="{FF2B5EF4-FFF2-40B4-BE49-F238E27FC236}">
                    <a16:creationId xmlns:a16="http://schemas.microsoft.com/office/drawing/2014/main" id="{7B847C28-4D1C-D16B-7C21-D883D1F23D98}"/>
                  </a:ext>
                </a:extLst>
              </p:cNvPr>
              <p:cNvSpPr/>
              <p:nvPr/>
            </p:nvSpPr>
            <p:spPr>
              <a:xfrm>
                <a:off x="8013064" y="2265742"/>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596" name="Freeform 267">
                <a:extLst>
                  <a:ext uri="{FF2B5EF4-FFF2-40B4-BE49-F238E27FC236}">
                    <a16:creationId xmlns:a16="http://schemas.microsoft.com/office/drawing/2014/main" id="{05A0F36B-E5B2-F8BB-A5C8-C2B5AEDA33B1}"/>
                  </a:ext>
                </a:extLst>
              </p:cNvPr>
              <p:cNvSpPr/>
              <p:nvPr/>
            </p:nvSpPr>
            <p:spPr>
              <a:xfrm>
                <a:off x="8050646" y="2240438"/>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597" name="Freeform 268">
                <a:extLst>
                  <a:ext uri="{FF2B5EF4-FFF2-40B4-BE49-F238E27FC236}">
                    <a16:creationId xmlns:a16="http://schemas.microsoft.com/office/drawing/2014/main" id="{9C1789EF-0F8B-90E6-023E-BF72AB711425}"/>
                  </a:ext>
                </a:extLst>
              </p:cNvPr>
              <p:cNvSpPr/>
              <p:nvPr/>
            </p:nvSpPr>
            <p:spPr>
              <a:xfrm>
                <a:off x="8020081" y="2265742"/>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598" name="Freeform 269">
                <a:extLst>
                  <a:ext uri="{FF2B5EF4-FFF2-40B4-BE49-F238E27FC236}">
                    <a16:creationId xmlns:a16="http://schemas.microsoft.com/office/drawing/2014/main" id="{97E59B1D-08FB-109F-A74B-CA5C3216E58C}"/>
                  </a:ext>
                </a:extLst>
              </p:cNvPr>
              <p:cNvSpPr/>
              <p:nvPr/>
            </p:nvSpPr>
            <p:spPr>
              <a:xfrm>
                <a:off x="8057662" y="2240438"/>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599" name="Freeform 270">
                <a:extLst>
                  <a:ext uri="{FF2B5EF4-FFF2-40B4-BE49-F238E27FC236}">
                    <a16:creationId xmlns:a16="http://schemas.microsoft.com/office/drawing/2014/main" id="{98F2C84C-CAFC-EDFC-D785-BE8072F6E975}"/>
                  </a:ext>
                </a:extLst>
              </p:cNvPr>
              <p:cNvSpPr/>
              <p:nvPr/>
            </p:nvSpPr>
            <p:spPr>
              <a:xfrm>
                <a:off x="8041131" y="2265742"/>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600" name="Freeform 271">
                <a:extLst>
                  <a:ext uri="{FF2B5EF4-FFF2-40B4-BE49-F238E27FC236}">
                    <a16:creationId xmlns:a16="http://schemas.microsoft.com/office/drawing/2014/main" id="{22E93F30-0D95-4245-EB88-3EF8626FFE5C}"/>
                  </a:ext>
                </a:extLst>
              </p:cNvPr>
              <p:cNvSpPr/>
              <p:nvPr/>
            </p:nvSpPr>
            <p:spPr>
              <a:xfrm>
                <a:off x="8078713" y="2240438"/>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601" name="Freeform 272">
                <a:extLst>
                  <a:ext uri="{FF2B5EF4-FFF2-40B4-BE49-F238E27FC236}">
                    <a16:creationId xmlns:a16="http://schemas.microsoft.com/office/drawing/2014/main" id="{127E5755-F3DB-7E7F-3257-5C27345C8137}"/>
                  </a:ext>
                </a:extLst>
              </p:cNvPr>
              <p:cNvSpPr/>
              <p:nvPr/>
            </p:nvSpPr>
            <p:spPr>
              <a:xfrm>
                <a:off x="8041131" y="2265742"/>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602" name="Freeform 273">
                <a:extLst>
                  <a:ext uri="{FF2B5EF4-FFF2-40B4-BE49-F238E27FC236}">
                    <a16:creationId xmlns:a16="http://schemas.microsoft.com/office/drawing/2014/main" id="{A2FEF5A4-21DF-6C55-DDAA-896AC849AFD4}"/>
                  </a:ext>
                </a:extLst>
              </p:cNvPr>
              <p:cNvSpPr/>
              <p:nvPr/>
            </p:nvSpPr>
            <p:spPr>
              <a:xfrm>
                <a:off x="8078713" y="2240438"/>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603" name="Freeform 274">
                <a:extLst>
                  <a:ext uri="{FF2B5EF4-FFF2-40B4-BE49-F238E27FC236}">
                    <a16:creationId xmlns:a16="http://schemas.microsoft.com/office/drawing/2014/main" id="{0A10E76D-4EE8-15E6-EBAC-7549B6A46E58}"/>
                  </a:ext>
                </a:extLst>
              </p:cNvPr>
              <p:cNvSpPr/>
              <p:nvPr/>
            </p:nvSpPr>
            <p:spPr>
              <a:xfrm>
                <a:off x="8048148" y="2265742"/>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604" name="Freeform 275">
                <a:extLst>
                  <a:ext uri="{FF2B5EF4-FFF2-40B4-BE49-F238E27FC236}">
                    <a16:creationId xmlns:a16="http://schemas.microsoft.com/office/drawing/2014/main" id="{AE27C683-F567-D6D0-5BA8-7AF01F3BB14A}"/>
                  </a:ext>
                </a:extLst>
              </p:cNvPr>
              <p:cNvSpPr/>
              <p:nvPr/>
            </p:nvSpPr>
            <p:spPr>
              <a:xfrm>
                <a:off x="8085729" y="2240438"/>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605" name="Freeform 276">
                <a:extLst>
                  <a:ext uri="{FF2B5EF4-FFF2-40B4-BE49-F238E27FC236}">
                    <a16:creationId xmlns:a16="http://schemas.microsoft.com/office/drawing/2014/main" id="{1E0D40F4-9FAC-1426-6558-CE0E0C18B916}"/>
                  </a:ext>
                </a:extLst>
              </p:cNvPr>
              <p:cNvSpPr/>
              <p:nvPr/>
            </p:nvSpPr>
            <p:spPr>
              <a:xfrm>
                <a:off x="8048148" y="2265742"/>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606" name="Freeform 277">
                <a:extLst>
                  <a:ext uri="{FF2B5EF4-FFF2-40B4-BE49-F238E27FC236}">
                    <a16:creationId xmlns:a16="http://schemas.microsoft.com/office/drawing/2014/main" id="{F34683B6-4ADB-3A44-1CD0-0AA41E08FDAB}"/>
                  </a:ext>
                </a:extLst>
              </p:cNvPr>
              <p:cNvSpPr/>
              <p:nvPr/>
            </p:nvSpPr>
            <p:spPr>
              <a:xfrm>
                <a:off x="8085729" y="2240438"/>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607" name="Freeform 278">
                <a:extLst>
                  <a:ext uri="{FF2B5EF4-FFF2-40B4-BE49-F238E27FC236}">
                    <a16:creationId xmlns:a16="http://schemas.microsoft.com/office/drawing/2014/main" id="{A4D36A06-4AE0-27AB-677F-2DA5F8E5BDD5}"/>
                  </a:ext>
                </a:extLst>
              </p:cNvPr>
              <p:cNvSpPr/>
              <p:nvPr/>
            </p:nvSpPr>
            <p:spPr>
              <a:xfrm>
                <a:off x="8062171" y="2265742"/>
                <a:ext cx="75173" cy="10583"/>
              </a:xfrm>
              <a:custGeom>
                <a:avLst/>
                <a:gdLst>
                  <a:gd name="connsiteX0" fmla="*/ 0 w 75173"/>
                  <a:gd name="connsiteY0" fmla="*/ 0 h 10583"/>
                  <a:gd name="connsiteX1" fmla="*/ 75173 w 75173"/>
                  <a:gd name="connsiteY1" fmla="*/ 0 h 10583"/>
                </a:gdLst>
                <a:ahLst/>
                <a:cxnLst>
                  <a:cxn ang="0">
                    <a:pos x="connsiteX0" y="connsiteY0"/>
                  </a:cxn>
                  <a:cxn ang="0">
                    <a:pos x="connsiteX1" y="connsiteY1"/>
                  </a:cxn>
                </a:cxnLst>
                <a:rect l="l" t="t" r="r" b="b"/>
                <a:pathLst>
                  <a:path w="75173" h="10583">
                    <a:moveTo>
                      <a:pt x="0" y="0"/>
                    </a:moveTo>
                    <a:lnTo>
                      <a:pt x="75173" y="0"/>
                    </a:lnTo>
                  </a:path>
                </a:pathLst>
              </a:custGeom>
              <a:ln w="12700" cap="sq">
                <a:solidFill>
                  <a:srgbClr val="002985"/>
                </a:solidFill>
                <a:prstDash val="solid"/>
                <a:miter/>
              </a:ln>
            </p:spPr>
            <p:txBody>
              <a:bodyPr rtlCol="0" anchor="ctr"/>
              <a:lstStyle/>
              <a:p>
                <a:endParaRPr lang="en-US" sz="1800"/>
              </a:p>
            </p:txBody>
          </p:sp>
          <p:sp>
            <p:nvSpPr>
              <p:cNvPr id="2608" name="Freeform 279">
                <a:extLst>
                  <a:ext uri="{FF2B5EF4-FFF2-40B4-BE49-F238E27FC236}">
                    <a16:creationId xmlns:a16="http://schemas.microsoft.com/office/drawing/2014/main" id="{F22AD2F4-DB65-8663-32B1-AC5DC933C679}"/>
                  </a:ext>
                </a:extLst>
              </p:cNvPr>
              <p:cNvSpPr/>
              <p:nvPr/>
            </p:nvSpPr>
            <p:spPr>
              <a:xfrm>
                <a:off x="8099752" y="2240438"/>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609" name="Freeform 280">
                <a:extLst>
                  <a:ext uri="{FF2B5EF4-FFF2-40B4-BE49-F238E27FC236}">
                    <a16:creationId xmlns:a16="http://schemas.microsoft.com/office/drawing/2014/main" id="{C647CEAA-9F0B-C84D-A6DA-C30F1254E47C}"/>
                  </a:ext>
                </a:extLst>
              </p:cNvPr>
              <p:cNvSpPr/>
              <p:nvPr/>
            </p:nvSpPr>
            <p:spPr>
              <a:xfrm>
                <a:off x="8069188" y="2265742"/>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610" name="Freeform 281">
                <a:extLst>
                  <a:ext uri="{FF2B5EF4-FFF2-40B4-BE49-F238E27FC236}">
                    <a16:creationId xmlns:a16="http://schemas.microsoft.com/office/drawing/2014/main" id="{F6A3483C-624B-84D5-85B9-C7ED8FEAC3B7}"/>
                  </a:ext>
                </a:extLst>
              </p:cNvPr>
              <p:cNvSpPr/>
              <p:nvPr/>
            </p:nvSpPr>
            <p:spPr>
              <a:xfrm>
                <a:off x="8106769" y="2240438"/>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611" name="Freeform 282">
                <a:extLst>
                  <a:ext uri="{FF2B5EF4-FFF2-40B4-BE49-F238E27FC236}">
                    <a16:creationId xmlns:a16="http://schemas.microsoft.com/office/drawing/2014/main" id="{0187197F-24D6-FED7-7A2F-ED416DF8CA30}"/>
                  </a:ext>
                </a:extLst>
              </p:cNvPr>
              <p:cNvSpPr/>
              <p:nvPr/>
            </p:nvSpPr>
            <p:spPr>
              <a:xfrm>
                <a:off x="8076204" y="2265742"/>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612" name="Freeform 283">
                <a:extLst>
                  <a:ext uri="{FF2B5EF4-FFF2-40B4-BE49-F238E27FC236}">
                    <a16:creationId xmlns:a16="http://schemas.microsoft.com/office/drawing/2014/main" id="{5CF08FE9-B9F0-D03B-5145-17613B6D6CEC}"/>
                  </a:ext>
                </a:extLst>
              </p:cNvPr>
              <p:cNvSpPr/>
              <p:nvPr/>
            </p:nvSpPr>
            <p:spPr>
              <a:xfrm>
                <a:off x="8113786" y="2240438"/>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613" name="Freeform 284">
                <a:extLst>
                  <a:ext uri="{FF2B5EF4-FFF2-40B4-BE49-F238E27FC236}">
                    <a16:creationId xmlns:a16="http://schemas.microsoft.com/office/drawing/2014/main" id="{71823534-A838-C131-61F7-B7DBE144110C}"/>
                  </a:ext>
                </a:extLst>
              </p:cNvPr>
              <p:cNvSpPr/>
              <p:nvPr/>
            </p:nvSpPr>
            <p:spPr>
              <a:xfrm>
                <a:off x="8097255" y="2265742"/>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614" name="Freeform 285">
                <a:extLst>
                  <a:ext uri="{FF2B5EF4-FFF2-40B4-BE49-F238E27FC236}">
                    <a16:creationId xmlns:a16="http://schemas.microsoft.com/office/drawing/2014/main" id="{F74C5C71-CBCB-7331-7843-1172762F00DA}"/>
                  </a:ext>
                </a:extLst>
              </p:cNvPr>
              <p:cNvSpPr/>
              <p:nvPr/>
            </p:nvSpPr>
            <p:spPr>
              <a:xfrm>
                <a:off x="8134836" y="2240438"/>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615" name="Freeform 286">
                <a:extLst>
                  <a:ext uri="{FF2B5EF4-FFF2-40B4-BE49-F238E27FC236}">
                    <a16:creationId xmlns:a16="http://schemas.microsoft.com/office/drawing/2014/main" id="{F23024A5-1519-6CD3-8874-C3D6242D8381}"/>
                  </a:ext>
                </a:extLst>
              </p:cNvPr>
              <p:cNvSpPr/>
              <p:nvPr/>
            </p:nvSpPr>
            <p:spPr>
              <a:xfrm>
                <a:off x="8104271" y="2265742"/>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616" name="Freeform 287">
                <a:extLst>
                  <a:ext uri="{FF2B5EF4-FFF2-40B4-BE49-F238E27FC236}">
                    <a16:creationId xmlns:a16="http://schemas.microsoft.com/office/drawing/2014/main" id="{DCA97C83-5954-F220-12AB-9A5B35F67537}"/>
                  </a:ext>
                </a:extLst>
              </p:cNvPr>
              <p:cNvSpPr/>
              <p:nvPr/>
            </p:nvSpPr>
            <p:spPr>
              <a:xfrm>
                <a:off x="8141853" y="2240438"/>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617" name="Freeform 288">
                <a:extLst>
                  <a:ext uri="{FF2B5EF4-FFF2-40B4-BE49-F238E27FC236}">
                    <a16:creationId xmlns:a16="http://schemas.microsoft.com/office/drawing/2014/main" id="{ADDE2D42-BE16-A8C0-8D83-83CE445A7968}"/>
                  </a:ext>
                </a:extLst>
              </p:cNvPr>
              <p:cNvSpPr/>
              <p:nvPr/>
            </p:nvSpPr>
            <p:spPr>
              <a:xfrm>
                <a:off x="8111277" y="2265742"/>
                <a:ext cx="75173" cy="10583"/>
              </a:xfrm>
              <a:custGeom>
                <a:avLst/>
                <a:gdLst>
                  <a:gd name="connsiteX0" fmla="*/ 0 w 75173"/>
                  <a:gd name="connsiteY0" fmla="*/ 0 h 10583"/>
                  <a:gd name="connsiteX1" fmla="*/ 75174 w 75173"/>
                  <a:gd name="connsiteY1" fmla="*/ 0 h 10583"/>
                </a:gdLst>
                <a:ahLst/>
                <a:cxnLst>
                  <a:cxn ang="0">
                    <a:pos x="connsiteX0" y="connsiteY0"/>
                  </a:cxn>
                  <a:cxn ang="0">
                    <a:pos x="connsiteX1" y="connsiteY1"/>
                  </a:cxn>
                </a:cxnLst>
                <a:rect l="l" t="t" r="r" b="b"/>
                <a:pathLst>
                  <a:path w="75173" h="10583">
                    <a:moveTo>
                      <a:pt x="0" y="0"/>
                    </a:moveTo>
                    <a:lnTo>
                      <a:pt x="75174" y="0"/>
                    </a:lnTo>
                  </a:path>
                </a:pathLst>
              </a:custGeom>
              <a:ln w="12700" cap="sq">
                <a:solidFill>
                  <a:srgbClr val="002985"/>
                </a:solidFill>
                <a:prstDash val="solid"/>
                <a:miter/>
              </a:ln>
            </p:spPr>
            <p:txBody>
              <a:bodyPr rtlCol="0" anchor="ctr"/>
              <a:lstStyle/>
              <a:p>
                <a:endParaRPr lang="en-US" sz="1800"/>
              </a:p>
            </p:txBody>
          </p:sp>
          <p:sp>
            <p:nvSpPr>
              <p:cNvPr id="2618" name="Freeform 289">
                <a:extLst>
                  <a:ext uri="{FF2B5EF4-FFF2-40B4-BE49-F238E27FC236}">
                    <a16:creationId xmlns:a16="http://schemas.microsoft.com/office/drawing/2014/main" id="{7CBD4589-4B13-13E6-3DFD-6C2883DAE352}"/>
                  </a:ext>
                </a:extLst>
              </p:cNvPr>
              <p:cNvSpPr/>
              <p:nvPr/>
            </p:nvSpPr>
            <p:spPr>
              <a:xfrm>
                <a:off x="8148859" y="2240438"/>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619" name="Freeform 290">
                <a:extLst>
                  <a:ext uri="{FF2B5EF4-FFF2-40B4-BE49-F238E27FC236}">
                    <a16:creationId xmlns:a16="http://schemas.microsoft.com/office/drawing/2014/main" id="{7A0932C4-4938-BC80-FA9D-49CED5A1DB04}"/>
                  </a:ext>
                </a:extLst>
              </p:cNvPr>
              <p:cNvSpPr/>
              <p:nvPr/>
            </p:nvSpPr>
            <p:spPr>
              <a:xfrm>
                <a:off x="8111277" y="2265742"/>
                <a:ext cx="75173" cy="10583"/>
              </a:xfrm>
              <a:custGeom>
                <a:avLst/>
                <a:gdLst>
                  <a:gd name="connsiteX0" fmla="*/ 0 w 75173"/>
                  <a:gd name="connsiteY0" fmla="*/ 0 h 10583"/>
                  <a:gd name="connsiteX1" fmla="*/ 75174 w 75173"/>
                  <a:gd name="connsiteY1" fmla="*/ 0 h 10583"/>
                </a:gdLst>
                <a:ahLst/>
                <a:cxnLst>
                  <a:cxn ang="0">
                    <a:pos x="connsiteX0" y="connsiteY0"/>
                  </a:cxn>
                  <a:cxn ang="0">
                    <a:pos x="connsiteX1" y="connsiteY1"/>
                  </a:cxn>
                </a:cxnLst>
                <a:rect l="l" t="t" r="r" b="b"/>
                <a:pathLst>
                  <a:path w="75173" h="10583">
                    <a:moveTo>
                      <a:pt x="0" y="0"/>
                    </a:moveTo>
                    <a:lnTo>
                      <a:pt x="75174" y="0"/>
                    </a:lnTo>
                  </a:path>
                </a:pathLst>
              </a:custGeom>
              <a:ln w="12700" cap="sq">
                <a:solidFill>
                  <a:srgbClr val="002985"/>
                </a:solidFill>
                <a:prstDash val="solid"/>
                <a:miter/>
              </a:ln>
            </p:spPr>
            <p:txBody>
              <a:bodyPr rtlCol="0" anchor="ctr"/>
              <a:lstStyle/>
              <a:p>
                <a:endParaRPr lang="en-US" sz="1800"/>
              </a:p>
            </p:txBody>
          </p:sp>
          <p:sp>
            <p:nvSpPr>
              <p:cNvPr id="2620" name="Freeform 291">
                <a:extLst>
                  <a:ext uri="{FF2B5EF4-FFF2-40B4-BE49-F238E27FC236}">
                    <a16:creationId xmlns:a16="http://schemas.microsoft.com/office/drawing/2014/main" id="{0F49DB93-9CC7-DA4D-CA48-C5E51A878C90}"/>
                  </a:ext>
                </a:extLst>
              </p:cNvPr>
              <p:cNvSpPr/>
              <p:nvPr/>
            </p:nvSpPr>
            <p:spPr>
              <a:xfrm>
                <a:off x="8148859" y="2240438"/>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621" name="Freeform 292">
                <a:extLst>
                  <a:ext uri="{FF2B5EF4-FFF2-40B4-BE49-F238E27FC236}">
                    <a16:creationId xmlns:a16="http://schemas.microsoft.com/office/drawing/2014/main" id="{4105F15E-807A-008F-9142-F9DFE68C54AC}"/>
                  </a:ext>
                </a:extLst>
              </p:cNvPr>
              <p:cNvSpPr/>
              <p:nvPr/>
            </p:nvSpPr>
            <p:spPr>
              <a:xfrm>
                <a:off x="8118294" y="2265742"/>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622" name="Freeform 293">
                <a:extLst>
                  <a:ext uri="{FF2B5EF4-FFF2-40B4-BE49-F238E27FC236}">
                    <a16:creationId xmlns:a16="http://schemas.microsoft.com/office/drawing/2014/main" id="{78DE32BF-71A6-964F-68F0-B86830A85F4E}"/>
                  </a:ext>
                </a:extLst>
              </p:cNvPr>
              <p:cNvSpPr/>
              <p:nvPr/>
            </p:nvSpPr>
            <p:spPr>
              <a:xfrm>
                <a:off x="8155876" y="2240438"/>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623" name="Freeform 294">
                <a:extLst>
                  <a:ext uri="{FF2B5EF4-FFF2-40B4-BE49-F238E27FC236}">
                    <a16:creationId xmlns:a16="http://schemas.microsoft.com/office/drawing/2014/main" id="{BCA8188C-B5BF-E498-ADE9-F2E9BED4A9F2}"/>
                  </a:ext>
                </a:extLst>
              </p:cNvPr>
              <p:cNvSpPr/>
              <p:nvPr/>
            </p:nvSpPr>
            <p:spPr>
              <a:xfrm>
                <a:off x="8146361" y="2295651"/>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624" name="Freeform 295">
                <a:extLst>
                  <a:ext uri="{FF2B5EF4-FFF2-40B4-BE49-F238E27FC236}">
                    <a16:creationId xmlns:a16="http://schemas.microsoft.com/office/drawing/2014/main" id="{2A7D9040-7B49-B75C-67A6-5425D512551D}"/>
                  </a:ext>
                </a:extLst>
              </p:cNvPr>
              <p:cNvSpPr/>
              <p:nvPr/>
            </p:nvSpPr>
            <p:spPr>
              <a:xfrm>
                <a:off x="8183943" y="2270346"/>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625" name="Freeform 296">
                <a:extLst>
                  <a:ext uri="{FF2B5EF4-FFF2-40B4-BE49-F238E27FC236}">
                    <a16:creationId xmlns:a16="http://schemas.microsoft.com/office/drawing/2014/main" id="{DE229A29-FABE-39BB-2767-F79D643A0E74}"/>
                  </a:ext>
                </a:extLst>
              </p:cNvPr>
              <p:cNvSpPr/>
              <p:nvPr/>
            </p:nvSpPr>
            <p:spPr>
              <a:xfrm>
                <a:off x="8146361" y="2295651"/>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626" name="Freeform 297">
                <a:extLst>
                  <a:ext uri="{FF2B5EF4-FFF2-40B4-BE49-F238E27FC236}">
                    <a16:creationId xmlns:a16="http://schemas.microsoft.com/office/drawing/2014/main" id="{37815B92-C48D-9EDF-FB9C-756BC2522B01}"/>
                  </a:ext>
                </a:extLst>
              </p:cNvPr>
              <p:cNvSpPr/>
              <p:nvPr/>
            </p:nvSpPr>
            <p:spPr>
              <a:xfrm>
                <a:off x="8183943" y="2270346"/>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627" name="Freeform 298">
                <a:extLst>
                  <a:ext uri="{FF2B5EF4-FFF2-40B4-BE49-F238E27FC236}">
                    <a16:creationId xmlns:a16="http://schemas.microsoft.com/office/drawing/2014/main" id="{22943ABC-60B3-C0C1-D64B-D5528AA2BEF1}"/>
                  </a:ext>
                </a:extLst>
              </p:cNvPr>
              <p:cNvSpPr/>
              <p:nvPr/>
            </p:nvSpPr>
            <p:spPr>
              <a:xfrm>
                <a:off x="8146361" y="2295651"/>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628" name="Freeform 299">
                <a:extLst>
                  <a:ext uri="{FF2B5EF4-FFF2-40B4-BE49-F238E27FC236}">
                    <a16:creationId xmlns:a16="http://schemas.microsoft.com/office/drawing/2014/main" id="{F70A08FC-7257-54E6-A5EB-51BD5205AB75}"/>
                  </a:ext>
                </a:extLst>
              </p:cNvPr>
              <p:cNvSpPr/>
              <p:nvPr/>
            </p:nvSpPr>
            <p:spPr>
              <a:xfrm>
                <a:off x="8183943" y="2270346"/>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629" name="Freeform 300">
                <a:extLst>
                  <a:ext uri="{FF2B5EF4-FFF2-40B4-BE49-F238E27FC236}">
                    <a16:creationId xmlns:a16="http://schemas.microsoft.com/office/drawing/2014/main" id="{76224844-8987-8403-1C18-2A53A750A18A}"/>
                  </a:ext>
                </a:extLst>
              </p:cNvPr>
              <p:cNvSpPr/>
              <p:nvPr/>
            </p:nvSpPr>
            <p:spPr>
              <a:xfrm>
                <a:off x="8153378" y="2295651"/>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630" name="Freeform 301">
                <a:extLst>
                  <a:ext uri="{FF2B5EF4-FFF2-40B4-BE49-F238E27FC236}">
                    <a16:creationId xmlns:a16="http://schemas.microsoft.com/office/drawing/2014/main" id="{1E7ED000-BC54-6017-43A1-B743BCF25E4C}"/>
                  </a:ext>
                </a:extLst>
              </p:cNvPr>
              <p:cNvSpPr/>
              <p:nvPr/>
            </p:nvSpPr>
            <p:spPr>
              <a:xfrm>
                <a:off x="8190959" y="2270346"/>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631" name="Freeform 302">
                <a:extLst>
                  <a:ext uri="{FF2B5EF4-FFF2-40B4-BE49-F238E27FC236}">
                    <a16:creationId xmlns:a16="http://schemas.microsoft.com/office/drawing/2014/main" id="{40D6205E-30AD-ABEF-33B7-801A03D7CA3B}"/>
                  </a:ext>
                </a:extLst>
              </p:cNvPr>
              <p:cNvSpPr/>
              <p:nvPr/>
            </p:nvSpPr>
            <p:spPr>
              <a:xfrm>
                <a:off x="8153378" y="2295651"/>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632" name="Freeform 303">
                <a:extLst>
                  <a:ext uri="{FF2B5EF4-FFF2-40B4-BE49-F238E27FC236}">
                    <a16:creationId xmlns:a16="http://schemas.microsoft.com/office/drawing/2014/main" id="{D56A2595-C605-1F93-1AC5-C317F3306112}"/>
                  </a:ext>
                </a:extLst>
              </p:cNvPr>
              <p:cNvSpPr/>
              <p:nvPr/>
            </p:nvSpPr>
            <p:spPr>
              <a:xfrm>
                <a:off x="8190959" y="2270346"/>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633" name="Freeform 304">
                <a:extLst>
                  <a:ext uri="{FF2B5EF4-FFF2-40B4-BE49-F238E27FC236}">
                    <a16:creationId xmlns:a16="http://schemas.microsoft.com/office/drawing/2014/main" id="{00497F79-4A57-B944-5B1F-79AFBB91AC6E}"/>
                  </a:ext>
                </a:extLst>
              </p:cNvPr>
              <p:cNvSpPr/>
              <p:nvPr/>
            </p:nvSpPr>
            <p:spPr>
              <a:xfrm>
                <a:off x="8160395" y="2295651"/>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634" name="Freeform 305">
                <a:extLst>
                  <a:ext uri="{FF2B5EF4-FFF2-40B4-BE49-F238E27FC236}">
                    <a16:creationId xmlns:a16="http://schemas.microsoft.com/office/drawing/2014/main" id="{07162631-2B2D-0F49-8D67-421918EF31DE}"/>
                  </a:ext>
                </a:extLst>
              </p:cNvPr>
              <p:cNvSpPr/>
              <p:nvPr/>
            </p:nvSpPr>
            <p:spPr>
              <a:xfrm>
                <a:off x="8197976" y="2270346"/>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635" name="Freeform 306">
                <a:extLst>
                  <a:ext uri="{FF2B5EF4-FFF2-40B4-BE49-F238E27FC236}">
                    <a16:creationId xmlns:a16="http://schemas.microsoft.com/office/drawing/2014/main" id="{AF40F5FC-C43F-D9DC-0A44-D60A1AC3E645}"/>
                  </a:ext>
                </a:extLst>
              </p:cNvPr>
              <p:cNvSpPr/>
              <p:nvPr/>
            </p:nvSpPr>
            <p:spPr>
              <a:xfrm>
                <a:off x="8174418" y="2295651"/>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636" name="Freeform 307">
                <a:extLst>
                  <a:ext uri="{FF2B5EF4-FFF2-40B4-BE49-F238E27FC236}">
                    <a16:creationId xmlns:a16="http://schemas.microsoft.com/office/drawing/2014/main" id="{0EBF46E4-7F70-73DD-8998-95963504B26B}"/>
                  </a:ext>
                </a:extLst>
              </p:cNvPr>
              <p:cNvSpPr/>
              <p:nvPr/>
            </p:nvSpPr>
            <p:spPr>
              <a:xfrm>
                <a:off x="8211999" y="2270346"/>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637" name="Freeform 308">
                <a:extLst>
                  <a:ext uri="{FF2B5EF4-FFF2-40B4-BE49-F238E27FC236}">
                    <a16:creationId xmlns:a16="http://schemas.microsoft.com/office/drawing/2014/main" id="{4CBDEC48-FDA8-8384-1809-9CC86166CDC3}"/>
                  </a:ext>
                </a:extLst>
              </p:cNvPr>
              <p:cNvSpPr/>
              <p:nvPr/>
            </p:nvSpPr>
            <p:spPr>
              <a:xfrm>
                <a:off x="8181434" y="2295651"/>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638" name="Freeform 309">
                <a:extLst>
                  <a:ext uri="{FF2B5EF4-FFF2-40B4-BE49-F238E27FC236}">
                    <a16:creationId xmlns:a16="http://schemas.microsoft.com/office/drawing/2014/main" id="{3056DC20-CBC1-1AC5-774D-D69C3AA773BC}"/>
                  </a:ext>
                </a:extLst>
              </p:cNvPr>
              <p:cNvSpPr/>
              <p:nvPr/>
            </p:nvSpPr>
            <p:spPr>
              <a:xfrm>
                <a:off x="8219016" y="2270346"/>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639" name="Freeform 310">
                <a:extLst>
                  <a:ext uri="{FF2B5EF4-FFF2-40B4-BE49-F238E27FC236}">
                    <a16:creationId xmlns:a16="http://schemas.microsoft.com/office/drawing/2014/main" id="{AC573F3F-5620-861D-E542-5C07687CACAA}"/>
                  </a:ext>
                </a:extLst>
              </p:cNvPr>
              <p:cNvSpPr/>
              <p:nvPr/>
            </p:nvSpPr>
            <p:spPr>
              <a:xfrm>
                <a:off x="8209501" y="2295651"/>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640" name="Freeform 311">
                <a:extLst>
                  <a:ext uri="{FF2B5EF4-FFF2-40B4-BE49-F238E27FC236}">
                    <a16:creationId xmlns:a16="http://schemas.microsoft.com/office/drawing/2014/main" id="{AC6814BE-28D3-23DF-4689-0F1685286522}"/>
                  </a:ext>
                </a:extLst>
              </p:cNvPr>
              <p:cNvSpPr/>
              <p:nvPr/>
            </p:nvSpPr>
            <p:spPr>
              <a:xfrm>
                <a:off x="8247083" y="2270346"/>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641" name="Freeform 312">
                <a:extLst>
                  <a:ext uri="{FF2B5EF4-FFF2-40B4-BE49-F238E27FC236}">
                    <a16:creationId xmlns:a16="http://schemas.microsoft.com/office/drawing/2014/main" id="{BA731E83-DB42-ACD1-3517-1097AA70E00D}"/>
                  </a:ext>
                </a:extLst>
              </p:cNvPr>
              <p:cNvSpPr/>
              <p:nvPr/>
            </p:nvSpPr>
            <p:spPr>
              <a:xfrm>
                <a:off x="8251591" y="2295651"/>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642" name="Freeform 313">
                <a:extLst>
                  <a:ext uri="{FF2B5EF4-FFF2-40B4-BE49-F238E27FC236}">
                    <a16:creationId xmlns:a16="http://schemas.microsoft.com/office/drawing/2014/main" id="{D5750B35-DE14-45BB-528B-7BD767D66AF9}"/>
                  </a:ext>
                </a:extLst>
              </p:cNvPr>
              <p:cNvSpPr/>
              <p:nvPr/>
            </p:nvSpPr>
            <p:spPr>
              <a:xfrm>
                <a:off x="8289173" y="2270346"/>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643" name="Freeform 314">
                <a:extLst>
                  <a:ext uri="{FF2B5EF4-FFF2-40B4-BE49-F238E27FC236}">
                    <a16:creationId xmlns:a16="http://schemas.microsoft.com/office/drawing/2014/main" id="{9A00C82A-71F1-7FAD-0EFC-09A5C3C44650}"/>
                  </a:ext>
                </a:extLst>
              </p:cNvPr>
              <p:cNvSpPr/>
              <p:nvPr/>
            </p:nvSpPr>
            <p:spPr>
              <a:xfrm>
                <a:off x="8279648" y="2295651"/>
                <a:ext cx="75173" cy="10583"/>
              </a:xfrm>
              <a:custGeom>
                <a:avLst/>
                <a:gdLst>
                  <a:gd name="connsiteX0" fmla="*/ 0 w 75173"/>
                  <a:gd name="connsiteY0" fmla="*/ 0 h 10583"/>
                  <a:gd name="connsiteX1" fmla="*/ 75173 w 75173"/>
                  <a:gd name="connsiteY1" fmla="*/ 0 h 10583"/>
                </a:gdLst>
                <a:ahLst/>
                <a:cxnLst>
                  <a:cxn ang="0">
                    <a:pos x="connsiteX0" y="connsiteY0"/>
                  </a:cxn>
                  <a:cxn ang="0">
                    <a:pos x="connsiteX1" y="connsiteY1"/>
                  </a:cxn>
                </a:cxnLst>
                <a:rect l="l" t="t" r="r" b="b"/>
                <a:pathLst>
                  <a:path w="75173" h="10583">
                    <a:moveTo>
                      <a:pt x="0" y="0"/>
                    </a:moveTo>
                    <a:lnTo>
                      <a:pt x="75173" y="0"/>
                    </a:lnTo>
                  </a:path>
                </a:pathLst>
              </a:custGeom>
              <a:ln w="12700" cap="sq">
                <a:solidFill>
                  <a:srgbClr val="002985"/>
                </a:solidFill>
                <a:prstDash val="solid"/>
                <a:miter/>
              </a:ln>
            </p:spPr>
            <p:txBody>
              <a:bodyPr rtlCol="0" anchor="ctr"/>
              <a:lstStyle/>
              <a:p>
                <a:endParaRPr lang="en-US" sz="1800"/>
              </a:p>
            </p:txBody>
          </p:sp>
          <p:sp>
            <p:nvSpPr>
              <p:cNvPr id="2644" name="Freeform 315">
                <a:extLst>
                  <a:ext uri="{FF2B5EF4-FFF2-40B4-BE49-F238E27FC236}">
                    <a16:creationId xmlns:a16="http://schemas.microsoft.com/office/drawing/2014/main" id="{FF467F89-C51F-8272-69BC-1D77D77D3765}"/>
                  </a:ext>
                </a:extLst>
              </p:cNvPr>
              <p:cNvSpPr/>
              <p:nvPr/>
            </p:nvSpPr>
            <p:spPr>
              <a:xfrm>
                <a:off x="8317229" y="2270346"/>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645" name="Freeform 316">
                <a:extLst>
                  <a:ext uri="{FF2B5EF4-FFF2-40B4-BE49-F238E27FC236}">
                    <a16:creationId xmlns:a16="http://schemas.microsoft.com/office/drawing/2014/main" id="{7E714379-6981-B004-95BE-86ED0393BF5C}"/>
                  </a:ext>
                </a:extLst>
              </p:cNvPr>
              <p:cNvSpPr/>
              <p:nvPr/>
            </p:nvSpPr>
            <p:spPr>
              <a:xfrm>
                <a:off x="8279648" y="2295651"/>
                <a:ext cx="75173" cy="10583"/>
              </a:xfrm>
              <a:custGeom>
                <a:avLst/>
                <a:gdLst>
                  <a:gd name="connsiteX0" fmla="*/ 0 w 75173"/>
                  <a:gd name="connsiteY0" fmla="*/ 0 h 10583"/>
                  <a:gd name="connsiteX1" fmla="*/ 75173 w 75173"/>
                  <a:gd name="connsiteY1" fmla="*/ 0 h 10583"/>
                </a:gdLst>
                <a:ahLst/>
                <a:cxnLst>
                  <a:cxn ang="0">
                    <a:pos x="connsiteX0" y="connsiteY0"/>
                  </a:cxn>
                  <a:cxn ang="0">
                    <a:pos x="connsiteX1" y="connsiteY1"/>
                  </a:cxn>
                </a:cxnLst>
                <a:rect l="l" t="t" r="r" b="b"/>
                <a:pathLst>
                  <a:path w="75173" h="10583">
                    <a:moveTo>
                      <a:pt x="0" y="0"/>
                    </a:moveTo>
                    <a:lnTo>
                      <a:pt x="75173" y="0"/>
                    </a:lnTo>
                  </a:path>
                </a:pathLst>
              </a:custGeom>
              <a:ln w="12700" cap="sq">
                <a:solidFill>
                  <a:srgbClr val="002985"/>
                </a:solidFill>
                <a:prstDash val="solid"/>
                <a:miter/>
              </a:ln>
            </p:spPr>
            <p:txBody>
              <a:bodyPr rtlCol="0" anchor="ctr"/>
              <a:lstStyle/>
              <a:p>
                <a:endParaRPr lang="en-US" sz="1800"/>
              </a:p>
            </p:txBody>
          </p:sp>
          <p:sp>
            <p:nvSpPr>
              <p:cNvPr id="2646" name="Freeform 317">
                <a:extLst>
                  <a:ext uri="{FF2B5EF4-FFF2-40B4-BE49-F238E27FC236}">
                    <a16:creationId xmlns:a16="http://schemas.microsoft.com/office/drawing/2014/main" id="{9B99AF07-5618-0C54-EF89-5C39FA60E557}"/>
                  </a:ext>
                </a:extLst>
              </p:cNvPr>
              <p:cNvSpPr/>
              <p:nvPr/>
            </p:nvSpPr>
            <p:spPr>
              <a:xfrm>
                <a:off x="8317229" y="2270346"/>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647" name="Freeform 318">
                <a:extLst>
                  <a:ext uri="{FF2B5EF4-FFF2-40B4-BE49-F238E27FC236}">
                    <a16:creationId xmlns:a16="http://schemas.microsoft.com/office/drawing/2014/main" id="{56BD5D7C-2856-25F1-21A8-3CE806CD6477}"/>
                  </a:ext>
                </a:extLst>
              </p:cNvPr>
              <p:cNvSpPr/>
              <p:nvPr/>
            </p:nvSpPr>
            <p:spPr>
              <a:xfrm>
                <a:off x="8314732" y="2295651"/>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648" name="Freeform 319">
                <a:extLst>
                  <a:ext uri="{FF2B5EF4-FFF2-40B4-BE49-F238E27FC236}">
                    <a16:creationId xmlns:a16="http://schemas.microsoft.com/office/drawing/2014/main" id="{6560A268-1820-1FBE-DE16-5F3948C8BE4B}"/>
                  </a:ext>
                </a:extLst>
              </p:cNvPr>
              <p:cNvSpPr/>
              <p:nvPr/>
            </p:nvSpPr>
            <p:spPr>
              <a:xfrm>
                <a:off x="8352313" y="2270346"/>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649" name="Freeform 320">
                <a:extLst>
                  <a:ext uri="{FF2B5EF4-FFF2-40B4-BE49-F238E27FC236}">
                    <a16:creationId xmlns:a16="http://schemas.microsoft.com/office/drawing/2014/main" id="{C7409165-60D4-2EF1-BF54-51D870795E7D}"/>
                  </a:ext>
                </a:extLst>
              </p:cNvPr>
              <p:cNvSpPr/>
              <p:nvPr/>
            </p:nvSpPr>
            <p:spPr>
              <a:xfrm>
                <a:off x="8342788" y="2295651"/>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650" name="Freeform 321">
                <a:extLst>
                  <a:ext uri="{FF2B5EF4-FFF2-40B4-BE49-F238E27FC236}">
                    <a16:creationId xmlns:a16="http://schemas.microsoft.com/office/drawing/2014/main" id="{FD5FBA04-1AF1-6C75-DAAA-F3D91CE717C5}"/>
                  </a:ext>
                </a:extLst>
              </p:cNvPr>
              <p:cNvSpPr/>
              <p:nvPr/>
            </p:nvSpPr>
            <p:spPr>
              <a:xfrm>
                <a:off x="8380369" y="2270346"/>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651" name="Freeform 322">
                <a:extLst>
                  <a:ext uri="{FF2B5EF4-FFF2-40B4-BE49-F238E27FC236}">
                    <a16:creationId xmlns:a16="http://schemas.microsoft.com/office/drawing/2014/main" id="{EBA3288E-2CA1-FF72-8D1B-4EA6855AA14D}"/>
                  </a:ext>
                </a:extLst>
              </p:cNvPr>
              <p:cNvSpPr/>
              <p:nvPr/>
            </p:nvSpPr>
            <p:spPr>
              <a:xfrm>
                <a:off x="8349805" y="2295651"/>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652" name="Freeform 323">
                <a:extLst>
                  <a:ext uri="{FF2B5EF4-FFF2-40B4-BE49-F238E27FC236}">
                    <a16:creationId xmlns:a16="http://schemas.microsoft.com/office/drawing/2014/main" id="{2FF44375-07BD-4DC3-EC0B-89E9157962D9}"/>
                  </a:ext>
                </a:extLst>
              </p:cNvPr>
              <p:cNvSpPr/>
              <p:nvPr/>
            </p:nvSpPr>
            <p:spPr>
              <a:xfrm>
                <a:off x="8387386" y="2270346"/>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653" name="Freeform 324">
                <a:extLst>
                  <a:ext uri="{FF2B5EF4-FFF2-40B4-BE49-F238E27FC236}">
                    <a16:creationId xmlns:a16="http://schemas.microsoft.com/office/drawing/2014/main" id="{6F451F8C-6E0C-D08F-9556-B7ADE9C70705}"/>
                  </a:ext>
                </a:extLst>
              </p:cNvPr>
              <p:cNvSpPr/>
              <p:nvPr/>
            </p:nvSpPr>
            <p:spPr>
              <a:xfrm>
                <a:off x="8363838" y="2295651"/>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654" name="Freeform 325">
                <a:extLst>
                  <a:ext uri="{FF2B5EF4-FFF2-40B4-BE49-F238E27FC236}">
                    <a16:creationId xmlns:a16="http://schemas.microsoft.com/office/drawing/2014/main" id="{C98CF54B-1EBB-A2F1-D8BE-3E9080E69A17}"/>
                  </a:ext>
                </a:extLst>
              </p:cNvPr>
              <p:cNvSpPr/>
              <p:nvPr/>
            </p:nvSpPr>
            <p:spPr>
              <a:xfrm>
                <a:off x="8401420" y="2270346"/>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655" name="Freeform 326">
                <a:extLst>
                  <a:ext uri="{FF2B5EF4-FFF2-40B4-BE49-F238E27FC236}">
                    <a16:creationId xmlns:a16="http://schemas.microsoft.com/office/drawing/2014/main" id="{72391DA5-4A39-CC0A-A63D-283D594CC977}"/>
                  </a:ext>
                </a:extLst>
              </p:cNvPr>
              <p:cNvSpPr/>
              <p:nvPr/>
            </p:nvSpPr>
            <p:spPr>
              <a:xfrm>
                <a:off x="8391895" y="2295651"/>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656" name="Freeform 327">
                <a:extLst>
                  <a:ext uri="{FF2B5EF4-FFF2-40B4-BE49-F238E27FC236}">
                    <a16:creationId xmlns:a16="http://schemas.microsoft.com/office/drawing/2014/main" id="{7E0A3C27-F2A7-74AC-52D5-D765CA8B17DB}"/>
                  </a:ext>
                </a:extLst>
              </p:cNvPr>
              <p:cNvSpPr/>
              <p:nvPr/>
            </p:nvSpPr>
            <p:spPr>
              <a:xfrm>
                <a:off x="8429476" y="2270346"/>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657" name="Freeform 328">
                <a:extLst>
                  <a:ext uri="{FF2B5EF4-FFF2-40B4-BE49-F238E27FC236}">
                    <a16:creationId xmlns:a16="http://schemas.microsoft.com/office/drawing/2014/main" id="{F3482C4E-8B31-401A-B964-9C98D24C2F3F}"/>
                  </a:ext>
                </a:extLst>
              </p:cNvPr>
              <p:cNvSpPr/>
              <p:nvPr/>
            </p:nvSpPr>
            <p:spPr>
              <a:xfrm>
                <a:off x="8391895" y="2295651"/>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658" name="Freeform 329">
                <a:extLst>
                  <a:ext uri="{FF2B5EF4-FFF2-40B4-BE49-F238E27FC236}">
                    <a16:creationId xmlns:a16="http://schemas.microsoft.com/office/drawing/2014/main" id="{9DF04BC7-628E-EACA-6C7B-04AB345B8752}"/>
                  </a:ext>
                </a:extLst>
              </p:cNvPr>
              <p:cNvSpPr/>
              <p:nvPr/>
            </p:nvSpPr>
            <p:spPr>
              <a:xfrm>
                <a:off x="8429476" y="2270346"/>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659" name="Freeform 330">
                <a:extLst>
                  <a:ext uri="{FF2B5EF4-FFF2-40B4-BE49-F238E27FC236}">
                    <a16:creationId xmlns:a16="http://schemas.microsoft.com/office/drawing/2014/main" id="{55D6B687-1EB7-F0DD-969C-7F9B38337F67}"/>
                  </a:ext>
                </a:extLst>
              </p:cNvPr>
              <p:cNvSpPr/>
              <p:nvPr/>
            </p:nvSpPr>
            <p:spPr>
              <a:xfrm>
                <a:off x="8419962" y="2295651"/>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660" name="Freeform 331">
                <a:extLst>
                  <a:ext uri="{FF2B5EF4-FFF2-40B4-BE49-F238E27FC236}">
                    <a16:creationId xmlns:a16="http://schemas.microsoft.com/office/drawing/2014/main" id="{36041175-B98F-B658-CE31-E94FFCB5BA9F}"/>
                  </a:ext>
                </a:extLst>
              </p:cNvPr>
              <p:cNvSpPr/>
              <p:nvPr/>
            </p:nvSpPr>
            <p:spPr>
              <a:xfrm>
                <a:off x="8457543" y="2270346"/>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661" name="Freeform 332">
                <a:extLst>
                  <a:ext uri="{FF2B5EF4-FFF2-40B4-BE49-F238E27FC236}">
                    <a16:creationId xmlns:a16="http://schemas.microsoft.com/office/drawing/2014/main" id="{C2F23BC1-59C1-FFBD-6A67-92F67E24DA3F}"/>
                  </a:ext>
                </a:extLst>
              </p:cNvPr>
              <p:cNvSpPr/>
              <p:nvPr/>
            </p:nvSpPr>
            <p:spPr>
              <a:xfrm>
                <a:off x="8490108" y="2295651"/>
                <a:ext cx="75173" cy="10583"/>
              </a:xfrm>
              <a:custGeom>
                <a:avLst/>
                <a:gdLst>
                  <a:gd name="connsiteX0" fmla="*/ 0 w 75173"/>
                  <a:gd name="connsiteY0" fmla="*/ 0 h 10583"/>
                  <a:gd name="connsiteX1" fmla="*/ 75173 w 75173"/>
                  <a:gd name="connsiteY1" fmla="*/ 0 h 10583"/>
                </a:gdLst>
                <a:ahLst/>
                <a:cxnLst>
                  <a:cxn ang="0">
                    <a:pos x="connsiteX0" y="connsiteY0"/>
                  </a:cxn>
                  <a:cxn ang="0">
                    <a:pos x="connsiteX1" y="connsiteY1"/>
                  </a:cxn>
                </a:cxnLst>
                <a:rect l="l" t="t" r="r" b="b"/>
                <a:pathLst>
                  <a:path w="75173" h="10583">
                    <a:moveTo>
                      <a:pt x="0" y="0"/>
                    </a:moveTo>
                    <a:lnTo>
                      <a:pt x="75173" y="0"/>
                    </a:lnTo>
                  </a:path>
                </a:pathLst>
              </a:custGeom>
              <a:ln w="12700" cap="sq">
                <a:solidFill>
                  <a:srgbClr val="002985"/>
                </a:solidFill>
                <a:prstDash val="solid"/>
                <a:miter/>
              </a:ln>
            </p:spPr>
            <p:txBody>
              <a:bodyPr rtlCol="0" anchor="ctr"/>
              <a:lstStyle/>
              <a:p>
                <a:endParaRPr lang="en-US" sz="1800"/>
              </a:p>
            </p:txBody>
          </p:sp>
          <p:sp>
            <p:nvSpPr>
              <p:cNvPr id="2662" name="Freeform 333">
                <a:extLst>
                  <a:ext uri="{FF2B5EF4-FFF2-40B4-BE49-F238E27FC236}">
                    <a16:creationId xmlns:a16="http://schemas.microsoft.com/office/drawing/2014/main" id="{E6BD9A9B-7166-17EC-AE44-3B21C099BFE7}"/>
                  </a:ext>
                </a:extLst>
              </p:cNvPr>
              <p:cNvSpPr/>
              <p:nvPr/>
            </p:nvSpPr>
            <p:spPr>
              <a:xfrm>
                <a:off x="8527700" y="2270346"/>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663" name="Freeform 334">
                <a:extLst>
                  <a:ext uri="{FF2B5EF4-FFF2-40B4-BE49-F238E27FC236}">
                    <a16:creationId xmlns:a16="http://schemas.microsoft.com/office/drawing/2014/main" id="{82A8BAFD-D6FD-C353-BAF7-7BD523D5639E}"/>
                  </a:ext>
                </a:extLst>
              </p:cNvPr>
              <p:cNvSpPr/>
              <p:nvPr/>
            </p:nvSpPr>
            <p:spPr>
              <a:xfrm>
                <a:off x="8504141" y="2295651"/>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664" name="Freeform 335">
                <a:extLst>
                  <a:ext uri="{FF2B5EF4-FFF2-40B4-BE49-F238E27FC236}">
                    <a16:creationId xmlns:a16="http://schemas.microsoft.com/office/drawing/2014/main" id="{D9A4E4EB-9528-876D-0B7D-820E3BD77DCC}"/>
                  </a:ext>
                </a:extLst>
              </p:cNvPr>
              <p:cNvSpPr/>
              <p:nvPr/>
            </p:nvSpPr>
            <p:spPr>
              <a:xfrm>
                <a:off x="8541723" y="2270346"/>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665" name="Freeform 336">
                <a:extLst>
                  <a:ext uri="{FF2B5EF4-FFF2-40B4-BE49-F238E27FC236}">
                    <a16:creationId xmlns:a16="http://schemas.microsoft.com/office/drawing/2014/main" id="{658B2373-F24E-265E-9045-FD8F1DEF1B08}"/>
                  </a:ext>
                </a:extLst>
              </p:cNvPr>
              <p:cNvSpPr/>
              <p:nvPr/>
            </p:nvSpPr>
            <p:spPr>
              <a:xfrm>
                <a:off x="8518175" y="2295651"/>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666" name="Freeform 337">
                <a:extLst>
                  <a:ext uri="{FF2B5EF4-FFF2-40B4-BE49-F238E27FC236}">
                    <a16:creationId xmlns:a16="http://schemas.microsoft.com/office/drawing/2014/main" id="{9AB24488-EBA6-B6B2-60B7-033E57C4B847}"/>
                  </a:ext>
                </a:extLst>
              </p:cNvPr>
              <p:cNvSpPr/>
              <p:nvPr/>
            </p:nvSpPr>
            <p:spPr>
              <a:xfrm>
                <a:off x="8555756" y="2270346"/>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667" name="Freeform 338">
                <a:extLst>
                  <a:ext uri="{FF2B5EF4-FFF2-40B4-BE49-F238E27FC236}">
                    <a16:creationId xmlns:a16="http://schemas.microsoft.com/office/drawing/2014/main" id="{B10BC0E0-4E40-56BF-F02C-465F47D8C3AC}"/>
                  </a:ext>
                </a:extLst>
              </p:cNvPr>
              <p:cNvSpPr/>
              <p:nvPr/>
            </p:nvSpPr>
            <p:spPr>
              <a:xfrm>
                <a:off x="8539225" y="2336016"/>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668" name="Freeform 339">
                <a:extLst>
                  <a:ext uri="{FF2B5EF4-FFF2-40B4-BE49-F238E27FC236}">
                    <a16:creationId xmlns:a16="http://schemas.microsoft.com/office/drawing/2014/main" id="{F0C29110-6617-9FD3-C142-CDF0B945B4D4}"/>
                  </a:ext>
                </a:extLst>
              </p:cNvPr>
              <p:cNvSpPr/>
              <p:nvPr/>
            </p:nvSpPr>
            <p:spPr>
              <a:xfrm>
                <a:off x="8576807" y="231071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669" name="Freeform 340">
                <a:extLst>
                  <a:ext uri="{FF2B5EF4-FFF2-40B4-BE49-F238E27FC236}">
                    <a16:creationId xmlns:a16="http://schemas.microsoft.com/office/drawing/2014/main" id="{167E3360-0DE3-855C-A3DF-A35561207F32}"/>
                  </a:ext>
                </a:extLst>
              </p:cNvPr>
              <p:cNvSpPr/>
              <p:nvPr/>
            </p:nvSpPr>
            <p:spPr>
              <a:xfrm>
                <a:off x="8560265" y="2336016"/>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670" name="Freeform 341">
                <a:extLst>
                  <a:ext uri="{FF2B5EF4-FFF2-40B4-BE49-F238E27FC236}">
                    <a16:creationId xmlns:a16="http://schemas.microsoft.com/office/drawing/2014/main" id="{0A4AA365-8476-7AA5-B283-737EE1E6408A}"/>
                  </a:ext>
                </a:extLst>
              </p:cNvPr>
              <p:cNvSpPr/>
              <p:nvPr/>
            </p:nvSpPr>
            <p:spPr>
              <a:xfrm>
                <a:off x="8597846" y="231071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671" name="Freeform 342">
                <a:extLst>
                  <a:ext uri="{FF2B5EF4-FFF2-40B4-BE49-F238E27FC236}">
                    <a16:creationId xmlns:a16="http://schemas.microsoft.com/office/drawing/2014/main" id="{D06A2F89-CE90-7BD7-2031-B7C7397CF6FA}"/>
                  </a:ext>
                </a:extLst>
              </p:cNvPr>
              <p:cNvSpPr/>
              <p:nvPr/>
            </p:nvSpPr>
            <p:spPr>
              <a:xfrm>
                <a:off x="8588332" y="2336016"/>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672" name="Freeform 343">
                <a:extLst>
                  <a:ext uri="{FF2B5EF4-FFF2-40B4-BE49-F238E27FC236}">
                    <a16:creationId xmlns:a16="http://schemas.microsoft.com/office/drawing/2014/main" id="{F5BD1D47-7CEC-1369-05C3-AF261E0895C4}"/>
                  </a:ext>
                </a:extLst>
              </p:cNvPr>
              <p:cNvSpPr/>
              <p:nvPr/>
            </p:nvSpPr>
            <p:spPr>
              <a:xfrm>
                <a:off x="8625913" y="231071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673" name="Freeform 344">
                <a:extLst>
                  <a:ext uri="{FF2B5EF4-FFF2-40B4-BE49-F238E27FC236}">
                    <a16:creationId xmlns:a16="http://schemas.microsoft.com/office/drawing/2014/main" id="{EFA58CD5-93B4-BD41-AECF-04C99BD1142D}"/>
                  </a:ext>
                </a:extLst>
              </p:cNvPr>
              <p:cNvSpPr/>
              <p:nvPr/>
            </p:nvSpPr>
            <p:spPr>
              <a:xfrm>
                <a:off x="8609372" y="2336016"/>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674" name="Freeform 345">
                <a:extLst>
                  <a:ext uri="{FF2B5EF4-FFF2-40B4-BE49-F238E27FC236}">
                    <a16:creationId xmlns:a16="http://schemas.microsoft.com/office/drawing/2014/main" id="{FA33BCF8-7A0A-E000-5205-4C9D55B28830}"/>
                  </a:ext>
                </a:extLst>
              </p:cNvPr>
              <p:cNvSpPr/>
              <p:nvPr/>
            </p:nvSpPr>
            <p:spPr>
              <a:xfrm>
                <a:off x="8646953" y="231071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675" name="Freeform 346">
                <a:extLst>
                  <a:ext uri="{FF2B5EF4-FFF2-40B4-BE49-F238E27FC236}">
                    <a16:creationId xmlns:a16="http://schemas.microsoft.com/office/drawing/2014/main" id="{B48B2200-DEFF-CEF8-0627-AA79C3B92CAA}"/>
                  </a:ext>
                </a:extLst>
              </p:cNvPr>
              <p:cNvSpPr/>
              <p:nvPr/>
            </p:nvSpPr>
            <p:spPr>
              <a:xfrm>
                <a:off x="8637439" y="2336016"/>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676" name="Freeform 347">
                <a:extLst>
                  <a:ext uri="{FF2B5EF4-FFF2-40B4-BE49-F238E27FC236}">
                    <a16:creationId xmlns:a16="http://schemas.microsoft.com/office/drawing/2014/main" id="{B4530738-C01F-2303-BA11-B9FF01BDADB9}"/>
                  </a:ext>
                </a:extLst>
              </p:cNvPr>
              <p:cNvSpPr/>
              <p:nvPr/>
            </p:nvSpPr>
            <p:spPr>
              <a:xfrm>
                <a:off x="8675020" y="231071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677" name="Freeform 348">
                <a:extLst>
                  <a:ext uri="{FF2B5EF4-FFF2-40B4-BE49-F238E27FC236}">
                    <a16:creationId xmlns:a16="http://schemas.microsoft.com/office/drawing/2014/main" id="{4A32C4C5-1191-4D76-58AD-A906992C7316}"/>
                  </a:ext>
                </a:extLst>
              </p:cNvPr>
              <p:cNvSpPr/>
              <p:nvPr/>
            </p:nvSpPr>
            <p:spPr>
              <a:xfrm>
                <a:off x="8644455" y="2336016"/>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678" name="Freeform 349">
                <a:extLst>
                  <a:ext uri="{FF2B5EF4-FFF2-40B4-BE49-F238E27FC236}">
                    <a16:creationId xmlns:a16="http://schemas.microsoft.com/office/drawing/2014/main" id="{2EA8E4F5-5B65-F00D-704E-FF26F8609643}"/>
                  </a:ext>
                </a:extLst>
              </p:cNvPr>
              <p:cNvSpPr/>
              <p:nvPr/>
            </p:nvSpPr>
            <p:spPr>
              <a:xfrm>
                <a:off x="8682037" y="231071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679" name="Freeform 350">
                <a:extLst>
                  <a:ext uri="{FF2B5EF4-FFF2-40B4-BE49-F238E27FC236}">
                    <a16:creationId xmlns:a16="http://schemas.microsoft.com/office/drawing/2014/main" id="{E30120AB-48C2-59D5-DF2E-104B7CC1FF91}"/>
                  </a:ext>
                </a:extLst>
              </p:cNvPr>
              <p:cNvSpPr/>
              <p:nvPr/>
            </p:nvSpPr>
            <p:spPr>
              <a:xfrm>
                <a:off x="8658478" y="2336016"/>
                <a:ext cx="75173" cy="10583"/>
              </a:xfrm>
              <a:custGeom>
                <a:avLst/>
                <a:gdLst>
                  <a:gd name="connsiteX0" fmla="*/ 0 w 75173"/>
                  <a:gd name="connsiteY0" fmla="*/ 0 h 10583"/>
                  <a:gd name="connsiteX1" fmla="*/ 75173 w 75173"/>
                  <a:gd name="connsiteY1" fmla="*/ 0 h 10583"/>
                </a:gdLst>
                <a:ahLst/>
                <a:cxnLst>
                  <a:cxn ang="0">
                    <a:pos x="connsiteX0" y="connsiteY0"/>
                  </a:cxn>
                  <a:cxn ang="0">
                    <a:pos x="connsiteX1" y="connsiteY1"/>
                  </a:cxn>
                </a:cxnLst>
                <a:rect l="l" t="t" r="r" b="b"/>
                <a:pathLst>
                  <a:path w="75173" h="10583">
                    <a:moveTo>
                      <a:pt x="0" y="0"/>
                    </a:moveTo>
                    <a:lnTo>
                      <a:pt x="75173" y="0"/>
                    </a:lnTo>
                  </a:path>
                </a:pathLst>
              </a:custGeom>
              <a:ln w="12700" cap="sq">
                <a:solidFill>
                  <a:srgbClr val="002985"/>
                </a:solidFill>
                <a:prstDash val="solid"/>
                <a:miter/>
              </a:ln>
            </p:spPr>
            <p:txBody>
              <a:bodyPr rtlCol="0" anchor="ctr"/>
              <a:lstStyle/>
              <a:p>
                <a:endParaRPr lang="en-US" sz="1800"/>
              </a:p>
            </p:txBody>
          </p:sp>
          <p:sp>
            <p:nvSpPr>
              <p:cNvPr id="2680" name="Freeform 351">
                <a:extLst>
                  <a:ext uri="{FF2B5EF4-FFF2-40B4-BE49-F238E27FC236}">
                    <a16:creationId xmlns:a16="http://schemas.microsoft.com/office/drawing/2014/main" id="{DBAC3A5B-A33F-5241-C1CF-9D7A92383EBF}"/>
                  </a:ext>
                </a:extLst>
              </p:cNvPr>
              <p:cNvSpPr/>
              <p:nvPr/>
            </p:nvSpPr>
            <p:spPr>
              <a:xfrm>
                <a:off x="8696060" y="231071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681" name="Freeform 352">
                <a:extLst>
                  <a:ext uri="{FF2B5EF4-FFF2-40B4-BE49-F238E27FC236}">
                    <a16:creationId xmlns:a16="http://schemas.microsoft.com/office/drawing/2014/main" id="{CBF2C7C8-BBB4-827B-0CD8-E4D491345E9A}"/>
                  </a:ext>
                </a:extLst>
              </p:cNvPr>
              <p:cNvSpPr/>
              <p:nvPr/>
            </p:nvSpPr>
            <p:spPr>
              <a:xfrm>
                <a:off x="8665495" y="2336016"/>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682" name="Freeform 353">
                <a:extLst>
                  <a:ext uri="{FF2B5EF4-FFF2-40B4-BE49-F238E27FC236}">
                    <a16:creationId xmlns:a16="http://schemas.microsoft.com/office/drawing/2014/main" id="{08AAC2F4-6030-A449-D022-E4E5A66ABA25}"/>
                  </a:ext>
                </a:extLst>
              </p:cNvPr>
              <p:cNvSpPr/>
              <p:nvPr/>
            </p:nvSpPr>
            <p:spPr>
              <a:xfrm>
                <a:off x="8703076" y="231071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683" name="Freeform 354">
                <a:extLst>
                  <a:ext uri="{FF2B5EF4-FFF2-40B4-BE49-F238E27FC236}">
                    <a16:creationId xmlns:a16="http://schemas.microsoft.com/office/drawing/2014/main" id="{E6705E73-D180-F149-14CC-F1469D8AE563}"/>
                  </a:ext>
                </a:extLst>
              </p:cNvPr>
              <p:cNvSpPr/>
              <p:nvPr/>
            </p:nvSpPr>
            <p:spPr>
              <a:xfrm>
                <a:off x="8693562" y="2336016"/>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684" name="Freeform 355">
                <a:extLst>
                  <a:ext uri="{FF2B5EF4-FFF2-40B4-BE49-F238E27FC236}">
                    <a16:creationId xmlns:a16="http://schemas.microsoft.com/office/drawing/2014/main" id="{22B46834-4360-8527-D424-BC391AB8B966}"/>
                  </a:ext>
                </a:extLst>
              </p:cNvPr>
              <p:cNvSpPr/>
              <p:nvPr/>
            </p:nvSpPr>
            <p:spPr>
              <a:xfrm>
                <a:off x="8731143" y="231071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685" name="Freeform 356">
                <a:extLst>
                  <a:ext uri="{FF2B5EF4-FFF2-40B4-BE49-F238E27FC236}">
                    <a16:creationId xmlns:a16="http://schemas.microsoft.com/office/drawing/2014/main" id="{D054927F-B1DD-CCCC-B0D2-5F9AD33611E2}"/>
                  </a:ext>
                </a:extLst>
              </p:cNvPr>
              <p:cNvSpPr/>
              <p:nvPr/>
            </p:nvSpPr>
            <p:spPr>
              <a:xfrm>
                <a:off x="8700579" y="2336016"/>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686" name="Freeform 357">
                <a:extLst>
                  <a:ext uri="{FF2B5EF4-FFF2-40B4-BE49-F238E27FC236}">
                    <a16:creationId xmlns:a16="http://schemas.microsoft.com/office/drawing/2014/main" id="{089E2F39-B68D-B48F-DE65-B7838F9EE83B}"/>
                  </a:ext>
                </a:extLst>
              </p:cNvPr>
              <p:cNvSpPr/>
              <p:nvPr/>
            </p:nvSpPr>
            <p:spPr>
              <a:xfrm>
                <a:off x="8738160" y="231071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687" name="Freeform 358">
                <a:extLst>
                  <a:ext uri="{FF2B5EF4-FFF2-40B4-BE49-F238E27FC236}">
                    <a16:creationId xmlns:a16="http://schemas.microsoft.com/office/drawing/2014/main" id="{9EC1FFCA-6055-EB55-5DC5-102AE60BFBBB}"/>
                  </a:ext>
                </a:extLst>
              </p:cNvPr>
              <p:cNvSpPr/>
              <p:nvPr/>
            </p:nvSpPr>
            <p:spPr>
              <a:xfrm>
                <a:off x="8700579" y="2336016"/>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688" name="Freeform 359">
                <a:extLst>
                  <a:ext uri="{FF2B5EF4-FFF2-40B4-BE49-F238E27FC236}">
                    <a16:creationId xmlns:a16="http://schemas.microsoft.com/office/drawing/2014/main" id="{8873A481-EA74-43CB-0667-2EFDD56D646C}"/>
                  </a:ext>
                </a:extLst>
              </p:cNvPr>
              <p:cNvSpPr/>
              <p:nvPr/>
            </p:nvSpPr>
            <p:spPr>
              <a:xfrm>
                <a:off x="8738160" y="231071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689" name="Freeform 360">
                <a:extLst>
                  <a:ext uri="{FF2B5EF4-FFF2-40B4-BE49-F238E27FC236}">
                    <a16:creationId xmlns:a16="http://schemas.microsoft.com/office/drawing/2014/main" id="{57BA73C4-FB9E-F021-78B0-B447DCA3C8BB}"/>
                  </a:ext>
                </a:extLst>
              </p:cNvPr>
              <p:cNvSpPr/>
              <p:nvPr/>
            </p:nvSpPr>
            <p:spPr>
              <a:xfrm>
                <a:off x="8728635" y="2336016"/>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690" name="Freeform 361">
                <a:extLst>
                  <a:ext uri="{FF2B5EF4-FFF2-40B4-BE49-F238E27FC236}">
                    <a16:creationId xmlns:a16="http://schemas.microsoft.com/office/drawing/2014/main" id="{5D157B15-7F9E-BAED-D2F5-995ADCD1FAE5}"/>
                  </a:ext>
                </a:extLst>
              </p:cNvPr>
              <p:cNvSpPr/>
              <p:nvPr/>
            </p:nvSpPr>
            <p:spPr>
              <a:xfrm>
                <a:off x="8766217" y="231071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691" name="Freeform 362">
                <a:extLst>
                  <a:ext uri="{FF2B5EF4-FFF2-40B4-BE49-F238E27FC236}">
                    <a16:creationId xmlns:a16="http://schemas.microsoft.com/office/drawing/2014/main" id="{A85776A8-92BA-A427-7C03-AA3946E32EF7}"/>
                  </a:ext>
                </a:extLst>
              </p:cNvPr>
              <p:cNvSpPr/>
              <p:nvPr/>
            </p:nvSpPr>
            <p:spPr>
              <a:xfrm>
                <a:off x="8749685" y="2336016"/>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692" name="Freeform 363">
                <a:extLst>
                  <a:ext uri="{FF2B5EF4-FFF2-40B4-BE49-F238E27FC236}">
                    <a16:creationId xmlns:a16="http://schemas.microsoft.com/office/drawing/2014/main" id="{638FBAA7-D00F-29D0-941C-CF40DF750CB6}"/>
                  </a:ext>
                </a:extLst>
              </p:cNvPr>
              <p:cNvSpPr/>
              <p:nvPr/>
            </p:nvSpPr>
            <p:spPr>
              <a:xfrm>
                <a:off x="8787267" y="231071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693" name="Freeform 364">
                <a:extLst>
                  <a:ext uri="{FF2B5EF4-FFF2-40B4-BE49-F238E27FC236}">
                    <a16:creationId xmlns:a16="http://schemas.microsoft.com/office/drawing/2014/main" id="{85B38826-94B1-B37C-1E92-1D4A3E132FF1}"/>
                  </a:ext>
                </a:extLst>
              </p:cNvPr>
              <p:cNvSpPr/>
              <p:nvPr/>
            </p:nvSpPr>
            <p:spPr>
              <a:xfrm>
                <a:off x="8749685" y="2336016"/>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694" name="Freeform 365">
                <a:extLst>
                  <a:ext uri="{FF2B5EF4-FFF2-40B4-BE49-F238E27FC236}">
                    <a16:creationId xmlns:a16="http://schemas.microsoft.com/office/drawing/2014/main" id="{2121794F-EE97-FE01-54A9-F2DC91BA57FB}"/>
                  </a:ext>
                </a:extLst>
              </p:cNvPr>
              <p:cNvSpPr/>
              <p:nvPr/>
            </p:nvSpPr>
            <p:spPr>
              <a:xfrm>
                <a:off x="8787267" y="231071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695" name="Freeform 366">
                <a:extLst>
                  <a:ext uri="{FF2B5EF4-FFF2-40B4-BE49-F238E27FC236}">
                    <a16:creationId xmlns:a16="http://schemas.microsoft.com/office/drawing/2014/main" id="{561B3E5E-3394-695A-F367-A1FAC6F33095}"/>
                  </a:ext>
                </a:extLst>
              </p:cNvPr>
              <p:cNvSpPr/>
              <p:nvPr/>
            </p:nvSpPr>
            <p:spPr>
              <a:xfrm>
                <a:off x="8812826" y="2336016"/>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696" name="Freeform 367">
                <a:extLst>
                  <a:ext uri="{FF2B5EF4-FFF2-40B4-BE49-F238E27FC236}">
                    <a16:creationId xmlns:a16="http://schemas.microsoft.com/office/drawing/2014/main" id="{3203A1F8-1C1A-1392-9811-3D2552B3A0AF}"/>
                  </a:ext>
                </a:extLst>
              </p:cNvPr>
              <p:cNvSpPr/>
              <p:nvPr/>
            </p:nvSpPr>
            <p:spPr>
              <a:xfrm>
                <a:off x="8850407" y="231071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697" name="Freeform 368">
                <a:extLst>
                  <a:ext uri="{FF2B5EF4-FFF2-40B4-BE49-F238E27FC236}">
                    <a16:creationId xmlns:a16="http://schemas.microsoft.com/office/drawing/2014/main" id="{9FE9C98B-AB77-A012-0FAB-7393E8F180FC}"/>
                  </a:ext>
                </a:extLst>
              </p:cNvPr>
              <p:cNvSpPr/>
              <p:nvPr/>
            </p:nvSpPr>
            <p:spPr>
              <a:xfrm>
                <a:off x="8889989" y="2336016"/>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698" name="Freeform 369">
                <a:extLst>
                  <a:ext uri="{FF2B5EF4-FFF2-40B4-BE49-F238E27FC236}">
                    <a16:creationId xmlns:a16="http://schemas.microsoft.com/office/drawing/2014/main" id="{8E3A38DE-397B-6091-9224-25A5FA13969A}"/>
                  </a:ext>
                </a:extLst>
              </p:cNvPr>
              <p:cNvSpPr/>
              <p:nvPr/>
            </p:nvSpPr>
            <p:spPr>
              <a:xfrm>
                <a:off x="8927570" y="231071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699" name="Freeform 370">
                <a:extLst>
                  <a:ext uri="{FF2B5EF4-FFF2-40B4-BE49-F238E27FC236}">
                    <a16:creationId xmlns:a16="http://schemas.microsoft.com/office/drawing/2014/main" id="{A7089F40-068A-6ACA-3CB0-6DA24F43E67F}"/>
                  </a:ext>
                </a:extLst>
              </p:cNvPr>
              <p:cNvSpPr/>
              <p:nvPr/>
            </p:nvSpPr>
            <p:spPr>
              <a:xfrm>
                <a:off x="8889989" y="2336016"/>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700" name="Freeform 371">
                <a:extLst>
                  <a:ext uri="{FF2B5EF4-FFF2-40B4-BE49-F238E27FC236}">
                    <a16:creationId xmlns:a16="http://schemas.microsoft.com/office/drawing/2014/main" id="{F1872925-E57C-6CD5-E333-26DF04A7457D}"/>
                  </a:ext>
                </a:extLst>
              </p:cNvPr>
              <p:cNvSpPr/>
              <p:nvPr/>
            </p:nvSpPr>
            <p:spPr>
              <a:xfrm>
                <a:off x="8927570" y="231071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701" name="Freeform 372">
                <a:extLst>
                  <a:ext uri="{FF2B5EF4-FFF2-40B4-BE49-F238E27FC236}">
                    <a16:creationId xmlns:a16="http://schemas.microsoft.com/office/drawing/2014/main" id="{7921C0CC-C502-862C-A79B-FC7D7D12E59F}"/>
                  </a:ext>
                </a:extLst>
              </p:cNvPr>
              <p:cNvSpPr/>
              <p:nvPr/>
            </p:nvSpPr>
            <p:spPr>
              <a:xfrm>
                <a:off x="8932079" y="2336016"/>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702" name="Freeform 373">
                <a:extLst>
                  <a:ext uri="{FF2B5EF4-FFF2-40B4-BE49-F238E27FC236}">
                    <a16:creationId xmlns:a16="http://schemas.microsoft.com/office/drawing/2014/main" id="{5F3E6A5B-20AD-D31C-66C7-5956D8B722D8}"/>
                  </a:ext>
                </a:extLst>
              </p:cNvPr>
              <p:cNvSpPr/>
              <p:nvPr/>
            </p:nvSpPr>
            <p:spPr>
              <a:xfrm>
                <a:off x="8969660" y="231071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703" name="Freeform 374">
                <a:extLst>
                  <a:ext uri="{FF2B5EF4-FFF2-40B4-BE49-F238E27FC236}">
                    <a16:creationId xmlns:a16="http://schemas.microsoft.com/office/drawing/2014/main" id="{8E745DA9-AD28-711A-39C3-E044E2929C03}"/>
                  </a:ext>
                </a:extLst>
              </p:cNvPr>
              <p:cNvSpPr/>
              <p:nvPr/>
            </p:nvSpPr>
            <p:spPr>
              <a:xfrm>
                <a:off x="8981185" y="2336016"/>
                <a:ext cx="75173" cy="10583"/>
              </a:xfrm>
              <a:custGeom>
                <a:avLst/>
                <a:gdLst>
                  <a:gd name="connsiteX0" fmla="*/ 0 w 75173"/>
                  <a:gd name="connsiteY0" fmla="*/ 0 h 10583"/>
                  <a:gd name="connsiteX1" fmla="*/ 75173 w 75173"/>
                  <a:gd name="connsiteY1" fmla="*/ 0 h 10583"/>
                </a:gdLst>
                <a:ahLst/>
                <a:cxnLst>
                  <a:cxn ang="0">
                    <a:pos x="connsiteX0" y="connsiteY0"/>
                  </a:cxn>
                  <a:cxn ang="0">
                    <a:pos x="connsiteX1" y="connsiteY1"/>
                  </a:cxn>
                </a:cxnLst>
                <a:rect l="l" t="t" r="r" b="b"/>
                <a:pathLst>
                  <a:path w="75173" h="10583">
                    <a:moveTo>
                      <a:pt x="0" y="0"/>
                    </a:moveTo>
                    <a:lnTo>
                      <a:pt x="75173" y="0"/>
                    </a:lnTo>
                  </a:path>
                </a:pathLst>
              </a:custGeom>
              <a:ln w="12700" cap="sq">
                <a:solidFill>
                  <a:srgbClr val="002985"/>
                </a:solidFill>
                <a:prstDash val="solid"/>
                <a:miter/>
              </a:ln>
            </p:spPr>
            <p:txBody>
              <a:bodyPr rtlCol="0" anchor="ctr"/>
              <a:lstStyle/>
              <a:p>
                <a:endParaRPr lang="en-US" sz="1800"/>
              </a:p>
            </p:txBody>
          </p:sp>
          <p:sp>
            <p:nvSpPr>
              <p:cNvPr id="2704" name="Freeform 375">
                <a:extLst>
                  <a:ext uri="{FF2B5EF4-FFF2-40B4-BE49-F238E27FC236}">
                    <a16:creationId xmlns:a16="http://schemas.microsoft.com/office/drawing/2014/main" id="{9CD913E3-6325-E547-E613-248213602EC8}"/>
                  </a:ext>
                </a:extLst>
              </p:cNvPr>
              <p:cNvSpPr/>
              <p:nvPr/>
            </p:nvSpPr>
            <p:spPr>
              <a:xfrm>
                <a:off x="9018767" y="231071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705" name="Freeform 376">
                <a:extLst>
                  <a:ext uri="{FF2B5EF4-FFF2-40B4-BE49-F238E27FC236}">
                    <a16:creationId xmlns:a16="http://schemas.microsoft.com/office/drawing/2014/main" id="{541DB5F8-7A06-D3B5-B29B-29A09E13DAF9}"/>
                  </a:ext>
                </a:extLst>
              </p:cNvPr>
              <p:cNvSpPr/>
              <p:nvPr/>
            </p:nvSpPr>
            <p:spPr>
              <a:xfrm>
                <a:off x="8988202" y="2336016"/>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706" name="Freeform 377">
                <a:extLst>
                  <a:ext uri="{FF2B5EF4-FFF2-40B4-BE49-F238E27FC236}">
                    <a16:creationId xmlns:a16="http://schemas.microsoft.com/office/drawing/2014/main" id="{452EA8EA-91F6-6234-4B86-B8B5E058C3BA}"/>
                  </a:ext>
                </a:extLst>
              </p:cNvPr>
              <p:cNvSpPr/>
              <p:nvPr/>
            </p:nvSpPr>
            <p:spPr>
              <a:xfrm>
                <a:off x="9025783" y="231071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707" name="Freeform 378">
                <a:extLst>
                  <a:ext uri="{FF2B5EF4-FFF2-40B4-BE49-F238E27FC236}">
                    <a16:creationId xmlns:a16="http://schemas.microsoft.com/office/drawing/2014/main" id="{245665E9-C130-200F-4E95-E55FD406865E}"/>
                  </a:ext>
                </a:extLst>
              </p:cNvPr>
              <p:cNvSpPr/>
              <p:nvPr/>
            </p:nvSpPr>
            <p:spPr>
              <a:xfrm>
                <a:off x="8988202" y="2336016"/>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708" name="Freeform 379">
                <a:extLst>
                  <a:ext uri="{FF2B5EF4-FFF2-40B4-BE49-F238E27FC236}">
                    <a16:creationId xmlns:a16="http://schemas.microsoft.com/office/drawing/2014/main" id="{AAC0C4BA-A339-3691-DDF4-2EB4ED6C3B98}"/>
                  </a:ext>
                </a:extLst>
              </p:cNvPr>
              <p:cNvSpPr/>
              <p:nvPr/>
            </p:nvSpPr>
            <p:spPr>
              <a:xfrm>
                <a:off x="9025783" y="231071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709" name="Freeform 380">
                <a:extLst>
                  <a:ext uri="{FF2B5EF4-FFF2-40B4-BE49-F238E27FC236}">
                    <a16:creationId xmlns:a16="http://schemas.microsoft.com/office/drawing/2014/main" id="{2B734776-4123-B200-8A42-0EB88A0C358C}"/>
                  </a:ext>
                </a:extLst>
              </p:cNvPr>
              <p:cNvSpPr/>
              <p:nvPr/>
            </p:nvSpPr>
            <p:spPr>
              <a:xfrm>
                <a:off x="9072392" y="2336016"/>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710" name="Freeform 381">
                <a:extLst>
                  <a:ext uri="{FF2B5EF4-FFF2-40B4-BE49-F238E27FC236}">
                    <a16:creationId xmlns:a16="http://schemas.microsoft.com/office/drawing/2014/main" id="{43D5A04F-7135-47A1-3587-F3FF53227AEF}"/>
                  </a:ext>
                </a:extLst>
              </p:cNvPr>
              <p:cNvSpPr/>
              <p:nvPr/>
            </p:nvSpPr>
            <p:spPr>
              <a:xfrm>
                <a:off x="9109974" y="231071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711" name="Freeform 382">
                <a:extLst>
                  <a:ext uri="{FF2B5EF4-FFF2-40B4-BE49-F238E27FC236}">
                    <a16:creationId xmlns:a16="http://schemas.microsoft.com/office/drawing/2014/main" id="{3A7F3E03-79ED-8F7D-E0DC-9EEB7E8EEE2C}"/>
                  </a:ext>
                </a:extLst>
              </p:cNvPr>
              <p:cNvSpPr/>
              <p:nvPr/>
            </p:nvSpPr>
            <p:spPr>
              <a:xfrm>
                <a:off x="9093432" y="2336016"/>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712" name="Freeform 383">
                <a:extLst>
                  <a:ext uri="{FF2B5EF4-FFF2-40B4-BE49-F238E27FC236}">
                    <a16:creationId xmlns:a16="http://schemas.microsoft.com/office/drawing/2014/main" id="{DB722A2B-B714-ED66-1C65-AE1D2C86E510}"/>
                  </a:ext>
                </a:extLst>
              </p:cNvPr>
              <p:cNvSpPr/>
              <p:nvPr/>
            </p:nvSpPr>
            <p:spPr>
              <a:xfrm>
                <a:off x="9131013" y="231071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713" name="Freeform 384">
                <a:extLst>
                  <a:ext uri="{FF2B5EF4-FFF2-40B4-BE49-F238E27FC236}">
                    <a16:creationId xmlns:a16="http://schemas.microsoft.com/office/drawing/2014/main" id="{874C980F-8CB3-6F4F-20C9-1DF850EDBF54}"/>
                  </a:ext>
                </a:extLst>
              </p:cNvPr>
              <p:cNvSpPr/>
              <p:nvPr/>
            </p:nvSpPr>
            <p:spPr>
              <a:xfrm>
                <a:off x="9114482" y="2336016"/>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714" name="Freeform 385">
                <a:extLst>
                  <a:ext uri="{FF2B5EF4-FFF2-40B4-BE49-F238E27FC236}">
                    <a16:creationId xmlns:a16="http://schemas.microsoft.com/office/drawing/2014/main" id="{93CF795E-B72B-8E13-B7CA-2A069B73894C}"/>
                  </a:ext>
                </a:extLst>
              </p:cNvPr>
              <p:cNvSpPr/>
              <p:nvPr/>
            </p:nvSpPr>
            <p:spPr>
              <a:xfrm>
                <a:off x="9152064" y="231071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715" name="Freeform 386">
                <a:extLst>
                  <a:ext uri="{FF2B5EF4-FFF2-40B4-BE49-F238E27FC236}">
                    <a16:creationId xmlns:a16="http://schemas.microsoft.com/office/drawing/2014/main" id="{348C735E-1E7F-1007-6478-9BBC1E74FED0}"/>
                  </a:ext>
                </a:extLst>
              </p:cNvPr>
              <p:cNvSpPr/>
              <p:nvPr/>
            </p:nvSpPr>
            <p:spPr>
              <a:xfrm>
                <a:off x="9163589" y="2336016"/>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716" name="Freeform 387">
                <a:extLst>
                  <a:ext uri="{FF2B5EF4-FFF2-40B4-BE49-F238E27FC236}">
                    <a16:creationId xmlns:a16="http://schemas.microsoft.com/office/drawing/2014/main" id="{3801E79C-DF56-44D9-CE3F-D5D515B538C5}"/>
                  </a:ext>
                </a:extLst>
              </p:cNvPr>
              <p:cNvSpPr/>
              <p:nvPr/>
            </p:nvSpPr>
            <p:spPr>
              <a:xfrm>
                <a:off x="9201170" y="231071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717" name="Freeform 388">
                <a:extLst>
                  <a:ext uri="{FF2B5EF4-FFF2-40B4-BE49-F238E27FC236}">
                    <a16:creationId xmlns:a16="http://schemas.microsoft.com/office/drawing/2014/main" id="{CAE2D074-E39E-3F6E-C2A4-0D2E95CB1BD5}"/>
                  </a:ext>
                </a:extLst>
              </p:cNvPr>
              <p:cNvSpPr/>
              <p:nvPr/>
            </p:nvSpPr>
            <p:spPr>
              <a:xfrm>
                <a:off x="9184639" y="2336016"/>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718" name="Freeform 389">
                <a:extLst>
                  <a:ext uri="{FF2B5EF4-FFF2-40B4-BE49-F238E27FC236}">
                    <a16:creationId xmlns:a16="http://schemas.microsoft.com/office/drawing/2014/main" id="{49617952-AB55-A1EE-0184-D8E150BC8BCE}"/>
                  </a:ext>
                </a:extLst>
              </p:cNvPr>
              <p:cNvSpPr/>
              <p:nvPr/>
            </p:nvSpPr>
            <p:spPr>
              <a:xfrm>
                <a:off x="9222221" y="231071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719" name="Freeform 390">
                <a:extLst>
                  <a:ext uri="{FF2B5EF4-FFF2-40B4-BE49-F238E27FC236}">
                    <a16:creationId xmlns:a16="http://schemas.microsoft.com/office/drawing/2014/main" id="{77BCD956-F9AA-EAEE-245E-B76C0C9A8DF3}"/>
                  </a:ext>
                </a:extLst>
              </p:cNvPr>
              <p:cNvSpPr/>
              <p:nvPr/>
            </p:nvSpPr>
            <p:spPr>
              <a:xfrm>
                <a:off x="9184639" y="2336016"/>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720" name="Freeform 391">
                <a:extLst>
                  <a:ext uri="{FF2B5EF4-FFF2-40B4-BE49-F238E27FC236}">
                    <a16:creationId xmlns:a16="http://schemas.microsoft.com/office/drawing/2014/main" id="{943B4B51-49AC-B14F-F89D-733D514650FB}"/>
                  </a:ext>
                </a:extLst>
              </p:cNvPr>
              <p:cNvSpPr/>
              <p:nvPr/>
            </p:nvSpPr>
            <p:spPr>
              <a:xfrm>
                <a:off x="9222221" y="231071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721" name="Freeform 392">
                <a:extLst>
                  <a:ext uri="{FF2B5EF4-FFF2-40B4-BE49-F238E27FC236}">
                    <a16:creationId xmlns:a16="http://schemas.microsoft.com/office/drawing/2014/main" id="{D6C94AB4-0CAE-EA46-3B6F-4FBFDBAE06A1}"/>
                  </a:ext>
                </a:extLst>
              </p:cNvPr>
              <p:cNvSpPr/>
              <p:nvPr/>
            </p:nvSpPr>
            <p:spPr>
              <a:xfrm>
                <a:off x="9191656" y="2336016"/>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722" name="Freeform 393">
                <a:extLst>
                  <a:ext uri="{FF2B5EF4-FFF2-40B4-BE49-F238E27FC236}">
                    <a16:creationId xmlns:a16="http://schemas.microsoft.com/office/drawing/2014/main" id="{DEACF1C5-01C0-4F46-20DE-8A0C0AACE199}"/>
                  </a:ext>
                </a:extLst>
              </p:cNvPr>
              <p:cNvSpPr/>
              <p:nvPr/>
            </p:nvSpPr>
            <p:spPr>
              <a:xfrm>
                <a:off x="9229237" y="231071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723" name="Freeform 394">
                <a:extLst>
                  <a:ext uri="{FF2B5EF4-FFF2-40B4-BE49-F238E27FC236}">
                    <a16:creationId xmlns:a16="http://schemas.microsoft.com/office/drawing/2014/main" id="{A6A5E109-FE72-18F3-0429-31D1822E553B}"/>
                  </a:ext>
                </a:extLst>
              </p:cNvPr>
              <p:cNvSpPr/>
              <p:nvPr/>
            </p:nvSpPr>
            <p:spPr>
              <a:xfrm>
                <a:off x="9226729" y="2336016"/>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724" name="Freeform 395">
                <a:extLst>
                  <a:ext uri="{FF2B5EF4-FFF2-40B4-BE49-F238E27FC236}">
                    <a16:creationId xmlns:a16="http://schemas.microsoft.com/office/drawing/2014/main" id="{B0CFB777-C96C-1ADA-A335-9227FE3CF169}"/>
                  </a:ext>
                </a:extLst>
              </p:cNvPr>
              <p:cNvSpPr/>
              <p:nvPr/>
            </p:nvSpPr>
            <p:spPr>
              <a:xfrm>
                <a:off x="9264311" y="231071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725" name="Freeform 396">
                <a:extLst>
                  <a:ext uri="{FF2B5EF4-FFF2-40B4-BE49-F238E27FC236}">
                    <a16:creationId xmlns:a16="http://schemas.microsoft.com/office/drawing/2014/main" id="{19C2C97F-BAB0-36F2-F49E-07D492CBDD37}"/>
                  </a:ext>
                </a:extLst>
              </p:cNvPr>
              <p:cNvSpPr/>
              <p:nvPr/>
            </p:nvSpPr>
            <p:spPr>
              <a:xfrm>
                <a:off x="9261802" y="2336016"/>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726" name="Freeform 397">
                <a:extLst>
                  <a:ext uri="{FF2B5EF4-FFF2-40B4-BE49-F238E27FC236}">
                    <a16:creationId xmlns:a16="http://schemas.microsoft.com/office/drawing/2014/main" id="{F49D6889-ECBC-1623-88C2-A41FBBD681C3}"/>
                  </a:ext>
                </a:extLst>
              </p:cNvPr>
              <p:cNvSpPr/>
              <p:nvPr/>
            </p:nvSpPr>
            <p:spPr>
              <a:xfrm>
                <a:off x="9299384" y="231071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727" name="Freeform 398">
                <a:extLst>
                  <a:ext uri="{FF2B5EF4-FFF2-40B4-BE49-F238E27FC236}">
                    <a16:creationId xmlns:a16="http://schemas.microsoft.com/office/drawing/2014/main" id="{68566D18-17DE-C055-E67A-796A43796CE8}"/>
                  </a:ext>
                </a:extLst>
              </p:cNvPr>
              <p:cNvSpPr/>
              <p:nvPr/>
            </p:nvSpPr>
            <p:spPr>
              <a:xfrm>
                <a:off x="9282853" y="2336016"/>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728" name="Freeform 399">
                <a:extLst>
                  <a:ext uri="{FF2B5EF4-FFF2-40B4-BE49-F238E27FC236}">
                    <a16:creationId xmlns:a16="http://schemas.microsoft.com/office/drawing/2014/main" id="{37C097AB-EEF6-0D8C-C5A9-E8723C6B098B}"/>
                  </a:ext>
                </a:extLst>
              </p:cNvPr>
              <p:cNvSpPr/>
              <p:nvPr/>
            </p:nvSpPr>
            <p:spPr>
              <a:xfrm>
                <a:off x="9320434" y="231071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729" name="Freeform 400">
                <a:extLst>
                  <a:ext uri="{FF2B5EF4-FFF2-40B4-BE49-F238E27FC236}">
                    <a16:creationId xmlns:a16="http://schemas.microsoft.com/office/drawing/2014/main" id="{1FA330FA-B41F-3D2D-0FE6-26393076DA7E}"/>
                  </a:ext>
                </a:extLst>
              </p:cNvPr>
              <p:cNvSpPr/>
              <p:nvPr/>
            </p:nvSpPr>
            <p:spPr>
              <a:xfrm>
                <a:off x="9338976" y="2336016"/>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730" name="Freeform 401">
                <a:extLst>
                  <a:ext uri="{FF2B5EF4-FFF2-40B4-BE49-F238E27FC236}">
                    <a16:creationId xmlns:a16="http://schemas.microsoft.com/office/drawing/2014/main" id="{E5842C6F-B03B-6054-F4FD-1FD01AC93D3C}"/>
                  </a:ext>
                </a:extLst>
              </p:cNvPr>
              <p:cNvSpPr/>
              <p:nvPr/>
            </p:nvSpPr>
            <p:spPr>
              <a:xfrm>
                <a:off x="9376557" y="231071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731" name="Freeform 402">
                <a:extLst>
                  <a:ext uri="{FF2B5EF4-FFF2-40B4-BE49-F238E27FC236}">
                    <a16:creationId xmlns:a16="http://schemas.microsoft.com/office/drawing/2014/main" id="{AFD4B930-26E1-DFBC-EF1C-D8525478113B}"/>
                  </a:ext>
                </a:extLst>
              </p:cNvPr>
              <p:cNvSpPr/>
              <p:nvPr/>
            </p:nvSpPr>
            <p:spPr>
              <a:xfrm>
                <a:off x="9381066" y="2336016"/>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732" name="Freeform 403">
                <a:extLst>
                  <a:ext uri="{FF2B5EF4-FFF2-40B4-BE49-F238E27FC236}">
                    <a16:creationId xmlns:a16="http://schemas.microsoft.com/office/drawing/2014/main" id="{8366014F-AB52-5D44-E97B-69908F9D57E2}"/>
                  </a:ext>
                </a:extLst>
              </p:cNvPr>
              <p:cNvSpPr/>
              <p:nvPr/>
            </p:nvSpPr>
            <p:spPr>
              <a:xfrm>
                <a:off x="9418647" y="231071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733" name="Freeform 404">
                <a:extLst>
                  <a:ext uri="{FF2B5EF4-FFF2-40B4-BE49-F238E27FC236}">
                    <a16:creationId xmlns:a16="http://schemas.microsoft.com/office/drawing/2014/main" id="{A9088BC7-B6B7-1F9E-FD10-AA6D4200B9D3}"/>
                  </a:ext>
                </a:extLst>
              </p:cNvPr>
              <p:cNvSpPr/>
              <p:nvPr/>
            </p:nvSpPr>
            <p:spPr>
              <a:xfrm>
                <a:off x="9388083" y="2336016"/>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734" name="Freeform 405">
                <a:extLst>
                  <a:ext uri="{FF2B5EF4-FFF2-40B4-BE49-F238E27FC236}">
                    <a16:creationId xmlns:a16="http://schemas.microsoft.com/office/drawing/2014/main" id="{812571BD-3B6A-4ABD-82CD-4AF14A903371}"/>
                  </a:ext>
                </a:extLst>
              </p:cNvPr>
              <p:cNvSpPr/>
              <p:nvPr/>
            </p:nvSpPr>
            <p:spPr>
              <a:xfrm>
                <a:off x="9425664" y="231071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735" name="Freeform 406">
                <a:extLst>
                  <a:ext uri="{FF2B5EF4-FFF2-40B4-BE49-F238E27FC236}">
                    <a16:creationId xmlns:a16="http://schemas.microsoft.com/office/drawing/2014/main" id="{CD4F259C-0F99-F380-4248-C3CE93E6838B}"/>
                  </a:ext>
                </a:extLst>
              </p:cNvPr>
              <p:cNvSpPr/>
              <p:nvPr/>
            </p:nvSpPr>
            <p:spPr>
              <a:xfrm>
                <a:off x="9451223" y="2336016"/>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736" name="Freeform 407">
                <a:extLst>
                  <a:ext uri="{FF2B5EF4-FFF2-40B4-BE49-F238E27FC236}">
                    <a16:creationId xmlns:a16="http://schemas.microsoft.com/office/drawing/2014/main" id="{83F29244-D1E8-6EB4-8526-D163D112FE3E}"/>
                  </a:ext>
                </a:extLst>
              </p:cNvPr>
              <p:cNvSpPr/>
              <p:nvPr/>
            </p:nvSpPr>
            <p:spPr>
              <a:xfrm>
                <a:off x="9488804" y="231071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737" name="Freeform 408">
                <a:extLst>
                  <a:ext uri="{FF2B5EF4-FFF2-40B4-BE49-F238E27FC236}">
                    <a16:creationId xmlns:a16="http://schemas.microsoft.com/office/drawing/2014/main" id="{957255C5-F6D8-57B1-5F13-FE73FAA976C7}"/>
                  </a:ext>
                </a:extLst>
              </p:cNvPr>
              <p:cNvSpPr/>
              <p:nvPr/>
            </p:nvSpPr>
            <p:spPr>
              <a:xfrm>
                <a:off x="9472263" y="2336016"/>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738" name="Freeform 409">
                <a:extLst>
                  <a:ext uri="{FF2B5EF4-FFF2-40B4-BE49-F238E27FC236}">
                    <a16:creationId xmlns:a16="http://schemas.microsoft.com/office/drawing/2014/main" id="{809702BC-09E7-E688-EC08-1A16A56C08DA}"/>
                  </a:ext>
                </a:extLst>
              </p:cNvPr>
              <p:cNvSpPr/>
              <p:nvPr/>
            </p:nvSpPr>
            <p:spPr>
              <a:xfrm>
                <a:off x="9509844" y="231071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739" name="Freeform 410">
                <a:extLst>
                  <a:ext uri="{FF2B5EF4-FFF2-40B4-BE49-F238E27FC236}">
                    <a16:creationId xmlns:a16="http://schemas.microsoft.com/office/drawing/2014/main" id="{9A038189-A857-157C-B535-8FAE59831CB7}"/>
                  </a:ext>
                </a:extLst>
              </p:cNvPr>
              <p:cNvSpPr/>
              <p:nvPr/>
            </p:nvSpPr>
            <p:spPr>
              <a:xfrm>
                <a:off x="9486296" y="2336016"/>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740" name="Freeform 411">
                <a:extLst>
                  <a:ext uri="{FF2B5EF4-FFF2-40B4-BE49-F238E27FC236}">
                    <a16:creationId xmlns:a16="http://schemas.microsoft.com/office/drawing/2014/main" id="{6EFE3CFF-67E1-0011-A524-D0C70B86EEEE}"/>
                  </a:ext>
                </a:extLst>
              </p:cNvPr>
              <p:cNvSpPr/>
              <p:nvPr/>
            </p:nvSpPr>
            <p:spPr>
              <a:xfrm>
                <a:off x="9523877" y="231071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741" name="Freeform 412">
                <a:extLst>
                  <a:ext uri="{FF2B5EF4-FFF2-40B4-BE49-F238E27FC236}">
                    <a16:creationId xmlns:a16="http://schemas.microsoft.com/office/drawing/2014/main" id="{22B1EC79-686B-28ED-0E0A-4E2DC5455171}"/>
                  </a:ext>
                </a:extLst>
              </p:cNvPr>
              <p:cNvSpPr/>
              <p:nvPr/>
            </p:nvSpPr>
            <p:spPr>
              <a:xfrm>
                <a:off x="9521369" y="2336016"/>
                <a:ext cx="75173" cy="10583"/>
              </a:xfrm>
              <a:custGeom>
                <a:avLst/>
                <a:gdLst>
                  <a:gd name="connsiteX0" fmla="*/ 0 w 75173"/>
                  <a:gd name="connsiteY0" fmla="*/ 0 h 10583"/>
                  <a:gd name="connsiteX1" fmla="*/ 75174 w 75173"/>
                  <a:gd name="connsiteY1" fmla="*/ 0 h 10583"/>
                </a:gdLst>
                <a:ahLst/>
                <a:cxnLst>
                  <a:cxn ang="0">
                    <a:pos x="connsiteX0" y="connsiteY0"/>
                  </a:cxn>
                  <a:cxn ang="0">
                    <a:pos x="connsiteX1" y="connsiteY1"/>
                  </a:cxn>
                </a:cxnLst>
                <a:rect l="l" t="t" r="r" b="b"/>
                <a:pathLst>
                  <a:path w="75173" h="10583">
                    <a:moveTo>
                      <a:pt x="0" y="0"/>
                    </a:moveTo>
                    <a:lnTo>
                      <a:pt x="75174" y="0"/>
                    </a:lnTo>
                  </a:path>
                </a:pathLst>
              </a:custGeom>
              <a:ln w="12700" cap="sq">
                <a:solidFill>
                  <a:srgbClr val="002985"/>
                </a:solidFill>
                <a:prstDash val="solid"/>
                <a:miter/>
              </a:ln>
            </p:spPr>
            <p:txBody>
              <a:bodyPr rtlCol="0" anchor="ctr"/>
              <a:lstStyle/>
              <a:p>
                <a:endParaRPr lang="en-US" sz="1800"/>
              </a:p>
            </p:txBody>
          </p:sp>
          <p:sp>
            <p:nvSpPr>
              <p:cNvPr id="2742" name="Freeform 413">
                <a:extLst>
                  <a:ext uri="{FF2B5EF4-FFF2-40B4-BE49-F238E27FC236}">
                    <a16:creationId xmlns:a16="http://schemas.microsoft.com/office/drawing/2014/main" id="{FEABA088-3AB6-3821-494F-3B21D2C72DAA}"/>
                  </a:ext>
                </a:extLst>
              </p:cNvPr>
              <p:cNvSpPr/>
              <p:nvPr/>
            </p:nvSpPr>
            <p:spPr>
              <a:xfrm>
                <a:off x="9558951" y="231071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743" name="Freeform 414">
                <a:extLst>
                  <a:ext uri="{FF2B5EF4-FFF2-40B4-BE49-F238E27FC236}">
                    <a16:creationId xmlns:a16="http://schemas.microsoft.com/office/drawing/2014/main" id="{18B4DC67-341D-3B08-B60D-97CA7F7444D9}"/>
                  </a:ext>
                </a:extLst>
              </p:cNvPr>
              <p:cNvSpPr/>
              <p:nvPr/>
            </p:nvSpPr>
            <p:spPr>
              <a:xfrm>
                <a:off x="9521369" y="2336016"/>
                <a:ext cx="75173" cy="10583"/>
              </a:xfrm>
              <a:custGeom>
                <a:avLst/>
                <a:gdLst>
                  <a:gd name="connsiteX0" fmla="*/ 0 w 75173"/>
                  <a:gd name="connsiteY0" fmla="*/ 0 h 10583"/>
                  <a:gd name="connsiteX1" fmla="*/ 75174 w 75173"/>
                  <a:gd name="connsiteY1" fmla="*/ 0 h 10583"/>
                </a:gdLst>
                <a:ahLst/>
                <a:cxnLst>
                  <a:cxn ang="0">
                    <a:pos x="connsiteX0" y="connsiteY0"/>
                  </a:cxn>
                  <a:cxn ang="0">
                    <a:pos x="connsiteX1" y="connsiteY1"/>
                  </a:cxn>
                </a:cxnLst>
                <a:rect l="l" t="t" r="r" b="b"/>
                <a:pathLst>
                  <a:path w="75173" h="10583">
                    <a:moveTo>
                      <a:pt x="0" y="0"/>
                    </a:moveTo>
                    <a:lnTo>
                      <a:pt x="75174" y="0"/>
                    </a:lnTo>
                  </a:path>
                </a:pathLst>
              </a:custGeom>
              <a:ln w="12700" cap="sq">
                <a:solidFill>
                  <a:srgbClr val="002985"/>
                </a:solidFill>
                <a:prstDash val="solid"/>
                <a:miter/>
              </a:ln>
            </p:spPr>
            <p:txBody>
              <a:bodyPr rtlCol="0" anchor="ctr"/>
              <a:lstStyle/>
              <a:p>
                <a:endParaRPr lang="en-US" sz="1800"/>
              </a:p>
            </p:txBody>
          </p:sp>
          <p:sp>
            <p:nvSpPr>
              <p:cNvPr id="2744" name="Freeform 415">
                <a:extLst>
                  <a:ext uri="{FF2B5EF4-FFF2-40B4-BE49-F238E27FC236}">
                    <a16:creationId xmlns:a16="http://schemas.microsoft.com/office/drawing/2014/main" id="{CF66F52B-0064-31EF-5592-73F56BF2AB6F}"/>
                  </a:ext>
                </a:extLst>
              </p:cNvPr>
              <p:cNvSpPr/>
              <p:nvPr/>
            </p:nvSpPr>
            <p:spPr>
              <a:xfrm>
                <a:off x="9558951" y="231071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745" name="Freeform 416">
                <a:extLst>
                  <a:ext uri="{FF2B5EF4-FFF2-40B4-BE49-F238E27FC236}">
                    <a16:creationId xmlns:a16="http://schemas.microsoft.com/office/drawing/2014/main" id="{32D69AD1-2AFF-4C78-6FCA-BDC4E4E63779}"/>
                  </a:ext>
                </a:extLst>
              </p:cNvPr>
              <p:cNvSpPr/>
              <p:nvPr/>
            </p:nvSpPr>
            <p:spPr>
              <a:xfrm>
                <a:off x="9570476" y="2336016"/>
                <a:ext cx="75173" cy="10583"/>
              </a:xfrm>
              <a:custGeom>
                <a:avLst/>
                <a:gdLst>
                  <a:gd name="connsiteX0" fmla="*/ 0 w 75173"/>
                  <a:gd name="connsiteY0" fmla="*/ 0 h 10583"/>
                  <a:gd name="connsiteX1" fmla="*/ 75174 w 75173"/>
                  <a:gd name="connsiteY1" fmla="*/ 0 h 10583"/>
                </a:gdLst>
                <a:ahLst/>
                <a:cxnLst>
                  <a:cxn ang="0">
                    <a:pos x="connsiteX0" y="connsiteY0"/>
                  </a:cxn>
                  <a:cxn ang="0">
                    <a:pos x="connsiteX1" y="connsiteY1"/>
                  </a:cxn>
                </a:cxnLst>
                <a:rect l="l" t="t" r="r" b="b"/>
                <a:pathLst>
                  <a:path w="75173" h="10583">
                    <a:moveTo>
                      <a:pt x="0" y="0"/>
                    </a:moveTo>
                    <a:lnTo>
                      <a:pt x="75174" y="0"/>
                    </a:lnTo>
                  </a:path>
                </a:pathLst>
              </a:custGeom>
              <a:ln w="12700" cap="sq">
                <a:solidFill>
                  <a:srgbClr val="002985"/>
                </a:solidFill>
                <a:prstDash val="solid"/>
                <a:miter/>
              </a:ln>
            </p:spPr>
            <p:txBody>
              <a:bodyPr rtlCol="0" anchor="ctr"/>
              <a:lstStyle/>
              <a:p>
                <a:endParaRPr lang="en-US" sz="1800"/>
              </a:p>
            </p:txBody>
          </p:sp>
          <p:sp>
            <p:nvSpPr>
              <p:cNvPr id="2746" name="Freeform 417">
                <a:extLst>
                  <a:ext uri="{FF2B5EF4-FFF2-40B4-BE49-F238E27FC236}">
                    <a16:creationId xmlns:a16="http://schemas.microsoft.com/office/drawing/2014/main" id="{53307BF0-6943-89F3-FD09-D7CF39CF62BA}"/>
                  </a:ext>
                </a:extLst>
              </p:cNvPr>
              <p:cNvSpPr/>
              <p:nvPr/>
            </p:nvSpPr>
            <p:spPr>
              <a:xfrm>
                <a:off x="9608068" y="231071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747" name="Freeform 418">
                <a:extLst>
                  <a:ext uri="{FF2B5EF4-FFF2-40B4-BE49-F238E27FC236}">
                    <a16:creationId xmlns:a16="http://schemas.microsoft.com/office/drawing/2014/main" id="{1FDE8202-FB9C-5814-4C1F-EA903B9204A8}"/>
                  </a:ext>
                </a:extLst>
              </p:cNvPr>
              <p:cNvSpPr/>
              <p:nvPr/>
            </p:nvSpPr>
            <p:spPr>
              <a:xfrm>
                <a:off x="9647650" y="2336016"/>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748" name="Freeform 419">
                <a:extLst>
                  <a:ext uri="{FF2B5EF4-FFF2-40B4-BE49-F238E27FC236}">
                    <a16:creationId xmlns:a16="http://schemas.microsoft.com/office/drawing/2014/main" id="{E2522FCE-65C5-8270-54DE-4D6656FE7FAD}"/>
                  </a:ext>
                </a:extLst>
              </p:cNvPr>
              <p:cNvSpPr/>
              <p:nvPr/>
            </p:nvSpPr>
            <p:spPr>
              <a:xfrm>
                <a:off x="9685231" y="231071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749" name="Freeform 420">
                <a:extLst>
                  <a:ext uri="{FF2B5EF4-FFF2-40B4-BE49-F238E27FC236}">
                    <a16:creationId xmlns:a16="http://schemas.microsoft.com/office/drawing/2014/main" id="{BA19AB1E-342E-E944-E5C4-F5123AA11A21}"/>
                  </a:ext>
                </a:extLst>
              </p:cNvPr>
              <p:cNvSpPr/>
              <p:nvPr/>
            </p:nvSpPr>
            <p:spPr>
              <a:xfrm>
                <a:off x="9661683" y="2336016"/>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750" name="Freeform 421">
                <a:extLst>
                  <a:ext uri="{FF2B5EF4-FFF2-40B4-BE49-F238E27FC236}">
                    <a16:creationId xmlns:a16="http://schemas.microsoft.com/office/drawing/2014/main" id="{97001AAB-0524-A663-B26A-0F9B8ECA95C7}"/>
                  </a:ext>
                </a:extLst>
              </p:cNvPr>
              <p:cNvSpPr/>
              <p:nvPr/>
            </p:nvSpPr>
            <p:spPr>
              <a:xfrm>
                <a:off x="9699264" y="231071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751" name="Freeform 422">
                <a:extLst>
                  <a:ext uri="{FF2B5EF4-FFF2-40B4-BE49-F238E27FC236}">
                    <a16:creationId xmlns:a16="http://schemas.microsoft.com/office/drawing/2014/main" id="{89BF0042-70A4-B093-12F3-71771F16F874}"/>
                  </a:ext>
                </a:extLst>
              </p:cNvPr>
              <p:cNvSpPr/>
              <p:nvPr/>
            </p:nvSpPr>
            <p:spPr>
              <a:xfrm>
                <a:off x="9689739" y="2336016"/>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752" name="Freeform 423">
                <a:extLst>
                  <a:ext uri="{FF2B5EF4-FFF2-40B4-BE49-F238E27FC236}">
                    <a16:creationId xmlns:a16="http://schemas.microsoft.com/office/drawing/2014/main" id="{89D877AB-8363-8C71-5CD8-DD838A2207E4}"/>
                  </a:ext>
                </a:extLst>
              </p:cNvPr>
              <p:cNvSpPr/>
              <p:nvPr/>
            </p:nvSpPr>
            <p:spPr>
              <a:xfrm>
                <a:off x="9727321" y="231071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753" name="Freeform 424">
                <a:extLst>
                  <a:ext uri="{FF2B5EF4-FFF2-40B4-BE49-F238E27FC236}">
                    <a16:creationId xmlns:a16="http://schemas.microsoft.com/office/drawing/2014/main" id="{F3C89D26-EEC7-4303-DE67-E327AC3AA5C4}"/>
                  </a:ext>
                </a:extLst>
              </p:cNvPr>
              <p:cNvSpPr/>
              <p:nvPr/>
            </p:nvSpPr>
            <p:spPr>
              <a:xfrm>
                <a:off x="9738846" y="2336016"/>
                <a:ext cx="75173" cy="10583"/>
              </a:xfrm>
              <a:custGeom>
                <a:avLst/>
                <a:gdLst>
                  <a:gd name="connsiteX0" fmla="*/ 0 w 75173"/>
                  <a:gd name="connsiteY0" fmla="*/ 0 h 10583"/>
                  <a:gd name="connsiteX1" fmla="*/ 75174 w 75173"/>
                  <a:gd name="connsiteY1" fmla="*/ 0 h 10583"/>
                </a:gdLst>
                <a:ahLst/>
                <a:cxnLst>
                  <a:cxn ang="0">
                    <a:pos x="connsiteX0" y="connsiteY0"/>
                  </a:cxn>
                  <a:cxn ang="0">
                    <a:pos x="connsiteX1" y="connsiteY1"/>
                  </a:cxn>
                </a:cxnLst>
                <a:rect l="l" t="t" r="r" b="b"/>
                <a:pathLst>
                  <a:path w="75173" h="10583">
                    <a:moveTo>
                      <a:pt x="0" y="0"/>
                    </a:moveTo>
                    <a:lnTo>
                      <a:pt x="75174" y="0"/>
                    </a:lnTo>
                  </a:path>
                </a:pathLst>
              </a:custGeom>
              <a:ln w="12700" cap="sq">
                <a:solidFill>
                  <a:srgbClr val="002985"/>
                </a:solidFill>
                <a:prstDash val="solid"/>
                <a:miter/>
              </a:ln>
            </p:spPr>
            <p:txBody>
              <a:bodyPr rtlCol="0" anchor="ctr"/>
              <a:lstStyle/>
              <a:p>
                <a:endParaRPr lang="en-US" sz="1800"/>
              </a:p>
            </p:txBody>
          </p:sp>
          <p:sp>
            <p:nvSpPr>
              <p:cNvPr id="2754" name="Freeform 425">
                <a:extLst>
                  <a:ext uri="{FF2B5EF4-FFF2-40B4-BE49-F238E27FC236}">
                    <a16:creationId xmlns:a16="http://schemas.microsoft.com/office/drawing/2014/main" id="{560AAF28-43FF-9750-197F-6C2E3057ECE6}"/>
                  </a:ext>
                </a:extLst>
              </p:cNvPr>
              <p:cNvSpPr/>
              <p:nvPr/>
            </p:nvSpPr>
            <p:spPr>
              <a:xfrm>
                <a:off x="9776438" y="231071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755" name="Freeform 426">
                <a:extLst>
                  <a:ext uri="{FF2B5EF4-FFF2-40B4-BE49-F238E27FC236}">
                    <a16:creationId xmlns:a16="http://schemas.microsoft.com/office/drawing/2014/main" id="{A52FF8A5-A6DC-F9AB-42BE-E50E90472598}"/>
                  </a:ext>
                </a:extLst>
              </p:cNvPr>
              <p:cNvSpPr/>
              <p:nvPr/>
            </p:nvSpPr>
            <p:spPr>
              <a:xfrm>
                <a:off x="9795139" y="2336016"/>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756" name="Freeform 427">
                <a:extLst>
                  <a:ext uri="{FF2B5EF4-FFF2-40B4-BE49-F238E27FC236}">
                    <a16:creationId xmlns:a16="http://schemas.microsoft.com/office/drawing/2014/main" id="{2CE74286-85DD-39F1-0F5E-54690C16B9E3}"/>
                  </a:ext>
                </a:extLst>
              </p:cNvPr>
              <p:cNvSpPr/>
              <p:nvPr/>
            </p:nvSpPr>
            <p:spPr>
              <a:xfrm>
                <a:off x="9832720" y="231071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757" name="Freeform 428">
                <a:extLst>
                  <a:ext uri="{FF2B5EF4-FFF2-40B4-BE49-F238E27FC236}">
                    <a16:creationId xmlns:a16="http://schemas.microsoft.com/office/drawing/2014/main" id="{4ACAF0C5-070A-3850-C446-F1E0D2928672}"/>
                  </a:ext>
                </a:extLst>
              </p:cNvPr>
              <p:cNvSpPr/>
              <p:nvPr/>
            </p:nvSpPr>
            <p:spPr>
              <a:xfrm>
                <a:off x="9816189" y="2336016"/>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758" name="Freeform 429">
                <a:extLst>
                  <a:ext uri="{FF2B5EF4-FFF2-40B4-BE49-F238E27FC236}">
                    <a16:creationId xmlns:a16="http://schemas.microsoft.com/office/drawing/2014/main" id="{1B58C198-9604-AECA-32C1-0F516E9B42EF}"/>
                  </a:ext>
                </a:extLst>
              </p:cNvPr>
              <p:cNvSpPr/>
              <p:nvPr/>
            </p:nvSpPr>
            <p:spPr>
              <a:xfrm>
                <a:off x="9853771" y="231071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759" name="Freeform 430">
                <a:extLst>
                  <a:ext uri="{FF2B5EF4-FFF2-40B4-BE49-F238E27FC236}">
                    <a16:creationId xmlns:a16="http://schemas.microsoft.com/office/drawing/2014/main" id="{E8BDA42C-0940-CB8A-6C3B-86555A6B956A}"/>
                  </a:ext>
                </a:extLst>
              </p:cNvPr>
              <p:cNvSpPr/>
              <p:nvPr/>
            </p:nvSpPr>
            <p:spPr>
              <a:xfrm>
                <a:off x="9879329" y="2336016"/>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760" name="Freeform 431">
                <a:extLst>
                  <a:ext uri="{FF2B5EF4-FFF2-40B4-BE49-F238E27FC236}">
                    <a16:creationId xmlns:a16="http://schemas.microsoft.com/office/drawing/2014/main" id="{A729FAA0-3709-8B4D-2DED-C1068F9280F4}"/>
                  </a:ext>
                </a:extLst>
              </p:cNvPr>
              <p:cNvSpPr/>
              <p:nvPr/>
            </p:nvSpPr>
            <p:spPr>
              <a:xfrm>
                <a:off x="9916911" y="231071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761" name="Freeform 432">
                <a:extLst>
                  <a:ext uri="{FF2B5EF4-FFF2-40B4-BE49-F238E27FC236}">
                    <a16:creationId xmlns:a16="http://schemas.microsoft.com/office/drawing/2014/main" id="{50A53D20-8255-D985-20C7-3304B62E445F}"/>
                  </a:ext>
                </a:extLst>
              </p:cNvPr>
              <p:cNvSpPr/>
              <p:nvPr/>
            </p:nvSpPr>
            <p:spPr>
              <a:xfrm>
                <a:off x="9907386" y="2336016"/>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762" name="Freeform 433">
                <a:extLst>
                  <a:ext uri="{FF2B5EF4-FFF2-40B4-BE49-F238E27FC236}">
                    <a16:creationId xmlns:a16="http://schemas.microsoft.com/office/drawing/2014/main" id="{2AE26FA3-C659-1BFD-C4A4-23B0206BFD90}"/>
                  </a:ext>
                </a:extLst>
              </p:cNvPr>
              <p:cNvSpPr/>
              <p:nvPr/>
            </p:nvSpPr>
            <p:spPr>
              <a:xfrm>
                <a:off x="9944967" y="231071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763" name="Freeform 434">
                <a:extLst>
                  <a:ext uri="{FF2B5EF4-FFF2-40B4-BE49-F238E27FC236}">
                    <a16:creationId xmlns:a16="http://schemas.microsoft.com/office/drawing/2014/main" id="{A9E9EFD7-D7DD-E663-C4F8-74EFFCC24E05}"/>
                  </a:ext>
                </a:extLst>
              </p:cNvPr>
              <p:cNvSpPr/>
              <p:nvPr/>
            </p:nvSpPr>
            <p:spPr>
              <a:xfrm>
                <a:off x="9956492" y="2336016"/>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764" name="Freeform 435">
                <a:extLst>
                  <a:ext uri="{FF2B5EF4-FFF2-40B4-BE49-F238E27FC236}">
                    <a16:creationId xmlns:a16="http://schemas.microsoft.com/office/drawing/2014/main" id="{CBCE4C3D-E2C4-0D46-2B52-015526E47420}"/>
                  </a:ext>
                </a:extLst>
              </p:cNvPr>
              <p:cNvSpPr/>
              <p:nvPr/>
            </p:nvSpPr>
            <p:spPr>
              <a:xfrm>
                <a:off x="9994074" y="231071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765" name="Freeform 436">
                <a:extLst>
                  <a:ext uri="{FF2B5EF4-FFF2-40B4-BE49-F238E27FC236}">
                    <a16:creationId xmlns:a16="http://schemas.microsoft.com/office/drawing/2014/main" id="{1B33EDC5-D8CC-9F34-BBC9-9F264E363595}"/>
                  </a:ext>
                </a:extLst>
              </p:cNvPr>
              <p:cNvSpPr/>
              <p:nvPr/>
            </p:nvSpPr>
            <p:spPr>
              <a:xfrm>
                <a:off x="9970526" y="2336016"/>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766" name="Freeform 437">
                <a:extLst>
                  <a:ext uri="{FF2B5EF4-FFF2-40B4-BE49-F238E27FC236}">
                    <a16:creationId xmlns:a16="http://schemas.microsoft.com/office/drawing/2014/main" id="{51088D6A-05C5-E1E9-094D-F5980E70FD3E}"/>
                  </a:ext>
                </a:extLst>
              </p:cNvPr>
              <p:cNvSpPr/>
              <p:nvPr/>
            </p:nvSpPr>
            <p:spPr>
              <a:xfrm>
                <a:off x="10008107" y="231071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767" name="Freeform 438">
                <a:extLst>
                  <a:ext uri="{FF2B5EF4-FFF2-40B4-BE49-F238E27FC236}">
                    <a16:creationId xmlns:a16="http://schemas.microsoft.com/office/drawing/2014/main" id="{E6D8A8D8-71F0-7D96-E997-7F93705CA2B3}"/>
                  </a:ext>
                </a:extLst>
              </p:cNvPr>
              <p:cNvSpPr/>
              <p:nvPr/>
            </p:nvSpPr>
            <p:spPr>
              <a:xfrm>
                <a:off x="9991576" y="2336016"/>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768" name="Freeform 439">
                <a:extLst>
                  <a:ext uri="{FF2B5EF4-FFF2-40B4-BE49-F238E27FC236}">
                    <a16:creationId xmlns:a16="http://schemas.microsoft.com/office/drawing/2014/main" id="{209A0530-DED4-00B1-70BB-5060EC4AAFE3}"/>
                  </a:ext>
                </a:extLst>
              </p:cNvPr>
              <p:cNvSpPr/>
              <p:nvPr/>
            </p:nvSpPr>
            <p:spPr>
              <a:xfrm>
                <a:off x="10029158" y="231071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769" name="Freeform 440">
                <a:extLst>
                  <a:ext uri="{FF2B5EF4-FFF2-40B4-BE49-F238E27FC236}">
                    <a16:creationId xmlns:a16="http://schemas.microsoft.com/office/drawing/2014/main" id="{40B5F7AB-82C6-1EE8-9946-4F5F4394BD6B}"/>
                  </a:ext>
                </a:extLst>
              </p:cNvPr>
              <p:cNvSpPr/>
              <p:nvPr/>
            </p:nvSpPr>
            <p:spPr>
              <a:xfrm>
                <a:off x="10033666" y="2336016"/>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770" name="Freeform 441">
                <a:extLst>
                  <a:ext uri="{FF2B5EF4-FFF2-40B4-BE49-F238E27FC236}">
                    <a16:creationId xmlns:a16="http://schemas.microsoft.com/office/drawing/2014/main" id="{B52A444C-1F0F-4B22-BA52-EF5B8C8E53A3}"/>
                  </a:ext>
                </a:extLst>
              </p:cNvPr>
              <p:cNvSpPr/>
              <p:nvPr/>
            </p:nvSpPr>
            <p:spPr>
              <a:xfrm>
                <a:off x="10071247" y="231071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771" name="Freeform 442">
                <a:extLst>
                  <a:ext uri="{FF2B5EF4-FFF2-40B4-BE49-F238E27FC236}">
                    <a16:creationId xmlns:a16="http://schemas.microsoft.com/office/drawing/2014/main" id="{4A8846E9-308E-3FB8-79C0-596A15B4A074}"/>
                  </a:ext>
                </a:extLst>
              </p:cNvPr>
              <p:cNvSpPr/>
              <p:nvPr/>
            </p:nvSpPr>
            <p:spPr>
              <a:xfrm>
                <a:off x="10230093" y="2586195"/>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772" name="Freeform 443">
                <a:extLst>
                  <a:ext uri="{FF2B5EF4-FFF2-40B4-BE49-F238E27FC236}">
                    <a16:creationId xmlns:a16="http://schemas.microsoft.com/office/drawing/2014/main" id="{788549D6-3B9A-1472-3C64-64E659688A85}"/>
                  </a:ext>
                </a:extLst>
              </p:cNvPr>
              <p:cNvSpPr/>
              <p:nvPr/>
            </p:nvSpPr>
            <p:spPr>
              <a:xfrm>
                <a:off x="10267674" y="256090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773" name="Freeform 444">
                <a:extLst>
                  <a:ext uri="{FF2B5EF4-FFF2-40B4-BE49-F238E27FC236}">
                    <a16:creationId xmlns:a16="http://schemas.microsoft.com/office/drawing/2014/main" id="{D28F8A9E-B5D8-6021-8210-9E8D90A73A1D}"/>
                  </a:ext>
                </a:extLst>
              </p:cNvPr>
              <p:cNvSpPr/>
              <p:nvPr/>
            </p:nvSpPr>
            <p:spPr>
              <a:xfrm>
                <a:off x="10363390" y="2586195"/>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774" name="Freeform 445">
                <a:extLst>
                  <a:ext uri="{FF2B5EF4-FFF2-40B4-BE49-F238E27FC236}">
                    <a16:creationId xmlns:a16="http://schemas.microsoft.com/office/drawing/2014/main" id="{3152A418-A044-C639-5022-56B14BBACAD6}"/>
                  </a:ext>
                </a:extLst>
              </p:cNvPr>
              <p:cNvSpPr/>
              <p:nvPr/>
            </p:nvSpPr>
            <p:spPr>
              <a:xfrm>
                <a:off x="10400971" y="256090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775" name="Freeform 446">
                <a:extLst>
                  <a:ext uri="{FF2B5EF4-FFF2-40B4-BE49-F238E27FC236}">
                    <a16:creationId xmlns:a16="http://schemas.microsoft.com/office/drawing/2014/main" id="{59BCC818-7104-84F5-BE1D-49376608130E}"/>
                  </a:ext>
                </a:extLst>
              </p:cNvPr>
              <p:cNvSpPr/>
              <p:nvPr/>
            </p:nvSpPr>
            <p:spPr>
              <a:xfrm>
                <a:off x="10454586" y="2586195"/>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endParaRPr lang="en-US" sz="1800"/>
              </a:p>
            </p:txBody>
          </p:sp>
          <p:sp>
            <p:nvSpPr>
              <p:cNvPr id="2776" name="Freeform 447">
                <a:extLst>
                  <a:ext uri="{FF2B5EF4-FFF2-40B4-BE49-F238E27FC236}">
                    <a16:creationId xmlns:a16="http://schemas.microsoft.com/office/drawing/2014/main" id="{274A4F45-1883-97CA-C08A-9E854E5ACAE6}"/>
                  </a:ext>
                </a:extLst>
              </p:cNvPr>
              <p:cNvSpPr/>
              <p:nvPr/>
            </p:nvSpPr>
            <p:spPr>
              <a:xfrm>
                <a:off x="10492168" y="256090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777" name="Freeform 448">
                <a:extLst>
                  <a:ext uri="{FF2B5EF4-FFF2-40B4-BE49-F238E27FC236}">
                    <a16:creationId xmlns:a16="http://schemas.microsoft.com/office/drawing/2014/main" id="{0ABA5DC7-4AEC-8A3A-7ED4-3C4836E08164}"/>
                  </a:ext>
                </a:extLst>
              </p:cNvPr>
              <p:cNvSpPr/>
              <p:nvPr/>
            </p:nvSpPr>
            <p:spPr>
              <a:xfrm>
                <a:off x="10650960" y="2586195"/>
                <a:ext cx="75247" cy="10583"/>
              </a:xfrm>
              <a:custGeom>
                <a:avLst/>
                <a:gdLst>
                  <a:gd name="connsiteX0" fmla="*/ 0 w 75247"/>
                  <a:gd name="connsiteY0" fmla="*/ 0 h 10583"/>
                  <a:gd name="connsiteX1" fmla="*/ 75248 w 75247"/>
                  <a:gd name="connsiteY1" fmla="*/ 0 h 10583"/>
                </a:gdLst>
                <a:ahLst/>
                <a:cxnLst>
                  <a:cxn ang="0">
                    <a:pos x="connsiteX0" y="connsiteY0"/>
                  </a:cxn>
                  <a:cxn ang="0">
                    <a:pos x="connsiteX1" y="connsiteY1"/>
                  </a:cxn>
                </a:cxnLst>
                <a:rect l="l" t="t" r="r" b="b"/>
                <a:pathLst>
                  <a:path w="75247" h="10583">
                    <a:moveTo>
                      <a:pt x="0" y="0"/>
                    </a:moveTo>
                    <a:lnTo>
                      <a:pt x="75248" y="0"/>
                    </a:lnTo>
                  </a:path>
                </a:pathLst>
              </a:custGeom>
              <a:ln w="12700" cap="sq">
                <a:solidFill>
                  <a:srgbClr val="002985"/>
                </a:solidFill>
                <a:prstDash val="solid"/>
                <a:miter/>
              </a:ln>
            </p:spPr>
            <p:txBody>
              <a:bodyPr rtlCol="0" anchor="ctr"/>
              <a:lstStyle/>
              <a:p>
                <a:endParaRPr lang="en-US" sz="1800"/>
              </a:p>
            </p:txBody>
          </p:sp>
          <p:sp>
            <p:nvSpPr>
              <p:cNvPr id="2778" name="Freeform 449">
                <a:extLst>
                  <a:ext uri="{FF2B5EF4-FFF2-40B4-BE49-F238E27FC236}">
                    <a16:creationId xmlns:a16="http://schemas.microsoft.com/office/drawing/2014/main" id="{E6F2AFCC-BFDC-9F22-5A33-C543D495561A}"/>
                  </a:ext>
                </a:extLst>
              </p:cNvPr>
              <p:cNvSpPr/>
              <p:nvPr/>
            </p:nvSpPr>
            <p:spPr>
              <a:xfrm>
                <a:off x="10688637" y="256090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779" name="Freeform 450">
                <a:extLst>
                  <a:ext uri="{FF2B5EF4-FFF2-40B4-BE49-F238E27FC236}">
                    <a16:creationId xmlns:a16="http://schemas.microsoft.com/office/drawing/2014/main" id="{1420428E-871C-6088-0930-ADAB671EA65E}"/>
                  </a:ext>
                </a:extLst>
              </p:cNvPr>
              <p:cNvSpPr/>
              <p:nvPr/>
            </p:nvSpPr>
            <p:spPr>
              <a:xfrm>
                <a:off x="10728219" y="2586195"/>
                <a:ext cx="75141" cy="10583"/>
              </a:xfrm>
              <a:custGeom>
                <a:avLst/>
                <a:gdLst>
                  <a:gd name="connsiteX0" fmla="*/ 0 w 75141"/>
                  <a:gd name="connsiteY0" fmla="*/ 0 h 10583"/>
                  <a:gd name="connsiteX1" fmla="*/ 75141 w 75141"/>
                  <a:gd name="connsiteY1" fmla="*/ 0 h 10583"/>
                </a:gdLst>
                <a:ahLst/>
                <a:cxnLst>
                  <a:cxn ang="0">
                    <a:pos x="connsiteX0" y="connsiteY0"/>
                  </a:cxn>
                  <a:cxn ang="0">
                    <a:pos x="connsiteX1" y="connsiteY1"/>
                  </a:cxn>
                </a:cxnLst>
                <a:rect l="l" t="t" r="r" b="b"/>
                <a:pathLst>
                  <a:path w="75141" h="10583">
                    <a:moveTo>
                      <a:pt x="0" y="0"/>
                    </a:moveTo>
                    <a:lnTo>
                      <a:pt x="75141" y="0"/>
                    </a:lnTo>
                  </a:path>
                </a:pathLst>
              </a:custGeom>
              <a:ln w="12700" cap="sq">
                <a:solidFill>
                  <a:srgbClr val="002985"/>
                </a:solidFill>
                <a:prstDash val="solid"/>
                <a:miter/>
              </a:ln>
            </p:spPr>
            <p:txBody>
              <a:bodyPr rtlCol="0" anchor="ctr"/>
              <a:lstStyle/>
              <a:p>
                <a:endParaRPr lang="en-US" sz="1800"/>
              </a:p>
            </p:txBody>
          </p:sp>
          <p:sp>
            <p:nvSpPr>
              <p:cNvPr id="2780" name="Freeform 451">
                <a:extLst>
                  <a:ext uri="{FF2B5EF4-FFF2-40B4-BE49-F238E27FC236}">
                    <a16:creationId xmlns:a16="http://schemas.microsoft.com/office/drawing/2014/main" id="{8F6D968E-8172-719A-CA69-50519F902779}"/>
                  </a:ext>
                </a:extLst>
              </p:cNvPr>
              <p:cNvSpPr/>
              <p:nvPr/>
            </p:nvSpPr>
            <p:spPr>
              <a:xfrm>
                <a:off x="10765789" y="256090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781" name="Freeform 452">
                <a:extLst>
                  <a:ext uri="{FF2B5EF4-FFF2-40B4-BE49-F238E27FC236}">
                    <a16:creationId xmlns:a16="http://schemas.microsoft.com/office/drawing/2014/main" id="{14063DCD-D3AD-1069-99A3-3A1EC5D219AB}"/>
                  </a:ext>
                </a:extLst>
              </p:cNvPr>
              <p:cNvSpPr/>
              <p:nvPr/>
            </p:nvSpPr>
            <p:spPr>
              <a:xfrm>
                <a:off x="10777325" y="2586195"/>
                <a:ext cx="75141" cy="10583"/>
              </a:xfrm>
              <a:custGeom>
                <a:avLst/>
                <a:gdLst>
                  <a:gd name="connsiteX0" fmla="*/ 0 w 75141"/>
                  <a:gd name="connsiteY0" fmla="*/ 0 h 10583"/>
                  <a:gd name="connsiteX1" fmla="*/ 75142 w 75141"/>
                  <a:gd name="connsiteY1" fmla="*/ 0 h 10583"/>
                </a:gdLst>
                <a:ahLst/>
                <a:cxnLst>
                  <a:cxn ang="0">
                    <a:pos x="connsiteX0" y="connsiteY0"/>
                  </a:cxn>
                  <a:cxn ang="0">
                    <a:pos x="connsiteX1" y="connsiteY1"/>
                  </a:cxn>
                </a:cxnLst>
                <a:rect l="l" t="t" r="r" b="b"/>
                <a:pathLst>
                  <a:path w="75141" h="10583">
                    <a:moveTo>
                      <a:pt x="0" y="0"/>
                    </a:moveTo>
                    <a:lnTo>
                      <a:pt x="75142" y="0"/>
                    </a:lnTo>
                  </a:path>
                </a:pathLst>
              </a:custGeom>
              <a:ln w="12700" cap="sq">
                <a:solidFill>
                  <a:srgbClr val="002985"/>
                </a:solidFill>
                <a:prstDash val="solid"/>
                <a:miter/>
              </a:ln>
            </p:spPr>
            <p:txBody>
              <a:bodyPr rtlCol="0" anchor="ctr"/>
              <a:lstStyle/>
              <a:p>
                <a:endParaRPr lang="en-US" sz="1800"/>
              </a:p>
            </p:txBody>
          </p:sp>
          <p:sp>
            <p:nvSpPr>
              <p:cNvPr id="2782" name="Freeform 453">
                <a:extLst>
                  <a:ext uri="{FF2B5EF4-FFF2-40B4-BE49-F238E27FC236}">
                    <a16:creationId xmlns:a16="http://schemas.microsoft.com/office/drawing/2014/main" id="{097632A9-CCC9-5365-49B0-682CA14C6211}"/>
                  </a:ext>
                </a:extLst>
              </p:cNvPr>
              <p:cNvSpPr/>
              <p:nvPr/>
            </p:nvSpPr>
            <p:spPr>
              <a:xfrm>
                <a:off x="10814896" y="256090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783" name="Freeform 454">
                <a:extLst>
                  <a:ext uri="{FF2B5EF4-FFF2-40B4-BE49-F238E27FC236}">
                    <a16:creationId xmlns:a16="http://schemas.microsoft.com/office/drawing/2014/main" id="{3B003D01-62EF-E4F0-3FB2-D30E11C1CA60}"/>
                  </a:ext>
                </a:extLst>
              </p:cNvPr>
              <p:cNvSpPr/>
              <p:nvPr/>
            </p:nvSpPr>
            <p:spPr>
              <a:xfrm>
                <a:off x="10798386" y="2586195"/>
                <a:ext cx="75141" cy="10583"/>
              </a:xfrm>
              <a:custGeom>
                <a:avLst/>
                <a:gdLst>
                  <a:gd name="connsiteX0" fmla="*/ 0 w 75141"/>
                  <a:gd name="connsiteY0" fmla="*/ 0 h 10583"/>
                  <a:gd name="connsiteX1" fmla="*/ 75142 w 75141"/>
                  <a:gd name="connsiteY1" fmla="*/ 0 h 10583"/>
                </a:gdLst>
                <a:ahLst/>
                <a:cxnLst>
                  <a:cxn ang="0">
                    <a:pos x="connsiteX0" y="connsiteY0"/>
                  </a:cxn>
                  <a:cxn ang="0">
                    <a:pos x="connsiteX1" y="connsiteY1"/>
                  </a:cxn>
                </a:cxnLst>
                <a:rect l="l" t="t" r="r" b="b"/>
                <a:pathLst>
                  <a:path w="75141" h="10583">
                    <a:moveTo>
                      <a:pt x="0" y="0"/>
                    </a:moveTo>
                    <a:lnTo>
                      <a:pt x="75142" y="0"/>
                    </a:lnTo>
                  </a:path>
                </a:pathLst>
              </a:custGeom>
              <a:ln w="12700" cap="sq">
                <a:solidFill>
                  <a:srgbClr val="002985"/>
                </a:solidFill>
                <a:prstDash val="solid"/>
                <a:miter/>
              </a:ln>
            </p:spPr>
            <p:txBody>
              <a:bodyPr rtlCol="0" anchor="ctr"/>
              <a:lstStyle/>
              <a:p>
                <a:endParaRPr lang="en-US" sz="1800"/>
              </a:p>
            </p:txBody>
          </p:sp>
          <p:sp>
            <p:nvSpPr>
              <p:cNvPr id="2784" name="Freeform 455">
                <a:extLst>
                  <a:ext uri="{FF2B5EF4-FFF2-40B4-BE49-F238E27FC236}">
                    <a16:creationId xmlns:a16="http://schemas.microsoft.com/office/drawing/2014/main" id="{42720B30-59D8-3263-61ED-7D15A8446660}"/>
                  </a:ext>
                </a:extLst>
              </p:cNvPr>
              <p:cNvSpPr/>
              <p:nvPr/>
            </p:nvSpPr>
            <p:spPr>
              <a:xfrm>
                <a:off x="10835957" y="256090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785" name="Freeform 456">
                <a:extLst>
                  <a:ext uri="{FF2B5EF4-FFF2-40B4-BE49-F238E27FC236}">
                    <a16:creationId xmlns:a16="http://schemas.microsoft.com/office/drawing/2014/main" id="{8E7BC49A-4FEA-B247-6E7B-D6BDDA199D20}"/>
                  </a:ext>
                </a:extLst>
              </p:cNvPr>
              <p:cNvSpPr/>
              <p:nvPr/>
            </p:nvSpPr>
            <p:spPr>
              <a:xfrm>
                <a:off x="10854478" y="2586195"/>
                <a:ext cx="75141" cy="10583"/>
              </a:xfrm>
              <a:custGeom>
                <a:avLst/>
                <a:gdLst>
                  <a:gd name="connsiteX0" fmla="*/ 0 w 75141"/>
                  <a:gd name="connsiteY0" fmla="*/ 0 h 10583"/>
                  <a:gd name="connsiteX1" fmla="*/ 75141 w 75141"/>
                  <a:gd name="connsiteY1" fmla="*/ 0 h 10583"/>
                </a:gdLst>
                <a:ahLst/>
                <a:cxnLst>
                  <a:cxn ang="0">
                    <a:pos x="connsiteX0" y="connsiteY0"/>
                  </a:cxn>
                  <a:cxn ang="0">
                    <a:pos x="connsiteX1" y="connsiteY1"/>
                  </a:cxn>
                </a:cxnLst>
                <a:rect l="l" t="t" r="r" b="b"/>
                <a:pathLst>
                  <a:path w="75141" h="10583">
                    <a:moveTo>
                      <a:pt x="0" y="0"/>
                    </a:moveTo>
                    <a:lnTo>
                      <a:pt x="75141" y="0"/>
                    </a:lnTo>
                  </a:path>
                </a:pathLst>
              </a:custGeom>
              <a:ln w="12700" cap="sq">
                <a:solidFill>
                  <a:srgbClr val="002985"/>
                </a:solidFill>
                <a:prstDash val="solid"/>
                <a:miter/>
              </a:ln>
            </p:spPr>
            <p:txBody>
              <a:bodyPr rtlCol="0" anchor="ctr"/>
              <a:lstStyle/>
              <a:p>
                <a:endParaRPr lang="en-US" sz="1800"/>
              </a:p>
            </p:txBody>
          </p:sp>
          <p:sp>
            <p:nvSpPr>
              <p:cNvPr id="2786" name="Freeform 457">
                <a:extLst>
                  <a:ext uri="{FF2B5EF4-FFF2-40B4-BE49-F238E27FC236}">
                    <a16:creationId xmlns:a16="http://schemas.microsoft.com/office/drawing/2014/main" id="{4F669250-B61F-2110-55D3-ADAF69886CB9}"/>
                  </a:ext>
                </a:extLst>
              </p:cNvPr>
              <p:cNvSpPr/>
              <p:nvPr/>
            </p:nvSpPr>
            <p:spPr>
              <a:xfrm>
                <a:off x="10892049" y="256090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sp>
            <p:nvSpPr>
              <p:cNvPr id="2787" name="Freeform 458">
                <a:extLst>
                  <a:ext uri="{FF2B5EF4-FFF2-40B4-BE49-F238E27FC236}">
                    <a16:creationId xmlns:a16="http://schemas.microsoft.com/office/drawing/2014/main" id="{EC35ECA5-9A34-8AC9-FBEB-667AAA9B842E}"/>
                  </a:ext>
                </a:extLst>
              </p:cNvPr>
              <p:cNvSpPr/>
              <p:nvPr/>
            </p:nvSpPr>
            <p:spPr>
              <a:xfrm>
                <a:off x="11464819" y="2586195"/>
                <a:ext cx="75141" cy="10583"/>
              </a:xfrm>
              <a:custGeom>
                <a:avLst/>
                <a:gdLst>
                  <a:gd name="connsiteX0" fmla="*/ 0 w 75141"/>
                  <a:gd name="connsiteY0" fmla="*/ 0 h 10583"/>
                  <a:gd name="connsiteX1" fmla="*/ 75142 w 75141"/>
                  <a:gd name="connsiteY1" fmla="*/ 0 h 10583"/>
                </a:gdLst>
                <a:ahLst/>
                <a:cxnLst>
                  <a:cxn ang="0">
                    <a:pos x="connsiteX0" y="connsiteY0"/>
                  </a:cxn>
                  <a:cxn ang="0">
                    <a:pos x="connsiteX1" y="connsiteY1"/>
                  </a:cxn>
                </a:cxnLst>
                <a:rect l="l" t="t" r="r" b="b"/>
                <a:pathLst>
                  <a:path w="75141" h="10583">
                    <a:moveTo>
                      <a:pt x="0" y="0"/>
                    </a:moveTo>
                    <a:lnTo>
                      <a:pt x="75142" y="0"/>
                    </a:lnTo>
                  </a:path>
                </a:pathLst>
              </a:custGeom>
              <a:ln w="12700" cap="sq">
                <a:solidFill>
                  <a:srgbClr val="002985"/>
                </a:solidFill>
                <a:prstDash val="solid"/>
                <a:miter/>
              </a:ln>
            </p:spPr>
            <p:txBody>
              <a:bodyPr rtlCol="0" anchor="ctr"/>
              <a:lstStyle/>
              <a:p>
                <a:endParaRPr lang="en-US" sz="1800"/>
              </a:p>
            </p:txBody>
          </p:sp>
          <p:sp>
            <p:nvSpPr>
              <p:cNvPr id="2788" name="Freeform 459">
                <a:extLst>
                  <a:ext uri="{FF2B5EF4-FFF2-40B4-BE49-F238E27FC236}">
                    <a16:creationId xmlns:a16="http://schemas.microsoft.com/office/drawing/2014/main" id="{A0C5A977-23AF-9C2D-82F7-D8D15D473C56}"/>
                  </a:ext>
                </a:extLst>
              </p:cNvPr>
              <p:cNvSpPr/>
              <p:nvPr/>
            </p:nvSpPr>
            <p:spPr>
              <a:xfrm>
                <a:off x="11502389" y="256090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endParaRPr lang="en-US" sz="1800"/>
              </a:p>
            </p:txBody>
          </p:sp>
        </p:grpSp>
        <p:grpSp>
          <p:nvGrpSpPr>
            <p:cNvPr id="1917" name="Graphic 3">
              <a:extLst>
                <a:ext uri="{FF2B5EF4-FFF2-40B4-BE49-F238E27FC236}">
                  <a16:creationId xmlns:a16="http://schemas.microsoft.com/office/drawing/2014/main" id="{83041294-589C-B5D4-368A-BC258ED23DA3}"/>
                </a:ext>
              </a:extLst>
            </p:cNvPr>
            <p:cNvGrpSpPr/>
            <p:nvPr/>
          </p:nvGrpSpPr>
          <p:grpSpPr>
            <a:xfrm>
              <a:off x="1240836" y="1807460"/>
              <a:ext cx="8804194" cy="1620731"/>
              <a:chOff x="1467653" y="1201704"/>
              <a:chExt cx="9679453" cy="1771174"/>
            </a:xfrm>
            <a:noFill/>
          </p:grpSpPr>
          <p:sp>
            <p:nvSpPr>
              <p:cNvPr id="2076" name="Freeform 461">
                <a:extLst>
                  <a:ext uri="{FF2B5EF4-FFF2-40B4-BE49-F238E27FC236}">
                    <a16:creationId xmlns:a16="http://schemas.microsoft.com/office/drawing/2014/main" id="{19C3B685-D1C2-9B41-ABEF-44056AC34711}"/>
                  </a:ext>
                </a:extLst>
              </p:cNvPr>
              <p:cNvSpPr/>
              <p:nvPr/>
            </p:nvSpPr>
            <p:spPr>
              <a:xfrm>
                <a:off x="1498218" y="1227009"/>
                <a:ext cx="9611318" cy="1720574"/>
              </a:xfrm>
              <a:custGeom>
                <a:avLst/>
                <a:gdLst>
                  <a:gd name="connsiteX0" fmla="*/ 0 w 9611318"/>
                  <a:gd name="connsiteY0" fmla="*/ 0 h 1720574"/>
                  <a:gd name="connsiteX1" fmla="*/ 56124 w 9611318"/>
                  <a:gd name="connsiteY1" fmla="*/ 0 h 1720574"/>
                  <a:gd name="connsiteX2" fmla="*/ 56124 w 9611318"/>
                  <a:gd name="connsiteY2" fmla="*/ 13832 h 1720574"/>
                  <a:gd name="connsiteX3" fmla="*/ 224494 w 9611318"/>
                  <a:gd name="connsiteY3" fmla="*/ 13832 h 1720574"/>
                  <a:gd name="connsiteX4" fmla="*/ 224494 w 9611318"/>
                  <a:gd name="connsiteY4" fmla="*/ 27771 h 1720574"/>
                  <a:gd name="connsiteX5" fmla="*/ 273664 w 9611318"/>
                  <a:gd name="connsiteY5" fmla="*/ 27771 h 1720574"/>
                  <a:gd name="connsiteX6" fmla="*/ 273664 w 9611318"/>
                  <a:gd name="connsiteY6" fmla="*/ 41825 h 1720574"/>
                  <a:gd name="connsiteX7" fmla="*/ 308748 w 9611318"/>
                  <a:gd name="connsiteY7" fmla="*/ 41825 h 1720574"/>
                  <a:gd name="connsiteX8" fmla="*/ 308748 w 9611318"/>
                  <a:gd name="connsiteY8" fmla="*/ 55880 h 1720574"/>
                  <a:gd name="connsiteX9" fmla="*/ 498158 w 9611318"/>
                  <a:gd name="connsiteY9" fmla="*/ 55880 h 1720574"/>
                  <a:gd name="connsiteX10" fmla="*/ 498158 w 9611318"/>
                  <a:gd name="connsiteY10" fmla="*/ 69935 h 1720574"/>
                  <a:gd name="connsiteX11" fmla="*/ 582348 w 9611318"/>
                  <a:gd name="connsiteY11" fmla="*/ 69935 h 1720574"/>
                  <a:gd name="connsiteX12" fmla="*/ 582348 w 9611318"/>
                  <a:gd name="connsiteY12" fmla="*/ 84106 h 1720574"/>
                  <a:gd name="connsiteX13" fmla="*/ 617421 w 9611318"/>
                  <a:gd name="connsiteY13" fmla="*/ 84106 h 1720574"/>
                  <a:gd name="connsiteX14" fmla="*/ 617421 w 9611318"/>
                  <a:gd name="connsiteY14" fmla="*/ 98160 h 1720574"/>
                  <a:gd name="connsiteX15" fmla="*/ 631455 w 9611318"/>
                  <a:gd name="connsiteY15" fmla="*/ 98160 h 1720574"/>
                  <a:gd name="connsiteX16" fmla="*/ 631455 w 9611318"/>
                  <a:gd name="connsiteY16" fmla="*/ 112215 h 1720574"/>
                  <a:gd name="connsiteX17" fmla="*/ 750718 w 9611318"/>
                  <a:gd name="connsiteY17" fmla="*/ 112215 h 1720574"/>
                  <a:gd name="connsiteX18" fmla="*/ 750718 w 9611318"/>
                  <a:gd name="connsiteY18" fmla="*/ 126492 h 1720574"/>
                  <a:gd name="connsiteX19" fmla="*/ 1115515 w 9611318"/>
                  <a:gd name="connsiteY19" fmla="*/ 126492 h 1720574"/>
                  <a:gd name="connsiteX20" fmla="*/ 1115515 w 9611318"/>
                  <a:gd name="connsiteY20" fmla="*/ 140885 h 1720574"/>
                  <a:gd name="connsiteX21" fmla="*/ 1129549 w 9611318"/>
                  <a:gd name="connsiteY21" fmla="*/ 140885 h 1720574"/>
                  <a:gd name="connsiteX22" fmla="*/ 1129549 w 9611318"/>
                  <a:gd name="connsiteY22" fmla="*/ 155279 h 1720574"/>
                  <a:gd name="connsiteX23" fmla="*/ 1199695 w 9611318"/>
                  <a:gd name="connsiteY23" fmla="*/ 155279 h 1720574"/>
                  <a:gd name="connsiteX24" fmla="*/ 1199695 w 9611318"/>
                  <a:gd name="connsiteY24" fmla="*/ 169672 h 1720574"/>
                  <a:gd name="connsiteX25" fmla="*/ 1206712 w 9611318"/>
                  <a:gd name="connsiteY25" fmla="*/ 169672 h 1720574"/>
                  <a:gd name="connsiteX26" fmla="*/ 1206712 w 9611318"/>
                  <a:gd name="connsiteY26" fmla="*/ 184065 h 1720574"/>
                  <a:gd name="connsiteX27" fmla="*/ 1276869 w 9611318"/>
                  <a:gd name="connsiteY27" fmla="*/ 184065 h 1720574"/>
                  <a:gd name="connsiteX28" fmla="*/ 1276869 w 9611318"/>
                  <a:gd name="connsiteY28" fmla="*/ 198459 h 1720574"/>
                  <a:gd name="connsiteX29" fmla="*/ 1332992 w 9611318"/>
                  <a:gd name="connsiteY29" fmla="*/ 198459 h 1720574"/>
                  <a:gd name="connsiteX30" fmla="*/ 1332992 w 9611318"/>
                  <a:gd name="connsiteY30" fmla="*/ 212852 h 1720574"/>
                  <a:gd name="connsiteX31" fmla="*/ 1417172 w 9611318"/>
                  <a:gd name="connsiteY31" fmla="*/ 212852 h 1720574"/>
                  <a:gd name="connsiteX32" fmla="*/ 1417172 w 9611318"/>
                  <a:gd name="connsiteY32" fmla="*/ 227245 h 1720574"/>
                  <a:gd name="connsiteX33" fmla="*/ 1452256 w 9611318"/>
                  <a:gd name="connsiteY33" fmla="*/ 227245 h 1720574"/>
                  <a:gd name="connsiteX34" fmla="*/ 1452256 w 9611318"/>
                  <a:gd name="connsiteY34" fmla="*/ 241639 h 1720574"/>
                  <a:gd name="connsiteX35" fmla="*/ 1473296 w 9611318"/>
                  <a:gd name="connsiteY35" fmla="*/ 241639 h 1720574"/>
                  <a:gd name="connsiteX36" fmla="*/ 1473296 w 9611318"/>
                  <a:gd name="connsiteY36" fmla="*/ 256032 h 1720574"/>
                  <a:gd name="connsiteX37" fmla="*/ 1767946 w 9611318"/>
                  <a:gd name="connsiteY37" fmla="*/ 256032 h 1720574"/>
                  <a:gd name="connsiteX38" fmla="*/ 1767946 w 9611318"/>
                  <a:gd name="connsiteY38" fmla="*/ 270531 h 1720574"/>
                  <a:gd name="connsiteX39" fmla="*/ 1803019 w 9611318"/>
                  <a:gd name="connsiteY39" fmla="*/ 270531 h 1720574"/>
                  <a:gd name="connsiteX40" fmla="*/ 1803019 w 9611318"/>
                  <a:gd name="connsiteY40" fmla="*/ 284925 h 1720574"/>
                  <a:gd name="connsiteX41" fmla="*/ 1887210 w 9611318"/>
                  <a:gd name="connsiteY41" fmla="*/ 284925 h 1720574"/>
                  <a:gd name="connsiteX42" fmla="*/ 1887210 w 9611318"/>
                  <a:gd name="connsiteY42" fmla="*/ 314050 h 1720574"/>
                  <a:gd name="connsiteX43" fmla="*/ 1929299 w 9611318"/>
                  <a:gd name="connsiteY43" fmla="*/ 314050 h 1720574"/>
                  <a:gd name="connsiteX44" fmla="*/ 1929299 w 9611318"/>
                  <a:gd name="connsiteY44" fmla="*/ 328549 h 1720574"/>
                  <a:gd name="connsiteX45" fmla="*/ 1999457 w 9611318"/>
                  <a:gd name="connsiteY45" fmla="*/ 328549 h 1720574"/>
                  <a:gd name="connsiteX46" fmla="*/ 1999457 w 9611318"/>
                  <a:gd name="connsiteY46" fmla="*/ 343059 h 1720574"/>
                  <a:gd name="connsiteX47" fmla="*/ 2041546 w 9611318"/>
                  <a:gd name="connsiteY47" fmla="*/ 343059 h 1720574"/>
                  <a:gd name="connsiteX48" fmla="*/ 2041546 w 9611318"/>
                  <a:gd name="connsiteY48" fmla="*/ 357558 h 1720574"/>
                  <a:gd name="connsiteX49" fmla="*/ 2188866 w 9611318"/>
                  <a:gd name="connsiteY49" fmla="*/ 357558 h 1720574"/>
                  <a:gd name="connsiteX50" fmla="*/ 2188866 w 9611318"/>
                  <a:gd name="connsiteY50" fmla="*/ 372068 h 1720574"/>
                  <a:gd name="connsiteX51" fmla="*/ 2209917 w 9611318"/>
                  <a:gd name="connsiteY51" fmla="*/ 372068 h 1720574"/>
                  <a:gd name="connsiteX52" fmla="*/ 2209917 w 9611318"/>
                  <a:gd name="connsiteY52" fmla="*/ 386683 h 1720574"/>
                  <a:gd name="connsiteX53" fmla="*/ 2230957 w 9611318"/>
                  <a:gd name="connsiteY53" fmla="*/ 386683 h 1720574"/>
                  <a:gd name="connsiteX54" fmla="*/ 2230957 w 9611318"/>
                  <a:gd name="connsiteY54" fmla="*/ 401193 h 1720574"/>
                  <a:gd name="connsiteX55" fmla="*/ 2237973 w 9611318"/>
                  <a:gd name="connsiteY55" fmla="*/ 401193 h 1720574"/>
                  <a:gd name="connsiteX56" fmla="*/ 2237973 w 9611318"/>
                  <a:gd name="connsiteY56" fmla="*/ 415809 h 1720574"/>
                  <a:gd name="connsiteX57" fmla="*/ 2259024 w 9611318"/>
                  <a:gd name="connsiteY57" fmla="*/ 415809 h 1720574"/>
                  <a:gd name="connsiteX58" fmla="*/ 2259024 w 9611318"/>
                  <a:gd name="connsiteY58" fmla="*/ 430424 h 1720574"/>
                  <a:gd name="connsiteX59" fmla="*/ 2364254 w 9611318"/>
                  <a:gd name="connsiteY59" fmla="*/ 430424 h 1720574"/>
                  <a:gd name="connsiteX60" fmla="*/ 2364254 w 9611318"/>
                  <a:gd name="connsiteY60" fmla="*/ 445040 h 1720574"/>
                  <a:gd name="connsiteX61" fmla="*/ 2385293 w 9611318"/>
                  <a:gd name="connsiteY61" fmla="*/ 445040 h 1720574"/>
                  <a:gd name="connsiteX62" fmla="*/ 2385293 w 9611318"/>
                  <a:gd name="connsiteY62" fmla="*/ 459655 h 1720574"/>
                  <a:gd name="connsiteX63" fmla="*/ 2399327 w 9611318"/>
                  <a:gd name="connsiteY63" fmla="*/ 459655 h 1720574"/>
                  <a:gd name="connsiteX64" fmla="*/ 2399327 w 9611318"/>
                  <a:gd name="connsiteY64" fmla="*/ 474387 h 1720574"/>
                  <a:gd name="connsiteX65" fmla="*/ 2420377 w 9611318"/>
                  <a:gd name="connsiteY65" fmla="*/ 474387 h 1720574"/>
                  <a:gd name="connsiteX66" fmla="*/ 2420377 w 9611318"/>
                  <a:gd name="connsiteY66" fmla="*/ 489003 h 1720574"/>
                  <a:gd name="connsiteX67" fmla="*/ 2455450 w 9611318"/>
                  <a:gd name="connsiteY67" fmla="*/ 489003 h 1720574"/>
                  <a:gd name="connsiteX68" fmla="*/ 2455450 w 9611318"/>
                  <a:gd name="connsiteY68" fmla="*/ 503735 h 1720574"/>
                  <a:gd name="connsiteX69" fmla="*/ 2623820 w 9611318"/>
                  <a:gd name="connsiteY69" fmla="*/ 503735 h 1720574"/>
                  <a:gd name="connsiteX70" fmla="*/ 2623820 w 9611318"/>
                  <a:gd name="connsiteY70" fmla="*/ 518467 h 1720574"/>
                  <a:gd name="connsiteX71" fmla="*/ 2630837 w 9611318"/>
                  <a:gd name="connsiteY71" fmla="*/ 518467 h 1720574"/>
                  <a:gd name="connsiteX72" fmla="*/ 2630837 w 9611318"/>
                  <a:gd name="connsiteY72" fmla="*/ 533199 h 1720574"/>
                  <a:gd name="connsiteX73" fmla="*/ 2700994 w 9611318"/>
                  <a:gd name="connsiteY73" fmla="*/ 533199 h 1720574"/>
                  <a:gd name="connsiteX74" fmla="*/ 2700994 w 9611318"/>
                  <a:gd name="connsiteY74" fmla="*/ 547920 h 1720574"/>
                  <a:gd name="connsiteX75" fmla="*/ 2722034 w 9611318"/>
                  <a:gd name="connsiteY75" fmla="*/ 547920 h 1720574"/>
                  <a:gd name="connsiteX76" fmla="*/ 2722034 w 9611318"/>
                  <a:gd name="connsiteY76" fmla="*/ 562652 h 1720574"/>
                  <a:gd name="connsiteX77" fmla="*/ 2743084 w 9611318"/>
                  <a:gd name="connsiteY77" fmla="*/ 562652 h 1720574"/>
                  <a:gd name="connsiteX78" fmla="*/ 2743084 w 9611318"/>
                  <a:gd name="connsiteY78" fmla="*/ 577384 h 1720574"/>
                  <a:gd name="connsiteX79" fmla="*/ 2764124 w 9611318"/>
                  <a:gd name="connsiteY79" fmla="*/ 577384 h 1720574"/>
                  <a:gd name="connsiteX80" fmla="*/ 2764124 w 9611318"/>
                  <a:gd name="connsiteY80" fmla="*/ 592116 h 1720574"/>
                  <a:gd name="connsiteX81" fmla="*/ 2771140 w 9611318"/>
                  <a:gd name="connsiteY81" fmla="*/ 592116 h 1720574"/>
                  <a:gd name="connsiteX82" fmla="*/ 2771140 w 9611318"/>
                  <a:gd name="connsiteY82" fmla="*/ 621570 h 1720574"/>
                  <a:gd name="connsiteX83" fmla="*/ 2792191 w 9611318"/>
                  <a:gd name="connsiteY83" fmla="*/ 621570 h 1720574"/>
                  <a:gd name="connsiteX84" fmla="*/ 2792191 w 9611318"/>
                  <a:gd name="connsiteY84" fmla="*/ 650917 h 1720574"/>
                  <a:gd name="connsiteX85" fmla="*/ 2827264 w 9611318"/>
                  <a:gd name="connsiteY85" fmla="*/ 650917 h 1720574"/>
                  <a:gd name="connsiteX86" fmla="*/ 2827264 w 9611318"/>
                  <a:gd name="connsiteY86" fmla="*/ 665649 h 1720574"/>
                  <a:gd name="connsiteX87" fmla="*/ 2946528 w 9611318"/>
                  <a:gd name="connsiteY87" fmla="*/ 665649 h 1720574"/>
                  <a:gd name="connsiteX88" fmla="*/ 2946528 w 9611318"/>
                  <a:gd name="connsiteY88" fmla="*/ 680381 h 1720574"/>
                  <a:gd name="connsiteX89" fmla="*/ 3023701 w 9611318"/>
                  <a:gd name="connsiteY89" fmla="*/ 680381 h 1720574"/>
                  <a:gd name="connsiteX90" fmla="*/ 3023701 w 9611318"/>
                  <a:gd name="connsiteY90" fmla="*/ 695113 h 1720574"/>
                  <a:gd name="connsiteX91" fmla="*/ 3199077 w 9611318"/>
                  <a:gd name="connsiteY91" fmla="*/ 695113 h 1720574"/>
                  <a:gd name="connsiteX92" fmla="*/ 3199077 w 9611318"/>
                  <a:gd name="connsiteY92" fmla="*/ 709835 h 1720574"/>
                  <a:gd name="connsiteX93" fmla="*/ 3269234 w 9611318"/>
                  <a:gd name="connsiteY93" fmla="*/ 709835 h 1720574"/>
                  <a:gd name="connsiteX94" fmla="*/ 3269234 w 9611318"/>
                  <a:gd name="connsiteY94" fmla="*/ 724683 h 1720574"/>
                  <a:gd name="connsiteX95" fmla="*/ 3276251 w 9611318"/>
                  <a:gd name="connsiteY95" fmla="*/ 724683 h 1720574"/>
                  <a:gd name="connsiteX96" fmla="*/ 3276251 w 9611318"/>
                  <a:gd name="connsiteY96" fmla="*/ 739415 h 1720574"/>
                  <a:gd name="connsiteX97" fmla="*/ 3325358 w 9611318"/>
                  <a:gd name="connsiteY97" fmla="*/ 739415 h 1720574"/>
                  <a:gd name="connsiteX98" fmla="*/ 3325358 w 9611318"/>
                  <a:gd name="connsiteY98" fmla="*/ 754253 h 1720574"/>
                  <a:gd name="connsiteX99" fmla="*/ 3360431 w 9611318"/>
                  <a:gd name="connsiteY99" fmla="*/ 754253 h 1720574"/>
                  <a:gd name="connsiteX100" fmla="*/ 3360431 w 9611318"/>
                  <a:gd name="connsiteY100" fmla="*/ 769101 h 1720574"/>
                  <a:gd name="connsiteX101" fmla="*/ 3367448 w 9611318"/>
                  <a:gd name="connsiteY101" fmla="*/ 769101 h 1720574"/>
                  <a:gd name="connsiteX102" fmla="*/ 3367448 w 9611318"/>
                  <a:gd name="connsiteY102" fmla="*/ 783823 h 1720574"/>
                  <a:gd name="connsiteX103" fmla="*/ 3444622 w 9611318"/>
                  <a:gd name="connsiteY103" fmla="*/ 783823 h 1720574"/>
                  <a:gd name="connsiteX104" fmla="*/ 3444622 w 9611318"/>
                  <a:gd name="connsiteY104" fmla="*/ 798777 h 1720574"/>
                  <a:gd name="connsiteX105" fmla="*/ 3549852 w 9611318"/>
                  <a:gd name="connsiteY105" fmla="*/ 798777 h 1720574"/>
                  <a:gd name="connsiteX106" fmla="*/ 3549852 w 9611318"/>
                  <a:gd name="connsiteY106" fmla="*/ 813848 h 1720574"/>
                  <a:gd name="connsiteX107" fmla="*/ 3718222 w 9611318"/>
                  <a:gd name="connsiteY107" fmla="*/ 813848 h 1720574"/>
                  <a:gd name="connsiteX108" fmla="*/ 3718222 w 9611318"/>
                  <a:gd name="connsiteY108" fmla="*/ 828919 h 1720574"/>
                  <a:gd name="connsiteX109" fmla="*/ 3760312 w 9611318"/>
                  <a:gd name="connsiteY109" fmla="*/ 828919 h 1720574"/>
                  <a:gd name="connsiteX110" fmla="*/ 3760312 w 9611318"/>
                  <a:gd name="connsiteY110" fmla="*/ 843873 h 1720574"/>
                  <a:gd name="connsiteX111" fmla="*/ 3802402 w 9611318"/>
                  <a:gd name="connsiteY111" fmla="*/ 843873 h 1720574"/>
                  <a:gd name="connsiteX112" fmla="*/ 3802402 w 9611318"/>
                  <a:gd name="connsiteY112" fmla="*/ 858933 h 1720574"/>
                  <a:gd name="connsiteX113" fmla="*/ 3942716 w 9611318"/>
                  <a:gd name="connsiteY113" fmla="*/ 858933 h 1720574"/>
                  <a:gd name="connsiteX114" fmla="*/ 3942716 w 9611318"/>
                  <a:gd name="connsiteY114" fmla="*/ 874120 h 1720574"/>
                  <a:gd name="connsiteX115" fmla="*/ 3977789 w 9611318"/>
                  <a:gd name="connsiteY115" fmla="*/ 874120 h 1720574"/>
                  <a:gd name="connsiteX116" fmla="*/ 3977789 w 9611318"/>
                  <a:gd name="connsiteY116" fmla="*/ 889180 h 1720574"/>
                  <a:gd name="connsiteX117" fmla="*/ 4033912 w 9611318"/>
                  <a:gd name="connsiteY117" fmla="*/ 889180 h 1720574"/>
                  <a:gd name="connsiteX118" fmla="*/ 4033912 w 9611318"/>
                  <a:gd name="connsiteY118" fmla="*/ 904367 h 1720574"/>
                  <a:gd name="connsiteX119" fmla="*/ 4083019 w 9611318"/>
                  <a:gd name="connsiteY119" fmla="*/ 904367 h 1720574"/>
                  <a:gd name="connsiteX120" fmla="*/ 4083019 w 9611318"/>
                  <a:gd name="connsiteY120" fmla="*/ 919427 h 1720574"/>
                  <a:gd name="connsiteX121" fmla="*/ 4118092 w 9611318"/>
                  <a:gd name="connsiteY121" fmla="*/ 919427 h 1720574"/>
                  <a:gd name="connsiteX122" fmla="*/ 4118092 w 9611318"/>
                  <a:gd name="connsiteY122" fmla="*/ 934498 h 1720574"/>
                  <a:gd name="connsiteX123" fmla="*/ 4153176 w 9611318"/>
                  <a:gd name="connsiteY123" fmla="*/ 934498 h 1720574"/>
                  <a:gd name="connsiteX124" fmla="*/ 4153176 w 9611318"/>
                  <a:gd name="connsiteY124" fmla="*/ 949674 h 1720574"/>
                  <a:gd name="connsiteX125" fmla="*/ 4188249 w 9611318"/>
                  <a:gd name="connsiteY125" fmla="*/ 949674 h 1720574"/>
                  <a:gd name="connsiteX126" fmla="*/ 4188249 w 9611318"/>
                  <a:gd name="connsiteY126" fmla="*/ 964851 h 1720574"/>
                  <a:gd name="connsiteX127" fmla="*/ 4293479 w 9611318"/>
                  <a:gd name="connsiteY127" fmla="*/ 964851 h 1720574"/>
                  <a:gd name="connsiteX128" fmla="*/ 4293479 w 9611318"/>
                  <a:gd name="connsiteY128" fmla="*/ 980260 h 1720574"/>
                  <a:gd name="connsiteX129" fmla="*/ 4314530 w 9611318"/>
                  <a:gd name="connsiteY129" fmla="*/ 980260 h 1720574"/>
                  <a:gd name="connsiteX130" fmla="*/ 4314530 w 9611318"/>
                  <a:gd name="connsiteY130" fmla="*/ 995670 h 1720574"/>
                  <a:gd name="connsiteX131" fmla="*/ 4426776 w 9611318"/>
                  <a:gd name="connsiteY131" fmla="*/ 995670 h 1720574"/>
                  <a:gd name="connsiteX132" fmla="*/ 4426776 w 9611318"/>
                  <a:gd name="connsiteY132" fmla="*/ 1011068 h 1720574"/>
                  <a:gd name="connsiteX133" fmla="*/ 4539023 w 9611318"/>
                  <a:gd name="connsiteY133" fmla="*/ 1011068 h 1720574"/>
                  <a:gd name="connsiteX134" fmla="*/ 4539023 w 9611318"/>
                  <a:gd name="connsiteY134" fmla="*/ 1026361 h 1720574"/>
                  <a:gd name="connsiteX135" fmla="*/ 4672309 w 9611318"/>
                  <a:gd name="connsiteY135" fmla="*/ 1026361 h 1720574"/>
                  <a:gd name="connsiteX136" fmla="*/ 4672309 w 9611318"/>
                  <a:gd name="connsiteY136" fmla="*/ 1041771 h 1720574"/>
                  <a:gd name="connsiteX137" fmla="*/ 4854713 w 9611318"/>
                  <a:gd name="connsiteY137" fmla="*/ 1041771 h 1720574"/>
                  <a:gd name="connsiteX138" fmla="*/ 4854713 w 9611318"/>
                  <a:gd name="connsiteY138" fmla="*/ 1057169 h 1720574"/>
                  <a:gd name="connsiteX139" fmla="*/ 4868736 w 9611318"/>
                  <a:gd name="connsiteY139" fmla="*/ 1057169 h 1720574"/>
                  <a:gd name="connsiteX140" fmla="*/ 4868736 w 9611318"/>
                  <a:gd name="connsiteY140" fmla="*/ 1072579 h 1720574"/>
                  <a:gd name="connsiteX141" fmla="*/ 4875753 w 9611318"/>
                  <a:gd name="connsiteY141" fmla="*/ 1072579 h 1720574"/>
                  <a:gd name="connsiteX142" fmla="*/ 4875753 w 9611318"/>
                  <a:gd name="connsiteY142" fmla="*/ 1087977 h 1720574"/>
                  <a:gd name="connsiteX143" fmla="*/ 5212494 w 9611318"/>
                  <a:gd name="connsiteY143" fmla="*/ 1087977 h 1720574"/>
                  <a:gd name="connsiteX144" fmla="*/ 5212494 w 9611318"/>
                  <a:gd name="connsiteY144" fmla="*/ 1103387 h 1720574"/>
                  <a:gd name="connsiteX145" fmla="*/ 5331757 w 9611318"/>
                  <a:gd name="connsiteY145" fmla="*/ 1103387 h 1720574"/>
                  <a:gd name="connsiteX146" fmla="*/ 5331757 w 9611318"/>
                  <a:gd name="connsiteY146" fmla="*/ 1119124 h 1720574"/>
                  <a:gd name="connsiteX147" fmla="*/ 5345790 w 9611318"/>
                  <a:gd name="connsiteY147" fmla="*/ 1119124 h 1720574"/>
                  <a:gd name="connsiteX148" fmla="*/ 5345790 w 9611318"/>
                  <a:gd name="connsiteY148" fmla="*/ 1134978 h 1720574"/>
                  <a:gd name="connsiteX149" fmla="*/ 5359813 w 9611318"/>
                  <a:gd name="connsiteY149" fmla="*/ 1134978 h 1720574"/>
                  <a:gd name="connsiteX150" fmla="*/ 5359813 w 9611318"/>
                  <a:gd name="connsiteY150" fmla="*/ 1150832 h 1720574"/>
                  <a:gd name="connsiteX151" fmla="*/ 5366830 w 9611318"/>
                  <a:gd name="connsiteY151" fmla="*/ 1150832 h 1720574"/>
                  <a:gd name="connsiteX152" fmla="*/ 5366830 w 9611318"/>
                  <a:gd name="connsiteY152" fmla="*/ 1166686 h 1720574"/>
                  <a:gd name="connsiteX153" fmla="*/ 5401914 w 9611318"/>
                  <a:gd name="connsiteY153" fmla="*/ 1166686 h 1720574"/>
                  <a:gd name="connsiteX154" fmla="*/ 5401914 w 9611318"/>
                  <a:gd name="connsiteY154" fmla="*/ 1182656 h 1720574"/>
                  <a:gd name="connsiteX155" fmla="*/ 5493111 w 9611318"/>
                  <a:gd name="connsiteY155" fmla="*/ 1182656 h 1720574"/>
                  <a:gd name="connsiteX156" fmla="*/ 5493111 w 9611318"/>
                  <a:gd name="connsiteY156" fmla="*/ 1199293 h 1720574"/>
                  <a:gd name="connsiteX157" fmla="*/ 5500127 w 9611318"/>
                  <a:gd name="connsiteY157" fmla="*/ 1199293 h 1720574"/>
                  <a:gd name="connsiteX158" fmla="*/ 5500127 w 9611318"/>
                  <a:gd name="connsiteY158" fmla="*/ 1215941 h 1720574"/>
                  <a:gd name="connsiteX159" fmla="*/ 5528184 w 9611318"/>
                  <a:gd name="connsiteY159" fmla="*/ 1215941 h 1720574"/>
                  <a:gd name="connsiteX160" fmla="*/ 5528184 w 9611318"/>
                  <a:gd name="connsiteY160" fmla="*/ 1232800 h 1720574"/>
                  <a:gd name="connsiteX161" fmla="*/ 5640431 w 9611318"/>
                  <a:gd name="connsiteY161" fmla="*/ 1232800 h 1720574"/>
                  <a:gd name="connsiteX162" fmla="*/ 5640431 w 9611318"/>
                  <a:gd name="connsiteY162" fmla="*/ 1250347 h 1720574"/>
                  <a:gd name="connsiteX163" fmla="*/ 5710587 w 9611318"/>
                  <a:gd name="connsiteY163" fmla="*/ 1250347 h 1720574"/>
                  <a:gd name="connsiteX164" fmla="*/ 5710587 w 9611318"/>
                  <a:gd name="connsiteY164" fmla="*/ 1268561 h 1720574"/>
                  <a:gd name="connsiteX165" fmla="*/ 5766711 w 9611318"/>
                  <a:gd name="connsiteY165" fmla="*/ 1268561 h 1720574"/>
                  <a:gd name="connsiteX166" fmla="*/ 5766711 w 9611318"/>
                  <a:gd name="connsiteY166" fmla="*/ 1286658 h 1720574"/>
                  <a:gd name="connsiteX167" fmla="*/ 6082401 w 9611318"/>
                  <a:gd name="connsiteY167" fmla="*/ 1286658 h 1720574"/>
                  <a:gd name="connsiteX168" fmla="*/ 6082401 w 9611318"/>
                  <a:gd name="connsiteY168" fmla="*/ 1307127 h 1720574"/>
                  <a:gd name="connsiteX169" fmla="*/ 6145541 w 9611318"/>
                  <a:gd name="connsiteY169" fmla="*/ 1307127 h 1720574"/>
                  <a:gd name="connsiteX170" fmla="*/ 6145541 w 9611318"/>
                  <a:gd name="connsiteY170" fmla="*/ 1328156 h 1720574"/>
                  <a:gd name="connsiteX171" fmla="*/ 6391075 w 9611318"/>
                  <a:gd name="connsiteY171" fmla="*/ 1328156 h 1720574"/>
                  <a:gd name="connsiteX172" fmla="*/ 6391075 w 9611318"/>
                  <a:gd name="connsiteY172" fmla="*/ 1353005 h 1720574"/>
                  <a:gd name="connsiteX173" fmla="*/ 6440182 w 9611318"/>
                  <a:gd name="connsiteY173" fmla="*/ 1353005 h 1720574"/>
                  <a:gd name="connsiteX174" fmla="*/ 6440182 w 9611318"/>
                  <a:gd name="connsiteY174" fmla="*/ 1378416 h 1720574"/>
                  <a:gd name="connsiteX175" fmla="*/ 6461231 w 9611318"/>
                  <a:gd name="connsiteY175" fmla="*/ 1378416 h 1720574"/>
                  <a:gd name="connsiteX176" fmla="*/ 6461231 w 9611318"/>
                  <a:gd name="connsiteY176" fmla="*/ 1404948 h 1720574"/>
                  <a:gd name="connsiteX177" fmla="*/ 6545422 w 9611318"/>
                  <a:gd name="connsiteY177" fmla="*/ 1404948 h 1720574"/>
                  <a:gd name="connsiteX178" fmla="*/ 6545422 w 9611318"/>
                  <a:gd name="connsiteY178" fmla="*/ 1432497 h 1720574"/>
                  <a:gd name="connsiteX179" fmla="*/ 6552428 w 9611318"/>
                  <a:gd name="connsiteY179" fmla="*/ 1432497 h 1720574"/>
                  <a:gd name="connsiteX180" fmla="*/ 6552428 w 9611318"/>
                  <a:gd name="connsiteY180" fmla="*/ 1460045 h 1720574"/>
                  <a:gd name="connsiteX181" fmla="*/ 6720798 w 9611318"/>
                  <a:gd name="connsiteY181" fmla="*/ 1460045 h 1720574"/>
                  <a:gd name="connsiteX182" fmla="*/ 6720798 w 9611318"/>
                  <a:gd name="connsiteY182" fmla="*/ 1493213 h 1720574"/>
                  <a:gd name="connsiteX183" fmla="*/ 7267999 w 9611318"/>
                  <a:gd name="connsiteY183" fmla="*/ 1493213 h 1720574"/>
                  <a:gd name="connsiteX184" fmla="*/ 7267999 w 9611318"/>
                  <a:gd name="connsiteY184" fmla="*/ 1544828 h 1720574"/>
                  <a:gd name="connsiteX185" fmla="*/ 7555633 w 9611318"/>
                  <a:gd name="connsiteY185" fmla="*/ 1544828 h 1720574"/>
                  <a:gd name="connsiteX186" fmla="*/ 7555633 w 9611318"/>
                  <a:gd name="connsiteY186" fmla="*/ 1609365 h 1720574"/>
                  <a:gd name="connsiteX187" fmla="*/ 8046710 w 9611318"/>
                  <a:gd name="connsiteY187" fmla="*/ 1609365 h 1720574"/>
                  <a:gd name="connsiteX188" fmla="*/ 8046710 w 9611318"/>
                  <a:gd name="connsiteY188" fmla="*/ 1720575 h 1720574"/>
                  <a:gd name="connsiteX189" fmla="*/ 9611318 w 9611318"/>
                  <a:gd name="connsiteY189" fmla="*/ 1720575 h 1720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Lst>
                <a:rect l="l" t="t" r="r" b="b"/>
                <a:pathLst>
                  <a:path w="9611318" h="1720574">
                    <a:moveTo>
                      <a:pt x="0" y="0"/>
                    </a:moveTo>
                    <a:lnTo>
                      <a:pt x="56124" y="0"/>
                    </a:lnTo>
                    <a:lnTo>
                      <a:pt x="56124" y="13832"/>
                    </a:lnTo>
                    <a:lnTo>
                      <a:pt x="224494" y="13832"/>
                    </a:lnTo>
                    <a:lnTo>
                      <a:pt x="224494" y="27771"/>
                    </a:lnTo>
                    <a:lnTo>
                      <a:pt x="273664" y="27771"/>
                    </a:lnTo>
                    <a:lnTo>
                      <a:pt x="273664" y="41825"/>
                    </a:lnTo>
                    <a:lnTo>
                      <a:pt x="308748" y="41825"/>
                    </a:lnTo>
                    <a:lnTo>
                      <a:pt x="308748" y="55880"/>
                    </a:lnTo>
                    <a:lnTo>
                      <a:pt x="498158" y="55880"/>
                    </a:lnTo>
                    <a:lnTo>
                      <a:pt x="498158" y="69935"/>
                    </a:lnTo>
                    <a:lnTo>
                      <a:pt x="582348" y="69935"/>
                    </a:lnTo>
                    <a:lnTo>
                      <a:pt x="582348" y="84106"/>
                    </a:lnTo>
                    <a:lnTo>
                      <a:pt x="617421" y="84106"/>
                    </a:lnTo>
                    <a:lnTo>
                      <a:pt x="617421" y="98160"/>
                    </a:lnTo>
                    <a:lnTo>
                      <a:pt x="631455" y="98160"/>
                    </a:lnTo>
                    <a:lnTo>
                      <a:pt x="631455" y="112215"/>
                    </a:lnTo>
                    <a:lnTo>
                      <a:pt x="750718" y="112215"/>
                    </a:lnTo>
                    <a:lnTo>
                      <a:pt x="750718" y="126492"/>
                    </a:lnTo>
                    <a:lnTo>
                      <a:pt x="1115515" y="126492"/>
                    </a:lnTo>
                    <a:lnTo>
                      <a:pt x="1115515" y="140885"/>
                    </a:lnTo>
                    <a:lnTo>
                      <a:pt x="1129549" y="140885"/>
                    </a:lnTo>
                    <a:lnTo>
                      <a:pt x="1129549" y="155279"/>
                    </a:lnTo>
                    <a:lnTo>
                      <a:pt x="1199695" y="155279"/>
                    </a:lnTo>
                    <a:lnTo>
                      <a:pt x="1199695" y="169672"/>
                    </a:lnTo>
                    <a:lnTo>
                      <a:pt x="1206712" y="169672"/>
                    </a:lnTo>
                    <a:lnTo>
                      <a:pt x="1206712" y="184065"/>
                    </a:lnTo>
                    <a:lnTo>
                      <a:pt x="1276869" y="184065"/>
                    </a:lnTo>
                    <a:lnTo>
                      <a:pt x="1276869" y="198459"/>
                    </a:lnTo>
                    <a:lnTo>
                      <a:pt x="1332992" y="198459"/>
                    </a:lnTo>
                    <a:lnTo>
                      <a:pt x="1332992" y="212852"/>
                    </a:lnTo>
                    <a:lnTo>
                      <a:pt x="1417172" y="212852"/>
                    </a:lnTo>
                    <a:lnTo>
                      <a:pt x="1417172" y="227245"/>
                    </a:lnTo>
                    <a:lnTo>
                      <a:pt x="1452256" y="227245"/>
                    </a:lnTo>
                    <a:lnTo>
                      <a:pt x="1452256" y="241639"/>
                    </a:lnTo>
                    <a:lnTo>
                      <a:pt x="1473296" y="241639"/>
                    </a:lnTo>
                    <a:lnTo>
                      <a:pt x="1473296" y="256032"/>
                    </a:lnTo>
                    <a:lnTo>
                      <a:pt x="1767946" y="256032"/>
                    </a:lnTo>
                    <a:lnTo>
                      <a:pt x="1767946" y="270531"/>
                    </a:lnTo>
                    <a:lnTo>
                      <a:pt x="1803019" y="270531"/>
                    </a:lnTo>
                    <a:lnTo>
                      <a:pt x="1803019" y="284925"/>
                    </a:lnTo>
                    <a:lnTo>
                      <a:pt x="1887210" y="284925"/>
                    </a:lnTo>
                    <a:lnTo>
                      <a:pt x="1887210" y="314050"/>
                    </a:lnTo>
                    <a:lnTo>
                      <a:pt x="1929299" y="314050"/>
                    </a:lnTo>
                    <a:lnTo>
                      <a:pt x="1929299" y="328549"/>
                    </a:lnTo>
                    <a:lnTo>
                      <a:pt x="1999457" y="328549"/>
                    </a:lnTo>
                    <a:lnTo>
                      <a:pt x="1999457" y="343059"/>
                    </a:lnTo>
                    <a:lnTo>
                      <a:pt x="2041546" y="343059"/>
                    </a:lnTo>
                    <a:lnTo>
                      <a:pt x="2041546" y="357558"/>
                    </a:lnTo>
                    <a:lnTo>
                      <a:pt x="2188866" y="357558"/>
                    </a:lnTo>
                    <a:lnTo>
                      <a:pt x="2188866" y="372068"/>
                    </a:lnTo>
                    <a:lnTo>
                      <a:pt x="2209917" y="372068"/>
                    </a:lnTo>
                    <a:lnTo>
                      <a:pt x="2209917" y="386683"/>
                    </a:lnTo>
                    <a:lnTo>
                      <a:pt x="2230957" y="386683"/>
                    </a:lnTo>
                    <a:lnTo>
                      <a:pt x="2230957" y="401193"/>
                    </a:lnTo>
                    <a:lnTo>
                      <a:pt x="2237973" y="401193"/>
                    </a:lnTo>
                    <a:lnTo>
                      <a:pt x="2237973" y="415809"/>
                    </a:lnTo>
                    <a:lnTo>
                      <a:pt x="2259024" y="415809"/>
                    </a:lnTo>
                    <a:lnTo>
                      <a:pt x="2259024" y="430424"/>
                    </a:lnTo>
                    <a:lnTo>
                      <a:pt x="2364254" y="430424"/>
                    </a:lnTo>
                    <a:lnTo>
                      <a:pt x="2364254" y="445040"/>
                    </a:lnTo>
                    <a:lnTo>
                      <a:pt x="2385293" y="445040"/>
                    </a:lnTo>
                    <a:lnTo>
                      <a:pt x="2385293" y="459655"/>
                    </a:lnTo>
                    <a:lnTo>
                      <a:pt x="2399327" y="459655"/>
                    </a:lnTo>
                    <a:lnTo>
                      <a:pt x="2399327" y="474387"/>
                    </a:lnTo>
                    <a:lnTo>
                      <a:pt x="2420377" y="474387"/>
                    </a:lnTo>
                    <a:lnTo>
                      <a:pt x="2420377" y="489003"/>
                    </a:lnTo>
                    <a:lnTo>
                      <a:pt x="2455450" y="489003"/>
                    </a:lnTo>
                    <a:lnTo>
                      <a:pt x="2455450" y="503735"/>
                    </a:lnTo>
                    <a:lnTo>
                      <a:pt x="2623820" y="503735"/>
                    </a:lnTo>
                    <a:lnTo>
                      <a:pt x="2623820" y="518467"/>
                    </a:lnTo>
                    <a:lnTo>
                      <a:pt x="2630837" y="518467"/>
                    </a:lnTo>
                    <a:lnTo>
                      <a:pt x="2630837" y="533199"/>
                    </a:lnTo>
                    <a:lnTo>
                      <a:pt x="2700994" y="533199"/>
                    </a:lnTo>
                    <a:lnTo>
                      <a:pt x="2700994" y="547920"/>
                    </a:lnTo>
                    <a:lnTo>
                      <a:pt x="2722034" y="547920"/>
                    </a:lnTo>
                    <a:lnTo>
                      <a:pt x="2722034" y="562652"/>
                    </a:lnTo>
                    <a:lnTo>
                      <a:pt x="2743084" y="562652"/>
                    </a:lnTo>
                    <a:lnTo>
                      <a:pt x="2743084" y="577384"/>
                    </a:lnTo>
                    <a:lnTo>
                      <a:pt x="2764124" y="577384"/>
                    </a:lnTo>
                    <a:lnTo>
                      <a:pt x="2764124" y="592116"/>
                    </a:lnTo>
                    <a:lnTo>
                      <a:pt x="2771140" y="592116"/>
                    </a:lnTo>
                    <a:lnTo>
                      <a:pt x="2771140" y="621570"/>
                    </a:lnTo>
                    <a:lnTo>
                      <a:pt x="2792191" y="621570"/>
                    </a:lnTo>
                    <a:lnTo>
                      <a:pt x="2792191" y="650917"/>
                    </a:lnTo>
                    <a:lnTo>
                      <a:pt x="2827264" y="650917"/>
                    </a:lnTo>
                    <a:lnTo>
                      <a:pt x="2827264" y="665649"/>
                    </a:lnTo>
                    <a:lnTo>
                      <a:pt x="2946528" y="665649"/>
                    </a:lnTo>
                    <a:lnTo>
                      <a:pt x="2946528" y="680381"/>
                    </a:lnTo>
                    <a:lnTo>
                      <a:pt x="3023701" y="680381"/>
                    </a:lnTo>
                    <a:lnTo>
                      <a:pt x="3023701" y="695113"/>
                    </a:lnTo>
                    <a:lnTo>
                      <a:pt x="3199077" y="695113"/>
                    </a:lnTo>
                    <a:lnTo>
                      <a:pt x="3199077" y="709835"/>
                    </a:lnTo>
                    <a:lnTo>
                      <a:pt x="3269234" y="709835"/>
                    </a:lnTo>
                    <a:lnTo>
                      <a:pt x="3269234" y="724683"/>
                    </a:lnTo>
                    <a:lnTo>
                      <a:pt x="3276251" y="724683"/>
                    </a:lnTo>
                    <a:lnTo>
                      <a:pt x="3276251" y="739415"/>
                    </a:lnTo>
                    <a:lnTo>
                      <a:pt x="3325358" y="739415"/>
                    </a:lnTo>
                    <a:lnTo>
                      <a:pt x="3325358" y="754253"/>
                    </a:lnTo>
                    <a:lnTo>
                      <a:pt x="3360431" y="754253"/>
                    </a:lnTo>
                    <a:lnTo>
                      <a:pt x="3360431" y="769101"/>
                    </a:lnTo>
                    <a:lnTo>
                      <a:pt x="3367448" y="769101"/>
                    </a:lnTo>
                    <a:lnTo>
                      <a:pt x="3367448" y="783823"/>
                    </a:lnTo>
                    <a:lnTo>
                      <a:pt x="3444622" y="783823"/>
                    </a:lnTo>
                    <a:lnTo>
                      <a:pt x="3444622" y="798777"/>
                    </a:lnTo>
                    <a:lnTo>
                      <a:pt x="3549852" y="798777"/>
                    </a:lnTo>
                    <a:lnTo>
                      <a:pt x="3549852" y="813848"/>
                    </a:lnTo>
                    <a:lnTo>
                      <a:pt x="3718222" y="813848"/>
                    </a:lnTo>
                    <a:lnTo>
                      <a:pt x="3718222" y="828919"/>
                    </a:lnTo>
                    <a:lnTo>
                      <a:pt x="3760312" y="828919"/>
                    </a:lnTo>
                    <a:lnTo>
                      <a:pt x="3760312" y="843873"/>
                    </a:lnTo>
                    <a:lnTo>
                      <a:pt x="3802402" y="843873"/>
                    </a:lnTo>
                    <a:lnTo>
                      <a:pt x="3802402" y="858933"/>
                    </a:lnTo>
                    <a:lnTo>
                      <a:pt x="3942716" y="858933"/>
                    </a:lnTo>
                    <a:lnTo>
                      <a:pt x="3942716" y="874120"/>
                    </a:lnTo>
                    <a:lnTo>
                      <a:pt x="3977789" y="874120"/>
                    </a:lnTo>
                    <a:lnTo>
                      <a:pt x="3977789" y="889180"/>
                    </a:lnTo>
                    <a:lnTo>
                      <a:pt x="4033912" y="889180"/>
                    </a:lnTo>
                    <a:lnTo>
                      <a:pt x="4033912" y="904367"/>
                    </a:lnTo>
                    <a:lnTo>
                      <a:pt x="4083019" y="904367"/>
                    </a:lnTo>
                    <a:lnTo>
                      <a:pt x="4083019" y="919427"/>
                    </a:lnTo>
                    <a:lnTo>
                      <a:pt x="4118092" y="919427"/>
                    </a:lnTo>
                    <a:lnTo>
                      <a:pt x="4118092" y="934498"/>
                    </a:lnTo>
                    <a:lnTo>
                      <a:pt x="4153176" y="934498"/>
                    </a:lnTo>
                    <a:lnTo>
                      <a:pt x="4153176" y="949674"/>
                    </a:lnTo>
                    <a:lnTo>
                      <a:pt x="4188249" y="949674"/>
                    </a:lnTo>
                    <a:lnTo>
                      <a:pt x="4188249" y="964851"/>
                    </a:lnTo>
                    <a:lnTo>
                      <a:pt x="4293479" y="964851"/>
                    </a:lnTo>
                    <a:lnTo>
                      <a:pt x="4293479" y="980260"/>
                    </a:lnTo>
                    <a:lnTo>
                      <a:pt x="4314530" y="980260"/>
                    </a:lnTo>
                    <a:lnTo>
                      <a:pt x="4314530" y="995670"/>
                    </a:lnTo>
                    <a:lnTo>
                      <a:pt x="4426776" y="995670"/>
                    </a:lnTo>
                    <a:lnTo>
                      <a:pt x="4426776" y="1011068"/>
                    </a:lnTo>
                    <a:lnTo>
                      <a:pt x="4539023" y="1011068"/>
                    </a:lnTo>
                    <a:lnTo>
                      <a:pt x="4539023" y="1026361"/>
                    </a:lnTo>
                    <a:lnTo>
                      <a:pt x="4672309" y="1026361"/>
                    </a:lnTo>
                    <a:lnTo>
                      <a:pt x="4672309" y="1041771"/>
                    </a:lnTo>
                    <a:lnTo>
                      <a:pt x="4854713" y="1041771"/>
                    </a:lnTo>
                    <a:lnTo>
                      <a:pt x="4854713" y="1057169"/>
                    </a:lnTo>
                    <a:lnTo>
                      <a:pt x="4868736" y="1057169"/>
                    </a:lnTo>
                    <a:lnTo>
                      <a:pt x="4868736" y="1072579"/>
                    </a:lnTo>
                    <a:lnTo>
                      <a:pt x="4875753" y="1072579"/>
                    </a:lnTo>
                    <a:lnTo>
                      <a:pt x="4875753" y="1087977"/>
                    </a:lnTo>
                    <a:lnTo>
                      <a:pt x="5212494" y="1087977"/>
                    </a:lnTo>
                    <a:lnTo>
                      <a:pt x="5212494" y="1103387"/>
                    </a:lnTo>
                    <a:lnTo>
                      <a:pt x="5331757" y="1103387"/>
                    </a:lnTo>
                    <a:lnTo>
                      <a:pt x="5331757" y="1119124"/>
                    </a:lnTo>
                    <a:lnTo>
                      <a:pt x="5345790" y="1119124"/>
                    </a:lnTo>
                    <a:lnTo>
                      <a:pt x="5345790" y="1134978"/>
                    </a:lnTo>
                    <a:lnTo>
                      <a:pt x="5359813" y="1134978"/>
                    </a:lnTo>
                    <a:lnTo>
                      <a:pt x="5359813" y="1150832"/>
                    </a:lnTo>
                    <a:lnTo>
                      <a:pt x="5366830" y="1150832"/>
                    </a:lnTo>
                    <a:lnTo>
                      <a:pt x="5366830" y="1166686"/>
                    </a:lnTo>
                    <a:lnTo>
                      <a:pt x="5401914" y="1166686"/>
                    </a:lnTo>
                    <a:lnTo>
                      <a:pt x="5401914" y="1182656"/>
                    </a:lnTo>
                    <a:lnTo>
                      <a:pt x="5493111" y="1182656"/>
                    </a:lnTo>
                    <a:lnTo>
                      <a:pt x="5493111" y="1199293"/>
                    </a:lnTo>
                    <a:lnTo>
                      <a:pt x="5500127" y="1199293"/>
                    </a:lnTo>
                    <a:lnTo>
                      <a:pt x="5500127" y="1215941"/>
                    </a:lnTo>
                    <a:lnTo>
                      <a:pt x="5528184" y="1215941"/>
                    </a:lnTo>
                    <a:lnTo>
                      <a:pt x="5528184" y="1232800"/>
                    </a:lnTo>
                    <a:lnTo>
                      <a:pt x="5640431" y="1232800"/>
                    </a:lnTo>
                    <a:lnTo>
                      <a:pt x="5640431" y="1250347"/>
                    </a:lnTo>
                    <a:lnTo>
                      <a:pt x="5710587" y="1250347"/>
                    </a:lnTo>
                    <a:lnTo>
                      <a:pt x="5710587" y="1268561"/>
                    </a:lnTo>
                    <a:lnTo>
                      <a:pt x="5766711" y="1268561"/>
                    </a:lnTo>
                    <a:lnTo>
                      <a:pt x="5766711" y="1286658"/>
                    </a:lnTo>
                    <a:lnTo>
                      <a:pt x="6082401" y="1286658"/>
                    </a:lnTo>
                    <a:lnTo>
                      <a:pt x="6082401" y="1307127"/>
                    </a:lnTo>
                    <a:lnTo>
                      <a:pt x="6145541" y="1307127"/>
                    </a:lnTo>
                    <a:lnTo>
                      <a:pt x="6145541" y="1328156"/>
                    </a:lnTo>
                    <a:lnTo>
                      <a:pt x="6391075" y="1328156"/>
                    </a:lnTo>
                    <a:lnTo>
                      <a:pt x="6391075" y="1353005"/>
                    </a:lnTo>
                    <a:lnTo>
                      <a:pt x="6440182" y="1353005"/>
                    </a:lnTo>
                    <a:lnTo>
                      <a:pt x="6440182" y="1378416"/>
                    </a:lnTo>
                    <a:lnTo>
                      <a:pt x="6461231" y="1378416"/>
                    </a:lnTo>
                    <a:lnTo>
                      <a:pt x="6461231" y="1404948"/>
                    </a:lnTo>
                    <a:lnTo>
                      <a:pt x="6545422" y="1404948"/>
                    </a:lnTo>
                    <a:lnTo>
                      <a:pt x="6545422" y="1432497"/>
                    </a:lnTo>
                    <a:lnTo>
                      <a:pt x="6552428" y="1432497"/>
                    </a:lnTo>
                    <a:lnTo>
                      <a:pt x="6552428" y="1460045"/>
                    </a:lnTo>
                    <a:lnTo>
                      <a:pt x="6720798" y="1460045"/>
                    </a:lnTo>
                    <a:lnTo>
                      <a:pt x="6720798" y="1493213"/>
                    </a:lnTo>
                    <a:lnTo>
                      <a:pt x="7267999" y="1493213"/>
                    </a:lnTo>
                    <a:lnTo>
                      <a:pt x="7267999" y="1544828"/>
                    </a:lnTo>
                    <a:lnTo>
                      <a:pt x="7555633" y="1544828"/>
                    </a:lnTo>
                    <a:lnTo>
                      <a:pt x="7555633" y="1609365"/>
                    </a:lnTo>
                    <a:lnTo>
                      <a:pt x="8046710" y="1609365"/>
                    </a:lnTo>
                    <a:lnTo>
                      <a:pt x="8046710" y="1720575"/>
                    </a:lnTo>
                    <a:lnTo>
                      <a:pt x="9611318" y="1720575"/>
                    </a:lnTo>
                  </a:path>
                </a:pathLst>
              </a:custGeom>
              <a:noFill/>
              <a:ln w="12700" cap="flat">
                <a:solidFill>
                  <a:srgbClr val="929294"/>
                </a:solidFill>
                <a:custDash>
                  <a:ds d="874065" sp="291352"/>
                </a:custDash>
                <a:miter/>
              </a:ln>
            </p:spPr>
            <p:txBody>
              <a:bodyPr rtlCol="0" anchor="ctr"/>
              <a:lstStyle/>
              <a:p>
                <a:endParaRPr lang="en-US" sz="1800"/>
              </a:p>
            </p:txBody>
          </p:sp>
          <p:sp>
            <p:nvSpPr>
              <p:cNvPr id="2077" name="Freeform 462">
                <a:extLst>
                  <a:ext uri="{FF2B5EF4-FFF2-40B4-BE49-F238E27FC236}">
                    <a16:creationId xmlns:a16="http://schemas.microsoft.com/office/drawing/2014/main" id="{F1541553-A007-BA1B-4CED-10F6967BEB65}"/>
                  </a:ext>
                </a:extLst>
              </p:cNvPr>
              <p:cNvSpPr/>
              <p:nvPr/>
            </p:nvSpPr>
            <p:spPr>
              <a:xfrm>
                <a:off x="11108160" y="2947468"/>
                <a:ext cx="1375" cy="116"/>
              </a:xfrm>
              <a:custGeom>
                <a:avLst/>
                <a:gdLst>
                  <a:gd name="connsiteX0" fmla="*/ 0 w 1375"/>
                  <a:gd name="connsiteY0" fmla="*/ 0 h 116"/>
                  <a:gd name="connsiteX1" fmla="*/ 1376 w 1375"/>
                  <a:gd name="connsiteY1" fmla="*/ 116 h 116"/>
                </a:gdLst>
                <a:ahLst/>
                <a:cxnLst>
                  <a:cxn ang="0">
                    <a:pos x="connsiteX0" y="connsiteY0"/>
                  </a:cxn>
                  <a:cxn ang="0">
                    <a:pos x="connsiteX1" y="connsiteY1"/>
                  </a:cxn>
                </a:cxnLst>
                <a:rect l="l" t="t" r="r" b="b"/>
                <a:pathLst>
                  <a:path w="1375" h="116">
                    <a:moveTo>
                      <a:pt x="0" y="0"/>
                    </a:moveTo>
                    <a:lnTo>
                      <a:pt x="1376" y="116"/>
                    </a:lnTo>
                  </a:path>
                </a:pathLst>
              </a:custGeom>
              <a:ln w="12700" cap="flat">
                <a:solidFill>
                  <a:srgbClr val="929294"/>
                </a:solidFill>
                <a:prstDash val="solid"/>
                <a:miter/>
              </a:ln>
            </p:spPr>
            <p:txBody>
              <a:bodyPr rtlCol="0" anchor="ctr"/>
              <a:lstStyle/>
              <a:p>
                <a:endParaRPr lang="en-US" sz="1800"/>
              </a:p>
            </p:txBody>
          </p:sp>
          <p:sp>
            <p:nvSpPr>
              <p:cNvPr id="2078" name="Freeform 463">
                <a:extLst>
                  <a:ext uri="{FF2B5EF4-FFF2-40B4-BE49-F238E27FC236}">
                    <a16:creationId xmlns:a16="http://schemas.microsoft.com/office/drawing/2014/main" id="{52B4743F-F0EF-3D74-2B43-AD6ED66F3811}"/>
                  </a:ext>
                </a:extLst>
              </p:cNvPr>
              <p:cNvSpPr/>
              <p:nvPr/>
            </p:nvSpPr>
            <p:spPr>
              <a:xfrm>
                <a:off x="1467653" y="1227009"/>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079" name="Freeform 464">
                <a:extLst>
                  <a:ext uri="{FF2B5EF4-FFF2-40B4-BE49-F238E27FC236}">
                    <a16:creationId xmlns:a16="http://schemas.microsoft.com/office/drawing/2014/main" id="{728484DD-A282-160B-BED2-59507BE2834A}"/>
                  </a:ext>
                </a:extLst>
              </p:cNvPr>
              <p:cNvSpPr/>
              <p:nvPr/>
            </p:nvSpPr>
            <p:spPr>
              <a:xfrm>
                <a:off x="1505234" y="1201704"/>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080" name="Freeform 465">
                <a:extLst>
                  <a:ext uri="{FF2B5EF4-FFF2-40B4-BE49-F238E27FC236}">
                    <a16:creationId xmlns:a16="http://schemas.microsoft.com/office/drawing/2014/main" id="{146237CD-36A4-ECA2-A1B3-96C300A913C6}"/>
                  </a:ext>
                </a:extLst>
              </p:cNvPr>
              <p:cNvSpPr/>
              <p:nvPr/>
            </p:nvSpPr>
            <p:spPr>
              <a:xfrm>
                <a:off x="1481686" y="1227009"/>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081" name="Freeform 466">
                <a:extLst>
                  <a:ext uri="{FF2B5EF4-FFF2-40B4-BE49-F238E27FC236}">
                    <a16:creationId xmlns:a16="http://schemas.microsoft.com/office/drawing/2014/main" id="{4B08FA4B-6C64-A75D-3E14-291FA7B52D78}"/>
                  </a:ext>
                </a:extLst>
              </p:cNvPr>
              <p:cNvSpPr/>
              <p:nvPr/>
            </p:nvSpPr>
            <p:spPr>
              <a:xfrm>
                <a:off x="1519268" y="1201704"/>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082" name="Freeform 467">
                <a:extLst>
                  <a:ext uri="{FF2B5EF4-FFF2-40B4-BE49-F238E27FC236}">
                    <a16:creationId xmlns:a16="http://schemas.microsoft.com/office/drawing/2014/main" id="{8D2CAF71-37D0-C765-3D1D-EF29DF17D9AC}"/>
                  </a:ext>
                </a:extLst>
              </p:cNvPr>
              <p:cNvSpPr/>
              <p:nvPr/>
            </p:nvSpPr>
            <p:spPr>
              <a:xfrm>
                <a:off x="1600950" y="1240842"/>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083" name="Freeform 468">
                <a:extLst>
                  <a:ext uri="{FF2B5EF4-FFF2-40B4-BE49-F238E27FC236}">
                    <a16:creationId xmlns:a16="http://schemas.microsoft.com/office/drawing/2014/main" id="{9EC20C85-F396-1713-621A-796C90D988C2}"/>
                  </a:ext>
                </a:extLst>
              </p:cNvPr>
              <p:cNvSpPr/>
              <p:nvPr/>
            </p:nvSpPr>
            <p:spPr>
              <a:xfrm>
                <a:off x="1638531" y="1215537"/>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084" name="Freeform 469">
                <a:extLst>
                  <a:ext uri="{FF2B5EF4-FFF2-40B4-BE49-F238E27FC236}">
                    <a16:creationId xmlns:a16="http://schemas.microsoft.com/office/drawing/2014/main" id="{20017C03-70E9-24FE-5041-B99CAF94429F}"/>
                  </a:ext>
                </a:extLst>
              </p:cNvPr>
              <p:cNvSpPr/>
              <p:nvPr/>
            </p:nvSpPr>
            <p:spPr>
              <a:xfrm>
                <a:off x="1650057" y="1240842"/>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085" name="Freeform 470">
                <a:extLst>
                  <a:ext uri="{FF2B5EF4-FFF2-40B4-BE49-F238E27FC236}">
                    <a16:creationId xmlns:a16="http://schemas.microsoft.com/office/drawing/2014/main" id="{EB429709-6773-2DFB-A4BC-7FCCCC5F359D}"/>
                  </a:ext>
                </a:extLst>
              </p:cNvPr>
              <p:cNvSpPr/>
              <p:nvPr/>
            </p:nvSpPr>
            <p:spPr>
              <a:xfrm>
                <a:off x="1687638" y="1215537"/>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086" name="Freeform 471">
                <a:extLst>
                  <a:ext uri="{FF2B5EF4-FFF2-40B4-BE49-F238E27FC236}">
                    <a16:creationId xmlns:a16="http://schemas.microsoft.com/office/drawing/2014/main" id="{4A8A9C80-8A88-F070-0B8F-86ACC2C34BAF}"/>
                  </a:ext>
                </a:extLst>
              </p:cNvPr>
              <p:cNvSpPr/>
              <p:nvPr/>
            </p:nvSpPr>
            <p:spPr>
              <a:xfrm>
                <a:off x="1671096" y="1240842"/>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087" name="Freeform 472">
                <a:extLst>
                  <a:ext uri="{FF2B5EF4-FFF2-40B4-BE49-F238E27FC236}">
                    <a16:creationId xmlns:a16="http://schemas.microsoft.com/office/drawing/2014/main" id="{049593CE-B084-E7F4-D9A8-EDDE75FE5E96}"/>
                  </a:ext>
                </a:extLst>
              </p:cNvPr>
              <p:cNvSpPr/>
              <p:nvPr/>
            </p:nvSpPr>
            <p:spPr>
              <a:xfrm>
                <a:off x="1708678" y="1215537"/>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088" name="Freeform 473">
                <a:extLst>
                  <a:ext uri="{FF2B5EF4-FFF2-40B4-BE49-F238E27FC236}">
                    <a16:creationId xmlns:a16="http://schemas.microsoft.com/office/drawing/2014/main" id="{27CBC8F3-A9B3-F34E-2822-3EF5875A8438}"/>
                  </a:ext>
                </a:extLst>
              </p:cNvPr>
              <p:cNvSpPr/>
              <p:nvPr/>
            </p:nvSpPr>
            <p:spPr>
              <a:xfrm>
                <a:off x="1762367" y="1268835"/>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089" name="Freeform 474">
                <a:extLst>
                  <a:ext uri="{FF2B5EF4-FFF2-40B4-BE49-F238E27FC236}">
                    <a16:creationId xmlns:a16="http://schemas.microsoft.com/office/drawing/2014/main" id="{036C5B13-FBD2-D371-1620-4E8C1509182D}"/>
                  </a:ext>
                </a:extLst>
              </p:cNvPr>
              <p:cNvSpPr/>
              <p:nvPr/>
            </p:nvSpPr>
            <p:spPr>
              <a:xfrm>
                <a:off x="1799948" y="124354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090" name="Freeform 475">
                <a:extLst>
                  <a:ext uri="{FF2B5EF4-FFF2-40B4-BE49-F238E27FC236}">
                    <a16:creationId xmlns:a16="http://schemas.microsoft.com/office/drawing/2014/main" id="{F1ACA5D7-5A30-2293-9123-3AC9CE770A7F}"/>
                  </a:ext>
                </a:extLst>
              </p:cNvPr>
              <p:cNvSpPr/>
              <p:nvPr/>
            </p:nvSpPr>
            <p:spPr>
              <a:xfrm>
                <a:off x="1846547" y="1282889"/>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091" name="Freeform 476">
                <a:extLst>
                  <a:ext uri="{FF2B5EF4-FFF2-40B4-BE49-F238E27FC236}">
                    <a16:creationId xmlns:a16="http://schemas.microsoft.com/office/drawing/2014/main" id="{C35F0213-003A-5F14-B860-B55DDF47A6FF}"/>
                  </a:ext>
                </a:extLst>
              </p:cNvPr>
              <p:cNvSpPr/>
              <p:nvPr/>
            </p:nvSpPr>
            <p:spPr>
              <a:xfrm>
                <a:off x="1884128" y="1257595"/>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092" name="Freeform 477">
                <a:extLst>
                  <a:ext uri="{FF2B5EF4-FFF2-40B4-BE49-F238E27FC236}">
                    <a16:creationId xmlns:a16="http://schemas.microsoft.com/office/drawing/2014/main" id="{03130C96-77F7-4241-3785-A681EDD221C0}"/>
                  </a:ext>
                </a:extLst>
              </p:cNvPr>
              <p:cNvSpPr/>
              <p:nvPr/>
            </p:nvSpPr>
            <p:spPr>
              <a:xfrm>
                <a:off x="2155231" y="1339224"/>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093" name="Freeform 478">
                <a:extLst>
                  <a:ext uri="{FF2B5EF4-FFF2-40B4-BE49-F238E27FC236}">
                    <a16:creationId xmlns:a16="http://schemas.microsoft.com/office/drawing/2014/main" id="{CBD98E88-0EB3-8B0F-67D7-FDE03D6866CD}"/>
                  </a:ext>
                </a:extLst>
              </p:cNvPr>
              <p:cNvSpPr/>
              <p:nvPr/>
            </p:nvSpPr>
            <p:spPr>
              <a:xfrm>
                <a:off x="2192812" y="131392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094" name="Freeform 479">
                <a:extLst>
                  <a:ext uri="{FF2B5EF4-FFF2-40B4-BE49-F238E27FC236}">
                    <a16:creationId xmlns:a16="http://schemas.microsoft.com/office/drawing/2014/main" id="{B034D921-2BA3-585A-5222-33864A7E9567}"/>
                  </a:ext>
                </a:extLst>
              </p:cNvPr>
              <p:cNvSpPr/>
              <p:nvPr/>
            </p:nvSpPr>
            <p:spPr>
              <a:xfrm>
                <a:off x="2169254" y="1339224"/>
                <a:ext cx="75173" cy="10583"/>
              </a:xfrm>
              <a:custGeom>
                <a:avLst/>
                <a:gdLst>
                  <a:gd name="connsiteX0" fmla="*/ 0 w 75173"/>
                  <a:gd name="connsiteY0" fmla="*/ 0 h 10583"/>
                  <a:gd name="connsiteX1" fmla="*/ 75173 w 75173"/>
                  <a:gd name="connsiteY1" fmla="*/ 0 h 10583"/>
                </a:gdLst>
                <a:ahLst/>
                <a:cxnLst>
                  <a:cxn ang="0">
                    <a:pos x="connsiteX0" y="connsiteY0"/>
                  </a:cxn>
                  <a:cxn ang="0">
                    <a:pos x="connsiteX1" y="connsiteY1"/>
                  </a:cxn>
                </a:cxnLst>
                <a:rect l="l" t="t" r="r" b="b"/>
                <a:pathLst>
                  <a:path w="75173" h="10583">
                    <a:moveTo>
                      <a:pt x="0" y="0"/>
                    </a:moveTo>
                    <a:lnTo>
                      <a:pt x="75173" y="0"/>
                    </a:lnTo>
                  </a:path>
                </a:pathLst>
              </a:custGeom>
              <a:ln w="12700" cap="sq">
                <a:solidFill>
                  <a:srgbClr val="929294"/>
                </a:solidFill>
                <a:prstDash val="solid"/>
                <a:miter/>
              </a:ln>
            </p:spPr>
            <p:txBody>
              <a:bodyPr rtlCol="0" anchor="ctr"/>
              <a:lstStyle/>
              <a:p>
                <a:endParaRPr lang="en-US" sz="1800"/>
              </a:p>
            </p:txBody>
          </p:sp>
          <p:sp>
            <p:nvSpPr>
              <p:cNvPr id="2095" name="Freeform 480">
                <a:extLst>
                  <a:ext uri="{FF2B5EF4-FFF2-40B4-BE49-F238E27FC236}">
                    <a16:creationId xmlns:a16="http://schemas.microsoft.com/office/drawing/2014/main" id="{C7E6E78F-5265-0474-4307-B8049E9CB312}"/>
                  </a:ext>
                </a:extLst>
              </p:cNvPr>
              <p:cNvSpPr/>
              <p:nvPr/>
            </p:nvSpPr>
            <p:spPr>
              <a:xfrm>
                <a:off x="2206835" y="131392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096" name="Freeform 481">
                <a:extLst>
                  <a:ext uri="{FF2B5EF4-FFF2-40B4-BE49-F238E27FC236}">
                    <a16:creationId xmlns:a16="http://schemas.microsoft.com/office/drawing/2014/main" id="{91A27623-5FB5-48B0-6FF0-990CC1D38755}"/>
                  </a:ext>
                </a:extLst>
              </p:cNvPr>
              <p:cNvSpPr/>
              <p:nvPr/>
            </p:nvSpPr>
            <p:spPr>
              <a:xfrm>
                <a:off x="2239411" y="1353501"/>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097" name="Freeform 482">
                <a:extLst>
                  <a:ext uri="{FF2B5EF4-FFF2-40B4-BE49-F238E27FC236}">
                    <a16:creationId xmlns:a16="http://schemas.microsoft.com/office/drawing/2014/main" id="{E5A56A9C-5F9F-F751-4C7A-51D2C0C1C2DC}"/>
                  </a:ext>
                </a:extLst>
              </p:cNvPr>
              <p:cNvSpPr/>
              <p:nvPr/>
            </p:nvSpPr>
            <p:spPr>
              <a:xfrm>
                <a:off x="2276992" y="1328207"/>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098" name="Freeform 483">
                <a:extLst>
                  <a:ext uri="{FF2B5EF4-FFF2-40B4-BE49-F238E27FC236}">
                    <a16:creationId xmlns:a16="http://schemas.microsoft.com/office/drawing/2014/main" id="{8180554A-419F-8511-E17F-14974BBCE60C}"/>
                  </a:ext>
                </a:extLst>
              </p:cNvPr>
              <p:cNvSpPr/>
              <p:nvPr/>
            </p:nvSpPr>
            <p:spPr>
              <a:xfrm>
                <a:off x="2302551" y="1353501"/>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099" name="Freeform 484">
                <a:extLst>
                  <a:ext uri="{FF2B5EF4-FFF2-40B4-BE49-F238E27FC236}">
                    <a16:creationId xmlns:a16="http://schemas.microsoft.com/office/drawing/2014/main" id="{4E508447-FEB3-E5E6-6350-A50D27E45BB6}"/>
                  </a:ext>
                </a:extLst>
              </p:cNvPr>
              <p:cNvSpPr/>
              <p:nvPr/>
            </p:nvSpPr>
            <p:spPr>
              <a:xfrm>
                <a:off x="2340132" y="1328207"/>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100" name="Freeform 485">
                <a:extLst>
                  <a:ext uri="{FF2B5EF4-FFF2-40B4-BE49-F238E27FC236}">
                    <a16:creationId xmlns:a16="http://schemas.microsoft.com/office/drawing/2014/main" id="{02FD0D8B-E7F8-C533-BDCC-6D17CFFC13F1}"/>
                  </a:ext>
                </a:extLst>
              </p:cNvPr>
              <p:cNvSpPr/>
              <p:nvPr/>
            </p:nvSpPr>
            <p:spPr>
              <a:xfrm>
                <a:off x="2365691" y="1353501"/>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101" name="Freeform 486">
                <a:extLst>
                  <a:ext uri="{FF2B5EF4-FFF2-40B4-BE49-F238E27FC236}">
                    <a16:creationId xmlns:a16="http://schemas.microsoft.com/office/drawing/2014/main" id="{5F304838-57B4-CD5B-862A-350F1A1AAE85}"/>
                  </a:ext>
                </a:extLst>
              </p:cNvPr>
              <p:cNvSpPr/>
              <p:nvPr/>
            </p:nvSpPr>
            <p:spPr>
              <a:xfrm>
                <a:off x="2403273" y="1328207"/>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102" name="Freeform 487">
                <a:extLst>
                  <a:ext uri="{FF2B5EF4-FFF2-40B4-BE49-F238E27FC236}">
                    <a16:creationId xmlns:a16="http://schemas.microsoft.com/office/drawing/2014/main" id="{98EB0164-4D2F-2D37-144F-6DEF24A4F012}"/>
                  </a:ext>
                </a:extLst>
              </p:cNvPr>
              <p:cNvSpPr/>
              <p:nvPr/>
            </p:nvSpPr>
            <p:spPr>
              <a:xfrm>
                <a:off x="2969015" y="1483041"/>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103" name="Freeform 488">
                <a:extLst>
                  <a:ext uri="{FF2B5EF4-FFF2-40B4-BE49-F238E27FC236}">
                    <a16:creationId xmlns:a16="http://schemas.microsoft.com/office/drawing/2014/main" id="{9C54A353-E050-8A6B-47CC-6C763BCC6692}"/>
                  </a:ext>
                </a:extLst>
              </p:cNvPr>
              <p:cNvSpPr/>
              <p:nvPr/>
            </p:nvSpPr>
            <p:spPr>
              <a:xfrm>
                <a:off x="3006597" y="1457736"/>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104" name="Freeform 489">
                <a:extLst>
                  <a:ext uri="{FF2B5EF4-FFF2-40B4-BE49-F238E27FC236}">
                    <a16:creationId xmlns:a16="http://schemas.microsoft.com/office/drawing/2014/main" id="{5E1F81C5-AA29-17B9-5B6A-20026A1F23C2}"/>
                  </a:ext>
                </a:extLst>
              </p:cNvPr>
              <p:cNvSpPr/>
              <p:nvPr/>
            </p:nvSpPr>
            <p:spPr>
              <a:xfrm>
                <a:off x="3284706" y="1511934"/>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105" name="Freeform 490">
                <a:extLst>
                  <a:ext uri="{FF2B5EF4-FFF2-40B4-BE49-F238E27FC236}">
                    <a16:creationId xmlns:a16="http://schemas.microsoft.com/office/drawing/2014/main" id="{92350E0D-52D2-30C4-0C73-B616DF30DD03}"/>
                  </a:ext>
                </a:extLst>
              </p:cNvPr>
              <p:cNvSpPr/>
              <p:nvPr/>
            </p:nvSpPr>
            <p:spPr>
              <a:xfrm>
                <a:off x="3322287" y="1486629"/>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106" name="Freeform 491">
                <a:extLst>
                  <a:ext uri="{FF2B5EF4-FFF2-40B4-BE49-F238E27FC236}">
                    <a16:creationId xmlns:a16="http://schemas.microsoft.com/office/drawing/2014/main" id="{9E24E346-FF4E-94ED-B8F4-CFB2C557E4C8}"/>
                  </a:ext>
                </a:extLst>
              </p:cNvPr>
              <p:cNvSpPr/>
              <p:nvPr/>
            </p:nvSpPr>
            <p:spPr>
              <a:xfrm>
                <a:off x="3684576" y="1613692"/>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107" name="Freeform 492">
                <a:extLst>
                  <a:ext uri="{FF2B5EF4-FFF2-40B4-BE49-F238E27FC236}">
                    <a16:creationId xmlns:a16="http://schemas.microsoft.com/office/drawing/2014/main" id="{8DD34719-949B-60D7-66A9-4E68CFEE3CC8}"/>
                  </a:ext>
                </a:extLst>
              </p:cNvPr>
              <p:cNvSpPr/>
              <p:nvPr/>
            </p:nvSpPr>
            <p:spPr>
              <a:xfrm>
                <a:off x="3722157" y="1588398"/>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108" name="Freeform 493">
                <a:extLst>
                  <a:ext uri="{FF2B5EF4-FFF2-40B4-BE49-F238E27FC236}">
                    <a16:creationId xmlns:a16="http://schemas.microsoft.com/office/drawing/2014/main" id="{E3DEE1C9-47E2-03A3-9D78-4074CCB7EBC2}"/>
                  </a:ext>
                </a:extLst>
              </p:cNvPr>
              <p:cNvSpPr/>
              <p:nvPr/>
            </p:nvSpPr>
            <p:spPr>
              <a:xfrm>
                <a:off x="3747716" y="1657433"/>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109" name="Freeform 494">
                <a:extLst>
                  <a:ext uri="{FF2B5EF4-FFF2-40B4-BE49-F238E27FC236}">
                    <a16:creationId xmlns:a16="http://schemas.microsoft.com/office/drawing/2014/main" id="{18F3E315-6076-71C4-82C7-91CE7DAB9667}"/>
                  </a:ext>
                </a:extLst>
              </p:cNvPr>
              <p:cNvSpPr/>
              <p:nvPr/>
            </p:nvSpPr>
            <p:spPr>
              <a:xfrm>
                <a:off x="3785297" y="1632129"/>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110" name="Freeform 495">
                <a:extLst>
                  <a:ext uri="{FF2B5EF4-FFF2-40B4-BE49-F238E27FC236}">
                    <a16:creationId xmlns:a16="http://schemas.microsoft.com/office/drawing/2014/main" id="{C933A120-E52B-283F-158B-9FC8337875B2}"/>
                  </a:ext>
                </a:extLst>
              </p:cNvPr>
              <p:cNvSpPr/>
              <p:nvPr/>
            </p:nvSpPr>
            <p:spPr>
              <a:xfrm>
                <a:off x="3895036" y="1716012"/>
                <a:ext cx="75173" cy="10583"/>
              </a:xfrm>
              <a:custGeom>
                <a:avLst/>
                <a:gdLst>
                  <a:gd name="connsiteX0" fmla="*/ 0 w 75173"/>
                  <a:gd name="connsiteY0" fmla="*/ 0 h 10583"/>
                  <a:gd name="connsiteX1" fmla="*/ 75173 w 75173"/>
                  <a:gd name="connsiteY1" fmla="*/ 0 h 10583"/>
                </a:gdLst>
                <a:ahLst/>
                <a:cxnLst>
                  <a:cxn ang="0">
                    <a:pos x="connsiteX0" y="connsiteY0"/>
                  </a:cxn>
                  <a:cxn ang="0">
                    <a:pos x="connsiteX1" y="connsiteY1"/>
                  </a:cxn>
                </a:cxnLst>
                <a:rect l="l" t="t" r="r" b="b"/>
                <a:pathLst>
                  <a:path w="75173" h="10583">
                    <a:moveTo>
                      <a:pt x="0" y="0"/>
                    </a:moveTo>
                    <a:lnTo>
                      <a:pt x="75173" y="0"/>
                    </a:lnTo>
                  </a:path>
                </a:pathLst>
              </a:custGeom>
              <a:ln w="12700" cap="sq">
                <a:solidFill>
                  <a:srgbClr val="929294"/>
                </a:solidFill>
                <a:prstDash val="solid"/>
                <a:miter/>
              </a:ln>
            </p:spPr>
            <p:txBody>
              <a:bodyPr rtlCol="0" anchor="ctr"/>
              <a:lstStyle/>
              <a:p>
                <a:endParaRPr lang="en-US" sz="1800"/>
              </a:p>
            </p:txBody>
          </p:sp>
          <p:sp>
            <p:nvSpPr>
              <p:cNvPr id="2111" name="Freeform 496">
                <a:extLst>
                  <a:ext uri="{FF2B5EF4-FFF2-40B4-BE49-F238E27FC236}">
                    <a16:creationId xmlns:a16="http://schemas.microsoft.com/office/drawing/2014/main" id="{1788D9B1-4E57-73C7-01CA-252DA666D314}"/>
                  </a:ext>
                </a:extLst>
              </p:cNvPr>
              <p:cNvSpPr/>
              <p:nvPr/>
            </p:nvSpPr>
            <p:spPr>
              <a:xfrm>
                <a:off x="3932628" y="1690718"/>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112" name="Freeform 497">
                <a:extLst>
                  <a:ext uri="{FF2B5EF4-FFF2-40B4-BE49-F238E27FC236}">
                    <a16:creationId xmlns:a16="http://schemas.microsoft.com/office/drawing/2014/main" id="{49E691E2-249C-C01E-B95A-ED07CC3B35F8}"/>
                  </a:ext>
                </a:extLst>
              </p:cNvPr>
              <p:cNvSpPr/>
              <p:nvPr/>
            </p:nvSpPr>
            <p:spPr>
              <a:xfrm>
                <a:off x="4701803" y="1936844"/>
                <a:ext cx="75173" cy="10583"/>
              </a:xfrm>
              <a:custGeom>
                <a:avLst/>
                <a:gdLst>
                  <a:gd name="connsiteX0" fmla="*/ 0 w 75173"/>
                  <a:gd name="connsiteY0" fmla="*/ 0 h 10583"/>
                  <a:gd name="connsiteX1" fmla="*/ 75174 w 75173"/>
                  <a:gd name="connsiteY1" fmla="*/ 0 h 10583"/>
                </a:gdLst>
                <a:ahLst/>
                <a:cxnLst>
                  <a:cxn ang="0">
                    <a:pos x="connsiteX0" y="connsiteY0"/>
                  </a:cxn>
                  <a:cxn ang="0">
                    <a:pos x="connsiteX1" y="connsiteY1"/>
                  </a:cxn>
                </a:cxnLst>
                <a:rect l="l" t="t" r="r" b="b"/>
                <a:pathLst>
                  <a:path w="75173" h="10583">
                    <a:moveTo>
                      <a:pt x="0" y="0"/>
                    </a:moveTo>
                    <a:lnTo>
                      <a:pt x="75174" y="0"/>
                    </a:lnTo>
                  </a:path>
                </a:pathLst>
              </a:custGeom>
              <a:ln w="12700" cap="sq">
                <a:solidFill>
                  <a:srgbClr val="929294"/>
                </a:solidFill>
                <a:prstDash val="solid"/>
                <a:miter/>
              </a:ln>
            </p:spPr>
            <p:txBody>
              <a:bodyPr rtlCol="0" anchor="ctr"/>
              <a:lstStyle/>
              <a:p>
                <a:endParaRPr lang="en-US" sz="1800"/>
              </a:p>
            </p:txBody>
          </p:sp>
          <p:sp>
            <p:nvSpPr>
              <p:cNvPr id="2113" name="Freeform 498">
                <a:extLst>
                  <a:ext uri="{FF2B5EF4-FFF2-40B4-BE49-F238E27FC236}">
                    <a16:creationId xmlns:a16="http://schemas.microsoft.com/office/drawing/2014/main" id="{1604FB09-2A57-C078-0396-83173D6CF8BB}"/>
                  </a:ext>
                </a:extLst>
              </p:cNvPr>
              <p:cNvSpPr/>
              <p:nvPr/>
            </p:nvSpPr>
            <p:spPr>
              <a:xfrm>
                <a:off x="4739395" y="191155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114" name="Freeform 499">
                <a:extLst>
                  <a:ext uri="{FF2B5EF4-FFF2-40B4-BE49-F238E27FC236}">
                    <a16:creationId xmlns:a16="http://schemas.microsoft.com/office/drawing/2014/main" id="{1E8DD483-E2EE-A5A1-05E1-88E6D68B98C2}"/>
                  </a:ext>
                </a:extLst>
              </p:cNvPr>
              <p:cNvSpPr/>
              <p:nvPr/>
            </p:nvSpPr>
            <p:spPr>
              <a:xfrm>
                <a:off x="4877190" y="2010832"/>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115" name="Freeform 500">
                <a:extLst>
                  <a:ext uri="{FF2B5EF4-FFF2-40B4-BE49-F238E27FC236}">
                    <a16:creationId xmlns:a16="http://schemas.microsoft.com/office/drawing/2014/main" id="{FB6C3949-0A33-91D3-CF09-75133012EEF7}"/>
                  </a:ext>
                </a:extLst>
              </p:cNvPr>
              <p:cNvSpPr/>
              <p:nvPr/>
            </p:nvSpPr>
            <p:spPr>
              <a:xfrm>
                <a:off x="4914772" y="1985538"/>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116" name="Freeform 501">
                <a:extLst>
                  <a:ext uri="{FF2B5EF4-FFF2-40B4-BE49-F238E27FC236}">
                    <a16:creationId xmlns:a16="http://schemas.microsoft.com/office/drawing/2014/main" id="{07DA24B4-D1F0-621F-0854-F5A7D98303E1}"/>
                  </a:ext>
                </a:extLst>
              </p:cNvPr>
              <p:cNvSpPr/>
              <p:nvPr/>
            </p:nvSpPr>
            <p:spPr>
              <a:xfrm>
                <a:off x="4898241" y="2010832"/>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117" name="Freeform 502">
                <a:extLst>
                  <a:ext uri="{FF2B5EF4-FFF2-40B4-BE49-F238E27FC236}">
                    <a16:creationId xmlns:a16="http://schemas.microsoft.com/office/drawing/2014/main" id="{1344CC77-4E11-0EAB-ED62-ED945D37BE67}"/>
                  </a:ext>
                </a:extLst>
              </p:cNvPr>
              <p:cNvSpPr/>
              <p:nvPr/>
            </p:nvSpPr>
            <p:spPr>
              <a:xfrm>
                <a:off x="4935822" y="1985538"/>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118" name="Freeform 503">
                <a:extLst>
                  <a:ext uri="{FF2B5EF4-FFF2-40B4-BE49-F238E27FC236}">
                    <a16:creationId xmlns:a16="http://schemas.microsoft.com/office/drawing/2014/main" id="{6BCA19B1-9965-4727-0583-F230C60E8229}"/>
                  </a:ext>
                </a:extLst>
              </p:cNvPr>
              <p:cNvSpPr/>
              <p:nvPr/>
            </p:nvSpPr>
            <p:spPr>
              <a:xfrm>
                <a:off x="4982421" y="2025786"/>
                <a:ext cx="75173" cy="10583"/>
              </a:xfrm>
              <a:custGeom>
                <a:avLst/>
                <a:gdLst>
                  <a:gd name="connsiteX0" fmla="*/ 0 w 75173"/>
                  <a:gd name="connsiteY0" fmla="*/ 0 h 10583"/>
                  <a:gd name="connsiteX1" fmla="*/ 75173 w 75173"/>
                  <a:gd name="connsiteY1" fmla="*/ 0 h 10583"/>
                </a:gdLst>
                <a:ahLst/>
                <a:cxnLst>
                  <a:cxn ang="0">
                    <a:pos x="connsiteX0" y="connsiteY0"/>
                  </a:cxn>
                  <a:cxn ang="0">
                    <a:pos x="connsiteX1" y="connsiteY1"/>
                  </a:cxn>
                </a:cxnLst>
                <a:rect l="l" t="t" r="r" b="b"/>
                <a:pathLst>
                  <a:path w="75173" h="10583">
                    <a:moveTo>
                      <a:pt x="0" y="0"/>
                    </a:moveTo>
                    <a:lnTo>
                      <a:pt x="75173" y="0"/>
                    </a:lnTo>
                  </a:path>
                </a:pathLst>
              </a:custGeom>
              <a:ln w="12700" cap="sq">
                <a:solidFill>
                  <a:srgbClr val="929294"/>
                </a:solidFill>
                <a:prstDash val="solid"/>
                <a:miter/>
              </a:ln>
            </p:spPr>
            <p:txBody>
              <a:bodyPr rtlCol="0" anchor="ctr"/>
              <a:lstStyle/>
              <a:p>
                <a:endParaRPr lang="en-US" sz="1800"/>
              </a:p>
            </p:txBody>
          </p:sp>
          <p:sp>
            <p:nvSpPr>
              <p:cNvPr id="2119" name="Freeform 504">
                <a:extLst>
                  <a:ext uri="{FF2B5EF4-FFF2-40B4-BE49-F238E27FC236}">
                    <a16:creationId xmlns:a16="http://schemas.microsoft.com/office/drawing/2014/main" id="{F8A96465-5BF6-5A62-FA56-F05F18578E9C}"/>
                  </a:ext>
                </a:extLst>
              </p:cNvPr>
              <p:cNvSpPr/>
              <p:nvPr/>
            </p:nvSpPr>
            <p:spPr>
              <a:xfrm>
                <a:off x="5020002" y="2000492"/>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120" name="Freeform 505">
                <a:extLst>
                  <a:ext uri="{FF2B5EF4-FFF2-40B4-BE49-F238E27FC236}">
                    <a16:creationId xmlns:a16="http://schemas.microsoft.com/office/drawing/2014/main" id="{C0C3FF33-1D41-F47C-5636-603DF65E869F}"/>
                  </a:ext>
                </a:extLst>
              </p:cNvPr>
              <p:cNvSpPr/>
              <p:nvPr/>
            </p:nvSpPr>
            <p:spPr>
              <a:xfrm>
                <a:off x="5375285" y="2085942"/>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121" name="Freeform 506">
                <a:extLst>
                  <a:ext uri="{FF2B5EF4-FFF2-40B4-BE49-F238E27FC236}">
                    <a16:creationId xmlns:a16="http://schemas.microsoft.com/office/drawing/2014/main" id="{4157B7F2-F6AD-7924-75BA-BD256286235A}"/>
                  </a:ext>
                </a:extLst>
              </p:cNvPr>
              <p:cNvSpPr/>
              <p:nvPr/>
            </p:nvSpPr>
            <p:spPr>
              <a:xfrm>
                <a:off x="5412866" y="2060648"/>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122" name="Freeform 507">
                <a:extLst>
                  <a:ext uri="{FF2B5EF4-FFF2-40B4-BE49-F238E27FC236}">
                    <a16:creationId xmlns:a16="http://schemas.microsoft.com/office/drawing/2014/main" id="{41172C04-F240-30CE-9276-7D566BB4025B}"/>
                  </a:ext>
                </a:extLst>
              </p:cNvPr>
              <p:cNvSpPr/>
              <p:nvPr/>
            </p:nvSpPr>
            <p:spPr>
              <a:xfrm>
                <a:off x="5641868" y="2176684"/>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123" name="Freeform 508">
                <a:extLst>
                  <a:ext uri="{FF2B5EF4-FFF2-40B4-BE49-F238E27FC236}">
                    <a16:creationId xmlns:a16="http://schemas.microsoft.com/office/drawing/2014/main" id="{921BE085-2607-7CCE-3FC2-A391F2D71790}"/>
                  </a:ext>
                </a:extLst>
              </p:cNvPr>
              <p:cNvSpPr/>
              <p:nvPr/>
            </p:nvSpPr>
            <p:spPr>
              <a:xfrm>
                <a:off x="5679450" y="2151389"/>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124" name="Freeform 509">
                <a:extLst>
                  <a:ext uri="{FF2B5EF4-FFF2-40B4-BE49-F238E27FC236}">
                    <a16:creationId xmlns:a16="http://schemas.microsoft.com/office/drawing/2014/main" id="{77ACD3B2-5B88-4D7B-F152-153B3BD01705}"/>
                  </a:ext>
                </a:extLst>
              </p:cNvPr>
              <p:cNvSpPr/>
              <p:nvPr/>
            </p:nvSpPr>
            <p:spPr>
              <a:xfrm>
                <a:off x="5648885" y="2191860"/>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125" name="Freeform 510">
                <a:extLst>
                  <a:ext uri="{FF2B5EF4-FFF2-40B4-BE49-F238E27FC236}">
                    <a16:creationId xmlns:a16="http://schemas.microsoft.com/office/drawing/2014/main" id="{76C2A615-5916-DCF0-D2B6-747817532FEF}"/>
                  </a:ext>
                </a:extLst>
              </p:cNvPr>
              <p:cNvSpPr/>
              <p:nvPr/>
            </p:nvSpPr>
            <p:spPr>
              <a:xfrm>
                <a:off x="5686466" y="2166566"/>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126" name="Freeform 511">
                <a:extLst>
                  <a:ext uri="{FF2B5EF4-FFF2-40B4-BE49-F238E27FC236}">
                    <a16:creationId xmlns:a16="http://schemas.microsoft.com/office/drawing/2014/main" id="{8CD62928-9EC6-64C4-D54E-B597514E4C94}"/>
                  </a:ext>
                </a:extLst>
              </p:cNvPr>
              <p:cNvSpPr/>
              <p:nvPr/>
            </p:nvSpPr>
            <p:spPr>
              <a:xfrm>
                <a:off x="5669935" y="2191860"/>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127" name="Freeform 512">
                <a:extLst>
                  <a:ext uri="{FF2B5EF4-FFF2-40B4-BE49-F238E27FC236}">
                    <a16:creationId xmlns:a16="http://schemas.microsoft.com/office/drawing/2014/main" id="{4098FE75-2E9D-F000-20F5-B161FF213E9A}"/>
                  </a:ext>
                </a:extLst>
              </p:cNvPr>
              <p:cNvSpPr/>
              <p:nvPr/>
            </p:nvSpPr>
            <p:spPr>
              <a:xfrm>
                <a:off x="5707517" y="2166566"/>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128" name="Freeform 513">
                <a:extLst>
                  <a:ext uri="{FF2B5EF4-FFF2-40B4-BE49-F238E27FC236}">
                    <a16:creationId xmlns:a16="http://schemas.microsoft.com/office/drawing/2014/main" id="{E45C1FFF-E820-FFB7-6508-7DB6B47F486C}"/>
                  </a:ext>
                </a:extLst>
              </p:cNvPr>
              <p:cNvSpPr/>
              <p:nvPr/>
            </p:nvSpPr>
            <p:spPr>
              <a:xfrm>
                <a:off x="6609989" y="2314987"/>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129" name="Freeform 514">
                <a:extLst>
                  <a:ext uri="{FF2B5EF4-FFF2-40B4-BE49-F238E27FC236}">
                    <a16:creationId xmlns:a16="http://schemas.microsoft.com/office/drawing/2014/main" id="{382CCF29-83EF-D0E5-2A61-E62E127CDAAB}"/>
                  </a:ext>
                </a:extLst>
              </p:cNvPr>
              <p:cNvSpPr/>
              <p:nvPr/>
            </p:nvSpPr>
            <p:spPr>
              <a:xfrm>
                <a:off x="6647571" y="2289692"/>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130" name="Freeform 515">
                <a:extLst>
                  <a:ext uri="{FF2B5EF4-FFF2-40B4-BE49-F238E27FC236}">
                    <a16:creationId xmlns:a16="http://schemas.microsoft.com/office/drawing/2014/main" id="{F874FAE1-0BA1-9439-C74C-72190C3E5A7C}"/>
                  </a:ext>
                </a:extLst>
              </p:cNvPr>
              <p:cNvSpPr/>
              <p:nvPr/>
            </p:nvSpPr>
            <p:spPr>
              <a:xfrm>
                <a:off x="6757309" y="2330396"/>
                <a:ext cx="75173" cy="10583"/>
              </a:xfrm>
              <a:custGeom>
                <a:avLst/>
                <a:gdLst>
                  <a:gd name="connsiteX0" fmla="*/ 0 w 75173"/>
                  <a:gd name="connsiteY0" fmla="*/ 0 h 10583"/>
                  <a:gd name="connsiteX1" fmla="*/ 75173 w 75173"/>
                  <a:gd name="connsiteY1" fmla="*/ 0 h 10583"/>
                </a:gdLst>
                <a:ahLst/>
                <a:cxnLst>
                  <a:cxn ang="0">
                    <a:pos x="connsiteX0" y="connsiteY0"/>
                  </a:cxn>
                  <a:cxn ang="0">
                    <a:pos x="connsiteX1" y="connsiteY1"/>
                  </a:cxn>
                </a:cxnLst>
                <a:rect l="l" t="t" r="r" b="b"/>
                <a:pathLst>
                  <a:path w="75173" h="10583">
                    <a:moveTo>
                      <a:pt x="0" y="0"/>
                    </a:moveTo>
                    <a:lnTo>
                      <a:pt x="75173" y="0"/>
                    </a:lnTo>
                  </a:path>
                </a:pathLst>
              </a:custGeom>
              <a:ln w="12700" cap="sq">
                <a:solidFill>
                  <a:srgbClr val="929294"/>
                </a:solidFill>
                <a:prstDash val="solid"/>
                <a:miter/>
              </a:ln>
            </p:spPr>
            <p:txBody>
              <a:bodyPr rtlCol="0" anchor="ctr"/>
              <a:lstStyle/>
              <a:p>
                <a:endParaRPr lang="en-US" sz="1800"/>
              </a:p>
            </p:txBody>
          </p:sp>
          <p:sp>
            <p:nvSpPr>
              <p:cNvPr id="2131" name="Freeform 516">
                <a:extLst>
                  <a:ext uri="{FF2B5EF4-FFF2-40B4-BE49-F238E27FC236}">
                    <a16:creationId xmlns:a16="http://schemas.microsoft.com/office/drawing/2014/main" id="{4FE1BE06-1784-10CA-2ED9-F839A8400355}"/>
                  </a:ext>
                </a:extLst>
              </p:cNvPr>
              <p:cNvSpPr/>
              <p:nvPr/>
            </p:nvSpPr>
            <p:spPr>
              <a:xfrm>
                <a:off x="6794901" y="230509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132" name="Freeform 517">
                <a:extLst>
                  <a:ext uri="{FF2B5EF4-FFF2-40B4-BE49-F238E27FC236}">
                    <a16:creationId xmlns:a16="http://schemas.microsoft.com/office/drawing/2014/main" id="{FB07E434-BEF9-914C-2595-5E378BF6B32A}"/>
                  </a:ext>
                </a:extLst>
              </p:cNvPr>
              <p:cNvSpPr/>
              <p:nvPr/>
            </p:nvSpPr>
            <p:spPr>
              <a:xfrm>
                <a:off x="6764326" y="2330396"/>
                <a:ext cx="75173" cy="10583"/>
              </a:xfrm>
              <a:custGeom>
                <a:avLst/>
                <a:gdLst>
                  <a:gd name="connsiteX0" fmla="*/ 0 w 75173"/>
                  <a:gd name="connsiteY0" fmla="*/ 0 h 10583"/>
                  <a:gd name="connsiteX1" fmla="*/ 75174 w 75173"/>
                  <a:gd name="connsiteY1" fmla="*/ 0 h 10583"/>
                </a:gdLst>
                <a:ahLst/>
                <a:cxnLst>
                  <a:cxn ang="0">
                    <a:pos x="connsiteX0" y="connsiteY0"/>
                  </a:cxn>
                  <a:cxn ang="0">
                    <a:pos x="connsiteX1" y="connsiteY1"/>
                  </a:cxn>
                </a:cxnLst>
                <a:rect l="l" t="t" r="r" b="b"/>
                <a:pathLst>
                  <a:path w="75173" h="10583">
                    <a:moveTo>
                      <a:pt x="0" y="0"/>
                    </a:moveTo>
                    <a:lnTo>
                      <a:pt x="75174" y="0"/>
                    </a:lnTo>
                  </a:path>
                </a:pathLst>
              </a:custGeom>
              <a:ln w="12700" cap="sq">
                <a:solidFill>
                  <a:srgbClr val="929294"/>
                </a:solidFill>
                <a:prstDash val="solid"/>
                <a:miter/>
              </a:ln>
            </p:spPr>
            <p:txBody>
              <a:bodyPr rtlCol="0" anchor="ctr"/>
              <a:lstStyle/>
              <a:p>
                <a:endParaRPr lang="en-US" sz="1800"/>
              </a:p>
            </p:txBody>
          </p:sp>
          <p:sp>
            <p:nvSpPr>
              <p:cNvPr id="2133" name="Freeform 518">
                <a:extLst>
                  <a:ext uri="{FF2B5EF4-FFF2-40B4-BE49-F238E27FC236}">
                    <a16:creationId xmlns:a16="http://schemas.microsoft.com/office/drawing/2014/main" id="{33236306-79A3-4D13-7134-C0F4076BEBC3}"/>
                  </a:ext>
                </a:extLst>
              </p:cNvPr>
              <p:cNvSpPr/>
              <p:nvPr/>
            </p:nvSpPr>
            <p:spPr>
              <a:xfrm>
                <a:off x="6801907" y="230509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134" name="Freeform 519">
                <a:extLst>
                  <a:ext uri="{FF2B5EF4-FFF2-40B4-BE49-F238E27FC236}">
                    <a16:creationId xmlns:a16="http://schemas.microsoft.com/office/drawing/2014/main" id="{4EA76E61-6568-8C7D-853C-F679DBD08D4A}"/>
                  </a:ext>
                </a:extLst>
              </p:cNvPr>
              <p:cNvSpPr/>
              <p:nvPr/>
            </p:nvSpPr>
            <p:spPr>
              <a:xfrm>
                <a:off x="6778359" y="2330396"/>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135" name="Freeform 520">
                <a:extLst>
                  <a:ext uri="{FF2B5EF4-FFF2-40B4-BE49-F238E27FC236}">
                    <a16:creationId xmlns:a16="http://schemas.microsoft.com/office/drawing/2014/main" id="{D0C3AB2A-4299-B5DF-F39E-66487ADE97E1}"/>
                  </a:ext>
                </a:extLst>
              </p:cNvPr>
              <p:cNvSpPr/>
              <p:nvPr/>
            </p:nvSpPr>
            <p:spPr>
              <a:xfrm>
                <a:off x="6815941" y="230509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136" name="Freeform 521">
                <a:extLst>
                  <a:ext uri="{FF2B5EF4-FFF2-40B4-BE49-F238E27FC236}">
                    <a16:creationId xmlns:a16="http://schemas.microsoft.com/office/drawing/2014/main" id="{46ADB39C-FDA9-8AD3-0E8D-71F2CD9512EC}"/>
                  </a:ext>
                </a:extLst>
              </p:cNvPr>
              <p:cNvSpPr/>
              <p:nvPr/>
            </p:nvSpPr>
            <p:spPr>
              <a:xfrm>
                <a:off x="6806426" y="2361987"/>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137" name="Freeform 522">
                <a:extLst>
                  <a:ext uri="{FF2B5EF4-FFF2-40B4-BE49-F238E27FC236}">
                    <a16:creationId xmlns:a16="http://schemas.microsoft.com/office/drawing/2014/main" id="{24A6E34C-20C9-A53E-DC2E-A1211EDC03AA}"/>
                  </a:ext>
                </a:extLst>
              </p:cNvPr>
              <p:cNvSpPr/>
              <p:nvPr/>
            </p:nvSpPr>
            <p:spPr>
              <a:xfrm>
                <a:off x="6844008" y="2336693"/>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138" name="Freeform 523">
                <a:extLst>
                  <a:ext uri="{FF2B5EF4-FFF2-40B4-BE49-F238E27FC236}">
                    <a16:creationId xmlns:a16="http://schemas.microsoft.com/office/drawing/2014/main" id="{A3040103-94DA-2746-F1D9-FB9CC02F712C}"/>
                  </a:ext>
                </a:extLst>
              </p:cNvPr>
              <p:cNvSpPr/>
              <p:nvPr/>
            </p:nvSpPr>
            <p:spPr>
              <a:xfrm>
                <a:off x="6841500" y="2393695"/>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139" name="Freeform 524">
                <a:extLst>
                  <a:ext uri="{FF2B5EF4-FFF2-40B4-BE49-F238E27FC236}">
                    <a16:creationId xmlns:a16="http://schemas.microsoft.com/office/drawing/2014/main" id="{7F1B338C-B97E-2B0A-42C1-2C4809BE4848}"/>
                  </a:ext>
                </a:extLst>
              </p:cNvPr>
              <p:cNvSpPr/>
              <p:nvPr/>
            </p:nvSpPr>
            <p:spPr>
              <a:xfrm>
                <a:off x="6879081" y="236840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140" name="Freeform 525">
                <a:extLst>
                  <a:ext uri="{FF2B5EF4-FFF2-40B4-BE49-F238E27FC236}">
                    <a16:creationId xmlns:a16="http://schemas.microsoft.com/office/drawing/2014/main" id="{C86AFE3D-2754-9B99-B622-67C5A3EC9302}"/>
                  </a:ext>
                </a:extLst>
              </p:cNvPr>
              <p:cNvSpPr/>
              <p:nvPr/>
            </p:nvSpPr>
            <p:spPr>
              <a:xfrm>
                <a:off x="6869556" y="2409665"/>
                <a:ext cx="75173" cy="10583"/>
              </a:xfrm>
              <a:custGeom>
                <a:avLst/>
                <a:gdLst>
                  <a:gd name="connsiteX0" fmla="*/ 0 w 75173"/>
                  <a:gd name="connsiteY0" fmla="*/ 0 h 10583"/>
                  <a:gd name="connsiteX1" fmla="*/ 75174 w 75173"/>
                  <a:gd name="connsiteY1" fmla="*/ 0 h 10583"/>
                </a:gdLst>
                <a:ahLst/>
                <a:cxnLst>
                  <a:cxn ang="0">
                    <a:pos x="connsiteX0" y="connsiteY0"/>
                  </a:cxn>
                  <a:cxn ang="0">
                    <a:pos x="connsiteX1" y="connsiteY1"/>
                  </a:cxn>
                </a:cxnLst>
                <a:rect l="l" t="t" r="r" b="b"/>
                <a:pathLst>
                  <a:path w="75173" h="10583">
                    <a:moveTo>
                      <a:pt x="0" y="0"/>
                    </a:moveTo>
                    <a:lnTo>
                      <a:pt x="75174" y="0"/>
                    </a:lnTo>
                  </a:path>
                </a:pathLst>
              </a:custGeom>
              <a:ln w="12700" cap="sq">
                <a:solidFill>
                  <a:srgbClr val="929294"/>
                </a:solidFill>
                <a:prstDash val="solid"/>
                <a:miter/>
              </a:ln>
            </p:spPr>
            <p:txBody>
              <a:bodyPr rtlCol="0" anchor="ctr"/>
              <a:lstStyle/>
              <a:p>
                <a:endParaRPr lang="en-US" sz="1800"/>
              </a:p>
            </p:txBody>
          </p:sp>
          <p:sp>
            <p:nvSpPr>
              <p:cNvPr id="2141" name="Freeform 526">
                <a:extLst>
                  <a:ext uri="{FF2B5EF4-FFF2-40B4-BE49-F238E27FC236}">
                    <a16:creationId xmlns:a16="http://schemas.microsoft.com/office/drawing/2014/main" id="{786E1B54-2A67-B153-F33E-BCED892AA6F4}"/>
                  </a:ext>
                </a:extLst>
              </p:cNvPr>
              <p:cNvSpPr/>
              <p:nvPr/>
            </p:nvSpPr>
            <p:spPr>
              <a:xfrm>
                <a:off x="6907137" y="238436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142" name="Freeform 527">
                <a:extLst>
                  <a:ext uri="{FF2B5EF4-FFF2-40B4-BE49-F238E27FC236}">
                    <a16:creationId xmlns:a16="http://schemas.microsoft.com/office/drawing/2014/main" id="{093CA385-2D64-EBB7-F34F-00C5E959D24D}"/>
                  </a:ext>
                </a:extLst>
              </p:cNvPr>
              <p:cNvSpPr/>
              <p:nvPr/>
            </p:nvSpPr>
            <p:spPr>
              <a:xfrm>
                <a:off x="6883590" y="2409665"/>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143" name="Freeform 528">
                <a:extLst>
                  <a:ext uri="{FF2B5EF4-FFF2-40B4-BE49-F238E27FC236}">
                    <a16:creationId xmlns:a16="http://schemas.microsoft.com/office/drawing/2014/main" id="{F3C6941C-C1D3-738F-6825-8187B8E19CBB}"/>
                  </a:ext>
                </a:extLst>
              </p:cNvPr>
              <p:cNvSpPr/>
              <p:nvPr/>
            </p:nvSpPr>
            <p:spPr>
              <a:xfrm>
                <a:off x="6921171" y="238436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144" name="Freeform 529">
                <a:extLst>
                  <a:ext uri="{FF2B5EF4-FFF2-40B4-BE49-F238E27FC236}">
                    <a16:creationId xmlns:a16="http://schemas.microsoft.com/office/drawing/2014/main" id="{836CEECE-523F-CE76-DD74-4C01BD1ED9C5}"/>
                  </a:ext>
                </a:extLst>
              </p:cNvPr>
              <p:cNvSpPr/>
              <p:nvPr/>
            </p:nvSpPr>
            <p:spPr>
              <a:xfrm>
                <a:off x="6883590" y="2409665"/>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145" name="Freeform 530">
                <a:extLst>
                  <a:ext uri="{FF2B5EF4-FFF2-40B4-BE49-F238E27FC236}">
                    <a16:creationId xmlns:a16="http://schemas.microsoft.com/office/drawing/2014/main" id="{D7B427C1-B9C7-52EA-8697-9720D2BD9FE2}"/>
                  </a:ext>
                </a:extLst>
              </p:cNvPr>
              <p:cNvSpPr/>
              <p:nvPr/>
            </p:nvSpPr>
            <p:spPr>
              <a:xfrm>
                <a:off x="6921171" y="238436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146" name="Freeform 531">
                <a:extLst>
                  <a:ext uri="{FF2B5EF4-FFF2-40B4-BE49-F238E27FC236}">
                    <a16:creationId xmlns:a16="http://schemas.microsoft.com/office/drawing/2014/main" id="{50413C61-7FEF-051D-71F5-9BD8C1E774A1}"/>
                  </a:ext>
                </a:extLst>
              </p:cNvPr>
              <p:cNvSpPr/>
              <p:nvPr/>
            </p:nvSpPr>
            <p:spPr>
              <a:xfrm>
                <a:off x="6918663" y="2409665"/>
                <a:ext cx="75173" cy="10583"/>
              </a:xfrm>
              <a:custGeom>
                <a:avLst/>
                <a:gdLst>
                  <a:gd name="connsiteX0" fmla="*/ 0 w 75173"/>
                  <a:gd name="connsiteY0" fmla="*/ 0 h 10583"/>
                  <a:gd name="connsiteX1" fmla="*/ 75174 w 75173"/>
                  <a:gd name="connsiteY1" fmla="*/ 0 h 10583"/>
                </a:gdLst>
                <a:ahLst/>
                <a:cxnLst>
                  <a:cxn ang="0">
                    <a:pos x="connsiteX0" y="connsiteY0"/>
                  </a:cxn>
                  <a:cxn ang="0">
                    <a:pos x="connsiteX1" y="connsiteY1"/>
                  </a:cxn>
                </a:cxnLst>
                <a:rect l="l" t="t" r="r" b="b"/>
                <a:pathLst>
                  <a:path w="75173" h="10583">
                    <a:moveTo>
                      <a:pt x="0" y="0"/>
                    </a:moveTo>
                    <a:lnTo>
                      <a:pt x="75174" y="0"/>
                    </a:lnTo>
                  </a:path>
                </a:pathLst>
              </a:custGeom>
              <a:ln w="12700" cap="sq">
                <a:solidFill>
                  <a:srgbClr val="929294"/>
                </a:solidFill>
                <a:prstDash val="solid"/>
                <a:miter/>
              </a:ln>
            </p:spPr>
            <p:txBody>
              <a:bodyPr rtlCol="0" anchor="ctr"/>
              <a:lstStyle/>
              <a:p>
                <a:endParaRPr lang="en-US" sz="1800"/>
              </a:p>
            </p:txBody>
          </p:sp>
          <p:sp>
            <p:nvSpPr>
              <p:cNvPr id="2147" name="Freeform 532">
                <a:extLst>
                  <a:ext uri="{FF2B5EF4-FFF2-40B4-BE49-F238E27FC236}">
                    <a16:creationId xmlns:a16="http://schemas.microsoft.com/office/drawing/2014/main" id="{18986F92-5FB7-6273-5ECC-35DCC81933E6}"/>
                  </a:ext>
                </a:extLst>
              </p:cNvPr>
              <p:cNvSpPr/>
              <p:nvPr/>
            </p:nvSpPr>
            <p:spPr>
              <a:xfrm>
                <a:off x="6956255" y="238436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148" name="Freeform 533">
                <a:extLst>
                  <a:ext uri="{FF2B5EF4-FFF2-40B4-BE49-F238E27FC236}">
                    <a16:creationId xmlns:a16="http://schemas.microsoft.com/office/drawing/2014/main" id="{EE8ECD8F-D9C6-6BD3-3B7D-66A3054C90E6}"/>
                  </a:ext>
                </a:extLst>
              </p:cNvPr>
              <p:cNvSpPr/>
              <p:nvPr/>
            </p:nvSpPr>
            <p:spPr>
              <a:xfrm>
                <a:off x="6932696" y="2409665"/>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149" name="Freeform 534">
                <a:extLst>
                  <a:ext uri="{FF2B5EF4-FFF2-40B4-BE49-F238E27FC236}">
                    <a16:creationId xmlns:a16="http://schemas.microsoft.com/office/drawing/2014/main" id="{1BDBF2E4-350F-CD1C-A6F9-44B5C0C82085}"/>
                  </a:ext>
                </a:extLst>
              </p:cNvPr>
              <p:cNvSpPr/>
              <p:nvPr/>
            </p:nvSpPr>
            <p:spPr>
              <a:xfrm>
                <a:off x="6970278" y="238436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150" name="Freeform 535">
                <a:extLst>
                  <a:ext uri="{FF2B5EF4-FFF2-40B4-BE49-F238E27FC236}">
                    <a16:creationId xmlns:a16="http://schemas.microsoft.com/office/drawing/2014/main" id="{C841BBDF-18DE-017D-E55D-1A293092E5F8}"/>
                  </a:ext>
                </a:extLst>
              </p:cNvPr>
              <p:cNvSpPr/>
              <p:nvPr/>
            </p:nvSpPr>
            <p:spPr>
              <a:xfrm>
                <a:off x="6939713" y="2409665"/>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151" name="Freeform 536">
                <a:extLst>
                  <a:ext uri="{FF2B5EF4-FFF2-40B4-BE49-F238E27FC236}">
                    <a16:creationId xmlns:a16="http://schemas.microsoft.com/office/drawing/2014/main" id="{BBC747E4-383E-E838-3423-BA5B273048ED}"/>
                  </a:ext>
                </a:extLst>
              </p:cNvPr>
              <p:cNvSpPr/>
              <p:nvPr/>
            </p:nvSpPr>
            <p:spPr>
              <a:xfrm>
                <a:off x="6977294" y="238436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152" name="Freeform 537">
                <a:extLst>
                  <a:ext uri="{FF2B5EF4-FFF2-40B4-BE49-F238E27FC236}">
                    <a16:creationId xmlns:a16="http://schemas.microsoft.com/office/drawing/2014/main" id="{30E8BDA0-FC2D-5DE6-5D35-2D2FADC0292F}"/>
                  </a:ext>
                </a:extLst>
              </p:cNvPr>
              <p:cNvSpPr/>
              <p:nvPr/>
            </p:nvSpPr>
            <p:spPr>
              <a:xfrm>
                <a:off x="6960763" y="2442950"/>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153" name="Freeform 538">
                <a:extLst>
                  <a:ext uri="{FF2B5EF4-FFF2-40B4-BE49-F238E27FC236}">
                    <a16:creationId xmlns:a16="http://schemas.microsoft.com/office/drawing/2014/main" id="{6E4261D4-08FF-EFB4-CE55-7C329DC64D29}"/>
                  </a:ext>
                </a:extLst>
              </p:cNvPr>
              <p:cNvSpPr/>
              <p:nvPr/>
            </p:nvSpPr>
            <p:spPr>
              <a:xfrm>
                <a:off x="6998345" y="2417645"/>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154" name="Freeform 539">
                <a:extLst>
                  <a:ext uri="{FF2B5EF4-FFF2-40B4-BE49-F238E27FC236}">
                    <a16:creationId xmlns:a16="http://schemas.microsoft.com/office/drawing/2014/main" id="{DF9420FC-3A42-72AD-2EA1-9342E91EE2C9}"/>
                  </a:ext>
                </a:extLst>
              </p:cNvPr>
              <p:cNvSpPr/>
              <p:nvPr/>
            </p:nvSpPr>
            <p:spPr>
              <a:xfrm>
                <a:off x="6960763" y="2442950"/>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155" name="Freeform 540">
                <a:extLst>
                  <a:ext uri="{FF2B5EF4-FFF2-40B4-BE49-F238E27FC236}">
                    <a16:creationId xmlns:a16="http://schemas.microsoft.com/office/drawing/2014/main" id="{FBA0B6FD-190F-DDA4-84E4-36FFD984255B}"/>
                  </a:ext>
                </a:extLst>
              </p:cNvPr>
              <p:cNvSpPr/>
              <p:nvPr/>
            </p:nvSpPr>
            <p:spPr>
              <a:xfrm>
                <a:off x="6998345" y="2417645"/>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156" name="Freeform 541">
                <a:extLst>
                  <a:ext uri="{FF2B5EF4-FFF2-40B4-BE49-F238E27FC236}">
                    <a16:creationId xmlns:a16="http://schemas.microsoft.com/office/drawing/2014/main" id="{9780BC30-42E9-115A-FC4D-29A2449C023F}"/>
                  </a:ext>
                </a:extLst>
              </p:cNvPr>
              <p:cNvSpPr/>
              <p:nvPr/>
            </p:nvSpPr>
            <p:spPr>
              <a:xfrm>
                <a:off x="6988820" y="2459809"/>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157" name="Freeform 542">
                <a:extLst>
                  <a:ext uri="{FF2B5EF4-FFF2-40B4-BE49-F238E27FC236}">
                    <a16:creationId xmlns:a16="http://schemas.microsoft.com/office/drawing/2014/main" id="{A03A1A29-CDD7-A18A-3B14-DFD50C7B5172}"/>
                  </a:ext>
                </a:extLst>
              </p:cNvPr>
              <p:cNvSpPr/>
              <p:nvPr/>
            </p:nvSpPr>
            <p:spPr>
              <a:xfrm>
                <a:off x="7026401" y="2434515"/>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158" name="Freeform 543">
                <a:extLst>
                  <a:ext uri="{FF2B5EF4-FFF2-40B4-BE49-F238E27FC236}">
                    <a16:creationId xmlns:a16="http://schemas.microsoft.com/office/drawing/2014/main" id="{94C4EFBE-0E98-2C08-B686-078FA50B180E}"/>
                  </a:ext>
                </a:extLst>
              </p:cNvPr>
              <p:cNvSpPr/>
              <p:nvPr/>
            </p:nvSpPr>
            <p:spPr>
              <a:xfrm>
                <a:off x="7037926" y="2459809"/>
                <a:ext cx="75173" cy="10583"/>
              </a:xfrm>
              <a:custGeom>
                <a:avLst/>
                <a:gdLst>
                  <a:gd name="connsiteX0" fmla="*/ 0 w 75173"/>
                  <a:gd name="connsiteY0" fmla="*/ 0 h 10583"/>
                  <a:gd name="connsiteX1" fmla="*/ 75173 w 75173"/>
                  <a:gd name="connsiteY1" fmla="*/ 0 h 10583"/>
                </a:gdLst>
                <a:ahLst/>
                <a:cxnLst>
                  <a:cxn ang="0">
                    <a:pos x="connsiteX0" y="connsiteY0"/>
                  </a:cxn>
                  <a:cxn ang="0">
                    <a:pos x="connsiteX1" y="connsiteY1"/>
                  </a:cxn>
                </a:cxnLst>
                <a:rect l="l" t="t" r="r" b="b"/>
                <a:pathLst>
                  <a:path w="75173" h="10583">
                    <a:moveTo>
                      <a:pt x="0" y="0"/>
                    </a:moveTo>
                    <a:lnTo>
                      <a:pt x="75173" y="0"/>
                    </a:lnTo>
                  </a:path>
                </a:pathLst>
              </a:custGeom>
              <a:ln w="12700" cap="sq">
                <a:solidFill>
                  <a:srgbClr val="929294"/>
                </a:solidFill>
                <a:prstDash val="solid"/>
                <a:miter/>
              </a:ln>
            </p:spPr>
            <p:txBody>
              <a:bodyPr rtlCol="0" anchor="ctr"/>
              <a:lstStyle/>
              <a:p>
                <a:endParaRPr lang="en-US" sz="1800"/>
              </a:p>
            </p:txBody>
          </p:sp>
          <p:sp>
            <p:nvSpPr>
              <p:cNvPr id="2159" name="Freeform 544">
                <a:extLst>
                  <a:ext uri="{FF2B5EF4-FFF2-40B4-BE49-F238E27FC236}">
                    <a16:creationId xmlns:a16="http://schemas.microsoft.com/office/drawing/2014/main" id="{14AAC862-D340-C397-2FFF-A733DBEB0903}"/>
                  </a:ext>
                </a:extLst>
              </p:cNvPr>
              <p:cNvSpPr/>
              <p:nvPr/>
            </p:nvSpPr>
            <p:spPr>
              <a:xfrm>
                <a:off x="7075508" y="2434515"/>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160" name="Freeform 545">
                <a:extLst>
                  <a:ext uri="{FF2B5EF4-FFF2-40B4-BE49-F238E27FC236}">
                    <a16:creationId xmlns:a16="http://schemas.microsoft.com/office/drawing/2014/main" id="{D90D9E73-6210-3E21-DA62-740869204D4F}"/>
                  </a:ext>
                </a:extLst>
              </p:cNvPr>
              <p:cNvSpPr/>
              <p:nvPr/>
            </p:nvSpPr>
            <p:spPr>
              <a:xfrm>
                <a:off x="7051960" y="2459809"/>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161" name="Freeform 546">
                <a:extLst>
                  <a:ext uri="{FF2B5EF4-FFF2-40B4-BE49-F238E27FC236}">
                    <a16:creationId xmlns:a16="http://schemas.microsoft.com/office/drawing/2014/main" id="{AB251ACB-ABDE-17F2-E480-26A93F1A63D7}"/>
                  </a:ext>
                </a:extLst>
              </p:cNvPr>
              <p:cNvSpPr/>
              <p:nvPr/>
            </p:nvSpPr>
            <p:spPr>
              <a:xfrm>
                <a:off x="7089541" y="2434515"/>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162" name="Freeform 547">
                <a:extLst>
                  <a:ext uri="{FF2B5EF4-FFF2-40B4-BE49-F238E27FC236}">
                    <a16:creationId xmlns:a16="http://schemas.microsoft.com/office/drawing/2014/main" id="{D44B0638-3443-28A5-149E-ECD28683E997}"/>
                  </a:ext>
                </a:extLst>
              </p:cNvPr>
              <p:cNvSpPr/>
              <p:nvPr/>
            </p:nvSpPr>
            <p:spPr>
              <a:xfrm>
                <a:off x="7051960" y="2459809"/>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163" name="Freeform 548">
                <a:extLst>
                  <a:ext uri="{FF2B5EF4-FFF2-40B4-BE49-F238E27FC236}">
                    <a16:creationId xmlns:a16="http://schemas.microsoft.com/office/drawing/2014/main" id="{7DDEF630-AD80-0E0F-887D-05598EE2075C}"/>
                  </a:ext>
                </a:extLst>
              </p:cNvPr>
              <p:cNvSpPr/>
              <p:nvPr/>
            </p:nvSpPr>
            <p:spPr>
              <a:xfrm>
                <a:off x="7089541" y="2434515"/>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164" name="Freeform 549">
                <a:extLst>
                  <a:ext uri="{FF2B5EF4-FFF2-40B4-BE49-F238E27FC236}">
                    <a16:creationId xmlns:a16="http://schemas.microsoft.com/office/drawing/2014/main" id="{5ED51F9C-029C-03FF-FADE-32E9C64EE42F}"/>
                  </a:ext>
                </a:extLst>
              </p:cNvPr>
              <p:cNvSpPr/>
              <p:nvPr/>
            </p:nvSpPr>
            <p:spPr>
              <a:xfrm>
                <a:off x="7058977" y="2459809"/>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165" name="Freeform 550">
                <a:extLst>
                  <a:ext uri="{FF2B5EF4-FFF2-40B4-BE49-F238E27FC236}">
                    <a16:creationId xmlns:a16="http://schemas.microsoft.com/office/drawing/2014/main" id="{975E40B6-AEDB-A994-0D01-8053C15B0D33}"/>
                  </a:ext>
                </a:extLst>
              </p:cNvPr>
              <p:cNvSpPr/>
              <p:nvPr/>
            </p:nvSpPr>
            <p:spPr>
              <a:xfrm>
                <a:off x="7096558" y="2434515"/>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166" name="Freeform 551">
                <a:extLst>
                  <a:ext uri="{FF2B5EF4-FFF2-40B4-BE49-F238E27FC236}">
                    <a16:creationId xmlns:a16="http://schemas.microsoft.com/office/drawing/2014/main" id="{4BB965D7-6144-B0C4-63E1-C95C075F54CE}"/>
                  </a:ext>
                </a:extLst>
              </p:cNvPr>
              <p:cNvSpPr/>
              <p:nvPr/>
            </p:nvSpPr>
            <p:spPr>
              <a:xfrm>
                <a:off x="7073010" y="2459809"/>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167" name="Freeform 552">
                <a:extLst>
                  <a:ext uri="{FF2B5EF4-FFF2-40B4-BE49-F238E27FC236}">
                    <a16:creationId xmlns:a16="http://schemas.microsoft.com/office/drawing/2014/main" id="{E802DE75-5196-E5EC-1FFB-315064EE32B8}"/>
                  </a:ext>
                </a:extLst>
              </p:cNvPr>
              <p:cNvSpPr/>
              <p:nvPr/>
            </p:nvSpPr>
            <p:spPr>
              <a:xfrm>
                <a:off x="7110591" y="2434515"/>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168" name="Freeform 553">
                <a:extLst>
                  <a:ext uri="{FF2B5EF4-FFF2-40B4-BE49-F238E27FC236}">
                    <a16:creationId xmlns:a16="http://schemas.microsoft.com/office/drawing/2014/main" id="{780B83AC-169C-7502-A6A0-56052E1F6A8C}"/>
                  </a:ext>
                </a:extLst>
              </p:cNvPr>
              <p:cNvSpPr/>
              <p:nvPr/>
            </p:nvSpPr>
            <p:spPr>
              <a:xfrm>
                <a:off x="7122117" y="2477356"/>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169" name="Freeform 554">
                <a:extLst>
                  <a:ext uri="{FF2B5EF4-FFF2-40B4-BE49-F238E27FC236}">
                    <a16:creationId xmlns:a16="http://schemas.microsoft.com/office/drawing/2014/main" id="{33255D90-4961-AFD1-DC2A-2D518E4DD626}"/>
                  </a:ext>
                </a:extLst>
              </p:cNvPr>
              <p:cNvSpPr/>
              <p:nvPr/>
            </p:nvSpPr>
            <p:spPr>
              <a:xfrm>
                <a:off x="7159698" y="245205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170" name="Freeform 555">
                <a:extLst>
                  <a:ext uri="{FF2B5EF4-FFF2-40B4-BE49-F238E27FC236}">
                    <a16:creationId xmlns:a16="http://schemas.microsoft.com/office/drawing/2014/main" id="{1CA720A6-E758-4663-0C39-9BC6081CD843}"/>
                  </a:ext>
                </a:extLst>
              </p:cNvPr>
              <p:cNvSpPr/>
              <p:nvPr/>
            </p:nvSpPr>
            <p:spPr>
              <a:xfrm>
                <a:off x="7129134" y="2477356"/>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171" name="Freeform 556">
                <a:extLst>
                  <a:ext uri="{FF2B5EF4-FFF2-40B4-BE49-F238E27FC236}">
                    <a16:creationId xmlns:a16="http://schemas.microsoft.com/office/drawing/2014/main" id="{38A9DE1F-C2A8-6899-A9FD-AC5777AD2B74}"/>
                  </a:ext>
                </a:extLst>
              </p:cNvPr>
              <p:cNvSpPr/>
              <p:nvPr/>
            </p:nvSpPr>
            <p:spPr>
              <a:xfrm>
                <a:off x="7166715" y="245205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172" name="Freeform 557">
                <a:extLst>
                  <a:ext uri="{FF2B5EF4-FFF2-40B4-BE49-F238E27FC236}">
                    <a16:creationId xmlns:a16="http://schemas.microsoft.com/office/drawing/2014/main" id="{AE99DEE9-96DF-4F49-57DF-3D3D2E0B6D6B}"/>
                  </a:ext>
                </a:extLst>
              </p:cNvPr>
              <p:cNvSpPr/>
              <p:nvPr/>
            </p:nvSpPr>
            <p:spPr>
              <a:xfrm>
                <a:off x="7157190" y="2477356"/>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173" name="Freeform 558">
                <a:extLst>
                  <a:ext uri="{FF2B5EF4-FFF2-40B4-BE49-F238E27FC236}">
                    <a16:creationId xmlns:a16="http://schemas.microsoft.com/office/drawing/2014/main" id="{6E6237A1-2DED-BF0E-F791-E24B51982102}"/>
                  </a:ext>
                </a:extLst>
              </p:cNvPr>
              <p:cNvSpPr/>
              <p:nvPr/>
            </p:nvSpPr>
            <p:spPr>
              <a:xfrm>
                <a:off x="7194771" y="245205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174" name="Freeform 559">
                <a:extLst>
                  <a:ext uri="{FF2B5EF4-FFF2-40B4-BE49-F238E27FC236}">
                    <a16:creationId xmlns:a16="http://schemas.microsoft.com/office/drawing/2014/main" id="{7F887EB7-60EB-CCF1-3975-FCD79B217935}"/>
                  </a:ext>
                </a:extLst>
              </p:cNvPr>
              <p:cNvSpPr/>
              <p:nvPr/>
            </p:nvSpPr>
            <p:spPr>
              <a:xfrm>
                <a:off x="7164207" y="2477356"/>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175" name="Freeform 560">
                <a:extLst>
                  <a:ext uri="{FF2B5EF4-FFF2-40B4-BE49-F238E27FC236}">
                    <a16:creationId xmlns:a16="http://schemas.microsoft.com/office/drawing/2014/main" id="{0E3F50E1-EA4A-E3A1-00E4-351F60DA0115}"/>
                  </a:ext>
                </a:extLst>
              </p:cNvPr>
              <p:cNvSpPr/>
              <p:nvPr/>
            </p:nvSpPr>
            <p:spPr>
              <a:xfrm>
                <a:off x="7201788" y="245205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176" name="Freeform 561">
                <a:extLst>
                  <a:ext uri="{FF2B5EF4-FFF2-40B4-BE49-F238E27FC236}">
                    <a16:creationId xmlns:a16="http://schemas.microsoft.com/office/drawing/2014/main" id="{CB9B4032-5A54-4D91-9B5D-6CBCD422FDCB}"/>
                  </a:ext>
                </a:extLst>
              </p:cNvPr>
              <p:cNvSpPr/>
              <p:nvPr/>
            </p:nvSpPr>
            <p:spPr>
              <a:xfrm>
                <a:off x="7262420" y="2513668"/>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177" name="Freeform 562">
                <a:extLst>
                  <a:ext uri="{FF2B5EF4-FFF2-40B4-BE49-F238E27FC236}">
                    <a16:creationId xmlns:a16="http://schemas.microsoft.com/office/drawing/2014/main" id="{12545EED-707D-AB7D-27E1-10C87085BE7D}"/>
                  </a:ext>
                </a:extLst>
              </p:cNvPr>
              <p:cNvSpPr/>
              <p:nvPr/>
            </p:nvSpPr>
            <p:spPr>
              <a:xfrm>
                <a:off x="7300001" y="2488373"/>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178" name="Freeform 563">
                <a:extLst>
                  <a:ext uri="{FF2B5EF4-FFF2-40B4-BE49-F238E27FC236}">
                    <a16:creationId xmlns:a16="http://schemas.microsoft.com/office/drawing/2014/main" id="{592A1B2C-80EE-CFFE-B6B7-FB1538EDF790}"/>
                  </a:ext>
                </a:extLst>
              </p:cNvPr>
              <p:cNvSpPr/>
              <p:nvPr/>
            </p:nvSpPr>
            <p:spPr>
              <a:xfrm>
                <a:off x="7290487" y="2513668"/>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179" name="Freeform 564">
                <a:extLst>
                  <a:ext uri="{FF2B5EF4-FFF2-40B4-BE49-F238E27FC236}">
                    <a16:creationId xmlns:a16="http://schemas.microsoft.com/office/drawing/2014/main" id="{9E8B5188-E0A8-4193-D6B7-555F309A489A}"/>
                  </a:ext>
                </a:extLst>
              </p:cNvPr>
              <p:cNvSpPr/>
              <p:nvPr/>
            </p:nvSpPr>
            <p:spPr>
              <a:xfrm>
                <a:off x="7328068" y="2488373"/>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180" name="Freeform 565">
                <a:extLst>
                  <a:ext uri="{FF2B5EF4-FFF2-40B4-BE49-F238E27FC236}">
                    <a16:creationId xmlns:a16="http://schemas.microsoft.com/office/drawing/2014/main" id="{CCBD68D0-601F-AD9C-B860-E58506131254}"/>
                  </a:ext>
                </a:extLst>
              </p:cNvPr>
              <p:cNvSpPr/>
              <p:nvPr/>
            </p:nvSpPr>
            <p:spPr>
              <a:xfrm>
                <a:off x="7290487" y="2513668"/>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181" name="Freeform 566">
                <a:extLst>
                  <a:ext uri="{FF2B5EF4-FFF2-40B4-BE49-F238E27FC236}">
                    <a16:creationId xmlns:a16="http://schemas.microsoft.com/office/drawing/2014/main" id="{8DFF7519-79E1-D7E6-3266-3C7E247197CE}"/>
                  </a:ext>
                </a:extLst>
              </p:cNvPr>
              <p:cNvSpPr/>
              <p:nvPr/>
            </p:nvSpPr>
            <p:spPr>
              <a:xfrm>
                <a:off x="7328068" y="2488373"/>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182" name="Freeform 567">
                <a:extLst>
                  <a:ext uri="{FF2B5EF4-FFF2-40B4-BE49-F238E27FC236}">
                    <a16:creationId xmlns:a16="http://schemas.microsoft.com/office/drawing/2014/main" id="{4D67A23F-8C1B-21D0-C0D3-A59F6B648B4E}"/>
                  </a:ext>
                </a:extLst>
              </p:cNvPr>
              <p:cNvSpPr/>
              <p:nvPr/>
            </p:nvSpPr>
            <p:spPr>
              <a:xfrm>
                <a:off x="7297493" y="2513668"/>
                <a:ext cx="75173" cy="10583"/>
              </a:xfrm>
              <a:custGeom>
                <a:avLst/>
                <a:gdLst>
                  <a:gd name="connsiteX0" fmla="*/ 0 w 75173"/>
                  <a:gd name="connsiteY0" fmla="*/ 0 h 10583"/>
                  <a:gd name="connsiteX1" fmla="*/ 75173 w 75173"/>
                  <a:gd name="connsiteY1" fmla="*/ 0 h 10583"/>
                </a:gdLst>
                <a:ahLst/>
                <a:cxnLst>
                  <a:cxn ang="0">
                    <a:pos x="connsiteX0" y="connsiteY0"/>
                  </a:cxn>
                  <a:cxn ang="0">
                    <a:pos x="connsiteX1" y="connsiteY1"/>
                  </a:cxn>
                </a:cxnLst>
                <a:rect l="l" t="t" r="r" b="b"/>
                <a:pathLst>
                  <a:path w="75173" h="10583">
                    <a:moveTo>
                      <a:pt x="0" y="0"/>
                    </a:moveTo>
                    <a:lnTo>
                      <a:pt x="75173" y="0"/>
                    </a:lnTo>
                  </a:path>
                </a:pathLst>
              </a:custGeom>
              <a:ln w="12700" cap="sq">
                <a:solidFill>
                  <a:srgbClr val="929294"/>
                </a:solidFill>
                <a:prstDash val="solid"/>
                <a:miter/>
              </a:ln>
            </p:spPr>
            <p:txBody>
              <a:bodyPr rtlCol="0" anchor="ctr"/>
              <a:lstStyle/>
              <a:p>
                <a:endParaRPr lang="en-US" sz="1800"/>
              </a:p>
            </p:txBody>
          </p:sp>
          <p:sp>
            <p:nvSpPr>
              <p:cNvPr id="2183" name="Freeform 568">
                <a:extLst>
                  <a:ext uri="{FF2B5EF4-FFF2-40B4-BE49-F238E27FC236}">
                    <a16:creationId xmlns:a16="http://schemas.microsoft.com/office/drawing/2014/main" id="{B2599429-E58B-3BF6-6384-D24D8C2ECBD2}"/>
                  </a:ext>
                </a:extLst>
              </p:cNvPr>
              <p:cNvSpPr/>
              <p:nvPr/>
            </p:nvSpPr>
            <p:spPr>
              <a:xfrm>
                <a:off x="7335085" y="2488373"/>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184" name="Freeform 569">
                <a:extLst>
                  <a:ext uri="{FF2B5EF4-FFF2-40B4-BE49-F238E27FC236}">
                    <a16:creationId xmlns:a16="http://schemas.microsoft.com/office/drawing/2014/main" id="{F6DFF184-0B1E-25EB-1692-18603A93AA0D}"/>
                  </a:ext>
                </a:extLst>
              </p:cNvPr>
              <p:cNvSpPr/>
              <p:nvPr/>
            </p:nvSpPr>
            <p:spPr>
              <a:xfrm>
                <a:off x="7304510" y="2513668"/>
                <a:ext cx="75173" cy="10583"/>
              </a:xfrm>
              <a:custGeom>
                <a:avLst/>
                <a:gdLst>
                  <a:gd name="connsiteX0" fmla="*/ 0 w 75173"/>
                  <a:gd name="connsiteY0" fmla="*/ 0 h 10583"/>
                  <a:gd name="connsiteX1" fmla="*/ 75174 w 75173"/>
                  <a:gd name="connsiteY1" fmla="*/ 0 h 10583"/>
                </a:gdLst>
                <a:ahLst/>
                <a:cxnLst>
                  <a:cxn ang="0">
                    <a:pos x="connsiteX0" y="connsiteY0"/>
                  </a:cxn>
                  <a:cxn ang="0">
                    <a:pos x="connsiteX1" y="connsiteY1"/>
                  </a:cxn>
                </a:cxnLst>
                <a:rect l="l" t="t" r="r" b="b"/>
                <a:pathLst>
                  <a:path w="75173" h="10583">
                    <a:moveTo>
                      <a:pt x="0" y="0"/>
                    </a:moveTo>
                    <a:lnTo>
                      <a:pt x="75174" y="0"/>
                    </a:lnTo>
                  </a:path>
                </a:pathLst>
              </a:custGeom>
              <a:ln w="12700" cap="sq">
                <a:solidFill>
                  <a:srgbClr val="929294"/>
                </a:solidFill>
                <a:prstDash val="solid"/>
                <a:miter/>
              </a:ln>
            </p:spPr>
            <p:txBody>
              <a:bodyPr rtlCol="0" anchor="ctr"/>
              <a:lstStyle/>
              <a:p>
                <a:endParaRPr lang="en-US" sz="1800"/>
              </a:p>
            </p:txBody>
          </p:sp>
          <p:sp>
            <p:nvSpPr>
              <p:cNvPr id="2185" name="Freeform 570">
                <a:extLst>
                  <a:ext uri="{FF2B5EF4-FFF2-40B4-BE49-F238E27FC236}">
                    <a16:creationId xmlns:a16="http://schemas.microsoft.com/office/drawing/2014/main" id="{475E25B8-3DF1-279E-F1B3-F05A609D1C2A}"/>
                  </a:ext>
                </a:extLst>
              </p:cNvPr>
              <p:cNvSpPr/>
              <p:nvPr/>
            </p:nvSpPr>
            <p:spPr>
              <a:xfrm>
                <a:off x="7342091" y="2488373"/>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186" name="Freeform 571">
                <a:extLst>
                  <a:ext uri="{FF2B5EF4-FFF2-40B4-BE49-F238E27FC236}">
                    <a16:creationId xmlns:a16="http://schemas.microsoft.com/office/drawing/2014/main" id="{FFADE4C2-CA4D-975C-72EE-9DCF2F2C5446}"/>
                  </a:ext>
                </a:extLst>
              </p:cNvPr>
              <p:cNvSpPr/>
              <p:nvPr/>
            </p:nvSpPr>
            <p:spPr>
              <a:xfrm>
                <a:off x="7360633" y="2513668"/>
                <a:ext cx="75173" cy="10583"/>
              </a:xfrm>
              <a:custGeom>
                <a:avLst/>
                <a:gdLst>
                  <a:gd name="connsiteX0" fmla="*/ 0 w 75173"/>
                  <a:gd name="connsiteY0" fmla="*/ 0 h 10583"/>
                  <a:gd name="connsiteX1" fmla="*/ 75174 w 75173"/>
                  <a:gd name="connsiteY1" fmla="*/ 0 h 10583"/>
                </a:gdLst>
                <a:ahLst/>
                <a:cxnLst>
                  <a:cxn ang="0">
                    <a:pos x="connsiteX0" y="connsiteY0"/>
                  </a:cxn>
                  <a:cxn ang="0">
                    <a:pos x="connsiteX1" y="connsiteY1"/>
                  </a:cxn>
                </a:cxnLst>
                <a:rect l="l" t="t" r="r" b="b"/>
                <a:pathLst>
                  <a:path w="75173" h="10583">
                    <a:moveTo>
                      <a:pt x="0" y="0"/>
                    </a:moveTo>
                    <a:lnTo>
                      <a:pt x="75174" y="0"/>
                    </a:lnTo>
                  </a:path>
                </a:pathLst>
              </a:custGeom>
              <a:ln w="12700" cap="sq">
                <a:solidFill>
                  <a:srgbClr val="929294"/>
                </a:solidFill>
                <a:prstDash val="solid"/>
                <a:miter/>
              </a:ln>
            </p:spPr>
            <p:txBody>
              <a:bodyPr rtlCol="0" anchor="ctr"/>
              <a:lstStyle/>
              <a:p>
                <a:endParaRPr lang="en-US" sz="1800"/>
              </a:p>
            </p:txBody>
          </p:sp>
          <p:sp>
            <p:nvSpPr>
              <p:cNvPr id="2187" name="Freeform 572">
                <a:extLst>
                  <a:ext uri="{FF2B5EF4-FFF2-40B4-BE49-F238E27FC236}">
                    <a16:creationId xmlns:a16="http://schemas.microsoft.com/office/drawing/2014/main" id="{4EED9259-E70E-07EE-66C2-37ED38F26645}"/>
                  </a:ext>
                </a:extLst>
              </p:cNvPr>
              <p:cNvSpPr/>
              <p:nvPr/>
            </p:nvSpPr>
            <p:spPr>
              <a:xfrm>
                <a:off x="7398215" y="2488373"/>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188" name="Freeform 573">
                <a:extLst>
                  <a:ext uri="{FF2B5EF4-FFF2-40B4-BE49-F238E27FC236}">
                    <a16:creationId xmlns:a16="http://schemas.microsoft.com/office/drawing/2014/main" id="{46E3E28C-F92D-D2F4-7010-61E53C3A94C0}"/>
                  </a:ext>
                </a:extLst>
              </p:cNvPr>
              <p:cNvSpPr/>
              <p:nvPr/>
            </p:nvSpPr>
            <p:spPr>
              <a:xfrm>
                <a:off x="7360633" y="2513668"/>
                <a:ext cx="75173" cy="10583"/>
              </a:xfrm>
              <a:custGeom>
                <a:avLst/>
                <a:gdLst>
                  <a:gd name="connsiteX0" fmla="*/ 0 w 75173"/>
                  <a:gd name="connsiteY0" fmla="*/ 0 h 10583"/>
                  <a:gd name="connsiteX1" fmla="*/ 75174 w 75173"/>
                  <a:gd name="connsiteY1" fmla="*/ 0 h 10583"/>
                </a:gdLst>
                <a:ahLst/>
                <a:cxnLst>
                  <a:cxn ang="0">
                    <a:pos x="connsiteX0" y="connsiteY0"/>
                  </a:cxn>
                  <a:cxn ang="0">
                    <a:pos x="connsiteX1" y="connsiteY1"/>
                  </a:cxn>
                </a:cxnLst>
                <a:rect l="l" t="t" r="r" b="b"/>
                <a:pathLst>
                  <a:path w="75173" h="10583">
                    <a:moveTo>
                      <a:pt x="0" y="0"/>
                    </a:moveTo>
                    <a:lnTo>
                      <a:pt x="75174" y="0"/>
                    </a:lnTo>
                  </a:path>
                </a:pathLst>
              </a:custGeom>
              <a:ln w="12700" cap="sq">
                <a:solidFill>
                  <a:srgbClr val="929294"/>
                </a:solidFill>
                <a:prstDash val="solid"/>
                <a:miter/>
              </a:ln>
            </p:spPr>
            <p:txBody>
              <a:bodyPr rtlCol="0" anchor="ctr"/>
              <a:lstStyle/>
              <a:p>
                <a:endParaRPr lang="en-US" sz="1800"/>
              </a:p>
            </p:txBody>
          </p:sp>
          <p:sp>
            <p:nvSpPr>
              <p:cNvPr id="2189" name="Freeform 574">
                <a:extLst>
                  <a:ext uri="{FF2B5EF4-FFF2-40B4-BE49-F238E27FC236}">
                    <a16:creationId xmlns:a16="http://schemas.microsoft.com/office/drawing/2014/main" id="{FF383548-A36D-8C34-8556-CE9D5100DB03}"/>
                  </a:ext>
                </a:extLst>
              </p:cNvPr>
              <p:cNvSpPr/>
              <p:nvPr/>
            </p:nvSpPr>
            <p:spPr>
              <a:xfrm>
                <a:off x="7398215" y="2488373"/>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190" name="Freeform 575">
                <a:extLst>
                  <a:ext uri="{FF2B5EF4-FFF2-40B4-BE49-F238E27FC236}">
                    <a16:creationId xmlns:a16="http://schemas.microsoft.com/office/drawing/2014/main" id="{1511EEA2-451F-CEC1-DB19-1FF46521C529}"/>
                  </a:ext>
                </a:extLst>
              </p:cNvPr>
              <p:cNvSpPr/>
              <p:nvPr/>
            </p:nvSpPr>
            <p:spPr>
              <a:xfrm>
                <a:off x="7367650" y="2513668"/>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191" name="Freeform 576">
                <a:extLst>
                  <a:ext uri="{FF2B5EF4-FFF2-40B4-BE49-F238E27FC236}">
                    <a16:creationId xmlns:a16="http://schemas.microsoft.com/office/drawing/2014/main" id="{6EE473CE-D90F-F20C-7C59-9CC7FBCA20FE}"/>
                  </a:ext>
                </a:extLst>
              </p:cNvPr>
              <p:cNvSpPr/>
              <p:nvPr/>
            </p:nvSpPr>
            <p:spPr>
              <a:xfrm>
                <a:off x="7405232" y="2488373"/>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192" name="Freeform 577">
                <a:extLst>
                  <a:ext uri="{FF2B5EF4-FFF2-40B4-BE49-F238E27FC236}">
                    <a16:creationId xmlns:a16="http://schemas.microsoft.com/office/drawing/2014/main" id="{7EF58FEB-7C04-0D51-F8E5-3306DC81C72B}"/>
                  </a:ext>
                </a:extLst>
              </p:cNvPr>
              <p:cNvSpPr/>
              <p:nvPr/>
            </p:nvSpPr>
            <p:spPr>
              <a:xfrm>
                <a:off x="7416757" y="2513668"/>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193" name="Freeform 578">
                <a:extLst>
                  <a:ext uri="{FF2B5EF4-FFF2-40B4-BE49-F238E27FC236}">
                    <a16:creationId xmlns:a16="http://schemas.microsoft.com/office/drawing/2014/main" id="{F7E6E367-1AE0-87E2-3181-9C57DE45D2D4}"/>
                  </a:ext>
                </a:extLst>
              </p:cNvPr>
              <p:cNvSpPr/>
              <p:nvPr/>
            </p:nvSpPr>
            <p:spPr>
              <a:xfrm>
                <a:off x="7454338" y="2488373"/>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194" name="Freeform 579">
                <a:extLst>
                  <a:ext uri="{FF2B5EF4-FFF2-40B4-BE49-F238E27FC236}">
                    <a16:creationId xmlns:a16="http://schemas.microsoft.com/office/drawing/2014/main" id="{F4CD0475-C5D1-2060-1931-8B1D2C3D3F76}"/>
                  </a:ext>
                </a:extLst>
              </p:cNvPr>
              <p:cNvSpPr/>
              <p:nvPr/>
            </p:nvSpPr>
            <p:spPr>
              <a:xfrm>
                <a:off x="7430790" y="2513668"/>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195" name="Freeform 580">
                <a:extLst>
                  <a:ext uri="{FF2B5EF4-FFF2-40B4-BE49-F238E27FC236}">
                    <a16:creationId xmlns:a16="http://schemas.microsoft.com/office/drawing/2014/main" id="{2CC022FD-AACA-B63E-9C73-81BE5EBFCF6A}"/>
                  </a:ext>
                </a:extLst>
              </p:cNvPr>
              <p:cNvSpPr/>
              <p:nvPr/>
            </p:nvSpPr>
            <p:spPr>
              <a:xfrm>
                <a:off x="7468372" y="2488373"/>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196" name="Freeform 581">
                <a:extLst>
                  <a:ext uri="{FF2B5EF4-FFF2-40B4-BE49-F238E27FC236}">
                    <a16:creationId xmlns:a16="http://schemas.microsoft.com/office/drawing/2014/main" id="{C0200E38-36DE-B3DC-E618-6E1BF1F981E7}"/>
                  </a:ext>
                </a:extLst>
              </p:cNvPr>
              <p:cNvSpPr/>
              <p:nvPr/>
            </p:nvSpPr>
            <p:spPr>
              <a:xfrm>
                <a:off x="7437807" y="2513668"/>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197" name="Freeform 582">
                <a:extLst>
                  <a:ext uri="{FF2B5EF4-FFF2-40B4-BE49-F238E27FC236}">
                    <a16:creationId xmlns:a16="http://schemas.microsoft.com/office/drawing/2014/main" id="{BAF4C446-5C13-0FF9-A7C4-61987103AA5B}"/>
                  </a:ext>
                </a:extLst>
              </p:cNvPr>
              <p:cNvSpPr/>
              <p:nvPr/>
            </p:nvSpPr>
            <p:spPr>
              <a:xfrm>
                <a:off x="7475388" y="2488373"/>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198" name="Freeform 583">
                <a:extLst>
                  <a:ext uri="{FF2B5EF4-FFF2-40B4-BE49-F238E27FC236}">
                    <a16:creationId xmlns:a16="http://schemas.microsoft.com/office/drawing/2014/main" id="{0EF14285-66A8-DDDC-ABDA-22B847461484}"/>
                  </a:ext>
                </a:extLst>
              </p:cNvPr>
              <p:cNvSpPr/>
              <p:nvPr/>
            </p:nvSpPr>
            <p:spPr>
              <a:xfrm>
                <a:off x="7458847" y="2513668"/>
                <a:ext cx="75173" cy="10583"/>
              </a:xfrm>
              <a:custGeom>
                <a:avLst/>
                <a:gdLst>
                  <a:gd name="connsiteX0" fmla="*/ 0 w 75173"/>
                  <a:gd name="connsiteY0" fmla="*/ 0 h 10583"/>
                  <a:gd name="connsiteX1" fmla="*/ 75173 w 75173"/>
                  <a:gd name="connsiteY1" fmla="*/ 0 h 10583"/>
                </a:gdLst>
                <a:ahLst/>
                <a:cxnLst>
                  <a:cxn ang="0">
                    <a:pos x="connsiteX0" y="connsiteY0"/>
                  </a:cxn>
                  <a:cxn ang="0">
                    <a:pos x="connsiteX1" y="connsiteY1"/>
                  </a:cxn>
                </a:cxnLst>
                <a:rect l="l" t="t" r="r" b="b"/>
                <a:pathLst>
                  <a:path w="75173" h="10583">
                    <a:moveTo>
                      <a:pt x="0" y="0"/>
                    </a:moveTo>
                    <a:lnTo>
                      <a:pt x="75173" y="0"/>
                    </a:lnTo>
                  </a:path>
                </a:pathLst>
              </a:custGeom>
              <a:ln w="12700" cap="sq">
                <a:solidFill>
                  <a:srgbClr val="929294"/>
                </a:solidFill>
                <a:prstDash val="solid"/>
                <a:miter/>
              </a:ln>
            </p:spPr>
            <p:txBody>
              <a:bodyPr rtlCol="0" anchor="ctr"/>
              <a:lstStyle/>
              <a:p>
                <a:endParaRPr lang="en-US" sz="1800"/>
              </a:p>
            </p:txBody>
          </p:sp>
          <p:sp>
            <p:nvSpPr>
              <p:cNvPr id="2199" name="Freeform 584">
                <a:extLst>
                  <a:ext uri="{FF2B5EF4-FFF2-40B4-BE49-F238E27FC236}">
                    <a16:creationId xmlns:a16="http://schemas.microsoft.com/office/drawing/2014/main" id="{D400203C-D1E6-B70F-4122-5316E5832C81}"/>
                  </a:ext>
                </a:extLst>
              </p:cNvPr>
              <p:cNvSpPr/>
              <p:nvPr/>
            </p:nvSpPr>
            <p:spPr>
              <a:xfrm>
                <a:off x="7496439" y="2488373"/>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200" name="Freeform 585">
                <a:extLst>
                  <a:ext uri="{FF2B5EF4-FFF2-40B4-BE49-F238E27FC236}">
                    <a16:creationId xmlns:a16="http://schemas.microsoft.com/office/drawing/2014/main" id="{86879212-AB7C-6026-7D71-E0D99393C1CA}"/>
                  </a:ext>
                </a:extLst>
              </p:cNvPr>
              <p:cNvSpPr/>
              <p:nvPr/>
            </p:nvSpPr>
            <p:spPr>
              <a:xfrm>
                <a:off x="7472880" y="2513668"/>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201" name="Freeform 586">
                <a:extLst>
                  <a:ext uri="{FF2B5EF4-FFF2-40B4-BE49-F238E27FC236}">
                    <a16:creationId xmlns:a16="http://schemas.microsoft.com/office/drawing/2014/main" id="{E7DD9331-ED5F-7BBE-93C1-FD8E88C126A7}"/>
                  </a:ext>
                </a:extLst>
              </p:cNvPr>
              <p:cNvSpPr/>
              <p:nvPr/>
            </p:nvSpPr>
            <p:spPr>
              <a:xfrm>
                <a:off x="7510462" y="2488373"/>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202" name="Freeform 587">
                <a:extLst>
                  <a:ext uri="{FF2B5EF4-FFF2-40B4-BE49-F238E27FC236}">
                    <a16:creationId xmlns:a16="http://schemas.microsoft.com/office/drawing/2014/main" id="{AD7B40E2-4C63-14F5-A8B2-20A20C8EF287}"/>
                  </a:ext>
                </a:extLst>
              </p:cNvPr>
              <p:cNvSpPr/>
              <p:nvPr/>
            </p:nvSpPr>
            <p:spPr>
              <a:xfrm>
                <a:off x="7521987" y="2513668"/>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203" name="Freeform 588">
                <a:extLst>
                  <a:ext uri="{FF2B5EF4-FFF2-40B4-BE49-F238E27FC236}">
                    <a16:creationId xmlns:a16="http://schemas.microsoft.com/office/drawing/2014/main" id="{F148BA86-487F-1BFF-7C7B-F49571CEFCC3}"/>
                  </a:ext>
                </a:extLst>
              </p:cNvPr>
              <p:cNvSpPr/>
              <p:nvPr/>
            </p:nvSpPr>
            <p:spPr>
              <a:xfrm>
                <a:off x="7559568" y="2488373"/>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204" name="Freeform 589">
                <a:extLst>
                  <a:ext uri="{FF2B5EF4-FFF2-40B4-BE49-F238E27FC236}">
                    <a16:creationId xmlns:a16="http://schemas.microsoft.com/office/drawing/2014/main" id="{D4BA15BA-1979-0CC9-C386-25E85DA20C5C}"/>
                  </a:ext>
                </a:extLst>
              </p:cNvPr>
              <p:cNvSpPr/>
              <p:nvPr/>
            </p:nvSpPr>
            <p:spPr>
              <a:xfrm>
                <a:off x="7564087" y="2534136"/>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205" name="Freeform 590">
                <a:extLst>
                  <a:ext uri="{FF2B5EF4-FFF2-40B4-BE49-F238E27FC236}">
                    <a16:creationId xmlns:a16="http://schemas.microsoft.com/office/drawing/2014/main" id="{8AAF34B8-6B5F-7C3E-884F-E14153A4DE9A}"/>
                  </a:ext>
                </a:extLst>
              </p:cNvPr>
              <p:cNvSpPr/>
              <p:nvPr/>
            </p:nvSpPr>
            <p:spPr>
              <a:xfrm>
                <a:off x="7601669" y="2508842"/>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206" name="Freeform 591">
                <a:extLst>
                  <a:ext uri="{FF2B5EF4-FFF2-40B4-BE49-F238E27FC236}">
                    <a16:creationId xmlns:a16="http://schemas.microsoft.com/office/drawing/2014/main" id="{B908E998-EC9C-B1BE-03E7-3C4CDF351D2C}"/>
                  </a:ext>
                </a:extLst>
              </p:cNvPr>
              <p:cNvSpPr/>
              <p:nvPr/>
            </p:nvSpPr>
            <p:spPr>
              <a:xfrm>
                <a:off x="7578110" y="2534136"/>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207" name="Freeform 592">
                <a:extLst>
                  <a:ext uri="{FF2B5EF4-FFF2-40B4-BE49-F238E27FC236}">
                    <a16:creationId xmlns:a16="http://schemas.microsoft.com/office/drawing/2014/main" id="{E41260A7-99CA-F0C0-04DA-4F8A744BE80D}"/>
                  </a:ext>
                </a:extLst>
              </p:cNvPr>
              <p:cNvSpPr/>
              <p:nvPr/>
            </p:nvSpPr>
            <p:spPr>
              <a:xfrm>
                <a:off x="7615692" y="2508842"/>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208" name="Freeform 593">
                <a:extLst>
                  <a:ext uri="{FF2B5EF4-FFF2-40B4-BE49-F238E27FC236}">
                    <a16:creationId xmlns:a16="http://schemas.microsoft.com/office/drawing/2014/main" id="{3B3BCCE9-3022-B782-B0BE-ED13EA17E3D1}"/>
                  </a:ext>
                </a:extLst>
              </p:cNvPr>
              <p:cNvSpPr/>
              <p:nvPr/>
            </p:nvSpPr>
            <p:spPr>
              <a:xfrm>
                <a:off x="7599161" y="2534136"/>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209" name="Freeform 594">
                <a:extLst>
                  <a:ext uri="{FF2B5EF4-FFF2-40B4-BE49-F238E27FC236}">
                    <a16:creationId xmlns:a16="http://schemas.microsoft.com/office/drawing/2014/main" id="{8FC8B254-913F-D740-8514-51426493D1FB}"/>
                  </a:ext>
                </a:extLst>
              </p:cNvPr>
              <p:cNvSpPr/>
              <p:nvPr/>
            </p:nvSpPr>
            <p:spPr>
              <a:xfrm>
                <a:off x="7636742" y="2508842"/>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210" name="Freeform 595">
                <a:extLst>
                  <a:ext uri="{FF2B5EF4-FFF2-40B4-BE49-F238E27FC236}">
                    <a16:creationId xmlns:a16="http://schemas.microsoft.com/office/drawing/2014/main" id="{6D931C11-7FA9-876A-761E-4A0A47F23349}"/>
                  </a:ext>
                </a:extLst>
              </p:cNvPr>
              <p:cNvSpPr/>
              <p:nvPr/>
            </p:nvSpPr>
            <p:spPr>
              <a:xfrm>
                <a:off x="7599161" y="2534136"/>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211" name="Freeform 596">
                <a:extLst>
                  <a:ext uri="{FF2B5EF4-FFF2-40B4-BE49-F238E27FC236}">
                    <a16:creationId xmlns:a16="http://schemas.microsoft.com/office/drawing/2014/main" id="{7B7A9078-9B8F-DA1F-A754-E52854B3118F}"/>
                  </a:ext>
                </a:extLst>
              </p:cNvPr>
              <p:cNvSpPr/>
              <p:nvPr/>
            </p:nvSpPr>
            <p:spPr>
              <a:xfrm>
                <a:off x="7636742" y="2508842"/>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212" name="Freeform 597">
                <a:extLst>
                  <a:ext uri="{FF2B5EF4-FFF2-40B4-BE49-F238E27FC236}">
                    <a16:creationId xmlns:a16="http://schemas.microsoft.com/office/drawing/2014/main" id="{1E5D3FAC-F4A9-BD37-E2E3-50864D19B682}"/>
                  </a:ext>
                </a:extLst>
              </p:cNvPr>
              <p:cNvSpPr/>
              <p:nvPr/>
            </p:nvSpPr>
            <p:spPr>
              <a:xfrm>
                <a:off x="7613194" y="2555165"/>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213" name="Freeform 598">
                <a:extLst>
                  <a:ext uri="{FF2B5EF4-FFF2-40B4-BE49-F238E27FC236}">
                    <a16:creationId xmlns:a16="http://schemas.microsoft.com/office/drawing/2014/main" id="{A78F3320-8671-1F2D-41EC-076DF3060B72}"/>
                  </a:ext>
                </a:extLst>
              </p:cNvPr>
              <p:cNvSpPr/>
              <p:nvPr/>
            </p:nvSpPr>
            <p:spPr>
              <a:xfrm>
                <a:off x="7650775" y="252986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214" name="Freeform 599">
                <a:extLst>
                  <a:ext uri="{FF2B5EF4-FFF2-40B4-BE49-F238E27FC236}">
                    <a16:creationId xmlns:a16="http://schemas.microsoft.com/office/drawing/2014/main" id="{453F0221-5558-8D14-1842-D5411A3369A7}"/>
                  </a:ext>
                </a:extLst>
              </p:cNvPr>
              <p:cNvSpPr/>
              <p:nvPr/>
            </p:nvSpPr>
            <p:spPr>
              <a:xfrm>
                <a:off x="7620211" y="2555165"/>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215" name="Freeform 600">
                <a:extLst>
                  <a:ext uri="{FF2B5EF4-FFF2-40B4-BE49-F238E27FC236}">
                    <a16:creationId xmlns:a16="http://schemas.microsoft.com/office/drawing/2014/main" id="{58677CCE-0355-4AF0-6A03-947B211AF941}"/>
                  </a:ext>
                </a:extLst>
              </p:cNvPr>
              <p:cNvSpPr/>
              <p:nvPr/>
            </p:nvSpPr>
            <p:spPr>
              <a:xfrm>
                <a:off x="7657792" y="252986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216" name="Freeform 601">
                <a:extLst>
                  <a:ext uri="{FF2B5EF4-FFF2-40B4-BE49-F238E27FC236}">
                    <a16:creationId xmlns:a16="http://schemas.microsoft.com/office/drawing/2014/main" id="{B61423BC-C9F1-BE6F-B3A8-56F6CC3DBE78}"/>
                  </a:ext>
                </a:extLst>
              </p:cNvPr>
              <p:cNvSpPr/>
              <p:nvPr/>
            </p:nvSpPr>
            <p:spPr>
              <a:xfrm>
                <a:off x="7655284" y="2555165"/>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217" name="Freeform 602">
                <a:extLst>
                  <a:ext uri="{FF2B5EF4-FFF2-40B4-BE49-F238E27FC236}">
                    <a16:creationId xmlns:a16="http://schemas.microsoft.com/office/drawing/2014/main" id="{857BCD4A-AD01-02C3-CBFE-3E7868CD2A80}"/>
                  </a:ext>
                </a:extLst>
              </p:cNvPr>
              <p:cNvSpPr/>
              <p:nvPr/>
            </p:nvSpPr>
            <p:spPr>
              <a:xfrm>
                <a:off x="7692865" y="252986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218" name="Freeform 603">
                <a:extLst>
                  <a:ext uri="{FF2B5EF4-FFF2-40B4-BE49-F238E27FC236}">
                    <a16:creationId xmlns:a16="http://schemas.microsoft.com/office/drawing/2014/main" id="{6591C08F-2296-BFE9-E939-0B9C27C2110B}"/>
                  </a:ext>
                </a:extLst>
              </p:cNvPr>
              <p:cNvSpPr/>
              <p:nvPr/>
            </p:nvSpPr>
            <p:spPr>
              <a:xfrm>
                <a:off x="7662301" y="2555165"/>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219" name="Freeform 604">
                <a:extLst>
                  <a:ext uri="{FF2B5EF4-FFF2-40B4-BE49-F238E27FC236}">
                    <a16:creationId xmlns:a16="http://schemas.microsoft.com/office/drawing/2014/main" id="{AE689CFB-1A24-0A92-84E0-FFACB3CD54A5}"/>
                  </a:ext>
                </a:extLst>
              </p:cNvPr>
              <p:cNvSpPr/>
              <p:nvPr/>
            </p:nvSpPr>
            <p:spPr>
              <a:xfrm>
                <a:off x="7699882" y="252986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220" name="Freeform 605">
                <a:extLst>
                  <a:ext uri="{FF2B5EF4-FFF2-40B4-BE49-F238E27FC236}">
                    <a16:creationId xmlns:a16="http://schemas.microsoft.com/office/drawing/2014/main" id="{5CEED359-36AF-C46F-22BD-CB55CB47FBC8}"/>
                  </a:ext>
                </a:extLst>
              </p:cNvPr>
              <p:cNvSpPr/>
              <p:nvPr/>
            </p:nvSpPr>
            <p:spPr>
              <a:xfrm>
                <a:off x="7662301" y="2555165"/>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221" name="Freeform 606">
                <a:extLst>
                  <a:ext uri="{FF2B5EF4-FFF2-40B4-BE49-F238E27FC236}">
                    <a16:creationId xmlns:a16="http://schemas.microsoft.com/office/drawing/2014/main" id="{BA180E9D-636E-C0F3-62A2-F39660A08959}"/>
                  </a:ext>
                </a:extLst>
              </p:cNvPr>
              <p:cNvSpPr/>
              <p:nvPr/>
            </p:nvSpPr>
            <p:spPr>
              <a:xfrm>
                <a:off x="7699882" y="252986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222" name="Freeform 607">
                <a:extLst>
                  <a:ext uri="{FF2B5EF4-FFF2-40B4-BE49-F238E27FC236}">
                    <a16:creationId xmlns:a16="http://schemas.microsoft.com/office/drawing/2014/main" id="{2C858EDD-884E-1101-4EA1-0E1AB63A6B8D}"/>
                  </a:ext>
                </a:extLst>
              </p:cNvPr>
              <p:cNvSpPr/>
              <p:nvPr/>
            </p:nvSpPr>
            <p:spPr>
              <a:xfrm>
                <a:off x="7669317" y="2555165"/>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223" name="Freeform 608">
                <a:extLst>
                  <a:ext uri="{FF2B5EF4-FFF2-40B4-BE49-F238E27FC236}">
                    <a16:creationId xmlns:a16="http://schemas.microsoft.com/office/drawing/2014/main" id="{795CB344-6054-EF8F-E521-6B29FB2F8A94}"/>
                  </a:ext>
                </a:extLst>
              </p:cNvPr>
              <p:cNvSpPr/>
              <p:nvPr/>
            </p:nvSpPr>
            <p:spPr>
              <a:xfrm>
                <a:off x="7706899" y="252986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224" name="Freeform 609">
                <a:extLst>
                  <a:ext uri="{FF2B5EF4-FFF2-40B4-BE49-F238E27FC236}">
                    <a16:creationId xmlns:a16="http://schemas.microsoft.com/office/drawing/2014/main" id="{BD0D110B-BA46-A85E-2DD0-C5FE972541B6}"/>
                  </a:ext>
                </a:extLst>
              </p:cNvPr>
              <p:cNvSpPr/>
              <p:nvPr/>
            </p:nvSpPr>
            <p:spPr>
              <a:xfrm>
                <a:off x="7676334" y="2555165"/>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225" name="Freeform 610">
                <a:extLst>
                  <a:ext uri="{FF2B5EF4-FFF2-40B4-BE49-F238E27FC236}">
                    <a16:creationId xmlns:a16="http://schemas.microsoft.com/office/drawing/2014/main" id="{1D705372-0E50-6C07-B66F-1F8C81234D66}"/>
                  </a:ext>
                </a:extLst>
              </p:cNvPr>
              <p:cNvSpPr/>
              <p:nvPr/>
            </p:nvSpPr>
            <p:spPr>
              <a:xfrm>
                <a:off x="7713916" y="252986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226" name="Freeform 611">
                <a:extLst>
                  <a:ext uri="{FF2B5EF4-FFF2-40B4-BE49-F238E27FC236}">
                    <a16:creationId xmlns:a16="http://schemas.microsoft.com/office/drawing/2014/main" id="{AF0C3BFF-EFB4-418C-B68D-3D0F42BA09F4}"/>
                  </a:ext>
                </a:extLst>
              </p:cNvPr>
              <p:cNvSpPr/>
              <p:nvPr/>
            </p:nvSpPr>
            <p:spPr>
              <a:xfrm>
                <a:off x="7683340" y="2555165"/>
                <a:ext cx="75173" cy="10583"/>
              </a:xfrm>
              <a:custGeom>
                <a:avLst/>
                <a:gdLst>
                  <a:gd name="connsiteX0" fmla="*/ 0 w 75173"/>
                  <a:gd name="connsiteY0" fmla="*/ 0 h 10583"/>
                  <a:gd name="connsiteX1" fmla="*/ 75174 w 75173"/>
                  <a:gd name="connsiteY1" fmla="*/ 0 h 10583"/>
                </a:gdLst>
                <a:ahLst/>
                <a:cxnLst>
                  <a:cxn ang="0">
                    <a:pos x="connsiteX0" y="connsiteY0"/>
                  </a:cxn>
                  <a:cxn ang="0">
                    <a:pos x="connsiteX1" y="connsiteY1"/>
                  </a:cxn>
                </a:cxnLst>
                <a:rect l="l" t="t" r="r" b="b"/>
                <a:pathLst>
                  <a:path w="75173" h="10583">
                    <a:moveTo>
                      <a:pt x="0" y="0"/>
                    </a:moveTo>
                    <a:lnTo>
                      <a:pt x="75174" y="0"/>
                    </a:lnTo>
                  </a:path>
                </a:pathLst>
              </a:custGeom>
              <a:ln w="12700" cap="sq">
                <a:solidFill>
                  <a:srgbClr val="929294"/>
                </a:solidFill>
                <a:prstDash val="solid"/>
                <a:miter/>
              </a:ln>
            </p:spPr>
            <p:txBody>
              <a:bodyPr rtlCol="0" anchor="ctr"/>
              <a:lstStyle/>
              <a:p>
                <a:endParaRPr lang="en-US" sz="1800"/>
              </a:p>
            </p:txBody>
          </p:sp>
          <p:sp>
            <p:nvSpPr>
              <p:cNvPr id="2227" name="Freeform 612">
                <a:extLst>
                  <a:ext uri="{FF2B5EF4-FFF2-40B4-BE49-F238E27FC236}">
                    <a16:creationId xmlns:a16="http://schemas.microsoft.com/office/drawing/2014/main" id="{564E694F-D13D-695E-157C-35DBAC45C983}"/>
                  </a:ext>
                </a:extLst>
              </p:cNvPr>
              <p:cNvSpPr/>
              <p:nvPr/>
            </p:nvSpPr>
            <p:spPr>
              <a:xfrm>
                <a:off x="7720922" y="252986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228" name="Freeform 613">
                <a:extLst>
                  <a:ext uri="{FF2B5EF4-FFF2-40B4-BE49-F238E27FC236}">
                    <a16:creationId xmlns:a16="http://schemas.microsoft.com/office/drawing/2014/main" id="{5D333DBD-E399-63BF-7629-07CD4EE2D3EC}"/>
                  </a:ext>
                </a:extLst>
              </p:cNvPr>
              <p:cNvSpPr/>
              <p:nvPr/>
            </p:nvSpPr>
            <p:spPr>
              <a:xfrm>
                <a:off x="7683340" y="2555165"/>
                <a:ext cx="75173" cy="10583"/>
              </a:xfrm>
              <a:custGeom>
                <a:avLst/>
                <a:gdLst>
                  <a:gd name="connsiteX0" fmla="*/ 0 w 75173"/>
                  <a:gd name="connsiteY0" fmla="*/ 0 h 10583"/>
                  <a:gd name="connsiteX1" fmla="*/ 75174 w 75173"/>
                  <a:gd name="connsiteY1" fmla="*/ 0 h 10583"/>
                </a:gdLst>
                <a:ahLst/>
                <a:cxnLst>
                  <a:cxn ang="0">
                    <a:pos x="connsiteX0" y="connsiteY0"/>
                  </a:cxn>
                  <a:cxn ang="0">
                    <a:pos x="connsiteX1" y="connsiteY1"/>
                  </a:cxn>
                </a:cxnLst>
                <a:rect l="l" t="t" r="r" b="b"/>
                <a:pathLst>
                  <a:path w="75173" h="10583">
                    <a:moveTo>
                      <a:pt x="0" y="0"/>
                    </a:moveTo>
                    <a:lnTo>
                      <a:pt x="75174" y="0"/>
                    </a:lnTo>
                  </a:path>
                </a:pathLst>
              </a:custGeom>
              <a:ln w="12700" cap="sq">
                <a:solidFill>
                  <a:srgbClr val="929294"/>
                </a:solidFill>
                <a:prstDash val="solid"/>
                <a:miter/>
              </a:ln>
            </p:spPr>
            <p:txBody>
              <a:bodyPr rtlCol="0" anchor="ctr"/>
              <a:lstStyle/>
              <a:p>
                <a:endParaRPr lang="en-US" sz="1800"/>
              </a:p>
            </p:txBody>
          </p:sp>
          <p:sp>
            <p:nvSpPr>
              <p:cNvPr id="2229" name="Freeform 614">
                <a:extLst>
                  <a:ext uri="{FF2B5EF4-FFF2-40B4-BE49-F238E27FC236}">
                    <a16:creationId xmlns:a16="http://schemas.microsoft.com/office/drawing/2014/main" id="{C11E93FA-57B3-AB9F-7B25-BDAD15FD32E6}"/>
                  </a:ext>
                </a:extLst>
              </p:cNvPr>
              <p:cNvSpPr/>
              <p:nvPr/>
            </p:nvSpPr>
            <p:spPr>
              <a:xfrm>
                <a:off x="7720922" y="252986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230" name="Freeform 615">
                <a:extLst>
                  <a:ext uri="{FF2B5EF4-FFF2-40B4-BE49-F238E27FC236}">
                    <a16:creationId xmlns:a16="http://schemas.microsoft.com/office/drawing/2014/main" id="{9D8663AA-FDA0-A782-4980-B3D4019B97B9}"/>
                  </a:ext>
                </a:extLst>
              </p:cNvPr>
              <p:cNvSpPr/>
              <p:nvPr/>
            </p:nvSpPr>
            <p:spPr>
              <a:xfrm>
                <a:off x="7704391" y="2555165"/>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231" name="Freeform 616">
                <a:extLst>
                  <a:ext uri="{FF2B5EF4-FFF2-40B4-BE49-F238E27FC236}">
                    <a16:creationId xmlns:a16="http://schemas.microsoft.com/office/drawing/2014/main" id="{FA11CC92-39FF-31E1-2571-D65CE6F253D2}"/>
                  </a:ext>
                </a:extLst>
              </p:cNvPr>
              <p:cNvSpPr/>
              <p:nvPr/>
            </p:nvSpPr>
            <p:spPr>
              <a:xfrm>
                <a:off x="7741972" y="252986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232" name="Freeform 617">
                <a:extLst>
                  <a:ext uri="{FF2B5EF4-FFF2-40B4-BE49-F238E27FC236}">
                    <a16:creationId xmlns:a16="http://schemas.microsoft.com/office/drawing/2014/main" id="{83C07D4B-29B0-BC57-52C7-B73F533374AF}"/>
                  </a:ext>
                </a:extLst>
              </p:cNvPr>
              <p:cNvSpPr/>
              <p:nvPr/>
            </p:nvSpPr>
            <p:spPr>
              <a:xfrm>
                <a:off x="7718424" y="2555165"/>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233" name="Freeform 618">
                <a:extLst>
                  <a:ext uri="{FF2B5EF4-FFF2-40B4-BE49-F238E27FC236}">
                    <a16:creationId xmlns:a16="http://schemas.microsoft.com/office/drawing/2014/main" id="{49145752-52C8-0380-D4DC-F89A591BBB7E}"/>
                  </a:ext>
                </a:extLst>
              </p:cNvPr>
              <p:cNvSpPr/>
              <p:nvPr/>
            </p:nvSpPr>
            <p:spPr>
              <a:xfrm>
                <a:off x="7756006" y="252986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234" name="Freeform 619">
                <a:extLst>
                  <a:ext uri="{FF2B5EF4-FFF2-40B4-BE49-F238E27FC236}">
                    <a16:creationId xmlns:a16="http://schemas.microsoft.com/office/drawing/2014/main" id="{B92BC0CB-FECC-2FFF-28BE-8476144D81CD}"/>
                  </a:ext>
                </a:extLst>
              </p:cNvPr>
              <p:cNvSpPr/>
              <p:nvPr/>
            </p:nvSpPr>
            <p:spPr>
              <a:xfrm>
                <a:off x="7725441" y="2555165"/>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235" name="Freeform 620">
                <a:extLst>
                  <a:ext uri="{FF2B5EF4-FFF2-40B4-BE49-F238E27FC236}">
                    <a16:creationId xmlns:a16="http://schemas.microsoft.com/office/drawing/2014/main" id="{AFEB1D8A-7B00-F91F-F2B3-6E0BEB16B002}"/>
                  </a:ext>
                </a:extLst>
              </p:cNvPr>
              <p:cNvSpPr/>
              <p:nvPr/>
            </p:nvSpPr>
            <p:spPr>
              <a:xfrm>
                <a:off x="7763022" y="252986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236" name="Freeform 621">
                <a:extLst>
                  <a:ext uri="{FF2B5EF4-FFF2-40B4-BE49-F238E27FC236}">
                    <a16:creationId xmlns:a16="http://schemas.microsoft.com/office/drawing/2014/main" id="{1B9B305F-587B-840B-4339-665B4D8F8778}"/>
                  </a:ext>
                </a:extLst>
              </p:cNvPr>
              <p:cNvSpPr/>
              <p:nvPr/>
            </p:nvSpPr>
            <p:spPr>
              <a:xfrm>
                <a:off x="7753497" y="2555165"/>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237" name="Freeform 622">
                <a:extLst>
                  <a:ext uri="{FF2B5EF4-FFF2-40B4-BE49-F238E27FC236}">
                    <a16:creationId xmlns:a16="http://schemas.microsoft.com/office/drawing/2014/main" id="{9CE7EF33-ED64-EB3E-71CA-7AFE25175035}"/>
                  </a:ext>
                </a:extLst>
              </p:cNvPr>
              <p:cNvSpPr/>
              <p:nvPr/>
            </p:nvSpPr>
            <p:spPr>
              <a:xfrm>
                <a:off x="7791079" y="252986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238" name="Freeform 623">
                <a:extLst>
                  <a:ext uri="{FF2B5EF4-FFF2-40B4-BE49-F238E27FC236}">
                    <a16:creationId xmlns:a16="http://schemas.microsoft.com/office/drawing/2014/main" id="{95DDCD9D-DF76-DA96-008F-48A7B837795C}"/>
                  </a:ext>
                </a:extLst>
              </p:cNvPr>
              <p:cNvSpPr/>
              <p:nvPr/>
            </p:nvSpPr>
            <p:spPr>
              <a:xfrm>
                <a:off x="7795587" y="2555165"/>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239" name="Freeform 624">
                <a:extLst>
                  <a:ext uri="{FF2B5EF4-FFF2-40B4-BE49-F238E27FC236}">
                    <a16:creationId xmlns:a16="http://schemas.microsoft.com/office/drawing/2014/main" id="{982B87C0-AA7C-0C0B-28BA-2135519EE251}"/>
                  </a:ext>
                </a:extLst>
              </p:cNvPr>
              <p:cNvSpPr/>
              <p:nvPr/>
            </p:nvSpPr>
            <p:spPr>
              <a:xfrm>
                <a:off x="7833169" y="252986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240" name="Freeform 625">
                <a:extLst>
                  <a:ext uri="{FF2B5EF4-FFF2-40B4-BE49-F238E27FC236}">
                    <a16:creationId xmlns:a16="http://schemas.microsoft.com/office/drawing/2014/main" id="{1F56A1E3-17AF-45F3-8858-83C151B390A0}"/>
                  </a:ext>
                </a:extLst>
              </p:cNvPr>
              <p:cNvSpPr/>
              <p:nvPr/>
            </p:nvSpPr>
            <p:spPr>
              <a:xfrm>
                <a:off x="7802604" y="2555165"/>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241" name="Freeform 626">
                <a:extLst>
                  <a:ext uri="{FF2B5EF4-FFF2-40B4-BE49-F238E27FC236}">
                    <a16:creationId xmlns:a16="http://schemas.microsoft.com/office/drawing/2014/main" id="{94564350-8492-3626-0983-37F2425A73C5}"/>
                  </a:ext>
                </a:extLst>
              </p:cNvPr>
              <p:cNvSpPr/>
              <p:nvPr/>
            </p:nvSpPr>
            <p:spPr>
              <a:xfrm>
                <a:off x="7840185" y="252986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242" name="Freeform 627">
                <a:extLst>
                  <a:ext uri="{FF2B5EF4-FFF2-40B4-BE49-F238E27FC236}">
                    <a16:creationId xmlns:a16="http://schemas.microsoft.com/office/drawing/2014/main" id="{3E1C30B7-67B4-0350-6D4B-E8278E0E0D5E}"/>
                  </a:ext>
                </a:extLst>
              </p:cNvPr>
              <p:cNvSpPr/>
              <p:nvPr/>
            </p:nvSpPr>
            <p:spPr>
              <a:xfrm>
                <a:off x="7816637" y="2555165"/>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243" name="Freeform 628">
                <a:extLst>
                  <a:ext uri="{FF2B5EF4-FFF2-40B4-BE49-F238E27FC236}">
                    <a16:creationId xmlns:a16="http://schemas.microsoft.com/office/drawing/2014/main" id="{10DB17E5-A1EA-B10B-6772-2FC2167FDC79}"/>
                  </a:ext>
                </a:extLst>
              </p:cNvPr>
              <p:cNvSpPr/>
              <p:nvPr/>
            </p:nvSpPr>
            <p:spPr>
              <a:xfrm>
                <a:off x="7854219" y="252986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244" name="Freeform 629">
                <a:extLst>
                  <a:ext uri="{FF2B5EF4-FFF2-40B4-BE49-F238E27FC236}">
                    <a16:creationId xmlns:a16="http://schemas.microsoft.com/office/drawing/2014/main" id="{1EAB0923-F65C-69AA-538F-E54BD2A09E97}"/>
                  </a:ext>
                </a:extLst>
              </p:cNvPr>
              <p:cNvSpPr/>
              <p:nvPr/>
            </p:nvSpPr>
            <p:spPr>
              <a:xfrm>
                <a:off x="7865744" y="2580014"/>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245" name="Freeform 630">
                <a:extLst>
                  <a:ext uri="{FF2B5EF4-FFF2-40B4-BE49-F238E27FC236}">
                    <a16:creationId xmlns:a16="http://schemas.microsoft.com/office/drawing/2014/main" id="{19013D93-50F0-52D2-6A8F-A385CD1985BB}"/>
                  </a:ext>
                </a:extLst>
              </p:cNvPr>
              <p:cNvSpPr/>
              <p:nvPr/>
            </p:nvSpPr>
            <p:spPr>
              <a:xfrm>
                <a:off x="7903326" y="255471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246" name="Freeform 631">
                <a:extLst>
                  <a:ext uri="{FF2B5EF4-FFF2-40B4-BE49-F238E27FC236}">
                    <a16:creationId xmlns:a16="http://schemas.microsoft.com/office/drawing/2014/main" id="{7D04296B-333E-4C3A-4B2E-A3414429C610}"/>
                  </a:ext>
                </a:extLst>
              </p:cNvPr>
              <p:cNvSpPr/>
              <p:nvPr/>
            </p:nvSpPr>
            <p:spPr>
              <a:xfrm>
                <a:off x="7893801" y="2580014"/>
                <a:ext cx="75173" cy="10583"/>
              </a:xfrm>
              <a:custGeom>
                <a:avLst/>
                <a:gdLst>
                  <a:gd name="connsiteX0" fmla="*/ 0 w 75173"/>
                  <a:gd name="connsiteY0" fmla="*/ 0 h 10583"/>
                  <a:gd name="connsiteX1" fmla="*/ 75173 w 75173"/>
                  <a:gd name="connsiteY1" fmla="*/ 0 h 10583"/>
                </a:gdLst>
                <a:ahLst/>
                <a:cxnLst>
                  <a:cxn ang="0">
                    <a:pos x="connsiteX0" y="connsiteY0"/>
                  </a:cxn>
                  <a:cxn ang="0">
                    <a:pos x="connsiteX1" y="connsiteY1"/>
                  </a:cxn>
                </a:cxnLst>
                <a:rect l="l" t="t" r="r" b="b"/>
                <a:pathLst>
                  <a:path w="75173" h="10583">
                    <a:moveTo>
                      <a:pt x="0" y="0"/>
                    </a:moveTo>
                    <a:lnTo>
                      <a:pt x="75173" y="0"/>
                    </a:lnTo>
                  </a:path>
                </a:pathLst>
              </a:custGeom>
              <a:ln w="12700" cap="sq">
                <a:solidFill>
                  <a:srgbClr val="929294"/>
                </a:solidFill>
                <a:prstDash val="solid"/>
                <a:miter/>
              </a:ln>
            </p:spPr>
            <p:txBody>
              <a:bodyPr rtlCol="0" anchor="ctr"/>
              <a:lstStyle/>
              <a:p>
                <a:endParaRPr lang="en-US" sz="1800"/>
              </a:p>
            </p:txBody>
          </p:sp>
          <p:sp>
            <p:nvSpPr>
              <p:cNvPr id="2247" name="Freeform 632">
                <a:extLst>
                  <a:ext uri="{FF2B5EF4-FFF2-40B4-BE49-F238E27FC236}">
                    <a16:creationId xmlns:a16="http://schemas.microsoft.com/office/drawing/2014/main" id="{B3AAFA42-50CC-4F04-BB79-EE4F0D4BFE8F}"/>
                  </a:ext>
                </a:extLst>
              </p:cNvPr>
              <p:cNvSpPr/>
              <p:nvPr/>
            </p:nvSpPr>
            <p:spPr>
              <a:xfrm>
                <a:off x="7931393" y="255471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248" name="Freeform 633">
                <a:extLst>
                  <a:ext uri="{FF2B5EF4-FFF2-40B4-BE49-F238E27FC236}">
                    <a16:creationId xmlns:a16="http://schemas.microsoft.com/office/drawing/2014/main" id="{7744CB71-2DB7-AC7E-0211-3584A014CE25}"/>
                  </a:ext>
                </a:extLst>
              </p:cNvPr>
              <p:cNvSpPr/>
              <p:nvPr/>
            </p:nvSpPr>
            <p:spPr>
              <a:xfrm>
                <a:off x="7900817" y="2605425"/>
                <a:ext cx="75173" cy="10583"/>
              </a:xfrm>
              <a:custGeom>
                <a:avLst/>
                <a:gdLst>
                  <a:gd name="connsiteX0" fmla="*/ 0 w 75173"/>
                  <a:gd name="connsiteY0" fmla="*/ 0 h 10583"/>
                  <a:gd name="connsiteX1" fmla="*/ 75174 w 75173"/>
                  <a:gd name="connsiteY1" fmla="*/ 0 h 10583"/>
                </a:gdLst>
                <a:ahLst/>
                <a:cxnLst>
                  <a:cxn ang="0">
                    <a:pos x="connsiteX0" y="connsiteY0"/>
                  </a:cxn>
                  <a:cxn ang="0">
                    <a:pos x="connsiteX1" y="connsiteY1"/>
                  </a:cxn>
                </a:cxnLst>
                <a:rect l="l" t="t" r="r" b="b"/>
                <a:pathLst>
                  <a:path w="75173" h="10583">
                    <a:moveTo>
                      <a:pt x="0" y="0"/>
                    </a:moveTo>
                    <a:lnTo>
                      <a:pt x="75174" y="0"/>
                    </a:lnTo>
                  </a:path>
                </a:pathLst>
              </a:custGeom>
              <a:ln w="12700" cap="sq">
                <a:solidFill>
                  <a:srgbClr val="929294"/>
                </a:solidFill>
                <a:prstDash val="solid"/>
                <a:miter/>
              </a:ln>
            </p:spPr>
            <p:txBody>
              <a:bodyPr rtlCol="0" anchor="ctr"/>
              <a:lstStyle/>
              <a:p>
                <a:endParaRPr lang="en-US" sz="1800"/>
              </a:p>
            </p:txBody>
          </p:sp>
          <p:sp>
            <p:nvSpPr>
              <p:cNvPr id="2249" name="Freeform 634">
                <a:extLst>
                  <a:ext uri="{FF2B5EF4-FFF2-40B4-BE49-F238E27FC236}">
                    <a16:creationId xmlns:a16="http://schemas.microsoft.com/office/drawing/2014/main" id="{886C19AA-1F1B-8B15-4CDA-931AEDF33CBB}"/>
                  </a:ext>
                </a:extLst>
              </p:cNvPr>
              <p:cNvSpPr/>
              <p:nvPr/>
            </p:nvSpPr>
            <p:spPr>
              <a:xfrm>
                <a:off x="7938399" y="258012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250" name="Freeform 635">
                <a:extLst>
                  <a:ext uri="{FF2B5EF4-FFF2-40B4-BE49-F238E27FC236}">
                    <a16:creationId xmlns:a16="http://schemas.microsoft.com/office/drawing/2014/main" id="{B6F7F837-19DC-0A9F-7E44-F6FD4FA63C9D}"/>
                  </a:ext>
                </a:extLst>
              </p:cNvPr>
              <p:cNvSpPr/>
              <p:nvPr/>
            </p:nvSpPr>
            <p:spPr>
              <a:xfrm>
                <a:off x="7900817" y="2605425"/>
                <a:ext cx="75173" cy="10583"/>
              </a:xfrm>
              <a:custGeom>
                <a:avLst/>
                <a:gdLst>
                  <a:gd name="connsiteX0" fmla="*/ 0 w 75173"/>
                  <a:gd name="connsiteY0" fmla="*/ 0 h 10583"/>
                  <a:gd name="connsiteX1" fmla="*/ 75174 w 75173"/>
                  <a:gd name="connsiteY1" fmla="*/ 0 h 10583"/>
                </a:gdLst>
                <a:ahLst/>
                <a:cxnLst>
                  <a:cxn ang="0">
                    <a:pos x="connsiteX0" y="connsiteY0"/>
                  </a:cxn>
                  <a:cxn ang="0">
                    <a:pos x="connsiteX1" y="connsiteY1"/>
                  </a:cxn>
                </a:cxnLst>
                <a:rect l="l" t="t" r="r" b="b"/>
                <a:pathLst>
                  <a:path w="75173" h="10583">
                    <a:moveTo>
                      <a:pt x="0" y="0"/>
                    </a:moveTo>
                    <a:lnTo>
                      <a:pt x="75174" y="0"/>
                    </a:lnTo>
                  </a:path>
                </a:pathLst>
              </a:custGeom>
              <a:ln w="12700" cap="sq">
                <a:solidFill>
                  <a:srgbClr val="929294"/>
                </a:solidFill>
                <a:prstDash val="solid"/>
                <a:miter/>
              </a:ln>
            </p:spPr>
            <p:txBody>
              <a:bodyPr rtlCol="0" anchor="ctr"/>
              <a:lstStyle/>
              <a:p>
                <a:endParaRPr lang="en-US" sz="1800"/>
              </a:p>
            </p:txBody>
          </p:sp>
          <p:sp>
            <p:nvSpPr>
              <p:cNvPr id="2251" name="Freeform 636">
                <a:extLst>
                  <a:ext uri="{FF2B5EF4-FFF2-40B4-BE49-F238E27FC236}">
                    <a16:creationId xmlns:a16="http://schemas.microsoft.com/office/drawing/2014/main" id="{1D8C2ADF-72F6-C93D-50E6-469C13849CDB}"/>
                  </a:ext>
                </a:extLst>
              </p:cNvPr>
              <p:cNvSpPr/>
              <p:nvPr/>
            </p:nvSpPr>
            <p:spPr>
              <a:xfrm>
                <a:off x="7938399" y="258012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252" name="Freeform 637">
                <a:extLst>
                  <a:ext uri="{FF2B5EF4-FFF2-40B4-BE49-F238E27FC236}">
                    <a16:creationId xmlns:a16="http://schemas.microsoft.com/office/drawing/2014/main" id="{34565E31-EF4E-904E-87FC-E26342DB4E78}"/>
                  </a:ext>
                </a:extLst>
              </p:cNvPr>
              <p:cNvSpPr/>
              <p:nvPr/>
            </p:nvSpPr>
            <p:spPr>
              <a:xfrm>
                <a:off x="7900817" y="2605425"/>
                <a:ext cx="75173" cy="10583"/>
              </a:xfrm>
              <a:custGeom>
                <a:avLst/>
                <a:gdLst>
                  <a:gd name="connsiteX0" fmla="*/ 0 w 75173"/>
                  <a:gd name="connsiteY0" fmla="*/ 0 h 10583"/>
                  <a:gd name="connsiteX1" fmla="*/ 75174 w 75173"/>
                  <a:gd name="connsiteY1" fmla="*/ 0 h 10583"/>
                </a:gdLst>
                <a:ahLst/>
                <a:cxnLst>
                  <a:cxn ang="0">
                    <a:pos x="connsiteX0" y="connsiteY0"/>
                  </a:cxn>
                  <a:cxn ang="0">
                    <a:pos x="connsiteX1" y="connsiteY1"/>
                  </a:cxn>
                </a:cxnLst>
                <a:rect l="l" t="t" r="r" b="b"/>
                <a:pathLst>
                  <a:path w="75173" h="10583">
                    <a:moveTo>
                      <a:pt x="0" y="0"/>
                    </a:moveTo>
                    <a:lnTo>
                      <a:pt x="75174" y="0"/>
                    </a:lnTo>
                  </a:path>
                </a:pathLst>
              </a:custGeom>
              <a:ln w="12700" cap="sq">
                <a:solidFill>
                  <a:srgbClr val="929294"/>
                </a:solidFill>
                <a:prstDash val="solid"/>
                <a:miter/>
              </a:ln>
            </p:spPr>
            <p:txBody>
              <a:bodyPr rtlCol="0" anchor="ctr"/>
              <a:lstStyle/>
              <a:p>
                <a:endParaRPr lang="en-US" sz="1800"/>
              </a:p>
            </p:txBody>
          </p:sp>
          <p:sp>
            <p:nvSpPr>
              <p:cNvPr id="2253" name="Freeform 638">
                <a:extLst>
                  <a:ext uri="{FF2B5EF4-FFF2-40B4-BE49-F238E27FC236}">
                    <a16:creationId xmlns:a16="http://schemas.microsoft.com/office/drawing/2014/main" id="{669B6FA6-BC3A-38E5-325E-28C1D0D685BB}"/>
                  </a:ext>
                </a:extLst>
              </p:cNvPr>
              <p:cNvSpPr/>
              <p:nvPr/>
            </p:nvSpPr>
            <p:spPr>
              <a:xfrm>
                <a:off x="7938399" y="258012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254" name="Freeform 639">
                <a:extLst>
                  <a:ext uri="{FF2B5EF4-FFF2-40B4-BE49-F238E27FC236}">
                    <a16:creationId xmlns:a16="http://schemas.microsoft.com/office/drawing/2014/main" id="{CEFEA507-3B40-E430-108E-6C8182EAB0CE}"/>
                  </a:ext>
                </a:extLst>
              </p:cNvPr>
              <p:cNvSpPr/>
              <p:nvPr/>
            </p:nvSpPr>
            <p:spPr>
              <a:xfrm>
                <a:off x="7907834" y="2605425"/>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255" name="Freeform 640">
                <a:extLst>
                  <a:ext uri="{FF2B5EF4-FFF2-40B4-BE49-F238E27FC236}">
                    <a16:creationId xmlns:a16="http://schemas.microsoft.com/office/drawing/2014/main" id="{7B0F6197-2D05-647D-1798-CA599AB26236}"/>
                  </a:ext>
                </a:extLst>
              </p:cNvPr>
              <p:cNvSpPr/>
              <p:nvPr/>
            </p:nvSpPr>
            <p:spPr>
              <a:xfrm>
                <a:off x="7945415" y="258012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256" name="Freeform 641">
                <a:extLst>
                  <a:ext uri="{FF2B5EF4-FFF2-40B4-BE49-F238E27FC236}">
                    <a16:creationId xmlns:a16="http://schemas.microsoft.com/office/drawing/2014/main" id="{CE8AB5D3-4752-5A27-D421-B1149FFEA7A7}"/>
                  </a:ext>
                </a:extLst>
              </p:cNvPr>
              <p:cNvSpPr/>
              <p:nvPr/>
            </p:nvSpPr>
            <p:spPr>
              <a:xfrm>
                <a:off x="7942918" y="2631957"/>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257" name="Freeform 642">
                <a:extLst>
                  <a:ext uri="{FF2B5EF4-FFF2-40B4-BE49-F238E27FC236}">
                    <a16:creationId xmlns:a16="http://schemas.microsoft.com/office/drawing/2014/main" id="{883AB887-A38D-198C-DCDF-B7308DF24E0F}"/>
                  </a:ext>
                </a:extLst>
              </p:cNvPr>
              <p:cNvSpPr/>
              <p:nvPr/>
            </p:nvSpPr>
            <p:spPr>
              <a:xfrm>
                <a:off x="7980499" y="2606663"/>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258" name="Freeform 643">
                <a:extLst>
                  <a:ext uri="{FF2B5EF4-FFF2-40B4-BE49-F238E27FC236}">
                    <a16:creationId xmlns:a16="http://schemas.microsoft.com/office/drawing/2014/main" id="{597E2809-17B6-ECCA-5446-47083D527944}"/>
                  </a:ext>
                </a:extLst>
              </p:cNvPr>
              <p:cNvSpPr/>
              <p:nvPr/>
            </p:nvSpPr>
            <p:spPr>
              <a:xfrm>
                <a:off x="7956941" y="2631957"/>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259" name="Freeform 644">
                <a:extLst>
                  <a:ext uri="{FF2B5EF4-FFF2-40B4-BE49-F238E27FC236}">
                    <a16:creationId xmlns:a16="http://schemas.microsoft.com/office/drawing/2014/main" id="{6B221442-9D08-0A05-47D7-2D479229D9DD}"/>
                  </a:ext>
                </a:extLst>
              </p:cNvPr>
              <p:cNvSpPr/>
              <p:nvPr/>
            </p:nvSpPr>
            <p:spPr>
              <a:xfrm>
                <a:off x="7994522" y="2606663"/>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260" name="Freeform 645">
                <a:extLst>
                  <a:ext uri="{FF2B5EF4-FFF2-40B4-BE49-F238E27FC236}">
                    <a16:creationId xmlns:a16="http://schemas.microsoft.com/office/drawing/2014/main" id="{B02FBBF2-8803-C152-BB7F-23B76976B2AD}"/>
                  </a:ext>
                </a:extLst>
              </p:cNvPr>
              <p:cNvSpPr/>
              <p:nvPr/>
            </p:nvSpPr>
            <p:spPr>
              <a:xfrm>
                <a:off x="7985008" y="2631957"/>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261" name="Freeform 646">
                <a:extLst>
                  <a:ext uri="{FF2B5EF4-FFF2-40B4-BE49-F238E27FC236}">
                    <a16:creationId xmlns:a16="http://schemas.microsoft.com/office/drawing/2014/main" id="{3AF67358-6940-DF72-576A-DDEABA4A140C}"/>
                  </a:ext>
                </a:extLst>
              </p:cNvPr>
              <p:cNvSpPr/>
              <p:nvPr/>
            </p:nvSpPr>
            <p:spPr>
              <a:xfrm>
                <a:off x="8022589" y="2606663"/>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262" name="Freeform 647">
                <a:extLst>
                  <a:ext uri="{FF2B5EF4-FFF2-40B4-BE49-F238E27FC236}">
                    <a16:creationId xmlns:a16="http://schemas.microsoft.com/office/drawing/2014/main" id="{6285E2F6-7155-975F-25E3-675347242646}"/>
                  </a:ext>
                </a:extLst>
              </p:cNvPr>
              <p:cNvSpPr/>
              <p:nvPr/>
            </p:nvSpPr>
            <p:spPr>
              <a:xfrm>
                <a:off x="8020081" y="2687054"/>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263" name="Freeform 648">
                <a:extLst>
                  <a:ext uri="{FF2B5EF4-FFF2-40B4-BE49-F238E27FC236}">
                    <a16:creationId xmlns:a16="http://schemas.microsoft.com/office/drawing/2014/main" id="{8828B97C-6B33-0A57-6D05-AFE980AFF81D}"/>
                  </a:ext>
                </a:extLst>
              </p:cNvPr>
              <p:cNvSpPr/>
              <p:nvPr/>
            </p:nvSpPr>
            <p:spPr>
              <a:xfrm>
                <a:off x="8057662" y="266176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264" name="Freeform 649">
                <a:extLst>
                  <a:ext uri="{FF2B5EF4-FFF2-40B4-BE49-F238E27FC236}">
                    <a16:creationId xmlns:a16="http://schemas.microsoft.com/office/drawing/2014/main" id="{0676A5AE-7EFB-F64A-121C-CD0F452F44B0}"/>
                  </a:ext>
                </a:extLst>
              </p:cNvPr>
              <p:cNvSpPr/>
              <p:nvPr/>
            </p:nvSpPr>
            <p:spPr>
              <a:xfrm>
                <a:off x="8020081" y="2687054"/>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265" name="Freeform 650">
                <a:extLst>
                  <a:ext uri="{FF2B5EF4-FFF2-40B4-BE49-F238E27FC236}">
                    <a16:creationId xmlns:a16="http://schemas.microsoft.com/office/drawing/2014/main" id="{C3F2E0A1-B28F-3D80-543C-3D28EFD7AB87}"/>
                  </a:ext>
                </a:extLst>
              </p:cNvPr>
              <p:cNvSpPr/>
              <p:nvPr/>
            </p:nvSpPr>
            <p:spPr>
              <a:xfrm>
                <a:off x="8057662" y="266176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266" name="Freeform 651">
                <a:extLst>
                  <a:ext uri="{FF2B5EF4-FFF2-40B4-BE49-F238E27FC236}">
                    <a16:creationId xmlns:a16="http://schemas.microsoft.com/office/drawing/2014/main" id="{A674BD19-8FD1-56E7-69C0-A7E3FB10F5B5}"/>
                  </a:ext>
                </a:extLst>
              </p:cNvPr>
              <p:cNvSpPr/>
              <p:nvPr/>
            </p:nvSpPr>
            <p:spPr>
              <a:xfrm>
                <a:off x="8020081" y="2687054"/>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267" name="Freeform 652">
                <a:extLst>
                  <a:ext uri="{FF2B5EF4-FFF2-40B4-BE49-F238E27FC236}">
                    <a16:creationId xmlns:a16="http://schemas.microsoft.com/office/drawing/2014/main" id="{52321647-F18B-40D4-0272-5FC721E752BC}"/>
                  </a:ext>
                </a:extLst>
              </p:cNvPr>
              <p:cNvSpPr/>
              <p:nvPr/>
            </p:nvSpPr>
            <p:spPr>
              <a:xfrm>
                <a:off x="8057662" y="266176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268" name="Freeform 653">
                <a:extLst>
                  <a:ext uri="{FF2B5EF4-FFF2-40B4-BE49-F238E27FC236}">
                    <a16:creationId xmlns:a16="http://schemas.microsoft.com/office/drawing/2014/main" id="{D1EA75D4-EB19-0434-C4A3-E3CE71C76D57}"/>
                  </a:ext>
                </a:extLst>
              </p:cNvPr>
              <p:cNvSpPr/>
              <p:nvPr/>
            </p:nvSpPr>
            <p:spPr>
              <a:xfrm>
                <a:off x="8027098" y="2687054"/>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269" name="Freeform 654">
                <a:extLst>
                  <a:ext uri="{FF2B5EF4-FFF2-40B4-BE49-F238E27FC236}">
                    <a16:creationId xmlns:a16="http://schemas.microsoft.com/office/drawing/2014/main" id="{D6DA43C9-138B-D2E2-AC2E-1342AC07E9A0}"/>
                  </a:ext>
                </a:extLst>
              </p:cNvPr>
              <p:cNvSpPr/>
              <p:nvPr/>
            </p:nvSpPr>
            <p:spPr>
              <a:xfrm>
                <a:off x="8064679" y="266176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270" name="Freeform 655">
                <a:extLst>
                  <a:ext uri="{FF2B5EF4-FFF2-40B4-BE49-F238E27FC236}">
                    <a16:creationId xmlns:a16="http://schemas.microsoft.com/office/drawing/2014/main" id="{C774D3E5-C137-E067-2E78-8B8D00C4CA37}"/>
                  </a:ext>
                </a:extLst>
              </p:cNvPr>
              <p:cNvSpPr/>
              <p:nvPr/>
            </p:nvSpPr>
            <p:spPr>
              <a:xfrm>
                <a:off x="8034114" y="2687054"/>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271" name="Freeform 656">
                <a:extLst>
                  <a:ext uri="{FF2B5EF4-FFF2-40B4-BE49-F238E27FC236}">
                    <a16:creationId xmlns:a16="http://schemas.microsoft.com/office/drawing/2014/main" id="{15C6F5B8-6881-14A1-9CE0-9507CA2B9D4A}"/>
                  </a:ext>
                </a:extLst>
              </p:cNvPr>
              <p:cNvSpPr/>
              <p:nvPr/>
            </p:nvSpPr>
            <p:spPr>
              <a:xfrm>
                <a:off x="8071696" y="266176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272" name="Freeform 657">
                <a:extLst>
                  <a:ext uri="{FF2B5EF4-FFF2-40B4-BE49-F238E27FC236}">
                    <a16:creationId xmlns:a16="http://schemas.microsoft.com/office/drawing/2014/main" id="{B0945EE1-C4D1-211B-634E-BF5994152E7A}"/>
                  </a:ext>
                </a:extLst>
              </p:cNvPr>
              <p:cNvSpPr/>
              <p:nvPr/>
            </p:nvSpPr>
            <p:spPr>
              <a:xfrm>
                <a:off x="8048148" y="2687054"/>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273" name="Freeform 658">
                <a:extLst>
                  <a:ext uri="{FF2B5EF4-FFF2-40B4-BE49-F238E27FC236}">
                    <a16:creationId xmlns:a16="http://schemas.microsoft.com/office/drawing/2014/main" id="{753C67C5-1E9A-CF26-82B3-1186DB81F6D6}"/>
                  </a:ext>
                </a:extLst>
              </p:cNvPr>
              <p:cNvSpPr/>
              <p:nvPr/>
            </p:nvSpPr>
            <p:spPr>
              <a:xfrm>
                <a:off x="8085729" y="266176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274" name="Freeform 659">
                <a:extLst>
                  <a:ext uri="{FF2B5EF4-FFF2-40B4-BE49-F238E27FC236}">
                    <a16:creationId xmlns:a16="http://schemas.microsoft.com/office/drawing/2014/main" id="{00E1FA2A-484D-B3A5-7452-E1EC61E407A3}"/>
                  </a:ext>
                </a:extLst>
              </p:cNvPr>
              <p:cNvSpPr/>
              <p:nvPr/>
            </p:nvSpPr>
            <p:spPr>
              <a:xfrm>
                <a:off x="8055154" y="2687054"/>
                <a:ext cx="75173" cy="10583"/>
              </a:xfrm>
              <a:custGeom>
                <a:avLst/>
                <a:gdLst>
                  <a:gd name="connsiteX0" fmla="*/ 0 w 75173"/>
                  <a:gd name="connsiteY0" fmla="*/ 0 h 10583"/>
                  <a:gd name="connsiteX1" fmla="*/ 75173 w 75173"/>
                  <a:gd name="connsiteY1" fmla="*/ 0 h 10583"/>
                </a:gdLst>
                <a:ahLst/>
                <a:cxnLst>
                  <a:cxn ang="0">
                    <a:pos x="connsiteX0" y="connsiteY0"/>
                  </a:cxn>
                  <a:cxn ang="0">
                    <a:pos x="connsiteX1" y="connsiteY1"/>
                  </a:cxn>
                </a:cxnLst>
                <a:rect l="l" t="t" r="r" b="b"/>
                <a:pathLst>
                  <a:path w="75173" h="10583">
                    <a:moveTo>
                      <a:pt x="0" y="0"/>
                    </a:moveTo>
                    <a:lnTo>
                      <a:pt x="75173" y="0"/>
                    </a:lnTo>
                  </a:path>
                </a:pathLst>
              </a:custGeom>
              <a:ln w="12700" cap="sq">
                <a:solidFill>
                  <a:srgbClr val="929294"/>
                </a:solidFill>
                <a:prstDash val="solid"/>
                <a:miter/>
              </a:ln>
            </p:spPr>
            <p:txBody>
              <a:bodyPr rtlCol="0" anchor="ctr"/>
              <a:lstStyle/>
              <a:p>
                <a:endParaRPr lang="en-US" sz="1800"/>
              </a:p>
            </p:txBody>
          </p:sp>
          <p:sp>
            <p:nvSpPr>
              <p:cNvPr id="2275" name="Freeform 660">
                <a:extLst>
                  <a:ext uri="{FF2B5EF4-FFF2-40B4-BE49-F238E27FC236}">
                    <a16:creationId xmlns:a16="http://schemas.microsoft.com/office/drawing/2014/main" id="{03D395CF-F10C-EEF0-4958-87951600ADBE}"/>
                  </a:ext>
                </a:extLst>
              </p:cNvPr>
              <p:cNvSpPr/>
              <p:nvPr/>
            </p:nvSpPr>
            <p:spPr>
              <a:xfrm>
                <a:off x="8092746" y="266176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276" name="Freeform 661">
                <a:extLst>
                  <a:ext uri="{FF2B5EF4-FFF2-40B4-BE49-F238E27FC236}">
                    <a16:creationId xmlns:a16="http://schemas.microsoft.com/office/drawing/2014/main" id="{BA1060A5-6ABC-EF42-7D03-5E72374B2B90}"/>
                  </a:ext>
                </a:extLst>
              </p:cNvPr>
              <p:cNvSpPr/>
              <p:nvPr/>
            </p:nvSpPr>
            <p:spPr>
              <a:xfrm>
                <a:off x="8062171" y="2687054"/>
                <a:ext cx="75173" cy="10583"/>
              </a:xfrm>
              <a:custGeom>
                <a:avLst/>
                <a:gdLst>
                  <a:gd name="connsiteX0" fmla="*/ 0 w 75173"/>
                  <a:gd name="connsiteY0" fmla="*/ 0 h 10583"/>
                  <a:gd name="connsiteX1" fmla="*/ 75173 w 75173"/>
                  <a:gd name="connsiteY1" fmla="*/ 0 h 10583"/>
                </a:gdLst>
                <a:ahLst/>
                <a:cxnLst>
                  <a:cxn ang="0">
                    <a:pos x="connsiteX0" y="connsiteY0"/>
                  </a:cxn>
                  <a:cxn ang="0">
                    <a:pos x="connsiteX1" y="connsiteY1"/>
                  </a:cxn>
                </a:cxnLst>
                <a:rect l="l" t="t" r="r" b="b"/>
                <a:pathLst>
                  <a:path w="75173" h="10583">
                    <a:moveTo>
                      <a:pt x="0" y="0"/>
                    </a:moveTo>
                    <a:lnTo>
                      <a:pt x="75173" y="0"/>
                    </a:lnTo>
                  </a:path>
                </a:pathLst>
              </a:custGeom>
              <a:ln w="12700" cap="sq">
                <a:solidFill>
                  <a:srgbClr val="929294"/>
                </a:solidFill>
                <a:prstDash val="solid"/>
                <a:miter/>
              </a:ln>
            </p:spPr>
            <p:txBody>
              <a:bodyPr rtlCol="0" anchor="ctr"/>
              <a:lstStyle/>
              <a:p>
                <a:endParaRPr lang="en-US" sz="1800"/>
              </a:p>
            </p:txBody>
          </p:sp>
          <p:sp>
            <p:nvSpPr>
              <p:cNvPr id="2277" name="Freeform 662">
                <a:extLst>
                  <a:ext uri="{FF2B5EF4-FFF2-40B4-BE49-F238E27FC236}">
                    <a16:creationId xmlns:a16="http://schemas.microsoft.com/office/drawing/2014/main" id="{80595659-5C1B-B2EF-3D9A-F687C602BD9D}"/>
                  </a:ext>
                </a:extLst>
              </p:cNvPr>
              <p:cNvSpPr/>
              <p:nvPr/>
            </p:nvSpPr>
            <p:spPr>
              <a:xfrm>
                <a:off x="8099752" y="266176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278" name="Freeform 663">
                <a:extLst>
                  <a:ext uri="{FF2B5EF4-FFF2-40B4-BE49-F238E27FC236}">
                    <a16:creationId xmlns:a16="http://schemas.microsoft.com/office/drawing/2014/main" id="{F92C6167-9838-201E-859A-F4753403246B}"/>
                  </a:ext>
                </a:extLst>
              </p:cNvPr>
              <p:cNvSpPr/>
              <p:nvPr/>
            </p:nvSpPr>
            <p:spPr>
              <a:xfrm>
                <a:off x="8090238" y="2687054"/>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279" name="Freeform 664">
                <a:extLst>
                  <a:ext uri="{FF2B5EF4-FFF2-40B4-BE49-F238E27FC236}">
                    <a16:creationId xmlns:a16="http://schemas.microsoft.com/office/drawing/2014/main" id="{9FB053C6-CD96-E3D8-8AD5-700FC61BE3E8}"/>
                  </a:ext>
                </a:extLst>
              </p:cNvPr>
              <p:cNvSpPr/>
              <p:nvPr/>
            </p:nvSpPr>
            <p:spPr>
              <a:xfrm>
                <a:off x="8127819" y="266176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280" name="Freeform 665">
                <a:extLst>
                  <a:ext uri="{FF2B5EF4-FFF2-40B4-BE49-F238E27FC236}">
                    <a16:creationId xmlns:a16="http://schemas.microsoft.com/office/drawing/2014/main" id="{65DEE219-4AA7-3DDD-26B1-13C52511D0F6}"/>
                  </a:ext>
                </a:extLst>
              </p:cNvPr>
              <p:cNvSpPr/>
              <p:nvPr/>
            </p:nvSpPr>
            <p:spPr>
              <a:xfrm>
                <a:off x="8097255" y="2687054"/>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281" name="Freeform 666">
                <a:extLst>
                  <a:ext uri="{FF2B5EF4-FFF2-40B4-BE49-F238E27FC236}">
                    <a16:creationId xmlns:a16="http://schemas.microsoft.com/office/drawing/2014/main" id="{959B8913-8908-7E50-62ED-AF90CA398087}"/>
                  </a:ext>
                </a:extLst>
              </p:cNvPr>
              <p:cNvSpPr/>
              <p:nvPr/>
            </p:nvSpPr>
            <p:spPr>
              <a:xfrm>
                <a:off x="8134836" y="266176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282" name="Freeform 667">
                <a:extLst>
                  <a:ext uri="{FF2B5EF4-FFF2-40B4-BE49-F238E27FC236}">
                    <a16:creationId xmlns:a16="http://schemas.microsoft.com/office/drawing/2014/main" id="{D7E5DFD3-4F49-818D-7CB9-4D5E731B1FDF}"/>
                  </a:ext>
                </a:extLst>
              </p:cNvPr>
              <p:cNvSpPr/>
              <p:nvPr/>
            </p:nvSpPr>
            <p:spPr>
              <a:xfrm>
                <a:off x="8132328" y="2687054"/>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283" name="Freeform 668">
                <a:extLst>
                  <a:ext uri="{FF2B5EF4-FFF2-40B4-BE49-F238E27FC236}">
                    <a16:creationId xmlns:a16="http://schemas.microsoft.com/office/drawing/2014/main" id="{F7FE7B83-7EF1-BBB4-C9A0-5A3B01B5E732}"/>
                  </a:ext>
                </a:extLst>
              </p:cNvPr>
              <p:cNvSpPr/>
              <p:nvPr/>
            </p:nvSpPr>
            <p:spPr>
              <a:xfrm>
                <a:off x="8169909" y="266176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284" name="Freeform 669">
                <a:extLst>
                  <a:ext uri="{FF2B5EF4-FFF2-40B4-BE49-F238E27FC236}">
                    <a16:creationId xmlns:a16="http://schemas.microsoft.com/office/drawing/2014/main" id="{A8EA1DDD-02A8-7924-7634-48DED9B09151}"/>
                  </a:ext>
                </a:extLst>
              </p:cNvPr>
              <p:cNvSpPr/>
              <p:nvPr/>
            </p:nvSpPr>
            <p:spPr>
              <a:xfrm>
                <a:off x="8132328" y="2687054"/>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285" name="Freeform 670">
                <a:extLst>
                  <a:ext uri="{FF2B5EF4-FFF2-40B4-BE49-F238E27FC236}">
                    <a16:creationId xmlns:a16="http://schemas.microsoft.com/office/drawing/2014/main" id="{E244D71A-C341-8380-19A6-67DE5FEDDCCF}"/>
                  </a:ext>
                </a:extLst>
              </p:cNvPr>
              <p:cNvSpPr/>
              <p:nvPr/>
            </p:nvSpPr>
            <p:spPr>
              <a:xfrm>
                <a:off x="8169909" y="266176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286" name="Freeform 671">
                <a:extLst>
                  <a:ext uri="{FF2B5EF4-FFF2-40B4-BE49-F238E27FC236}">
                    <a16:creationId xmlns:a16="http://schemas.microsoft.com/office/drawing/2014/main" id="{DD6C68D8-9F87-A075-B4A5-45306EA73C9B}"/>
                  </a:ext>
                </a:extLst>
              </p:cNvPr>
              <p:cNvSpPr/>
              <p:nvPr/>
            </p:nvSpPr>
            <p:spPr>
              <a:xfrm>
                <a:off x="8146361" y="2687054"/>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287" name="Freeform 672">
                <a:extLst>
                  <a:ext uri="{FF2B5EF4-FFF2-40B4-BE49-F238E27FC236}">
                    <a16:creationId xmlns:a16="http://schemas.microsoft.com/office/drawing/2014/main" id="{8C9E0714-6984-68C7-3CD1-2D04F8803B15}"/>
                  </a:ext>
                </a:extLst>
              </p:cNvPr>
              <p:cNvSpPr/>
              <p:nvPr/>
            </p:nvSpPr>
            <p:spPr>
              <a:xfrm>
                <a:off x="8183943" y="266176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288" name="Freeform 673">
                <a:extLst>
                  <a:ext uri="{FF2B5EF4-FFF2-40B4-BE49-F238E27FC236}">
                    <a16:creationId xmlns:a16="http://schemas.microsoft.com/office/drawing/2014/main" id="{223297FD-54B9-F828-6239-BF213803833F}"/>
                  </a:ext>
                </a:extLst>
              </p:cNvPr>
              <p:cNvSpPr/>
              <p:nvPr/>
            </p:nvSpPr>
            <p:spPr>
              <a:xfrm>
                <a:off x="8202485" y="2720222"/>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289" name="Freeform 674">
                <a:extLst>
                  <a:ext uri="{FF2B5EF4-FFF2-40B4-BE49-F238E27FC236}">
                    <a16:creationId xmlns:a16="http://schemas.microsoft.com/office/drawing/2014/main" id="{2A58B6EC-773E-9E0D-FCE1-5D4478CE481F}"/>
                  </a:ext>
                </a:extLst>
              </p:cNvPr>
              <p:cNvSpPr/>
              <p:nvPr/>
            </p:nvSpPr>
            <p:spPr>
              <a:xfrm>
                <a:off x="8240066" y="2694928"/>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290" name="Freeform 675">
                <a:extLst>
                  <a:ext uri="{FF2B5EF4-FFF2-40B4-BE49-F238E27FC236}">
                    <a16:creationId xmlns:a16="http://schemas.microsoft.com/office/drawing/2014/main" id="{60D9FD4F-E68A-D6E9-D2D9-802A633724D8}"/>
                  </a:ext>
                </a:extLst>
              </p:cNvPr>
              <p:cNvSpPr/>
              <p:nvPr/>
            </p:nvSpPr>
            <p:spPr>
              <a:xfrm>
                <a:off x="8202485" y="2720222"/>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291" name="Freeform 676">
                <a:extLst>
                  <a:ext uri="{FF2B5EF4-FFF2-40B4-BE49-F238E27FC236}">
                    <a16:creationId xmlns:a16="http://schemas.microsoft.com/office/drawing/2014/main" id="{9BDC6CFA-3D2E-2CD5-A076-4E4C78ADCCB5}"/>
                  </a:ext>
                </a:extLst>
              </p:cNvPr>
              <p:cNvSpPr/>
              <p:nvPr/>
            </p:nvSpPr>
            <p:spPr>
              <a:xfrm>
                <a:off x="8240066" y="2694928"/>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292" name="Freeform 677">
                <a:extLst>
                  <a:ext uri="{FF2B5EF4-FFF2-40B4-BE49-F238E27FC236}">
                    <a16:creationId xmlns:a16="http://schemas.microsoft.com/office/drawing/2014/main" id="{EBD9C5EB-8143-7656-A4CD-7D9E3458AA96}"/>
                  </a:ext>
                </a:extLst>
              </p:cNvPr>
              <p:cNvSpPr/>
              <p:nvPr/>
            </p:nvSpPr>
            <p:spPr>
              <a:xfrm>
                <a:off x="8202485" y="2720222"/>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293" name="Freeform 678">
                <a:extLst>
                  <a:ext uri="{FF2B5EF4-FFF2-40B4-BE49-F238E27FC236}">
                    <a16:creationId xmlns:a16="http://schemas.microsoft.com/office/drawing/2014/main" id="{E277AC2B-44B7-4CFD-1973-F65E76FC2149}"/>
                  </a:ext>
                </a:extLst>
              </p:cNvPr>
              <p:cNvSpPr/>
              <p:nvPr/>
            </p:nvSpPr>
            <p:spPr>
              <a:xfrm>
                <a:off x="8240066" y="2694928"/>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294" name="Freeform 679">
                <a:extLst>
                  <a:ext uri="{FF2B5EF4-FFF2-40B4-BE49-F238E27FC236}">
                    <a16:creationId xmlns:a16="http://schemas.microsoft.com/office/drawing/2014/main" id="{3AF43686-798E-353B-4F15-6B75871733AC}"/>
                  </a:ext>
                </a:extLst>
              </p:cNvPr>
              <p:cNvSpPr/>
              <p:nvPr/>
            </p:nvSpPr>
            <p:spPr>
              <a:xfrm>
                <a:off x="8251591" y="2720222"/>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295" name="Freeform 680">
                <a:extLst>
                  <a:ext uri="{FF2B5EF4-FFF2-40B4-BE49-F238E27FC236}">
                    <a16:creationId xmlns:a16="http://schemas.microsoft.com/office/drawing/2014/main" id="{1B9658C0-490A-2A20-CB9C-998F2E08C567}"/>
                  </a:ext>
                </a:extLst>
              </p:cNvPr>
              <p:cNvSpPr/>
              <p:nvPr/>
            </p:nvSpPr>
            <p:spPr>
              <a:xfrm>
                <a:off x="8289173" y="2694928"/>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296" name="Freeform 681">
                <a:extLst>
                  <a:ext uri="{FF2B5EF4-FFF2-40B4-BE49-F238E27FC236}">
                    <a16:creationId xmlns:a16="http://schemas.microsoft.com/office/drawing/2014/main" id="{D10CB1A1-8515-C613-4650-8B643A1C007D}"/>
                  </a:ext>
                </a:extLst>
              </p:cNvPr>
              <p:cNvSpPr/>
              <p:nvPr/>
            </p:nvSpPr>
            <p:spPr>
              <a:xfrm>
                <a:off x="8251591" y="2720222"/>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297" name="Freeform 682">
                <a:extLst>
                  <a:ext uri="{FF2B5EF4-FFF2-40B4-BE49-F238E27FC236}">
                    <a16:creationId xmlns:a16="http://schemas.microsoft.com/office/drawing/2014/main" id="{4535D569-6B48-C34F-E01D-ED8186F4C56A}"/>
                  </a:ext>
                </a:extLst>
              </p:cNvPr>
              <p:cNvSpPr/>
              <p:nvPr/>
            </p:nvSpPr>
            <p:spPr>
              <a:xfrm>
                <a:off x="8289173" y="2694928"/>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298" name="Freeform 683">
                <a:extLst>
                  <a:ext uri="{FF2B5EF4-FFF2-40B4-BE49-F238E27FC236}">
                    <a16:creationId xmlns:a16="http://schemas.microsoft.com/office/drawing/2014/main" id="{CFA392C6-B90C-C116-888F-13CC62ECF01D}"/>
                  </a:ext>
                </a:extLst>
              </p:cNvPr>
              <p:cNvSpPr/>
              <p:nvPr/>
            </p:nvSpPr>
            <p:spPr>
              <a:xfrm>
                <a:off x="8307715" y="2720222"/>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299" name="Freeform 684">
                <a:extLst>
                  <a:ext uri="{FF2B5EF4-FFF2-40B4-BE49-F238E27FC236}">
                    <a16:creationId xmlns:a16="http://schemas.microsoft.com/office/drawing/2014/main" id="{C1A22D84-563B-9C34-D90D-729407E0FFFF}"/>
                  </a:ext>
                </a:extLst>
              </p:cNvPr>
              <p:cNvSpPr/>
              <p:nvPr/>
            </p:nvSpPr>
            <p:spPr>
              <a:xfrm>
                <a:off x="8345296" y="2694928"/>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300" name="Freeform 685">
                <a:extLst>
                  <a:ext uri="{FF2B5EF4-FFF2-40B4-BE49-F238E27FC236}">
                    <a16:creationId xmlns:a16="http://schemas.microsoft.com/office/drawing/2014/main" id="{F0599533-604F-0293-51DE-CB185D9EC330}"/>
                  </a:ext>
                </a:extLst>
              </p:cNvPr>
              <p:cNvSpPr/>
              <p:nvPr/>
            </p:nvSpPr>
            <p:spPr>
              <a:xfrm>
                <a:off x="8342788" y="2720222"/>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301" name="Freeform 686">
                <a:extLst>
                  <a:ext uri="{FF2B5EF4-FFF2-40B4-BE49-F238E27FC236}">
                    <a16:creationId xmlns:a16="http://schemas.microsoft.com/office/drawing/2014/main" id="{A8475BB7-9CAE-BBDD-7E49-3B3EC5310100}"/>
                  </a:ext>
                </a:extLst>
              </p:cNvPr>
              <p:cNvSpPr/>
              <p:nvPr/>
            </p:nvSpPr>
            <p:spPr>
              <a:xfrm>
                <a:off x="8380369" y="2694928"/>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302" name="Freeform 687">
                <a:extLst>
                  <a:ext uri="{FF2B5EF4-FFF2-40B4-BE49-F238E27FC236}">
                    <a16:creationId xmlns:a16="http://schemas.microsoft.com/office/drawing/2014/main" id="{EEC7475B-32E7-68E3-56F5-AE1D75BE7841}"/>
                  </a:ext>
                </a:extLst>
              </p:cNvPr>
              <p:cNvSpPr/>
              <p:nvPr/>
            </p:nvSpPr>
            <p:spPr>
              <a:xfrm>
                <a:off x="8349805" y="2720222"/>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303" name="Freeform 688">
                <a:extLst>
                  <a:ext uri="{FF2B5EF4-FFF2-40B4-BE49-F238E27FC236}">
                    <a16:creationId xmlns:a16="http://schemas.microsoft.com/office/drawing/2014/main" id="{15C9ADD9-7A94-5D55-8924-6CF6B64F7F6E}"/>
                  </a:ext>
                </a:extLst>
              </p:cNvPr>
              <p:cNvSpPr/>
              <p:nvPr/>
            </p:nvSpPr>
            <p:spPr>
              <a:xfrm>
                <a:off x="8387386" y="2694928"/>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304" name="Freeform 689">
                <a:extLst>
                  <a:ext uri="{FF2B5EF4-FFF2-40B4-BE49-F238E27FC236}">
                    <a16:creationId xmlns:a16="http://schemas.microsoft.com/office/drawing/2014/main" id="{3DAA368E-9EC5-A1CC-94B8-FD8DFA98459F}"/>
                  </a:ext>
                </a:extLst>
              </p:cNvPr>
              <p:cNvSpPr/>
              <p:nvPr/>
            </p:nvSpPr>
            <p:spPr>
              <a:xfrm>
                <a:off x="8384878" y="2720222"/>
                <a:ext cx="75173" cy="10583"/>
              </a:xfrm>
              <a:custGeom>
                <a:avLst/>
                <a:gdLst>
                  <a:gd name="connsiteX0" fmla="*/ 0 w 75173"/>
                  <a:gd name="connsiteY0" fmla="*/ 0 h 10583"/>
                  <a:gd name="connsiteX1" fmla="*/ 75173 w 75173"/>
                  <a:gd name="connsiteY1" fmla="*/ 0 h 10583"/>
                </a:gdLst>
                <a:ahLst/>
                <a:cxnLst>
                  <a:cxn ang="0">
                    <a:pos x="connsiteX0" y="connsiteY0"/>
                  </a:cxn>
                  <a:cxn ang="0">
                    <a:pos x="connsiteX1" y="connsiteY1"/>
                  </a:cxn>
                </a:cxnLst>
                <a:rect l="l" t="t" r="r" b="b"/>
                <a:pathLst>
                  <a:path w="75173" h="10583">
                    <a:moveTo>
                      <a:pt x="0" y="0"/>
                    </a:moveTo>
                    <a:lnTo>
                      <a:pt x="75173" y="0"/>
                    </a:lnTo>
                  </a:path>
                </a:pathLst>
              </a:custGeom>
              <a:ln w="12700" cap="sq">
                <a:solidFill>
                  <a:srgbClr val="929294"/>
                </a:solidFill>
                <a:prstDash val="solid"/>
                <a:miter/>
              </a:ln>
            </p:spPr>
            <p:txBody>
              <a:bodyPr rtlCol="0" anchor="ctr"/>
              <a:lstStyle/>
              <a:p>
                <a:endParaRPr lang="en-US" sz="1800"/>
              </a:p>
            </p:txBody>
          </p:sp>
          <p:sp>
            <p:nvSpPr>
              <p:cNvPr id="2305" name="Freeform 690">
                <a:extLst>
                  <a:ext uri="{FF2B5EF4-FFF2-40B4-BE49-F238E27FC236}">
                    <a16:creationId xmlns:a16="http://schemas.microsoft.com/office/drawing/2014/main" id="{1B3BA952-2341-4C1A-01C8-DC28EB4E102B}"/>
                  </a:ext>
                </a:extLst>
              </p:cNvPr>
              <p:cNvSpPr/>
              <p:nvPr/>
            </p:nvSpPr>
            <p:spPr>
              <a:xfrm>
                <a:off x="8422459" y="2694928"/>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306" name="Freeform 691">
                <a:extLst>
                  <a:ext uri="{FF2B5EF4-FFF2-40B4-BE49-F238E27FC236}">
                    <a16:creationId xmlns:a16="http://schemas.microsoft.com/office/drawing/2014/main" id="{8C57646D-4908-E14A-92FF-BF1CE37EDD91}"/>
                  </a:ext>
                </a:extLst>
              </p:cNvPr>
              <p:cNvSpPr/>
              <p:nvPr/>
            </p:nvSpPr>
            <p:spPr>
              <a:xfrm>
                <a:off x="8391895" y="2720222"/>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307" name="Freeform 692">
                <a:extLst>
                  <a:ext uri="{FF2B5EF4-FFF2-40B4-BE49-F238E27FC236}">
                    <a16:creationId xmlns:a16="http://schemas.microsoft.com/office/drawing/2014/main" id="{B891DA95-EFD1-CA65-BEC1-2E36F4DD9FBB}"/>
                  </a:ext>
                </a:extLst>
              </p:cNvPr>
              <p:cNvSpPr/>
              <p:nvPr/>
            </p:nvSpPr>
            <p:spPr>
              <a:xfrm>
                <a:off x="8429476" y="2694928"/>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308" name="Freeform 693">
                <a:extLst>
                  <a:ext uri="{FF2B5EF4-FFF2-40B4-BE49-F238E27FC236}">
                    <a16:creationId xmlns:a16="http://schemas.microsoft.com/office/drawing/2014/main" id="{2E0FCE90-5C0F-AE94-06D2-D4321C4CE023}"/>
                  </a:ext>
                </a:extLst>
              </p:cNvPr>
              <p:cNvSpPr/>
              <p:nvPr/>
            </p:nvSpPr>
            <p:spPr>
              <a:xfrm>
                <a:off x="8441001" y="2720222"/>
                <a:ext cx="75173" cy="10583"/>
              </a:xfrm>
              <a:custGeom>
                <a:avLst/>
                <a:gdLst>
                  <a:gd name="connsiteX0" fmla="*/ 0 w 75173"/>
                  <a:gd name="connsiteY0" fmla="*/ 0 h 10583"/>
                  <a:gd name="connsiteX1" fmla="*/ 75173 w 75173"/>
                  <a:gd name="connsiteY1" fmla="*/ 0 h 10583"/>
                </a:gdLst>
                <a:ahLst/>
                <a:cxnLst>
                  <a:cxn ang="0">
                    <a:pos x="connsiteX0" y="connsiteY0"/>
                  </a:cxn>
                  <a:cxn ang="0">
                    <a:pos x="connsiteX1" y="connsiteY1"/>
                  </a:cxn>
                </a:cxnLst>
                <a:rect l="l" t="t" r="r" b="b"/>
                <a:pathLst>
                  <a:path w="75173" h="10583">
                    <a:moveTo>
                      <a:pt x="0" y="0"/>
                    </a:moveTo>
                    <a:lnTo>
                      <a:pt x="75173" y="0"/>
                    </a:lnTo>
                  </a:path>
                </a:pathLst>
              </a:custGeom>
              <a:ln w="12700" cap="sq">
                <a:solidFill>
                  <a:srgbClr val="929294"/>
                </a:solidFill>
                <a:prstDash val="solid"/>
                <a:miter/>
              </a:ln>
            </p:spPr>
            <p:txBody>
              <a:bodyPr rtlCol="0" anchor="ctr"/>
              <a:lstStyle/>
              <a:p>
                <a:endParaRPr lang="en-US" sz="1800"/>
              </a:p>
            </p:txBody>
          </p:sp>
          <p:sp>
            <p:nvSpPr>
              <p:cNvPr id="2309" name="Freeform 694">
                <a:extLst>
                  <a:ext uri="{FF2B5EF4-FFF2-40B4-BE49-F238E27FC236}">
                    <a16:creationId xmlns:a16="http://schemas.microsoft.com/office/drawing/2014/main" id="{5BC7E6A8-0E07-C8BC-C647-41B0EEE5CA3D}"/>
                  </a:ext>
                </a:extLst>
              </p:cNvPr>
              <p:cNvSpPr/>
              <p:nvPr/>
            </p:nvSpPr>
            <p:spPr>
              <a:xfrm>
                <a:off x="8478583" y="2694928"/>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310" name="Freeform 695">
                <a:extLst>
                  <a:ext uri="{FF2B5EF4-FFF2-40B4-BE49-F238E27FC236}">
                    <a16:creationId xmlns:a16="http://schemas.microsoft.com/office/drawing/2014/main" id="{42451075-4182-C60F-B944-28A23FE81686}"/>
                  </a:ext>
                </a:extLst>
              </p:cNvPr>
              <p:cNvSpPr/>
              <p:nvPr/>
            </p:nvSpPr>
            <p:spPr>
              <a:xfrm>
                <a:off x="8448018" y="2720222"/>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311" name="Freeform 696">
                <a:extLst>
                  <a:ext uri="{FF2B5EF4-FFF2-40B4-BE49-F238E27FC236}">
                    <a16:creationId xmlns:a16="http://schemas.microsoft.com/office/drawing/2014/main" id="{62637E8F-BB39-8BB0-9704-B58BF7A6A9FA}"/>
                  </a:ext>
                </a:extLst>
              </p:cNvPr>
              <p:cNvSpPr/>
              <p:nvPr/>
            </p:nvSpPr>
            <p:spPr>
              <a:xfrm>
                <a:off x="8485599" y="2694928"/>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312" name="Freeform 697">
                <a:extLst>
                  <a:ext uri="{FF2B5EF4-FFF2-40B4-BE49-F238E27FC236}">
                    <a16:creationId xmlns:a16="http://schemas.microsoft.com/office/drawing/2014/main" id="{96DB749A-0A9C-62CF-A3A4-19F478528721}"/>
                  </a:ext>
                </a:extLst>
              </p:cNvPr>
              <p:cNvSpPr/>
              <p:nvPr/>
            </p:nvSpPr>
            <p:spPr>
              <a:xfrm>
                <a:off x="8455035" y="2720222"/>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313" name="Freeform 698">
                <a:extLst>
                  <a:ext uri="{FF2B5EF4-FFF2-40B4-BE49-F238E27FC236}">
                    <a16:creationId xmlns:a16="http://schemas.microsoft.com/office/drawing/2014/main" id="{C7C71774-D94D-9D66-A957-DB69507C3756}"/>
                  </a:ext>
                </a:extLst>
              </p:cNvPr>
              <p:cNvSpPr/>
              <p:nvPr/>
            </p:nvSpPr>
            <p:spPr>
              <a:xfrm>
                <a:off x="8492616" y="2694928"/>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314" name="Freeform 699">
                <a:extLst>
                  <a:ext uri="{FF2B5EF4-FFF2-40B4-BE49-F238E27FC236}">
                    <a16:creationId xmlns:a16="http://schemas.microsoft.com/office/drawing/2014/main" id="{6B63DC12-7530-EC0B-68C1-2EE5DC3F4AF5}"/>
                  </a:ext>
                </a:extLst>
              </p:cNvPr>
              <p:cNvSpPr/>
              <p:nvPr/>
            </p:nvSpPr>
            <p:spPr>
              <a:xfrm>
                <a:off x="8462052" y="2720222"/>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315" name="Freeform 700">
                <a:extLst>
                  <a:ext uri="{FF2B5EF4-FFF2-40B4-BE49-F238E27FC236}">
                    <a16:creationId xmlns:a16="http://schemas.microsoft.com/office/drawing/2014/main" id="{F5665EE7-020F-DF70-0735-313D1551EF45}"/>
                  </a:ext>
                </a:extLst>
              </p:cNvPr>
              <p:cNvSpPr/>
              <p:nvPr/>
            </p:nvSpPr>
            <p:spPr>
              <a:xfrm>
                <a:off x="8499633" y="2694928"/>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316" name="Freeform 701">
                <a:extLst>
                  <a:ext uri="{FF2B5EF4-FFF2-40B4-BE49-F238E27FC236}">
                    <a16:creationId xmlns:a16="http://schemas.microsoft.com/office/drawing/2014/main" id="{54C87496-27CD-BEEA-FBC8-A49344EA8A19}"/>
                  </a:ext>
                </a:extLst>
              </p:cNvPr>
              <p:cNvSpPr/>
              <p:nvPr/>
            </p:nvSpPr>
            <p:spPr>
              <a:xfrm>
                <a:off x="8462052" y="2720222"/>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317" name="Freeform 702">
                <a:extLst>
                  <a:ext uri="{FF2B5EF4-FFF2-40B4-BE49-F238E27FC236}">
                    <a16:creationId xmlns:a16="http://schemas.microsoft.com/office/drawing/2014/main" id="{75D33B24-6E4A-5898-30BA-5918FBAD546C}"/>
                  </a:ext>
                </a:extLst>
              </p:cNvPr>
              <p:cNvSpPr/>
              <p:nvPr/>
            </p:nvSpPr>
            <p:spPr>
              <a:xfrm>
                <a:off x="8499633" y="2694928"/>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318" name="Freeform 703">
                <a:extLst>
                  <a:ext uri="{FF2B5EF4-FFF2-40B4-BE49-F238E27FC236}">
                    <a16:creationId xmlns:a16="http://schemas.microsoft.com/office/drawing/2014/main" id="{767287F0-FA0B-8916-E468-51A8FFA10EE2}"/>
                  </a:ext>
                </a:extLst>
              </p:cNvPr>
              <p:cNvSpPr/>
              <p:nvPr/>
            </p:nvSpPr>
            <p:spPr>
              <a:xfrm>
                <a:off x="8462052" y="2720222"/>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319" name="Freeform 704">
                <a:extLst>
                  <a:ext uri="{FF2B5EF4-FFF2-40B4-BE49-F238E27FC236}">
                    <a16:creationId xmlns:a16="http://schemas.microsoft.com/office/drawing/2014/main" id="{B25658F6-B244-857B-F024-9803F6F469BE}"/>
                  </a:ext>
                </a:extLst>
              </p:cNvPr>
              <p:cNvSpPr/>
              <p:nvPr/>
            </p:nvSpPr>
            <p:spPr>
              <a:xfrm>
                <a:off x="8499633" y="2694928"/>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320" name="Freeform 705">
                <a:extLst>
                  <a:ext uri="{FF2B5EF4-FFF2-40B4-BE49-F238E27FC236}">
                    <a16:creationId xmlns:a16="http://schemas.microsoft.com/office/drawing/2014/main" id="{D030E614-E172-B304-AB0A-7DFFDE40A53A}"/>
                  </a:ext>
                </a:extLst>
              </p:cNvPr>
              <p:cNvSpPr/>
              <p:nvPr/>
            </p:nvSpPr>
            <p:spPr>
              <a:xfrm>
                <a:off x="8490108" y="2720222"/>
                <a:ext cx="75173" cy="10583"/>
              </a:xfrm>
              <a:custGeom>
                <a:avLst/>
                <a:gdLst>
                  <a:gd name="connsiteX0" fmla="*/ 0 w 75173"/>
                  <a:gd name="connsiteY0" fmla="*/ 0 h 10583"/>
                  <a:gd name="connsiteX1" fmla="*/ 75173 w 75173"/>
                  <a:gd name="connsiteY1" fmla="*/ 0 h 10583"/>
                </a:gdLst>
                <a:ahLst/>
                <a:cxnLst>
                  <a:cxn ang="0">
                    <a:pos x="connsiteX0" y="connsiteY0"/>
                  </a:cxn>
                  <a:cxn ang="0">
                    <a:pos x="connsiteX1" y="connsiteY1"/>
                  </a:cxn>
                </a:cxnLst>
                <a:rect l="l" t="t" r="r" b="b"/>
                <a:pathLst>
                  <a:path w="75173" h="10583">
                    <a:moveTo>
                      <a:pt x="0" y="0"/>
                    </a:moveTo>
                    <a:lnTo>
                      <a:pt x="75173" y="0"/>
                    </a:lnTo>
                  </a:path>
                </a:pathLst>
              </a:custGeom>
              <a:ln w="12700" cap="sq">
                <a:solidFill>
                  <a:srgbClr val="929294"/>
                </a:solidFill>
                <a:prstDash val="solid"/>
                <a:miter/>
              </a:ln>
            </p:spPr>
            <p:txBody>
              <a:bodyPr rtlCol="0" anchor="ctr"/>
              <a:lstStyle/>
              <a:p>
                <a:endParaRPr lang="en-US" sz="1800"/>
              </a:p>
            </p:txBody>
          </p:sp>
          <p:sp>
            <p:nvSpPr>
              <p:cNvPr id="2321" name="Freeform 706">
                <a:extLst>
                  <a:ext uri="{FF2B5EF4-FFF2-40B4-BE49-F238E27FC236}">
                    <a16:creationId xmlns:a16="http://schemas.microsoft.com/office/drawing/2014/main" id="{F0DEAEE3-1D3D-31A4-534C-C6EACA3647D1}"/>
                  </a:ext>
                </a:extLst>
              </p:cNvPr>
              <p:cNvSpPr/>
              <p:nvPr/>
            </p:nvSpPr>
            <p:spPr>
              <a:xfrm>
                <a:off x="8527700" y="2694928"/>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322" name="Freeform 707">
                <a:extLst>
                  <a:ext uri="{FF2B5EF4-FFF2-40B4-BE49-F238E27FC236}">
                    <a16:creationId xmlns:a16="http://schemas.microsoft.com/office/drawing/2014/main" id="{64207644-EC4A-9D13-05C7-6B34DD6D3D46}"/>
                  </a:ext>
                </a:extLst>
              </p:cNvPr>
              <p:cNvSpPr/>
              <p:nvPr/>
            </p:nvSpPr>
            <p:spPr>
              <a:xfrm>
                <a:off x="8490108" y="2720222"/>
                <a:ext cx="75173" cy="10583"/>
              </a:xfrm>
              <a:custGeom>
                <a:avLst/>
                <a:gdLst>
                  <a:gd name="connsiteX0" fmla="*/ 0 w 75173"/>
                  <a:gd name="connsiteY0" fmla="*/ 0 h 10583"/>
                  <a:gd name="connsiteX1" fmla="*/ 75173 w 75173"/>
                  <a:gd name="connsiteY1" fmla="*/ 0 h 10583"/>
                </a:gdLst>
                <a:ahLst/>
                <a:cxnLst>
                  <a:cxn ang="0">
                    <a:pos x="connsiteX0" y="connsiteY0"/>
                  </a:cxn>
                  <a:cxn ang="0">
                    <a:pos x="connsiteX1" y="connsiteY1"/>
                  </a:cxn>
                </a:cxnLst>
                <a:rect l="l" t="t" r="r" b="b"/>
                <a:pathLst>
                  <a:path w="75173" h="10583">
                    <a:moveTo>
                      <a:pt x="0" y="0"/>
                    </a:moveTo>
                    <a:lnTo>
                      <a:pt x="75173" y="0"/>
                    </a:lnTo>
                  </a:path>
                </a:pathLst>
              </a:custGeom>
              <a:ln w="12700" cap="sq">
                <a:solidFill>
                  <a:srgbClr val="929294"/>
                </a:solidFill>
                <a:prstDash val="solid"/>
                <a:miter/>
              </a:ln>
            </p:spPr>
            <p:txBody>
              <a:bodyPr rtlCol="0" anchor="ctr"/>
              <a:lstStyle/>
              <a:p>
                <a:endParaRPr lang="en-US" sz="1800"/>
              </a:p>
            </p:txBody>
          </p:sp>
          <p:sp>
            <p:nvSpPr>
              <p:cNvPr id="2323" name="Freeform 708">
                <a:extLst>
                  <a:ext uri="{FF2B5EF4-FFF2-40B4-BE49-F238E27FC236}">
                    <a16:creationId xmlns:a16="http://schemas.microsoft.com/office/drawing/2014/main" id="{82D3911F-7F11-0463-6903-235B13314B85}"/>
                  </a:ext>
                </a:extLst>
              </p:cNvPr>
              <p:cNvSpPr/>
              <p:nvPr/>
            </p:nvSpPr>
            <p:spPr>
              <a:xfrm>
                <a:off x="8527700" y="2694928"/>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324" name="Freeform 709">
                <a:extLst>
                  <a:ext uri="{FF2B5EF4-FFF2-40B4-BE49-F238E27FC236}">
                    <a16:creationId xmlns:a16="http://schemas.microsoft.com/office/drawing/2014/main" id="{B68EDC94-B880-E8E1-ABB6-9C58DA2FF2F9}"/>
                  </a:ext>
                </a:extLst>
              </p:cNvPr>
              <p:cNvSpPr/>
              <p:nvPr/>
            </p:nvSpPr>
            <p:spPr>
              <a:xfrm>
                <a:off x="8504141" y="2720222"/>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325" name="Freeform 710">
                <a:extLst>
                  <a:ext uri="{FF2B5EF4-FFF2-40B4-BE49-F238E27FC236}">
                    <a16:creationId xmlns:a16="http://schemas.microsoft.com/office/drawing/2014/main" id="{FDA56D38-5037-2EB6-F1AC-7B9E86D4C67E}"/>
                  </a:ext>
                </a:extLst>
              </p:cNvPr>
              <p:cNvSpPr/>
              <p:nvPr/>
            </p:nvSpPr>
            <p:spPr>
              <a:xfrm>
                <a:off x="8541723" y="2694928"/>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326" name="Freeform 711">
                <a:extLst>
                  <a:ext uri="{FF2B5EF4-FFF2-40B4-BE49-F238E27FC236}">
                    <a16:creationId xmlns:a16="http://schemas.microsoft.com/office/drawing/2014/main" id="{ABFE88B8-0F49-FB83-31F5-2BFC356AB0CC}"/>
                  </a:ext>
                </a:extLst>
              </p:cNvPr>
              <p:cNvSpPr/>
              <p:nvPr/>
            </p:nvSpPr>
            <p:spPr>
              <a:xfrm>
                <a:off x="8525192" y="2720222"/>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327" name="Freeform 712">
                <a:extLst>
                  <a:ext uri="{FF2B5EF4-FFF2-40B4-BE49-F238E27FC236}">
                    <a16:creationId xmlns:a16="http://schemas.microsoft.com/office/drawing/2014/main" id="{3162B0E1-6D6E-B9B8-8CB2-6F6B8F3D1195}"/>
                  </a:ext>
                </a:extLst>
              </p:cNvPr>
              <p:cNvSpPr/>
              <p:nvPr/>
            </p:nvSpPr>
            <p:spPr>
              <a:xfrm>
                <a:off x="8562773" y="2694928"/>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328" name="Freeform 713">
                <a:extLst>
                  <a:ext uri="{FF2B5EF4-FFF2-40B4-BE49-F238E27FC236}">
                    <a16:creationId xmlns:a16="http://schemas.microsoft.com/office/drawing/2014/main" id="{07E28FCE-597F-0CDC-E0F9-1AE52B573BCB}"/>
                  </a:ext>
                </a:extLst>
              </p:cNvPr>
              <p:cNvSpPr/>
              <p:nvPr/>
            </p:nvSpPr>
            <p:spPr>
              <a:xfrm>
                <a:off x="8581315" y="2720222"/>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329" name="Freeform 714">
                <a:extLst>
                  <a:ext uri="{FF2B5EF4-FFF2-40B4-BE49-F238E27FC236}">
                    <a16:creationId xmlns:a16="http://schemas.microsoft.com/office/drawing/2014/main" id="{F53F37BA-6E0D-54C2-E132-2A804FD8C755}"/>
                  </a:ext>
                </a:extLst>
              </p:cNvPr>
              <p:cNvSpPr/>
              <p:nvPr/>
            </p:nvSpPr>
            <p:spPr>
              <a:xfrm>
                <a:off x="8618897" y="2694928"/>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330" name="Freeform 715">
                <a:extLst>
                  <a:ext uri="{FF2B5EF4-FFF2-40B4-BE49-F238E27FC236}">
                    <a16:creationId xmlns:a16="http://schemas.microsoft.com/office/drawing/2014/main" id="{91D2B46F-0939-8470-3982-1EE2432C7CE1}"/>
                  </a:ext>
                </a:extLst>
              </p:cNvPr>
              <p:cNvSpPr/>
              <p:nvPr/>
            </p:nvSpPr>
            <p:spPr>
              <a:xfrm>
                <a:off x="8651461" y="2720222"/>
                <a:ext cx="75173" cy="10583"/>
              </a:xfrm>
              <a:custGeom>
                <a:avLst/>
                <a:gdLst>
                  <a:gd name="connsiteX0" fmla="*/ 0 w 75173"/>
                  <a:gd name="connsiteY0" fmla="*/ 0 h 10583"/>
                  <a:gd name="connsiteX1" fmla="*/ 75174 w 75173"/>
                  <a:gd name="connsiteY1" fmla="*/ 0 h 10583"/>
                </a:gdLst>
                <a:ahLst/>
                <a:cxnLst>
                  <a:cxn ang="0">
                    <a:pos x="connsiteX0" y="connsiteY0"/>
                  </a:cxn>
                  <a:cxn ang="0">
                    <a:pos x="connsiteX1" y="connsiteY1"/>
                  </a:cxn>
                </a:cxnLst>
                <a:rect l="l" t="t" r="r" b="b"/>
                <a:pathLst>
                  <a:path w="75173" h="10583">
                    <a:moveTo>
                      <a:pt x="0" y="0"/>
                    </a:moveTo>
                    <a:lnTo>
                      <a:pt x="75174" y="0"/>
                    </a:lnTo>
                  </a:path>
                </a:pathLst>
              </a:custGeom>
              <a:ln w="12700" cap="sq">
                <a:solidFill>
                  <a:srgbClr val="929294"/>
                </a:solidFill>
                <a:prstDash val="solid"/>
                <a:miter/>
              </a:ln>
            </p:spPr>
            <p:txBody>
              <a:bodyPr rtlCol="0" anchor="ctr"/>
              <a:lstStyle/>
              <a:p>
                <a:endParaRPr lang="en-US" sz="1800"/>
              </a:p>
            </p:txBody>
          </p:sp>
          <p:sp>
            <p:nvSpPr>
              <p:cNvPr id="2331" name="Freeform 716">
                <a:extLst>
                  <a:ext uri="{FF2B5EF4-FFF2-40B4-BE49-F238E27FC236}">
                    <a16:creationId xmlns:a16="http://schemas.microsoft.com/office/drawing/2014/main" id="{2B403661-9A7C-E53A-2F79-BB3FA27D9456}"/>
                  </a:ext>
                </a:extLst>
              </p:cNvPr>
              <p:cNvSpPr/>
              <p:nvPr/>
            </p:nvSpPr>
            <p:spPr>
              <a:xfrm>
                <a:off x="8689053" y="2694928"/>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332" name="Freeform 717">
                <a:extLst>
                  <a:ext uri="{FF2B5EF4-FFF2-40B4-BE49-F238E27FC236}">
                    <a16:creationId xmlns:a16="http://schemas.microsoft.com/office/drawing/2014/main" id="{A4A8471D-1679-68D8-80A4-604223293D52}"/>
                  </a:ext>
                </a:extLst>
              </p:cNvPr>
              <p:cNvSpPr/>
              <p:nvPr/>
            </p:nvSpPr>
            <p:spPr>
              <a:xfrm>
                <a:off x="8700579" y="2720222"/>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333" name="Freeform 718">
                <a:extLst>
                  <a:ext uri="{FF2B5EF4-FFF2-40B4-BE49-F238E27FC236}">
                    <a16:creationId xmlns:a16="http://schemas.microsoft.com/office/drawing/2014/main" id="{5CB89289-3808-8086-A373-7BBA28A00874}"/>
                  </a:ext>
                </a:extLst>
              </p:cNvPr>
              <p:cNvSpPr/>
              <p:nvPr/>
            </p:nvSpPr>
            <p:spPr>
              <a:xfrm>
                <a:off x="8738160" y="2694928"/>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334" name="Freeform 719">
                <a:extLst>
                  <a:ext uri="{FF2B5EF4-FFF2-40B4-BE49-F238E27FC236}">
                    <a16:creationId xmlns:a16="http://schemas.microsoft.com/office/drawing/2014/main" id="{5E1667C0-56C7-B348-AADC-F3BD26035E3B}"/>
                  </a:ext>
                </a:extLst>
              </p:cNvPr>
              <p:cNvSpPr/>
              <p:nvPr/>
            </p:nvSpPr>
            <p:spPr>
              <a:xfrm>
                <a:off x="8749685" y="2771837"/>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335" name="Freeform 720">
                <a:extLst>
                  <a:ext uri="{FF2B5EF4-FFF2-40B4-BE49-F238E27FC236}">
                    <a16:creationId xmlns:a16="http://schemas.microsoft.com/office/drawing/2014/main" id="{EA244361-F889-6B8D-CB09-9DC2D70F4725}"/>
                  </a:ext>
                </a:extLst>
              </p:cNvPr>
              <p:cNvSpPr/>
              <p:nvPr/>
            </p:nvSpPr>
            <p:spPr>
              <a:xfrm>
                <a:off x="8787267" y="2746543"/>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929294"/>
                </a:solidFill>
                <a:prstDash val="solid"/>
                <a:miter/>
              </a:ln>
            </p:spPr>
            <p:txBody>
              <a:bodyPr rtlCol="0" anchor="ctr"/>
              <a:lstStyle/>
              <a:p>
                <a:endParaRPr lang="en-US" sz="1800"/>
              </a:p>
            </p:txBody>
          </p:sp>
          <p:sp>
            <p:nvSpPr>
              <p:cNvPr id="2336" name="Freeform 721">
                <a:extLst>
                  <a:ext uri="{FF2B5EF4-FFF2-40B4-BE49-F238E27FC236}">
                    <a16:creationId xmlns:a16="http://schemas.microsoft.com/office/drawing/2014/main" id="{09C8AF38-A762-99D0-03B9-B8ADE5F07D3B}"/>
                  </a:ext>
                </a:extLst>
              </p:cNvPr>
              <p:cNvSpPr/>
              <p:nvPr/>
            </p:nvSpPr>
            <p:spPr>
              <a:xfrm>
                <a:off x="8791775" y="2771837"/>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337" name="Freeform 722">
                <a:extLst>
                  <a:ext uri="{FF2B5EF4-FFF2-40B4-BE49-F238E27FC236}">
                    <a16:creationId xmlns:a16="http://schemas.microsoft.com/office/drawing/2014/main" id="{FE22C140-86BC-911C-3CEA-1329EEC93232}"/>
                  </a:ext>
                </a:extLst>
              </p:cNvPr>
              <p:cNvSpPr/>
              <p:nvPr/>
            </p:nvSpPr>
            <p:spPr>
              <a:xfrm>
                <a:off x="8829357" y="2746543"/>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929294"/>
                </a:solidFill>
                <a:prstDash val="solid"/>
                <a:miter/>
              </a:ln>
            </p:spPr>
            <p:txBody>
              <a:bodyPr rtlCol="0" anchor="ctr"/>
              <a:lstStyle/>
              <a:p>
                <a:endParaRPr lang="en-US" sz="1800"/>
              </a:p>
            </p:txBody>
          </p:sp>
          <p:sp>
            <p:nvSpPr>
              <p:cNvPr id="2338" name="Freeform 723">
                <a:extLst>
                  <a:ext uri="{FF2B5EF4-FFF2-40B4-BE49-F238E27FC236}">
                    <a16:creationId xmlns:a16="http://schemas.microsoft.com/office/drawing/2014/main" id="{5AEAA277-F298-F3AA-A40A-5D9FD26D142B}"/>
                  </a:ext>
                </a:extLst>
              </p:cNvPr>
              <p:cNvSpPr/>
              <p:nvPr/>
            </p:nvSpPr>
            <p:spPr>
              <a:xfrm>
                <a:off x="8946112" y="2771837"/>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339" name="Freeform 724">
                <a:extLst>
                  <a:ext uri="{FF2B5EF4-FFF2-40B4-BE49-F238E27FC236}">
                    <a16:creationId xmlns:a16="http://schemas.microsoft.com/office/drawing/2014/main" id="{815BA303-80F8-BCF9-B51B-3859D672008E}"/>
                  </a:ext>
                </a:extLst>
              </p:cNvPr>
              <p:cNvSpPr/>
              <p:nvPr/>
            </p:nvSpPr>
            <p:spPr>
              <a:xfrm>
                <a:off x="8983693" y="2746543"/>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929294"/>
                </a:solidFill>
                <a:prstDash val="solid"/>
                <a:miter/>
              </a:ln>
            </p:spPr>
            <p:txBody>
              <a:bodyPr rtlCol="0" anchor="ctr"/>
              <a:lstStyle/>
              <a:p>
                <a:endParaRPr lang="en-US" sz="1800"/>
              </a:p>
            </p:txBody>
          </p:sp>
          <p:sp>
            <p:nvSpPr>
              <p:cNvPr id="2340" name="Freeform 725">
                <a:extLst>
                  <a:ext uri="{FF2B5EF4-FFF2-40B4-BE49-F238E27FC236}">
                    <a16:creationId xmlns:a16="http://schemas.microsoft.com/office/drawing/2014/main" id="{BBA77778-CEB9-B4A7-79EC-4666D6CC81DB}"/>
                  </a:ext>
                </a:extLst>
              </p:cNvPr>
              <p:cNvSpPr/>
              <p:nvPr/>
            </p:nvSpPr>
            <p:spPr>
              <a:xfrm>
                <a:off x="8967162" y="2771837"/>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341" name="Freeform 726">
                <a:extLst>
                  <a:ext uri="{FF2B5EF4-FFF2-40B4-BE49-F238E27FC236}">
                    <a16:creationId xmlns:a16="http://schemas.microsoft.com/office/drawing/2014/main" id="{0745D784-0D76-2981-D831-1D08603B4823}"/>
                  </a:ext>
                </a:extLst>
              </p:cNvPr>
              <p:cNvSpPr/>
              <p:nvPr/>
            </p:nvSpPr>
            <p:spPr>
              <a:xfrm>
                <a:off x="9004744" y="2746543"/>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929294"/>
                </a:solidFill>
                <a:prstDash val="solid"/>
                <a:miter/>
              </a:ln>
            </p:spPr>
            <p:txBody>
              <a:bodyPr rtlCol="0" anchor="ctr"/>
              <a:lstStyle/>
              <a:p>
                <a:endParaRPr lang="en-US" sz="1800"/>
              </a:p>
            </p:txBody>
          </p:sp>
          <p:sp>
            <p:nvSpPr>
              <p:cNvPr id="2342" name="Freeform 727">
                <a:extLst>
                  <a:ext uri="{FF2B5EF4-FFF2-40B4-BE49-F238E27FC236}">
                    <a16:creationId xmlns:a16="http://schemas.microsoft.com/office/drawing/2014/main" id="{68C9551C-1BE6-C886-B749-FF18AE41B207}"/>
                  </a:ext>
                </a:extLst>
              </p:cNvPr>
              <p:cNvSpPr/>
              <p:nvPr/>
            </p:nvSpPr>
            <p:spPr>
              <a:xfrm>
                <a:off x="8981185" y="2771837"/>
                <a:ext cx="75173" cy="10583"/>
              </a:xfrm>
              <a:custGeom>
                <a:avLst/>
                <a:gdLst>
                  <a:gd name="connsiteX0" fmla="*/ 0 w 75173"/>
                  <a:gd name="connsiteY0" fmla="*/ 0 h 10583"/>
                  <a:gd name="connsiteX1" fmla="*/ 75173 w 75173"/>
                  <a:gd name="connsiteY1" fmla="*/ 0 h 10583"/>
                </a:gdLst>
                <a:ahLst/>
                <a:cxnLst>
                  <a:cxn ang="0">
                    <a:pos x="connsiteX0" y="connsiteY0"/>
                  </a:cxn>
                  <a:cxn ang="0">
                    <a:pos x="connsiteX1" y="connsiteY1"/>
                  </a:cxn>
                </a:cxnLst>
                <a:rect l="l" t="t" r="r" b="b"/>
                <a:pathLst>
                  <a:path w="75173" h="10583">
                    <a:moveTo>
                      <a:pt x="0" y="0"/>
                    </a:moveTo>
                    <a:lnTo>
                      <a:pt x="75173" y="0"/>
                    </a:lnTo>
                  </a:path>
                </a:pathLst>
              </a:custGeom>
              <a:ln w="12700" cap="sq">
                <a:solidFill>
                  <a:srgbClr val="929294"/>
                </a:solidFill>
                <a:prstDash val="solid"/>
                <a:miter/>
              </a:ln>
            </p:spPr>
            <p:txBody>
              <a:bodyPr rtlCol="0" anchor="ctr"/>
              <a:lstStyle/>
              <a:p>
                <a:endParaRPr lang="en-US" sz="1800"/>
              </a:p>
            </p:txBody>
          </p:sp>
          <p:sp>
            <p:nvSpPr>
              <p:cNvPr id="2343" name="Freeform 728">
                <a:extLst>
                  <a:ext uri="{FF2B5EF4-FFF2-40B4-BE49-F238E27FC236}">
                    <a16:creationId xmlns:a16="http://schemas.microsoft.com/office/drawing/2014/main" id="{81B46141-7E45-2FDB-4322-4B21C504D782}"/>
                  </a:ext>
                </a:extLst>
              </p:cNvPr>
              <p:cNvSpPr/>
              <p:nvPr/>
            </p:nvSpPr>
            <p:spPr>
              <a:xfrm>
                <a:off x="9018767" y="2746543"/>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929294"/>
                </a:solidFill>
                <a:prstDash val="solid"/>
                <a:miter/>
              </a:ln>
            </p:spPr>
            <p:txBody>
              <a:bodyPr rtlCol="0" anchor="ctr"/>
              <a:lstStyle/>
              <a:p>
                <a:endParaRPr lang="en-US" sz="1800"/>
              </a:p>
            </p:txBody>
          </p:sp>
          <p:sp>
            <p:nvSpPr>
              <p:cNvPr id="2344" name="Freeform 729">
                <a:extLst>
                  <a:ext uri="{FF2B5EF4-FFF2-40B4-BE49-F238E27FC236}">
                    <a16:creationId xmlns:a16="http://schemas.microsoft.com/office/drawing/2014/main" id="{4AD16197-CE5A-D860-BFE8-779D3531A230}"/>
                  </a:ext>
                </a:extLst>
              </p:cNvPr>
              <p:cNvSpPr/>
              <p:nvPr/>
            </p:nvSpPr>
            <p:spPr>
              <a:xfrm>
                <a:off x="8988202" y="2771837"/>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345" name="Freeform 730">
                <a:extLst>
                  <a:ext uri="{FF2B5EF4-FFF2-40B4-BE49-F238E27FC236}">
                    <a16:creationId xmlns:a16="http://schemas.microsoft.com/office/drawing/2014/main" id="{12EA8874-80A8-94A3-5A37-C383FBA48AD9}"/>
                  </a:ext>
                </a:extLst>
              </p:cNvPr>
              <p:cNvSpPr/>
              <p:nvPr/>
            </p:nvSpPr>
            <p:spPr>
              <a:xfrm>
                <a:off x="9025783" y="2746543"/>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929294"/>
                </a:solidFill>
                <a:prstDash val="solid"/>
                <a:miter/>
              </a:ln>
            </p:spPr>
            <p:txBody>
              <a:bodyPr rtlCol="0" anchor="ctr"/>
              <a:lstStyle/>
              <a:p>
                <a:endParaRPr lang="en-US" sz="1800"/>
              </a:p>
            </p:txBody>
          </p:sp>
          <p:sp>
            <p:nvSpPr>
              <p:cNvPr id="2346" name="Freeform 731">
                <a:extLst>
                  <a:ext uri="{FF2B5EF4-FFF2-40B4-BE49-F238E27FC236}">
                    <a16:creationId xmlns:a16="http://schemas.microsoft.com/office/drawing/2014/main" id="{98CA1C4A-C184-2367-CB7D-B25274D56890}"/>
                  </a:ext>
                </a:extLst>
              </p:cNvPr>
              <p:cNvSpPr/>
              <p:nvPr/>
            </p:nvSpPr>
            <p:spPr>
              <a:xfrm>
                <a:off x="9002235" y="2771837"/>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347" name="Freeform 732">
                <a:extLst>
                  <a:ext uri="{FF2B5EF4-FFF2-40B4-BE49-F238E27FC236}">
                    <a16:creationId xmlns:a16="http://schemas.microsoft.com/office/drawing/2014/main" id="{7BBC283E-0111-1E46-0C28-7734B83EDF39}"/>
                  </a:ext>
                </a:extLst>
              </p:cNvPr>
              <p:cNvSpPr/>
              <p:nvPr/>
            </p:nvSpPr>
            <p:spPr>
              <a:xfrm>
                <a:off x="9039817" y="2746543"/>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929294"/>
                </a:solidFill>
                <a:prstDash val="solid"/>
                <a:miter/>
              </a:ln>
            </p:spPr>
            <p:txBody>
              <a:bodyPr rtlCol="0" anchor="ctr"/>
              <a:lstStyle/>
              <a:p>
                <a:endParaRPr lang="en-US" sz="1800"/>
              </a:p>
            </p:txBody>
          </p:sp>
          <p:sp>
            <p:nvSpPr>
              <p:cNvPr id="2348" name="Freeform 733">
                <a:extLst>
                  <a:ext uri="{FF2B5EF4-FFF2-40B4-BE49-F238E27FC236}">
                    <a16:creationId xmlns:a16="http://schemas.microsoft.com/office/drawing/2014/main" id="{62BCEB4B-DE91-E594-C753-C3C9C7AF0847}"/>
                  </a:ext>
                </a:extLst>
              </p:cNvPr>
              <p:cNvSpPr/>
              <p:nvPr/>
            </p:nvSpPr>
            <p:spPr>
              <a:xfrm>
                <a:off x="9002235" y="2771837"/>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349" name="Freeform 734">
                <a:extLst>
                  <a:ext uri="{FF2B5EF4-FFF2-40B4-BE49-F238E27FC236}">
                    <a16:creationId xmlns:a16="http://schemas.microsoft.com/office/drawing/2014/main" id="{B01F4959-3A5B-0555-6B79-22A20B1961D6}"/>
                  </a:ext>
                </a:extLst>
              </p:cNvPr>
              <p:cNvSpPr/>
              <p:nvPr/>
            </p:nvSpPr>
            <p:spPr>
              <a:xfrm>
                <a:off x="9039817" y="2746543"/>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929294"/>
                </a:solidFill>
                <a:prstDash val="solid"/>
                <a:miter/>
              </a:ln>
            </p:spPr>
            <p:txBody>
              <a:bodyPr rtlCol="0" anchor="ctr"/>
              <a:lstStyle/>
              <a:p>
                <a:endParaRPr lang="en-US" sz="1800"/>
              </a:p>
            </p:txBody>
          </p:sp>
          <p:sp>
            <p:nvSpPr>
              <p:cNvPr id="2350" name="Freeform 735">
                <a:extLst>
                  <a:ext uri="{FF2B5EF4-FFF2-40B4-BE49-F238E27FC236}">
                    <a16:creationId xmlns:a16="http://schemas.microsoft.com/office/drawing/2014/main" id="{FAC77765-A65E-66EE-E5CA-01F5259EAB35}"/>
                  </a:ext>
                </a:extLst>
              </p:cNvPr>
              <p:cNvSpPr/>
              <p:nvPr/>
            </p:nvSpPr>
            <p:spPr>
              <a:xfrm>
                <a:off x="9072392" y="2836375"/>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351" name="Freeform 736">
                <a:extLst>
                  <a:ext uri="{FF2B5EF4-FFF2-40B4-BE49-F238E27FC236}">
                    <a16:creationId xmlns:a16="http://schemas.microsoft.com/office/drawing/2014/main" id="{4FB625E3-7E81-6200-4DA2-D67C79CDA9F9}"/>
                  </a:ext>
                </a:extLst>
              </p:cNvPr>
              <p:cNvSpPr/>
              <p:nvPr/>
            </p:nvSpPr>
            <p:spPr>
              <a:xfrm>
                <a:off x="9109974" y="281108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352" name="Freeform 737">
                <a:extLst>
                  <a:ext uri="{FF2B5EF4-FFF2-40B4-BE49-F238E27FC236}">
                    <a16:creationId xmlns:a16="http://schemas.microsoft.com/office/drawing/2014/main" id="{87C07F21-B404-CC55-2335-CE1BEA8CEC82}"/>
                  </a:ext>
                </a:extLst>
              </p:cNvPr>
              <p:cNvSpPr/>
              <p:nvPr/>
            </p:nvSpPr>
            <p:spPr>
              <a:xfrm>
                <a:off x="9093432" y="2836375"/>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353" name="Freeform 738">
                <a:extLst>
                  <a:ext uri="{FF2B5EF4-FFF2-40B4-BE49-F238E27FC236}">
                    <a16:creationId xmlns:a16="http://schemas.microsoft.com/office/drawing/2014/main" id="{788AD15A-0614-F8B8-E583-BAC7C9FA4625}"/>
                  </a:ext>
                </a:extLst>
              </p:cNvPr>
              <p:cNvSpPr/>
              <p:nvPr/>
            </p:nvSpPr>
            <p:spPr>
              <a:xfrm>
                <a:off x="9131013" y="281108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354" name="Freeform 739">
                <a:extLst>
                  <a:ext uri="{FF2B5EF4-FFF2-40B4-BE49-F238E27FC236}">
                    <a16:creationId xmlns:a16="http://schemas.microsoft.com/office/drawing/2014/main" id="{97C1CE30-04FE-420B-F77D-90823855CA13}"/>
                  </a:ext>
                </a:extLst>
              </p:cNvPr>
              <p:cNvSpPr/>
              <p:nvPr/>
            </p:nvSpPr>
            <p:spPr>
              <a:xfrm>
                <a:off x="9121499" y="2836375"/>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355" name="Freeform 740">
                <a:extLst>
                  <a:ext uri="{FF2B5EF4-FFF2-40B4-BE49-F238E27FC236}">
                    <a16:creationId xmlns:a16="http://schemas.microsoft.com/office/drawing/2014/main" id="{C43747E3-FC14-2CAE-E115-FFACC46F68BE}"/>
                  </a:ext>
                </a:extLst>
              </p:cNvPr>
              <p:cNvSpPr/>
              <p:nvPr/>
            </p:nvSpPr>
            <p:spPr>
              <a:xfrm>
                <a:off x="9159081" y="281108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356" name="Freeform 741">
                <a:extLst>
                  <a:ext uri="{FF2B5EF4-FFF2-40B4-BE49-F238E27FC236}">
                    <a16:creationId xmlns:a16="http://schemas.microsoft.com/office/drawing/2014/main" id="{62B49A87-05FE-1865-7F0F-D72EBA0406D4}"/>
                  </a:ext>
                </a:extLst>
              </p:cNvPr>
              <p:cNvSpPr/>
              <p:nvPr/>
            </p:nvSpPr>
            <p:spPr>
              <a:xfrm>
                <a:off x="9121499" y="2836375"/>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357" name="Freeform 742">
                <a:extLst>
                  <a:ext uri="{FF2B5EF4-FFF2-40B4-BE49-F238E27FC236}">
                    <a16:creationId xmlns:a16="http://schemas.microsoft.com/office/drawing/2014/main" id="{E2EC3931-91B6-D0B2-3327-41D1022BD8D9}"/>
                  </a:ext>
                </a:extLst>
              </p:cNvPr>
              <p:cNvSpPr/>
              <p:nvPr/>
            </p:nvSpPr>
            <p:spPr>
              <a:xfrm>
                <a:off x="9159081" y="281108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358" name="Freeform 743">
                <a:extLst>
                  <a:ext uri="{FF2B5EF4-FFF2-40B4-BE49-F238E27FC236}">
                    <a16:creationId xmlns:a16="http://schemas.microsoft.com/office/drawing/2014/main" id="{3F665803-EC28-6407-D35E-80CAEA679DAE}"/>
                  </a:ext>
                </a:extLst>
              </p:cNvPr>
              <p:cNvSpPr/>
              <p:nvPr/>
            </p:nvSpPr>
            <p:spPr>
              <a:xfrm>
                <a:off x="9191656" y="2836375"/>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359" name="Freeform 744">
                <a:extLst>
                  <a:ext uri="{FF2B5EF4-FFF2-40B4-BE49-F238E27FC236}">
                    <a16:creationId xmlns:a16="http://schemas.microsoft.com/office/drawing/2014/main" id="{7AAB97C8-0062-ECE2-1A0E-BF440E68C4E8}"/>
                  </a:ext>
                </a:extLst>
              </p:cNvPr>
              <p:cNvSpPr/>
              <p:nvPr/>
            </p:nvSpPr>
            <p:spPr>
              <a:xfrm>
                <a:off x="9229237" y="281108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360" name="Freeform 745">
                <a:extLst>
                  <a:ext uri="{FF2B5EF4-FFF2-40B4-BE49-F238E27FC236}">
                    <a16:creationId xmlns:a16="http://schemas.microsoft.com/office/drawing/2014/main" id="{B3364C09-5EF5-6F94-5A89-AA5236EEDD3C}"/>
                  </a:ext>
                </a:extLst>
              </p:cNvPr>
              <p:cNvSpPr/>
              <p:nvPr/>
            </p:nvSpPr>
            <p:spPr>
              <a:xfrm>
                <a:off x="9212696" y="2836375"/>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361" name="Freeform 746">
                <a:extLst>
                  <a:ext uri="{FF2B5EF4-FFF2-40B4-BE49-F238E27FC236}">
                    <a16:creationId xmlns:a16="http://schemas.microsoft.com/office/drawing/2014/main" id="{354DDD67-CFFD-4C5C-FA90-92AA8221FEAF}"/>
                  </a:ext>
                </a:extLst>
              </p:cNvPr>
              <p:cNvSpPr/>
              <p:nvPr/>
            </p:nvSpPr>
            <p:spPr>
              <a:xfrm>
                <a:off x="9250277" y="281108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362" name="Freeform 747">
                <a:extLst>
                  <a:ext uri="{FF2B5EF4-FFF2-40B4-BE49-F238E27FC236}">
                    <a16:creationId xmlns:a16="http://schemas.microsoft.com/office/drawing/2014/main" id="{8510AD17-EEAF-A091-98D4-56192712A354}"/>
                  </a:ext>
                </a:extLst>
              </p:cNvPr>
              <p:cNvSpPr/>
              <p:nvPr/>
            </p:nvSpPr>
            <p:spPr>
              <a:xfrm>
                <a:off x="9240763" y="2836375"/>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363" name="Freeform 748">
                <a:extLst>
                  <a:ext uri="{FF2B5EF4-FFF2-40B4-BE49-F238E27FC236}">
                    <a16:creationId xmlns:a16="http://schemas.microsoft.com/office/drawing/2014/main" id="{0D55A672-BDE3-5C73-2F40-4C7611157036}"/>
                  </a:ext>
                </a:extLst>
              </p:cNvPr>
              <p:cNvSpPr/>
              <p:nvPr/>
            </p:nvSpPr>
            <p:spPr>
              <a:xfrm>
                <a:off x="9278344" y="281108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364" name="Freeform 749">
                <a:extLst>
                  <a:ext uri="{FF2B5EF4-FFF2-40B4-BE49-F238E27FC236}">
                    <a16:creationId xmlns:a16="http://schemas.microsoft.com/office/drawing/2014/main" id="{B7CB3D69-28A2-793E-5436-9981C8077758}"/>
                  </a:ext>
                </a:extLst>
              </p:cNvPr>
              <p:cNvSpPr/>
              <p:nvPr/>
            </p:nvSpPr>
            <p:spPr>
              <a:xfrm>
                <a:off x="9317926" y="2836375"/>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365" name="Freeform 750">
                <a:extLst>
                  <a:ext uri="{FF2B5EF4-FFF2-40B4-BE49-F238E27FC236}">
                    <a16:creationId xmlns:a16="http://schemas.microsoft.com/office/drawing/2014/main" id="{F9F0772C-7F17-C38A-4FE5-5BF08E99A19E}"/>
                  </a:ext>
                </a:extLst>
              </p:cNvPr>
              <p:cNvSpPr/>
              <p:nvPr/>
            </p:nvSpPr>
            <p:spPr>
              <a:xfrm>
                <a:off x="9355507" y="281108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366" name="Freeform 751">
                <a:extLst>
                  <a:ext uri="{FF2B5EF4-FFF2-40B4-BE49-F238E27FC236}">
                    <a16:creationId xmlns:a16="http://schemas.microsoft.com/office/drawing/2014/main" id="{52C54892-D554-7CF8-4F75-065CC204B743}"/>
                  </a:ext>
                </a:extLst>
              </p:cNvPr>
              <p:cNvSpPr/>
              <p:nvPr/>
            </p:nvSpPr>
            <p:spPr>
              <a:xfrm>
                <a:off x="9324943" y="2836375"/>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367" name="Freeform 752">
                <a:extLst>
                  <a:ext uri="{FF2B5EF4-FFF2-40B4-BE49-F238E27FC236}">
                    <a16:creationId xmlns:a16="http://schemas.microsoft.com/office/drawing/2014/main" id="{22589480-8ABD-D618-7620-1DC962D4F23C}"/>
                  </a:ext>
                </a:extLst>
              </p:cNvPr>
              <p:cNvSpPr/>
              <p:nvPr/>
            </p:nvSpPr>
            <p:spPr>
              <a:xfrm>
                <a:off x="9362524" y="281108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368" name="Freeform 753">
                <a:extLst>
                  <a:ext uri="{FF2B5EF4-FFF2-40B4-BE49-F238E27FC236}">
                    <a16:creationId xmlns:a16="http://schemas.microsoft.com/office/drawing/2014/main" id="{174B587C-FBFD-A68D-B999-5E037EFDD3AE}"/>
                  </a:ext>
                </a:extLst>
              </p:cNvPr>
              <p:cNvSpPr/>
              <p:nvPr/>
            </p:nvSpPr>
            <p:spPr>
              <a:xfrm>
                <a:off x="9331959" y="2836375"/>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369" name="Freeform 754">
                <a:extLst>
                  <a:ext uri="{FF2B5EF4-FFF2-40B4-BE49-F238E27FC236}">
                    <a16:creationId xmlns:a16="http://schemas.microsoft.com/office/drawing/2014/main" id="{5B6F5B6C-3759-EB5D-42CF-370110999851}"/>
                  </a:ext>
                </a:extLst>
              </p:cNvPr>
              <p:cNvSpPr/>
              <p:nvPr/>
            </p:nvSpPr>
            <p:spPr>
              <a:xfrm>
                <a:off x="9369541" y="281108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370" name="Freeform 755">
                <a:extLst>
                  <a:ext uri="{FF2B5EF4-FFF2-40B4-BE49-F238E27FC236}">
                    <a16:creationId xmlns:a16="http://schemas.microsoft.com/office/drawing/2014/main" id="{EAC6B32F-2F57-D31B-9BE7-0F9A87D924E6}"/>
                  </a:ext>
                </a:extLst>
              </p:cNvPr>
              <p:cNvSpPr/>
              <p:nvPr/>
            </p:nvSpPr>
            <p:spPr>
              <a:xfrm>
                <a:off x="9345993" y="2836375"/>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371" name="Freeform 756">
                <a:extLst>
                  <a:ext uri="{FF2B5EF4-FFF2-40B4-BE49-F238E27FC236}">
                    <a16:creationId xmlns:a16="http://schemas.microsoft.com/office/drawing/2014/main" id="{EF933053-02DE-F96C-10FF-E5FD90815735}"/>
                  </a:ext>
                </a:extLst>
              </p:cNvPr>
              <p:cNvSpPr/>
              <p:nvPr/>
            </p:nvSpPr>
            <p:spPr>
              <a:xfrm>
                <a:off x="9383574" y="281108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372" name="Freeform 757">
                <a:extLst>
                  <a:ext uri="{FF2B5EF4-FFF2-40B4-BE49-F238E27FC236}">
                    <a16:creationId xmlns:a16="http://schemas.microsoft.com/office/drawing/2014/main" id="{67B00185-1E7D-B9EE-A8E3-4B1634902727}"/>
                  </a:ext>
                </a:extLst>
              </p:cNvPr>
              <p:cNvSpPr/>
              <p:nvPr/>
            </p:nvSpPr>
            <p:spPr>
              <a:xfrm>
                <a:off x="9388083" y="2836375"/>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373" name="Freeform 758">
                <a:extLst>
                  <a:ext uri="{FF2B5EF4-FFF2-40B4-BE49-F238E27FC236}">
                    <a16:creationId xmlns:a16="http://schemas.microsoft.com/office/drawing/2014/main" id="{B79E63C5-3FF5-FFDA-F0AE-A94D116EBE75}"/>
                  </a:ext>
                </a:extLst>
              </p:cNvPr>
              <p:cNvSpPr/>
              <p:nvPr/>
            </p:nvSpPr>
            <p:spPr>
              <a:xfrm>
                <a:off x="9425664" y="281108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374" name="Freeform 759">
                <a:extLst>
                  <a:ext uri="{FF2B5EF4-FFF2-40B4-BE49-F238E27FC236}">
                    <a16:creationId xmlns:a16="http://schemas.microsoft.com/office/drawing/2014/main" id="{BEB84F5B-504F-87BB-DAC8-4DC19F362678}"/>
                  </a:ext>
                </a:extLst>
              </p:cNvPr>
              <p:cNvSpPr/>
              <p:nvPr/>
            </p:nvSpPr>
            <p:spPr>
              <a:xfrm>
                <a:off x="9479279" y="2836375"/>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375" name="Freeform 760">
                <a:extLst>
                  <a:ext uri="{FF2B5EF4-FFF2-40B4-BE49-F238E27FC236}">
                    <a16:creationId xmlns:a16="http://schemas.microsoft.com/office/drawing/2014/main" id="{80FBFA37-1380-3D88-4475-488118D27F62}"/>
                  </a:ext>
                </a:extLst>
              </p:cNvPr>
              <p:cNvSpPr/>
              <p:nvPr/>
            </p:nvSpPr>
            <p:spPr>
              <a:xfrm>
                <a:off x="9516861" y="281108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376" name="Freeform 761">
                <a:extLst>
                  <a:ext uri="{FF2B5EF4-FFF2-40B4-BE49-F238E27FC236}">
                    <a16:creationId xmlns:a16="http://schemas.microsoft.com/office/drawing/2014/main" id="{F21A559C-16A1-F485-0516-BAF2B7798394}"/>
                  </a:ext>
                </a:extLst>
              </p:cNvPr>
              <p:cNvSpPr/>
              <p:nvPr/>
            </p:nvSpPr>
            <p:spPr>
              <a:xfrm>
                <a:off x="9507346" y="2947584"/>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377" name="Freeform 762">
                <a:extLst>
                  <a:ext uri="{FF2B5EF4-FFF2-40B4-BE49-F238E27FC236}">
                    <a16:creationId xmlns:a16="http://schemas.microsoft.com/office/drawing/2014/main" id="{5E215BBF-9306-0CDF-C85B-CC9A19F67C53}"/>
                  </a:ext>
                </a:extLst>
              </p:cNvPr>
              <p:cNvSpPr/>
              <p:nvPr/>
            </p:nvSpPr>
            <p:spPr>
              <a:xfrm>
                <a:off x="9544928" y="292228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378" name="Freeform 763">
                <a:extLst>
                  <a:ext uri="{FF2B5EF4-FFF2-40B4-BE49-F238E27FC236}">
                    <a16:creationId xmlns:a16="http://schemas.microsoft.com/office/drawing/2014/main" id="{5EE74B6F-5F84-6883-1B16-920231272D2F}"/>
                  </a:ext>
                </a:extLst>
              </p:cNvPr>
              <p:cNvSpPr/>
              <p:nvPr/>
            </p:nvSpPr>
            <p:spPr>
              <a:xfrm>
                <a:off x="9549436" y="2947584"/>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379" name="Freeform 764">
                <a:extLst>
                  <a:ext uri="{FF2B5EF4-FFF2-40B4-BE49-F238E27FC236}">
                    <a16:creationId xmlns:a16="http://schemas.microsoft.com/office/drawing/2014/main" id="{B1FE2018-E896-E780-B002-4AC35213F403}"/>
                  </a:ext>
                </a:extLst>
              </p:cNvPr>
              <p:cNvSpPr/>
              <p:nvPr/>
            </p:nvSpPr>
            <p:spPr>
              <a:xfrm>
                <a:off x="9587018" y="292228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380" name="Freeform 765">
                <a:extLst>
                  <a:ext uri="{FF2B5EF4-FFF2-40B4-BE49-F238E27FC236}">
                    <a16:creationId xmlns:a16="http://schemas.microsoft.com/office/drawing/2014/main" id="{17449D61-10C4-A394-6353-E5AA715E1312}"/>
                  </a:ext>
                </a:extLst>
              </p:cNvPr>
              <p:cNvSpPr/>
              <p:nvPr/>
            </p:nvSpPr>
            <p:spPr>
              <a:xfrm>
                <a:off x="9682723" y="2947584"/>
                <a:ext cx="75173" cy="10583"/>
              </a:xfrm>
              <a:custGeom>
                <a:avLst/>
                <a:gdLst>
                  <a:gd name="connsiteX0" fmla="*/ 0 w 75173"/>
                  <a:gd name="connsiteY0" fmla="*/ 0 h 10583"/>
                  <a:gd name="connsiteX1" fmla="*/ 75173 w 75173"/>
                  <a:gd name="connsiteY1" fmla="*/ 0 h 10583"/>
                </a:gdLst>
                <a:ahLst/>
                <a:cxnLst>
                  <a:cxn ang="0">
                    <a:pos x="connsiteX0" y="connsiteY0"/>
                  </a:cxn>
                  <a:cxn ang="0">
                    <a:pos x="connsiteX1" y="connsiteY1"/>
                  </a:cxn>
                </a:cxnLst>
                <a:rect l="l" t="t" r="r" b="b"/>
                <a:pathLst>
                  <a:path w="75173" h="10583">
                    <a:moveTo>
                      <a:pt x="0" y="0"/>
                    </a:moveTo>
                    <a:lnTo>
                      <a:pt x="75173" y="0"/>
                    </a:lnTo>
                  </a:path>
                </a:pathLst>
              </a:custGeom>
              <a:ln w="12700" cap="sq">
                <a:solidFill>
                  <a:srgbClr val="929294"/>
                </a:solidFill>
                <a:prstDash val="solid"/>
                <a:miter/>
              </a:ln>
            </p:spPr>
            <p:txBody>
              <a:bodyPr rtlCol="0" anchor="ctr"/>
              <a:lstStyle/>
              <a:p>
                <a:endParaRPr lang="en-US" sz="1800"/>
              </a:p>
            </p:txBody>
          </p:sp>
          <p:sp>
            <p:nvSpPr>
              <p:cNvPr id="2381" name="Freeform 766">
                <a:extLst>
                  <a:ext uri="{FF2B5EF4-FFF2-40B4-BE49-F238E27FC236}">
                    <a16:creationId xmlns:a16="http://schemas.microsoft.com/office/drawing/2014/main" id="{DAF0277E-E59C-FEE2-C9F7-977D512D8045}"/>
                  </a:ext>
                </a:extLst>
              </p:cNvPr>
              <p:cNvSpPr/>
              <p:nvPr/>
            </p:nvSpPr>
            <p:spPr>
              <a:xfrm>
                <a:off x="9720304" y="292228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382" name="Freeform 767">
                <a:extLst>
                  <a:ext uri="{FF2B5EF4-FFF2-40B4-BE49-F238E27FC236}">
                    <a16:creationId xmlns:a16="http://schemas.microsoft.com/office/drawing/2014/main" id="{B8541472-C31C-E62A-EA12-2F66B5C5444C}"/>
                  </a:ext>
                </a:extLst>
              </p:cNvPr>
              <p:cNvSpPr/>
              <p:nvPr/>
            </p:nvSpPr>
            <p:spPr>
              <a:xfrm>
                <a:off x="9703773" y="2947584"/>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383" name="Freeform 768">
                <a:extLst>
                  <a:ext uri="{FF2B5EF4-FFF2-40B4-BE49-F238E27FC236}">
                    <a16:creationId xmlns:a16="http://schemas.microsoft.com/office/drawing/2014/main" id="{D34AC504-787D-0328-C50F-2C5598BDB6DD}"/>
                  </a:ext>
                </a:extLst>
              </p:cNvPr>
              <p:cNvSpPr/>
              <p:nvPr/>
            </p:nvSpPr>
            <p:spPr>
              <a:xfrm>
                <a:off x="9741354" y="292228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384" name="Freeform 769">
                <a:extLst>
                  <a:ext uri="{FF2B5EF4-FFF2-40B4-BE49-F238E27FC236}">
                    <a16:creationId xmlns:a16="http://schemas.microsoft.com/office/drawing/2014/main" id="{367D3C7C-A326-DF89-FD65-2991DE5380AA}"/>
                  </a:ext>
                </a:extLst>
              </p:cNvPr>
              <p:cNvSpPr/>
              <p:nvPr/>
            </p:nvSpPr>
            <p:spPr>
              <a:xfrm>
                <a:off x="9717806" y="2947584"/>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385" name="Freeform 770">
                <a:extLst>
                  <a:ext uri="{FF2B5EF4-FFF2-40B4-BE49-F238E27FC236}">
                    <a16:creationId xmlns:a16="http://schemas.microsoft.com/office/drawing/2014/main" id="{146AC48F-95A7-3B75-ADCD-01242E84C1AD}"/>
                  </a:ext>
                </a:extLst>
              </p:cNvPr>
              <p:cNvSpPr/>
              <p:nvPr/>
            </p:nvSpPr>
            <p:spPr>
              <a:xfrm>
                <a:off x="9755388" y="292228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386" name="Freeform 771">
                <a:extLst>
                  <a:ext uri="{FF2B5EF4-FFF2-40B4-BE49-F238E27FC236}">
                    <a16:creationId xmlns:a16="http://schemas.microsoft.com/office/drawing/2014/main" id="{5ADA5070-1A43-4989-C93A-05A8A3FAECEA}"/>
                  </a:ext>
                </a:extLst>
              </p:cNvPr>
              <p:cNvSpPr/>
              <p:nvPr/>
            </p:nvSpPr>
            <p:spPr>
              <a:xfrm>
                <a:off x="9717806" y="2947584"/>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387" name="Freeform 772">
                <a:extLst>
                  <a:ext uri="{FF2B5EF4-FFF2-40B4-BE49-F238E27FC236}">
                    <a16:creationId xmlns:a16="http://schemas.microsoft.com/office/drawing/2014/main" id="{72E2B75E-0134-7819-459D-3D4220C27F9F}"/>
                  </a:ext>
                </a:extLst>
              </p:cNvPr>
              <p:cNvSpPr/>
              <p:nvPr/>
            </p:nvSpPr>
            <p:spPr>
              <a:xfrm>
                <a:off x="9755388" y="292228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388" name="Freeform 773">
                <a:extLst>
                  <a:ext uri="{FF2B5EF4-FFF2-40B4-BE49-F238E27FC236}">
                    <a16:creationId xmlns:a16="http://schemas.microsoft.com/office/drawing/2014/main" id="{CB970404-CE74-5D18-256C-50A7BC12006C}"/>
                  </a:ext>
                </a:extLst>
              </p:cNvPr>
              <p:cNvSpPr/>
              <p:nvPr/>
            </p:nvSpPr>
            <p:spPr>
              <a:xfrm>
                <a:off x="9738846" y="2947584"/>
                <a:ext cx="75173" cy="10583"/>
              </a:xfrm>
              <a:custGeom>
                <a:avLst/>
                <a:gdLst>
                  <a:gd name="connsiteX0" fmla="*/ 0 w 75173"/>
                  <a:gd name="connsiteY0" fmla="*/ 0 h 10583"/>
                  <a:gd name="connsiteX1" fmla="*/ 75174 w 75173"/>
                  <a:gd name="connsiteY1" fmla="*/ 0 h 10583"/>
                </a:gdLst>
                <a:ahLst/>
                <a:cxnLst>
                  <a:cxn ang="0">
                    <a:pos x="connsiteX0" y="connsiteY0"/>
                  </a:cxn>
                  <a:cxn ang="0">
                    <a:pos x="connsiteX1" y="connsiteY1"/>
                  </a:cxn>
                </a:cxnLst>
                <a:rect l="l" t="t" r="r" b="b"/>
                <a:pathLst>
                  <a:path w="75173" h="10583">
                    <a:moveTo>
                      <a:pt x="0" y="0"/>
                    </a:moveTo>
                    <a:lnTo>
                      <a:pt x="75174" y="0"/>
                    </a:lnTo>
                  </a:path>
                </a:pathLst>
              </a:custGeom>
              <a:ln w="12700" cap="sq">
                <a:solidFill>
                  <a:srgbClr val="929294"/>
                </a:solidFill>
                <a:prstDash val="solid"/>
                <a:miter/>
              </a:ln>
            </p:spPr>
            <p:txBody>
              <a:bodyPr rtlCol="0" anchor="ctr"/>
              <a:lstStyle/>
              <a:p>
                <a:endParaRPr lang="en-US" sz="1800"/>
              </a:p>
            </p:txBody>
          </p:sp>
          <p:sp>
            <p:nvSpPr>
              <p:cNvPr id="2389" name="Freeform 774">
                <a:extLst>
                  <a:ext uri="{FF2B5EF4-FFF2-40B4-BE49-F238E27FC236}">
                    <a16:creationId xmlns:a16="http://schemas.microsoft.com/office/drawing/2014/main" id="{EC90BE17-611F-ACE7-E234-5426F225C0B3}"/>
                  </a:ext>
                </a:extLst>
              </p:cNvPr>
              <p:cNvSpPr/>
              <p:nvPr/>
            </p:nvSpPr>
            <p:spPr>
              <a:xfrm>
                <a:off x="9776438" y="292228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390" name="Freeform 775">
                <a:extLst>
                  <a:ext uri="{FF2B5EF4-FFF2-40B4-BE49-F238E27FC236}">
                    <a16:creationId xmlns:a16="http://schemas.microsoft.com/office/drawing/2014/main" id="{D3805D5F-75EA-0A0B-EED5-E4C474A187A2}"/>
                  </a:ext>
                </a:extLst>
              </p:cNvPr>
              <p:cNvSpPr/>
              <p:nvPr/>
            </p:nvSpPr>
            <p:spPr>
              <a:xfrm>
                <a:off x="9738846" y="2947584"/>
                <a:ext cx="75173" cy="10583"/>
              </a:xfrm>
              <a:custGeom>
                <a:avLst/>
                <a:gdLst>
                  <a:gd name="connsiteX0" fmla="*/ 0 w 75173"/>
                  <a:gd name="connsiteY0" fmla="*/ 0 h 10583"/>
                  <a:gd name="connsiteX1" fmla="*/ 75174 w 75173"/>
                  <a:gd name="connsiteY1" fmla="*/ 0 h 10583"/>
                </a:gdLst>
                <a:ahLst/>
                <a:cxnLst>
                  <a:cxn ang="0">
                    <a:pos x="connsiteX0" y="connsiteY0"/>
                  </a:cxn>
                  <a:cxn ang="0">
                    <a:pos x="connsiteX1" y="connsiteY1"/>
                  </a:cxn>
                </a:cxnLst>
                <a:rect l="l" t="t" r="r" b="b"/>
                <a:pathLst>
                  <a:path w="75173" h="10583">
                    <a:moveTo>
                      <a:pt x="0" y="0"/>
                    </a:moveTo>
                    <a:lnTo>
                      <a:pt x="75174" y="0"/>
                    </a:lnTo>
                  </a:path>
                </a:pathLst>
              </a:custGeom>
              <a:ln w="12700" cap="sq">
                <a:solidFill>
                  <a:srgbClr val="929294"/>
                </a:solidFill>
                <a:prstDash val="solid"/>
                <a:miter/>
              </a:ln>
            </p:spPr>
            <p:txBody>
              <a:bodyPr rtlCol="0" anchor="ctr"/>
              <a:lstStyle/>
              <a:p>
                <a:endParaRPr lang="en-US" sz="1800"/>
              </a:p>
            </p:txBody>
          </p:sp>
          <p:sp>
            <p:nvSpPr>
              <p:cNvPr id="2391" name="Freeform 776">
                <a:extLst>
                  <a:ext uri="{FF2B5EF4-FFF2-40B4-BE49-F238E27FC236}">
                    <a16:creationId xmlns:a16="http://schemas.microsoft.com/office/drawing/2014/main" id="{B8878193-7342-D24A-6569-E32E60D7DB5D}"/>
                  </a:ext>
                </a:extLst>
              </p:cNvPr>
              <p:cNvSpPr/>
              <p:nvPr/>
            </p:nvSpPr>
            <p:spPr>
              <a:xfrm>
                <a:off x="9776438" y="292228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392" name="Freeform 777">
                <a:extLst>
                  <a:ext uri="{FF2B5EF4-FFF2-40B4-BE49-F238E27FC236}">
                    <a16:creationId xmlns:a16="http://schemas.microsoft.com/office/drawing/2014/main" id="{43E10C29-BFB9-C939-B93F-D95ECC2B8960}"/>
                  </a:ext>
                </a:extLst>
              </p:cNvPr>
              <p:cNvSpPr/>
              <p:nvPr/>
            </p:nvSpPr>
            <p:spPr>
              <a:xfrm>
                <a:off x="9773930" y="2947584"/>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393" name="Freeform 778">
                <a:extLst>
                  <a:ext uri="{FF2B5EF4-FFF2-40B4-BE49-F238E27FC236}">
                    <a16:creationId xmlns:a16="http://schemas.microsoft.com/office/drawing/2014/main" id="{80108E41-059F-0D33-C101-6235A7E049BF}"/>
                  </a:ext>
                </a:extLst>
              </p:cNvPr>
              <p:cNvSpPr/>
              <p:nvPr/>
            </p:nvSpPr>
            <p:spPr>
              <a:xfrm>
                <a:off x="9811511" y="292228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394" name="Freeform 779">
                <a:extLst>
                  <a:ext uri="{FF2B5EF4-FFF2-40B4-BE49-F238E27FC236}">
                    <a16:creationId xmlns:a16="http://schemas.microsoft.com/office/drawing/2014/main" id="{32F58CFE-F405-AA52-8BF9-656CC87534CF}"/>
                  </a:ext>
                </a:extLst>
              </p:cNvPr>
              <p:cNvSpPr/>
              <p:nvPr/>
            </p:nvSpPr>
            <p:spPr>
              <a:xfrm>
                <a:off x="9879329" y="2947584"/>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395" name="Freeform 780">
                <a:extLst>
                  <a:ext uri="{FF2B5EF4-FFF2-40B4-BE49-F238E27FC236}">
                    <a16:creationId xmlns:a16="http://schemas.microsoft.com/office/drawing/2014/main" id="{1ABEDE22-19E2-EF1E-6079-0F33AAFD64C6}"/>
                  </a:ext>
                </a:extLst>
              </p:cNvPr>
              <p:cNvSpPr/>
              <p:nvPr/>
            </p:nvSpPr>
            <p:spPr>
              <a:xfrm>
                <a:off x="9916911" y="292228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396" name="Freeform 781">
                <a:extLst>
                  <a:ext uri="{FF2B5EF4-FFF2-40B4-BE49-F238E27FC236}">
                    <a16:creationId xmlns:a16="http://schemas.microsoft.com/office/drawing/2014/main" id="{D0956290-DFD2-60C7-AE6F-1DDAD7955410}"/>
                  </a:ext>
                </a:extLst>
              </p:cNvPr>
              <p:cNvSpPr/>
              <p:nvPr/>
            </p:nvSpPr>
            <p:spPr>
              <a:xfrm>
                <a:off x="10005599" y="2947584"/>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397" name="Freeform 782">
                <a:extLst>
                  <a:ext uri="{FF2B5EF4-FFF2-40B4-BE49-F238E27FC236}">
                    <a16:creationId xmlns:a16="http://schemas.microsoft.com/office/drawing/2014/main" id="{891F9732-6A07-0A06-939B-EA66DDB19269}"/>
                  </a:ext>
                </a:extLst>
              </p:cNvPr>
              <p:cNvSpPr/>
              <p:nvPr/>
            </p:nvSpPr>
            <p:spPr>
              <a:xfrm>
                <a:off x="10043180" y="292228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398" name="Freeform 783">
                <a:extLst>
                  <a:ext uri="{FF2B5EF4-FFF2-40B4-BE49-F238E27FC236}">
                    <a16:creationId xmlns:a16="http://schemas.microsoft.com/office/drawing/2014/main" id="{FB0294E4-2326-F9CE-5272-991F849D125D}"/>
                  </a:ext>
                </a:extLst>
              </p:cNvPr>
              <p:cNvSpPr/>
              <p:nvPr/>
            </p:nvSpPr>
            <p:spPr>
              <a:xfrm>
                <a:off x="10040683" y="2947584"/>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399" name="Freeform 784">
                <a:extLst>
                  <a:ext uri="{FF2B5EF4-FFF2-40B4-BE49-F238E27FC236}">
                    <a16:creationId xmlns:a16="http://schemas.microsoft.com/office/drawing/2014/main" id="{178A4D5E-8803-1C4C-8E89-04C7813B6E25}"/>
                  </a:ext>
                </a:extLst>
              </p:cNvPr>
              <p:cNvSpPr/>
              <p:nvPr/>
            </p:nvSpPr>
            <p:spPr>
              <a:xfrm>
                <a:off x="10078264" y="292228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400" name="Freeform 785">
                <a:extLst>
                  <a:ext uri="{FF2B5EF4-FFF2-40B4-BE49-F238E27FC236}">
                    <a16:creationId xmlns:a16="http://schemas.microsoft.com/office/drawing/2014/main" id="{09F95971-D97E-95FD-D67A-E42FA4820ECF}"/>
                  </a:ext>
                </a:extLst>
              </p:cNvPr>
              <p:cNvSpPr/>
              <p:nvPr/>
            </p:nvSpPr>
            <p:spPr>
              <a:xfrm>
                <a:off x="10117846" y="2947584"/>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401" name="Freeform 786">
                <a:extLst>
                  <a:ext uri="{FF2B5EF4-FFF2-40B4-BE49-F238E27FC236}">
                    <a16:creationId xmlns:a16="http://schemas.microsoft.com/office/drawing/2014/main" id="{9E69A50E-F507-DC1C-AF26-9014133A8D88}"/>
                  </a:ext>
                </a:extLst>
              </p:cNvPr>
              <p:cNvSpPr/>
              <p:nvPr/>
            </p:nvSpPr>
            <p:spPr>
              <a:xfrm>
                <a:off x="10155427" y="292228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402" name="Freeform 787">
                <a:extLst>
                  <a:ext uri="{FF2B5EF4-FFF2-40B4-BE49-F238E27FC236}">
                    <a16:creationId xmlns:a16="http://schemas.microsoft.com/office/drawing/2014/main" id="{B8779845-6D94-3EE7-B5C3-B80638FCC7E1}"/>
                  </a:ext>
                </a:extLst>
              </p:cNvPr>
              <p:cNvSpPr/>
              <p:nvPr/>
            </p:nvSpPr>
            <p:spPr>
              <a:xfrm>
                <a:off x="10412497" y="2947584"/>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endParaRPr lang="en-US" sz="1800"/>
              </a:p>
            </p:txBody>
          </p:sp>
          <p:sp>
            <p:nvSpPr>
              <p:cNvPr id="2403" name="Freeform 788">
                <a:extLst>
                  <a:ext uri="{FF2B5EF4-FFF2-40B4-BE49-F238E27FC236}">
                    <a16:creationId xmlns:a16="http://schemas.microsoft.com/office/drawing/2014/main" id="{64F1D0E8-8F1C-6C9B-A092-1A5343CB9FE2}"/>
                  </a:ext>
                </a:extLst>
              </p:cNvPr>
              <p:cNvSpPr/>
              <p:nvPr/>
            </p:nvSpPr>
            <p:spPr>
              <a:xfrm>
                <a:off x="10450078" y="292228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404" name="Freeform 789">
                <a:extLst>
                  <a:ext uri="{FF2B5EF4-FFF2-40B4-BE49-F238E27FC236}">
                    <a16:creationId xmlns:a16="http://schemas.microsoft.com/office/drawing/2014/main" id="{41F4878C-67D9-3B34-A457-8C35ADC557F7}"/>
                  </a:ext>
                </a:extLst>
              </p:cNvPr>
              <p:cNvSpPr/>
              <p:nvPr/>
            </p:nvSpPr>
            <p:spPr>
              <a:xfrm>
                <a:off x="10756264" y="2947584"/>
                <a:ext cx="75141" cy="10583"/>
              </a:xfrm>
              <a:custGeom>
                <a:avLst/>
                <a:gdLst>
                  <a:gd name="connsiteX0" fmla="*/ 0 w 75141"/>
                  <a:gd name="connsiteY0" fmla="*/ 0 h 10583"/>
                  <a:gd name="connsiteX1" fmla="*/ 75142 w 75141"/>
                  <a:gd name="connsiteY1" fmla="*/ 0 h 10583"/>
                </a:gdLst>
                <a:ahLst/>
                <a:cxnLst>
                  <a:cxn ang="0">
                    <a:pos x="connsiteX0" y="connsiteY0"/>
                  </a:cxn>
                  <a:cxn ang="0">
                    <a:pos x="connsiteX1" y="connsiteY1"/>
                  </a:cxn>
                </a:cxnLst>
                <a:rect l="l" t="t" r="r" b="b"/>
                <a:pathLst>
                  <a:path w="75141" h="10583">
                    <a:moveTo>
                      <a:pt x="0" y="0"/>
                    </a:moveTo>
                    <a:lnTo>
                      <a:pt x="75142" y="0"/>
                    </a:lnTo>
                  </a:path>
                </a:pathLst>
              </a:custGeom>
              <a:ln w="12700" cap="sq">
                <a:solidFill>
                  <a:srgbClr val="929294"/>
                </a:solidFill>
                <a:prstDash val="solid"/>
                <a:miter/>
              </a:ln>
            </p:spPr>
            <p:txBody>
              <a:bodyPr rtlCol="0" anchor="ctr"/>
              <a:lstStyle/>
              <a:p>
                <a:endParaRPr lang="en-US" sz="1800"/>
              </a:p>
            </p:txBody>
          </p:sp>
          <p:sp>
            <p:nvSpPr>
              <p:cNvPr id="2405" name="Freeform 790">
                <a:extLst>
                  <a:ext uri="{FF2B5EF4-FFF2-40B4-BE49-F238E27FC236}">
                    <a16:creationId xmlns:a16="http://schemas.microsoft.com/office/drawing/2014/main" id="{72E3312D-FB75-E20E-D28D-294D96EC169F}"/>
                  </a:ext>
                </a:extLst>
              </p:cNvPr>
              <p:cNvSpPr/>
              <p:nvPr/>
            </p:nvSpPr>
            <p:spPr>
              <a:xfrm>
                <a:off x="10793835" y="292228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406" name="Freeform 791">
                <a:extLst>
                  <a:ext uri="{FF2B5EF4-FFF2-40B4-BE49-F238E27FC236}">
                    <a16:creationId xmlns:a16="http://schemas.microsoft.com/office/drawing/2014/main" id="{68A2E292-D3D6-C1C5-2EBD-A9D32EDA5A21}"/>
                  </a:ext>
                </a:extLst>
              </p:cNvPr>
              <p:cNvSpPr/>
              <p:nvPr/>
            </p:nvSpPr>
            <p:spPr>
              <a:xfrm>
                <a:off x="10756264" y="2947584"/>
                <a:ext cx="75141" cy="10583"/>
              </a:xfrm>
              <a:custGeom>
                <a:avLst/>
                <a:gdLst>
                  <a:gd name="connsiteX0" fmla="*/ 0 w 75141"/>
                  <a:gd name="connsiteY0" fmla="*/ 0 h 10583"/>
                  <a:gd name="connsiteX1" fmla="*/ 75142 w 75141"/>
                  <a:gd name="connsiteY1" fmla="*/ 0 h 10583"/>
                </a:gdLst>
                <a:ahLst/>
                <a:cxnLst>
                  <a:cxn ang="0">
                    <a:pos x="connsiteX0" y="connsiteY0"/>
                  </a:cxn>
                  <a:cxn ang="0">
                    <a:pos x="connsiteX1" y="connsiteY1"/>
                  </a:cxn>
                </a:cxnLst>
                <a:rect l="l" t="t" r="r" b="b"/>
                <a:pathLst>
                  <a:path w="75141" h="10583">
                    <a:moveTo>
                      <a:pt x="0" y="0"/>
                    </a:moveTo>
                    <a:lnTo>
                      <a:pt x="75142" y="0"/>
                    </a:lnTo>
                  </a:path>
                </a:pathLst>
              </a:custGeom>
              <a:ln w="12700" cap="sq">
                <a:solidFill>
                  <a:srgbClr val="929294"/>
                </a:solidFill>
                <a:prstDash val="solid"/>
                <a:miter/>
              </a:ln>
            </p:spPr>
            <p:txBody>
              <a:bodyPr rtlCol="0" anchor="ctr"/>
              <a:lstStyle/>
              <a:p>
                <a:endParaRPr lang="en-US" sz="1800"/>
              </a:p>
            </p:txBody>
          </p:sp>
          <p:sp>
            <p:nvSpPr>
              <p:cNvPr id="2407" name="Freeform 792">
                <a:extLst>
                  <a:ext uri="{FF2B5EF4-FFF2-40B4-BE49-F238E27FC236}">
                    <a16:creationId xmlns:a16="http://schemas.microsoft.com/office/drawing/2014/main" id="{C64CD5AC-21BC-10CC-CE54-11E2CF98F7BE}"/>
                  </a:ext>
                </a:extLst>
              </p:cNvPr>
              <p:cNvSpPr/>
              <p:nvPr/>
            </p:nvSpPr>
            <p:spPr>
              <a:xfrm>
                <a:off x="10793835" y="292228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sp>
            <p:nvSpPr>
              <p:cNvPr id="2408" name="Freeform 793">
                <a:extLst>
                  <a:ext uri="{FF2B5EF4-FFF2-40B4-BE49-F238E27FC236}">
                    <a16:creationId xmlns:a16="http://schemas.microsoft.com/office/drawing/2014/main" id="{EDF7C7F1-4FFC-7609-6186-C552B97BC1F2}"/>
                  </a:ext>
                </a:extLst>
              </p:cNvPr>
              <p:cNvSpPr/>
              <p:nvPr/>
            </p:nvSpPr>
            <p:spPr>
              <a:xfrm>
                <a:off x="11071965" y="2947584"/>
                <a:ext cx="75141" cy="10583"/>
              </a:xfrm>
              <a:custGeom>
                <a:avLst/>
                <a:gdLst>
                  <a:gd name="connsiteX0" fmla="*/ 0 w 75141"/>
                  <a:gd name="connsiteY0" fmla="*/ 0 h 10583"/>
                  <a:gd name="connsiteX1" fmla="*/ 75142 w 75141"/>
                  <a:gd name="connsiteY1" fmla="*/ 0 h 10583"/>
                </a:gdLst>
                <a:ahLst/>
                <a:cxnLst>
                  <a:cxn ang="0">
                    <a:pos x="connsiteX0" y="connsiteY0"/>
                  </a:cxn>
                  <a:cxn ang="0">
                    <a:pos x="connsiteX1" y="connsiteY1"/>
                  </a:cxn>
                </a:cxnLst>
                <a:rect l="l" t="t" r="r" b="b"/>
                <a:pathLst>
                  <a:path w="75141" h="10583">
                    <a:moveTo>
                      <a:pt x="0" y="0"/>
                    </a:moveTo>
                    <a:lnTo>
                      <a:pt x="75142" y="0"/>
                    </a:lnTo>
                  </a:path>
                </a:pathLst>
              </a:custGeom>
              <a:ln w="12700" cap="sq">
                <a:solidFill>
                  <a:srgbClr val="929294"/>
                </a:solidFill>
                <a:prstDash val="solid"/>
                <a:miter/>
              </a:ln>
            </p:spPr>
            <p:txBody>
              <a:bodyPr rtlCol="0" anchor="ctr"/>
              <a:lstStyle/>
              <a:p>
                <a:endParaRPr lang="en-US" sz="1800"/>
              </a:p>
            </p:txBody>
          </p:sp>
          <p:sp>
            <p:nvSpPr>
              <p:cNvPr id="2409" name="Freeform 794">
                <a:extLst>
                  <a:ext uri="{FF2B5EF4-FFF2-40B4-BE49-F238E27FC236}">
                    <a16:creationId xmlns:a16="http://schemas.microsoft.com/office/drawing/2014/main" id="{88332512-9D80-2ACE-729F-6A7E6A0BA0FE}"/>
                  </a:ext>
                </a:extLst>
              </p:cNvPr>
              <p:cNvSpPr/>
              <p:nvPr/>
            </p:nvSpPr>
            <p:spPr>
              <a:xfrm>
                <a:off x="11109536" y="292228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endParaRPr lang="en-US" sz="1800"/>
              </a:p>
            </p:txBody>
          </p:sp>
        </p:grpSp>
        <p:sp>
          <p:nvSpPr>
            <p:cNvPr id="1918" name="TextBox 1917">
              <a:extLst>
                <a:ext uri="{FF2B5EF4-FFF2-40B4-BE49-F238E27FC236}">
                  <a16:creationId xmlns:a16="http://schemas.microsoft.com/office/drawing/2014/main" id="{53065C94-8C38-C19D-6493-05D063DD2E2A}"/>
                </a:ext>
              </a:extLst>
            </p:cNvPr>
            <p:cNvSpPr txBox="1"/>
            <p:nvPr/>
          </p:nvSpPr>
          <p:spPr>
            <a:xfrm rot="1719">
              <a:off x="776307" y="4961511"/>
              <a:ext cx="325304" cy="292388"/>
            </a:xfrm>
            <a:prstGeom prst="rect">
              <a:avLst/>
            </a:prstGeom>
            <a:noFill/>
          </p:spPr>
          <p:txBody>
            <a:bodyPr wrap="none" rtlCol="0">
              <a:spAutoFit/>
            </a:bodyPr>
            <a:lstStyle/>
            <a:p>
              <a:pPr algn="r"/>
              <a:r>
                <a:rPr lang="en-US" sz="825">
                  <a:ln/>
                  <a:solidFill>
                    <a:srgbClr val="000000"/>
                  </a:solidFill>
                  <a:latin typeface="Arial" panose="020B0604020202020204" pitchFamily="34" charset="0"/>
                  <a:cs typeface="Arial" panose="020B0604020202020204" pitchFamily="34" charset="0"/>
                  <a:sym typeface="HelveticaNeueLTStd-Roman"/>
                  <a:rtl val="0"/>
                </a:rPr>
                <a:t>0</a:t>
              </a:r>
            </a:p>
          </p:txBody>
        </p:sp>
        <p:sp>
          <p:nvSpPr>
            <p:cNvPr id="1919" name="TextBox 1918">
              <a:extLst>
                <a:ext uri="{FF2B5EF4-FFF2-40B4-BE49-F238E27FC236}">
                  <a16:creationId xmlns:a16="http://schemas.microsoft.com/office/drawing/2014/main" id="{D460A304-9C23-C5E0-8EC9-7EF6EB52B672}"/>
                </a:ext>
              </a:extLst>
            </p:cNvPr>
            <p:cNvSpPr txBox="1"/>
            <p:nvPr/>
          </p:nvSpPr>
          <p:spPr>
            <a:xfrm>
              <a:off x="657262" y="4333788"/>
              <a:ext cx="404384" cy="292388"/>
            </a:xfrm>
            <a:prstGeom prst="rect">
              <a:avLst/>
            </a:prstGeom>
            <a:noFill/>
          </p:spPr>
          <p:txBody>
            <a:bodyPr wrap="none" rtlCol="0">
              <a:spAutoFit/>
            </a:bodyPr>
            <a:lstStyle/>
            <a:p>
              <a:pPr algn="r"/>
              <a:r>
                <a:rPr lang="en-US" sz="825" dirty="0">
                  <a:ln/>
                  <a:solidFill>
                    <a:srgbClr val="000000"/>
                  </a:solidFill>
                  <a:latin typeface="Arial" panose="020B0604020202020204" pitchFamily="34" charset="0"/>
                  <a:cs typeface="Arial" panose="020B0604020202020204" pitchFamily="34" charset="0"/>
                  <a:sym typeface="HelveticaNeueLTStd-Roman"/>
                  <a:rtl val="0"/>
                </a:rPr>
                <a:t>20</a:t>
              </a:r>
            </a:p>
          </p:txBody>
        </p:sp>
        <p:sp>
          <p:nvSpPr>
            <p:cNvPr id="1920" name="TextBox 1919">
              <a:extLst>
                <a:ext uri="{FF2B5EF4-FFF2-40B4-BE49-F238E27FC236}">
                  <a16:creationId xmlns:a16="http://schemas.microsoft.com/office/drawing/2014/main" id="{4602C5FE-7F41-A661-907B-827F9F76889B}"/>
                </a:ext>
              </a:extLst>
            </p:cNvPr>
            <p:cNvSpPr txBox="1"/>
            <p:nvPr/>
          </p:nvSpPr>
          <p:spPr>
            <a:xfrm>
              <a:off x="657262" y="3675540"/>
              <a:ext cx="404384" cy="292388"/>
            </a:xfrm>
            <a:prstGeom prst="rect">
              <a:avLst/>
            </a:prstGeom>
            <a:noFill/>
          </p:spPr>
          <p:txBody>
            <a:bodyPr wrap="none" rtlCol="0">
              <a:spAutoFit/>
            </a:bodyPr>
            <a:lstStyle/>
            <a:p>
              <a:pPr algn="r"/>
              <a:r>
                <a:rPr lang="en-US" sz="825">
                  <a:ln/>
                  <a:solidFill>
                    <a:srgbClr val="000000"/>
                  </a:solidFill>
                  <a:latin typeface="Arial" panose="020B0604020202020204" pitchFamily="34" charset="0"/>
                  <a:cs typeface="Arial" panose="020B0604020202020204" pitchFamily="34" charset="0"/>
                  <a:sym typeface="HelveticaNeueLTStd-Roman"/>
                  <a:rtl val="0"/>
                </a:rPr>
                <a:t>40</a:t>
              </a:r>
            </a:p>
          </p:txBody>
        </p:sp>
        <p:sp>
          <p:nvSpPr>
            <p:cNvPr id="1921" name="TextBox 1920">
              <a:extLst>
                <a:ext uri="{FF2B5EF4-FFF2-40B4-BE49-F238E27FC236}">
                  <a16:creationId xmlns:a16="http://schemas.microsoft.com/office/drawing/2014/main" id="{B7FAC056-E7AF-9596-67E6-02785E0458EF}"/>
                </a:ext>
              </a:extLst>
            </p:cNvPr>
            <p:cNvSpPr txBox="1"/>
            <p:nvPr/>
          </p:nvSpPr>
          <p:spPr>
            <a:xfrm>
              <a:off x="657262" y="3017310"/>
              <a:ext cx="404384" cy="292388"/>
            </a:xfrm>
            <a:prstGeom prst="rect">
              <a:avLst/>
            </a:prstGeom>
            <a:noFill/>
          </p:spPr>
          <p:txBody>
            <a:bodyPr wrap="none" rtlCol="0">
              <a:spAutoFit/>
            </a:bodyPr>
            <a:lstStyle/>
            <a:p>
              <a:pPr algn="r"/>
              <a:r>
                <a:rPr lang="en-US" sz="825">
                  <a:ln/>
                  <a:solidFill>
                    <a:srgbClr val="000000"/>
                  </a:solidFill>
                  <a:latin typeface="Arial" panose="020B0604020202020204" pitchFamily="34" charset="0"/>
                  <a:cs typeface="Arial" panose="020B0604020202020204" pitchFamily="34" charset="0"/>
                  <a:sym typeface="HelveticaNeueLTStd-Roman"/>
                  <a:rtl val="0"/>
                </a:rPr>
                <a:t>60</a:t>
              </a:r>
            </a:p>
          </p:txBody>
        </p:sp>
        <p:sp>
          <p:nvSpPr>
            <p:cNvPr id="1922" name="TextBox 1921">
              <a:extLst>
                <a:ext uri="{FF2B5EF4-FFF2-40B4-BE49-F238E27FC236}">
                  <a16:creationId xmlns:a16="http://schemas.microsoft.com/office/drawing/2014/main" id="{EF97F1BD-FDEE-F20B-8D84-12778F92A444}"/>
                </a:ext>
              </a:extLst>
            </p:cNvPr>
            <p:cNvSpPr txBox="1"/>
            <p:nvPr/>
          </p:nvSpPr>
          <p:spPr>
            <a:xfrm>
              <a:off x="657262" y="2359064"/>
              <a:ext cx="404384" cy="292388"/>
            </a:xfrm>
            <a:prstGeom prst="rect">
              <a:avLst/>
            </a:prstGeom>
            <a:noFill/>
          </p:spPr>
          <p:txBody>
            <a:bodyPr wrap="none" rtlCol="0">
              <a:spAutoFit/>
            </a:bodyPr>
            <a:lstStyle/>
            <a:p>
              <a:pPr algn="r"/>
              <a:r>
                <a:rPr lang="en-US" sz="825">
                  <a:ln/>
                  <a:solidFill>
                    <a:srgbClr val="000000"/>
                  </a:solidFill>
                  <a:latin typeface="Arial" panose="020B0604020202020204" pitchFamily="34" charset="0"/>
                  <a:cs typeface="Arial" panose="020B0604020202020204" pitchFamily="34" charset="0"/>
                  <a:sym typeface="HelveticaNeueLTStd-Roman"/>
                  <a:rtl val="0"/>
                </a:rPr>
                <a:t>80</a:t>
              </a:r>
            </a:p>
          </p:txBody>
        </p:sp>
        <p:sp>
          <p:nvSpPr>
            <p:cNvPr id="1923" name="TextBox 1922">
              <a:extLst>
                <a:ext uri="{FF2B5EF4-FFF2-40B4-BE49-F238E27FC236}">
                  <a16:creationId xmlns:a16="http://schemas.microsoft.com/office/drawing/2014/main" id="{4354B07B-45B3-A372-7E69-FB47B6D26EF3}"/>
                </a:ext>
              </a:extLst>
            </p:cNvPr>
            <p:cNvSpPr txBox="1"/>
            <p:nvPr/>
          </p:nvSpPr>
          <p:spPr>
            <a:xfrm>
              <a:off x="578179" y="1700825"/>
              <a:ext cx="483467" cy="292388"/>
            </a:xfrm>
            <a:prstGeom prst="rect">
              <a:avLst/>
            </a:prstGeom>
            <a:noFill/>
          </p:spPr>
          <p:txBody>
            <a:bodyPr wrap="none" rtlCol="0">
              <a:spAutoFit/>
            </a:bodyPr>
            <a:lstStyle/>
            <a:p>
              <a:pPr algn="r"/>
              <a:r>
                <a:rPr lang="en-US" sz="825">
                  <a:ln/>
                  <a:solidFill>
                    <a:srgbClr val="000000"/>
                  </a:solidFill>
                  <a:latin typeface="Arial" panose="020B0604020202020204" pitchFamily="34" charset="0"/>
                  <a:cs typeface="Arial" panose="020B0604020202020204" pitchFamily="34" charset="0"/>
                  <a:sym typeface="HelveticaNeueLTStd-Roman"/>
                  <a:rtl val="0"/>
                </a:rPr>
                <a:t>100</a:t>
              </a:r>
            </a:p>
          </p:txBody>
        </p:sp>
        <p:sp>
          <p:nvSpPr>
            <p:cNvPr id="1924" name="TextBox 1923">
              <a:extLst>
                <a:ext uri="{FF2B5EF4-FFF2-40B4-BE49-F238E27FC236}">
                  <a16:creationId xmlns:a16="http://schemas.microsoft.com/office/drawing/2014/main" id="{0EE1D840-ED9A-4A56-C2E2-2489666C839B}"/>
                </a:ext>
              </a:extLst>
            </p:cNvPr>
            <p:cNvSpPr txBox="1"/>
            <p:nvPr/>
          </p:nvSpPr>
          <p:spPr>
            <a:xfrm rot="16200000">
              <a:off x="-1007576" y="3303324"/>
              <a:ext cx="2986288" cy="369332"/>
            </a:xfrm>
            <a:prstGeom prst="rect">
              <a:avLst/>
            </a:prstGeom>
            <a:noFill/>
          </p:spPr>
          <p:txBody>
            <a:bodyPr wrap="none" rtlCol="0">
              <a:spAutoFit/>
            </a:bodyPr>
            <a:lstStyle/>
            <a:p>
              <a:pPr algn="ctr"/>
              <a:r>
                <a:rPr lang="en-US" sz="1200" dirty="0">
                  <a:ln/>
                  <a:solidFill>
                    <a:srgbClr val="000000"/>
                  </a:solidFill>
                  <a:latin typeface="Arial" panose="020B0604020202020204" pitchFamily="34" charset="0"/>
                  <a:cs typeface="Arial" panose="020B0604020202020204" pitchFamily="34" charset="0"/>
                  <a:sym typeface="HelveticaNeueLTStd-Bd"/>
                  <a:rtl val="0"/>
                </a:rPr>
                <a:t>Overall Survival Probability ,%</a:t>
              </a:r>
            </a:p>
          </p:txBody>
        </p:sp>
        <p:sp>
          <p:nvSpPr>
            <p:cNvPr id="1925" name="TextBox 1924">
              <a:extLst>
                <a:ext uri="{FF2B5EF4-FFF2-40B4-BE49-F238E27FC236}">
                  <a16:creationId xmlns:a16="http://schemas.microsoft.com/office/drawing/2014/main" id="{DC2CA656-990C-4107-FEBB-4CA1DDB030F7}"/>
                </a:ext>
              </a:extLst>
            </p:cNvPr>
            <p:cNvSpPr txBox="1"/>
            <p:nvPr/>
          </p:nvSpPr>
          <p:spPr>
            <a:xfrm>
              <a:off x="1630289" y="4523855"/>
              <a:ext cx="742084" cy="307776"/>
            </a:xfrm>
            <a:prstGeom prst="rect">
              <a:avLst/>
            </a:prstGeom>
            <a:noFill/>
          </p:spPr>
          <p:txBody>
            <a:bodyPr wrap="none" rtlCol="0">
              <a:spAutoFit/>
            </a:bodyPr>
            <a:lstStyle/>
            <a:p>
              <a:pPr algn="l"/>
              <a:r>
                <a:rPr lang="en-US" sz="900">
                  <a:ln/>
                  <a:solidFill>
                    <a:srgbClr val="000000"/>
                  </a:solidFill>
                  <a:latin typeface="Arial" panose="020B0604020202020204" pitchFamily="34" charset="0"/>
                  <a:cs typeface="Arial" panose="020B0604020202020204" pitchFamily="34" charset="0"/>
                  <a:sym typeface="HelveticaNeueLTStd-Roman"/>
                  <a:rtl val="0"/>
                </a:rPr>
                <a:t>Censor</a:t>
              </a:r>
            </a:p>
          </p:txBody>
        </p:sp>
        <p:sp>
          <p:nvSpPr>
            <p:cNvPr id="1926" name="TextBox 1925">
              <a:extLst>
                <a:ext uri="{FF2B5EF4-FFF2-40B4-BE49-F238E27FC236}">
                  <a16:creationId xmlns:a16="http://schemas.microsoft.com/office/drawing/2014/main" id="{88E1B1F1-97DA-A5A2-80E9-158C65630CDB}"/>
                </a:ext>
              </a:extLst>
            </p:cNvPr>
            <p:cNvSpPr txBox="1"/>
            <p:nvPr/>
          </p:nvSpPr>
          <p:spPr>
            <a:xfrm>
              <a:off x="1630289" y="4717648"/>
              <a:ext cx="1353361" cy="307776"/>
            </a:xfrm>
            <a:prstGeom prst="rect">
              <a:avLst/>
            </a:prstGeom>
            <a:noFill/>
          </p:spPr>
          <p:txBody>
            <a:bodyPr wrap="none" rtlCol="0">
              <a:spAutoFit/>
            </a:bodyPr>
            <a:lstStyle/>
            <a:p>
              <a:pPr algn="l"/>
              <a:r>
                <a:rPr lang="en-US" sz="900" dirty="0">
                  <a:ln/>
                  <a:solidFill>
                    <a:srgbClr val="000000"/>
                  </a:solidFill>
                  <a:latin typeface="Arial" panose="020B0604020202020204" pitchFamily="34" charset="0"/>
                  <a:cs typeface="Arial" panose="020B0604020202020204" pitchFamily="34" charset="0"/>
                  <a:sym typeface="HelveticaNeueLTStd-Roman"/>
                  <a:rtl val="0"/>
                </a:rPr>
                <a:t>T-</a:t>
              </a:r>
              <a:r>
                <a:rPr lang="en-US" sz="900" dirty="0" err="1">
                  <a:ln/>
                  <a:solidFill>
                    <a:srgbClr val="000000"/>
                  </a:solidFill>
                  <a:latin typeface="Arial" panose="020B0604020202020204" pitchFamily="34" charset="0"/>
                  <a:cs typeface="Arial" panose="020B0604020202020204" pitchFamily="34" charset="0"/>
                  <a:sym typeface="HelveticaNeueLTStd-Roman"/>
                  <a:rtl val="0"/>
                </a:rPr>
                <a:t>DXd</a:t>
              </a:r>
              <a:r>
                <a:rPr lang="en-US" sz="900" dirty="0">
                  <a:ln/>
                  <a:solidFill>
                    <a:srgbClr val="000000"/>
                  </a:solidFill>
                  <a:latin typeface="Arial" panose="020B0604020202020204" pitchFamily="34" charset="0"/>
                  <a:cs typeface="Arial" panose="020B0604020202020204" pitchFamily="34" charset="0"/>
                  <a:sym typeface="HelveticaNeueLTStd-Roman"/>
                  <a:rtl val="0"/>
                </a:rPr>
                <a:t> (n = 261)</a:t>
              </a:r>
            </a:p>
          </p:txBody>
        </p:sp>
        <p:sp>
          <p:nvSpPr>
            <p:cNvPr id="1927" name="TextBox 1926">
              <a:extLst>
                <a:ext uri="{FF2B5EF4-FFF2-40B4-BE49-F238E27FC236}">
                  <a16:creationId xmlns:a16="http://schemas.microsoft.com/office/drawing/2014/main" id="{E156533C-94A0-A0CE-FE08-2064934DE35A}"/>
                </a:ext>
              </a:extLst>
            </p:cNvPr>
            <p:cNvSpPr txBox="1"/>
            <p:nvPr/>
          </p:nvSpPr>
          <p:spPr>
            <a:xfrm>
              <a:off x="1630289" y="4917157"/>
              <a:ext cx="1379009" cy="307776"/>
            </a:xfrm>
            <a:prstGeom prst="rect">
              <a:avLst/>
            </a:prstGeom>
            <a:noFill/>
          </p:spPr>
          <p:txBody>
            <a:bodyPr wrap="none" rtlCol="0">
              <a:spAutoFit/>
            </a:bodyPr>
            <a:lstStyle/>
            <a:p>
              <a:pPr algn="l"/>
              <a:r>
                <a:rPr lang="en-US" sz="900" dirty="0">
                  <a:ln/>
                  <a:solidFill>
                    <a:srgbClr val="000000"/>
                  </a:solidFill>
                  <a:latin typeface="Arial" panose="020B0604020202020204" pitchFamily="34" charset="0"/>
                  <a:cs typeface="Arial" panose="020B0604020202020204" pitchFamily="34" charset="0"/>
                  <a:sym typeface="HelveticaNeueLTStd-Roman"/>
                  <a:rtl val="0"/>
                </a:rPr>
                <a:t>T-DM1 (n = 263)</a:t>
              </a:r>
            </a:p>
          </p:txBody>
        </p:sp>
        <p:sp>
          <p:nvSpPr>
            <p:cNvPr id="1928" name="TextBox 1927">
              <a:extLst>
                <a:ext uri="{FF2B5EF4-FFF2-40B4-BE49-F238E27FC236}">
                  <a16:creationId xmlns:a16="http://schemas.microsoft.com/office/drawing/2014/main" id="{70F6F178-70E8-6B6F-E574-04E546237D59}"/>
                </a:ext>
              </a:extLst>
            </p:cNvPr>
            <p:cNvSpPr txBox="1"/>
            <p:nvPr/>
          </p:nvSpPr>
          <p:spPr>
            <a:xfrm>
              <a:off x="720437" y="5785907"/>
              <a:ext cx="571096" cy="246221"/>
            </a:xfrm>
            <a:prstGeom prst="rect">
              <a:avLst/>
            </a:prstGeom>
            <a:noFill/>
          </p:spPr>
          <p:txBody>
            <a:bodyPr wrap="none" rtlCol="0">
              <a:spAutoFit/>
            </a:bodyPr>
            <a:lstStyle/>
            <a:p>
              <a:pPr algn="l"/>
              <a:r>
                <a:rPr lang="en-US" sz="600" dirty="0">
                  <a:ln/>
                  <a:solidFill>
                    <a:srgbClr val="000000"/>
                  </a:solidFill>
                  <a:latin typeface="Arial" panose="020B0604020202020204" pitchFamily="34" charset="0"/>
                  <a:cs typeface="Arial" panose="020B0604020202020204" pitchFamily="34" charset="0"/>
                  <a:sym typeface="HelveticaNeueLTStd-Roman"/>
                  <a:rtl val="0"/>
                </a:rPr>
                <a:t>T-</a:t>
              </a:r>
              <a:r>
                <a:rPr lang="en-US" sz="600" dirty="0" err="1">
                  <a:ln/>
                  <a:solidFill>
                    <a:srgbClr val="000000"/>
                  </a:solidFill>
                  <a:latin typeface="Arial" panose="020B0604020202020204" pitchFamily="34" charset="0"/>
                  <a:cs typeface="Arial" panose="020B0604020202020204" pitchFamily="34" charset="0"/>
                  <a:sym typeface="HelveticaNeueLTStd-Roman"/>
                  <a:rtl val="0"/>
                </a:rPr>
                <a:t>DXd</a:t>
              </a:r>
              <a:r>
                <a:rPr lang="en-US" sz="600" dirty="0">
                  <a:ln/>
                  <a:solidFill>
                    <a:srgbClr val="000000"/>
                  </a:solidFill>
                  <a:latin typeface="Arial" panose="020B0604020202020204" pitchFamily="34" charset="0"/>
                  <a:cs typeface="Arial" panose="020B0604020202020204" pitchFamily="34" charset="0"/>
                  <a:sym typeface="HelveticaNeueLTStd-Roman"/>
                  <a:rtl val="0"/>
                </a:rPr>
                <a:t> </a:t>
              </a:r>
            </a:p>
          </p:txBody>
        </p:sp>
        <p:sp>
          <p:nvSpPr>
            <p:cNvPr id="1931" name="TextBox 1930">
              <a:extLst>
                <a:ext uri="{FF2B5EF4-FFF2-40B4-BE49-F238E27FC236}">
                  <a16:creationId xmlns:a16="http://schemas.microsoft.com/office/drawing/2014/main" id="{1795D420-8CE8-A7B6-6D1D-480BDFBC97D4}"/>
                </a:ext>
              </a:extLst>
            </p:cNvPr>
            <p:cNvSpPr txBox="1"/>
            <p:nvPr/>
          </p:nvSpPr>
          <p:spPr>
            <a:xfrm rot="1788">
              <a:off x="1102003" y="5195717"/>
              <a:ext cx="325304" cy="292388"/>
            </a:xfrm>
            <a:prstGeom prst="rect">
              <a:avLst/>
            </a:prstGeom>
            <a:noFill/>
          </p:spPr>
          <p:txBody>
            <a:bodyPr wrap="none" rtlCol="0">
              <a:spAutoFit/>
            </a:bodyPr>
            <a:lstStyle/>
            <a:p>
              <a:pPr algn="l"/>
              <a:r>
                <a:rPr lang="en-US" sz="825">
                  <a:ln/>
                  <a:solidFill>
                    <a:srgbClr val="000000"/>
                  </a:solidFill>
                  <a:latin typeface="Arial" panose="020B0604020202020204" pitchFamily="34" charset="0"/>
                  <a:cs typeface="Arial" panose="020B0604020202020204" pitchFamily="34" charset="0"/>
                  <a:sym typeface="HelveticaNeueLTStd-Roman"/>
                  <a:rtl val="0"/>
                </a:rPr>
                <a:t>0</a:t>
              </a:r>
            </a:p>
          </p:txBody>
        </p:sp>
        <p:sp>
          <p:nvSpPr>
            <p:cNvPr id="1932" name="TextBox 1931">
              <a:extLst>
                <a:ext uri="{FF2B5EF4-FFF2-40B4-BE49-F238E27FC236}">
                  <a16:creationId xmlns:a16="http://schemas.microsoft.com/office/drawing/2014/main" id="{27C604E5-9EE9-738C-4FD6-A95BABAA9FF7}"/>
                </a:ext>
              </a:extLst>
            </p:cNvPr>
            <p:cNvSpPr txBox="1"/>
            <p:nvPr/>
          </p:nvSpPr>
          <p:spPr>
            <a:xfrm rot="1788">
              <a:off x="1288457" y="5195717"/>
              <a:ext cx="325304" cy="292388"/>
            </a:xfrm>
            <a:prstGeom prst="rect">
              <a:avLst/>
            </a:prstGeom>
            <a:noFill/>
          </p:spPr>
          <p:txBody>
            <a:bodyPr wrap="none" rtlCol="0">
              <a:spAutoFit/>
            </a:bodyPr>
            <a:lstStyle/>
            <a:p>
              <a:pPr algn="l"/>
              <a:r>
                <a:rPr lang="en-US" sz="825">
                  <a:ln/>
                  <a:solidFill>
                    <a:srgbClr val="000000"/>
                  </a:solidFill>
                  <a:latin typeface="Arial" panose="020B0604020202020204" pitchFamily="34" charset="0"/>
                  <a:cs typeface="Arial" panose="020B0604020202020204" pitchFamily="34" charset="0"/>
                  <a:sym typeface="HelveticaNeueLTStd-Roman"/>
                  <a:rtl val="0"/>
                </a:rPr>
                <a:t>1</a:t>
              </a:r>
            </a:p>
          </p:txBody>
        </p:sp>
        <p:sp>
          <p:nvSpPr>
            <p:cNvPr id="1933" name="TextBox 1932">
              <a:extLst>
                <a:ext uri="{FF2B5EF4-FFF2-40B4-BE49-F238E27FC236}">
                  <a16:creationId xmlns:a16="http://schemas.microsoft.com/office/drawing/2014/main" id="{704C17A1-CC8D-F818-97E1-CC5868969845}"/>
                </a:ext>
              </a:extLst>
            </p:cNvPr>
            <p:cNvSpPr txBox="1"/>
            <p:nvPr/>
          </p:nvSpPr>
          <p:spPr>
            <a:xfrm rot="1788">
              <a:off x="1487567" y="5195717"/>
              <a:ext cx="325304" cy="292388"/>
            </a:xfrm>
            <a:prstGeom prst="rect">
              <a:avLst/>
            </a:prstGeom>
            <a:noFill/>
          </p:spPr>
          <p:txBody>
            <a:bodyPr wrap="none" rtlCol="0">
              <a:spAutoFit/>
            </a:bodyPr>
            <a:lstStyle/>
            <a:p>
              <a:pPr algn="l"/>
              <a:r>
                <a:rPr lang="en-US" sz="825">
                  <a:ln/>
                  <a:solidFill>
                    <a:srgbClr val="000000"/>
                  </a:solidFill>
                  <a:latin typeface="Arial" panose="020B0604020202020204" pitchFamily="34" charset="0"/>
                  <a:cs typeface="Arial" panose="020B0604020202020204" pitchFamily="34" charset="0"/>
                  <a:sym typeface="HelveticaNeueLTStd-Roman"/>
                  <a:rtl val="0"/>
                </a:rPr>
                <a:t>2</a:t>
              </a:r>
            </a:p>
          </p:txBody>
        </p:sp>
        <p:sp>
          <p:nvSpPr>
            <p:cNvPr id="1934" name="TextBox 1933">
              <a:extLst>
                <a:ext uri="{FF2B5EF4-FFF2-40B4-BE49-F238E27FC236}">
                  <a16:creationId xmlns:a16="http://schemas.microsoft.com/office/drawing/2014/main" id="{E13CF9E3-7170-EC73-7FF2-5B4EA31B50CC}"/>
                </a:ext>
              </a:extLst>
            </p:cNvPr>
            <p:cNvSpPr txBox="1"/>
            <p:nvPr/>
          </p:nvSpPr>
          <p:spPr>
            <a:xfrm rot="1788">
              <a:off x="1674022" y="5195717"/>
              <a:ext cx="325304" cy="292388"/>
            </a:xfrm>
            <a:prstGeom prst="rect">
              <a:avLst/>
            </a:prstGeom>
            <a:noFill/>
          </p:spPr>
          <p:txBody>
            <a:bodyPr wrap="none" rtlCol="0">
              <a:spAutoFit/>
            </a:bodyPr>
            <a:lstStyle/>
            <a:p>
              <a:pPr algn="l"/>
              <a:r>
                <a:rPr lang="en-US" sz="825" dirty="0">
                  <a:ln/>
                  <a:solidFill>
                    <a:srgbClr val="000000"/>
                  </a:solidFill>
                  <a:latin typeface="Arial" panose="020B0604020202020204" pitchFamily="34" charset="0"/>
                  <a:cs typeface="Arial" panose="020B0604020202020204" pitchFamily="34" charset="0"/>
                  <a:sym typeface="HelveticaNeueLTStd-Roman"/>
                  <a:rtl val="0"/>
                </a:rPr>
                <a:t>3</a:t>
              </a:r>
            </a:p>
          </p:txBody>
        </p:sp>
        <p:sp>
          <p:nvSpPr>
            <p:cNvPr id="1935" name="TextBox 1934">
              <a:extLst>
                <a:ext uri="{FF2B5EF4-FFF2-40B4-BE49-F238E27FC236}">
                  <a16:creationId xmlns:a16="http://schemas.microsoft.com/office/drawing/2014/main" id="{9A4FD948-6CFC-4142-7750-28030E5B0FE4}"/>
                </a:ext>
              </a:extLst>
            </p:cNvPr>
            <p:cNvSpPr txBox="1"/>
            <p:nvPr/>
          </p:nvSpPr>
          <p:spPr>
            <a:xfrm rot="1788">
              <a:off x="1882586" y="5195717"/>
              <a:ext cx="325304" cy="292388"/>
            </a:xfrm>
            <a:prstGeom prst="rect">
              <a:avLst/>
            </a:prstGeom>
            <a:noFill/>
          </p:spPr>
          <p:txBody>
            <a:bodyPr wrap="none" rtlCol="0">
              <a:spAutoFit/>
            </a:bodyPr>
            <a:lstStyle/>
            <a:p>
              <a:pPr algn="l"/>
              <a:r>
                <a:rPr lang="en-US" sz="825" dirty="0">
                  <a:ln/>
                  <a:solidFill>
                    <a:srgbClr val="000000"/>
                  </a:solidFill>
                  <a:latin typeface="Arial" panose="020B0604020202020204" pitchFamily="34" charset="0"/>
                  <a:cs typeface="Arial" panose="020B0604020202020204" pitchFamily="34" charset="0"/>
                  <a:sym typeface="HelveticaNeueLTStd-Roman"/>
                  <a:rtl val="0"/>
                </a:rPr>
                <a:t>4</a:t>
              </a:r>
            </a:p>
          </p:txBody>
        </p:sp>
        <p:sp>
          <p:nvSpPr>
            <p:cNvPr id="1936" name="TextBox 1935">
              <a:extLst>
                <a:ext uri="{FF2B5EF4-FFF2-40B4-BE49-F238E27FC236}">
                  <a16:creationId xmlns:a16="http://schemas.microsoft.com/office/drawing/2014/main" id="{E9C6B4ED-5786-1554-3C2C-4B78A36E325D}"/>
                </a:ext>
              </a:extLst>
            </p:cNvPr>
            <p:cNvSpPr txBox="1"/>
            <p:nvPr/>
          </p:nvSpPr>
          <p:spPr>
            <a:xfrm rot="1788">
              <a:off x="2069018" y="5195717"/>
              <a:ext cx="325304" cy="292388"/>
            </a:xfrm>
            <a:prstGeom prst="rect">
              <a:avLst/>
            </a:prstGeom>
            <a:noFill/>
          </p:spPr>
          <p:txBody>
            <a:bodyPr wrap="none" rtlCol="0">
              <a:spAutoFit/>
            </a:bodyPr>
            <a:lstStyle/>
            <a:p>
              <a:pPr algn="l"/>
              <a:r>
                <a:rPr lang="en-US" sz="825" dirty="0">
                  <a:ln/>
                  <a:solidFill>
                    <a:srgbClr val="000000"/>
                  </a:solidFill>
                  <a:latin typeface="Arial" panose="020B0604020202020204" pitchFamily="34" charset="0"/>
                  <a:cs typeface="Arial" panose="020B0604020202020204" pitchFamily="34" charset="0"/>
                  <a:sym typeface="HelveticaNeueLTStd-Roman"/>
                  <a:rtl val="0"/>
                </a:rPr>
                <a:t>5</a:t>
              </a:r>
            </a:p>
          </p:txBody>
        </p:sp>
        <p:sp>
          <p:nvSpPr>
            <p:cNvPr id="1937" name="TextBox 1936">
              <a:extLst>
                <a:ext uri="{FF2B5EF4-FFF2-40B4-BE49-F238E27FC236}">
                  <a16:creationId xmlns:a16="http://schemas.microsoft.com/office/drawing/2014/main" id="{FF6B8424-B558-7274-9D89-503BB4D6AF42}"/>
                </a:ext>
              </a:extLst>
            </p:cNvPr>
            <p:cNvSpPr txBox="1"/>
            <p:nvPr/>
          </p:nvSpPr>
          <p:spPr>
            <a:xfrm rot="1788">
              <a:off x="2268119" y="5195717"/>
              <a:ext cx="325304" cy="292388"/>
            </a:xfrm>
            <a:prstGeom prst="rect">
              <a:avLst/>
            </a:prstGeom>
            <a:noFill/>
          </p:spPr>
          <p:txBody>
            <a:bodyPr wrap="none" rtlCol="0">
              <a:spAutoFit/>
            </a:bodyPr>
            <a:lstStyle/>
            <a:p>
              <a:pPr algn="l"/>
              <a:r>
                <a:rPr lang="en-US" sz="825">
                  <a:ln/>
                  <a:solidFill>
                    <a:srgbClr val="000000"/>
                  </a:solidFill>
                  <a:latin typeface="Arial" panose="020B0604020202020204" pitchFamily="34" charset="0"/>
                  <a:cs typeface="Arial" panose="020B0604020202020204" pitchFamily="34" charset="0"/>
                  <a:sym typeface="HelveticaNeueLTStd-Roman"/>
                  <a:rtl val="0"/>
                </a:rPr>
                <a:t>6</a:t>
              </a:r>
            </a:p>
          </p:txBody>
        </p:sp>
        <p:sp>
          <p:nvSpPr>
            <p:cNvPr id="1938" name="TextBox 1937">
              <a:extLst>
                <a:ext uri="{FF2B5EF4-FFF2-40B4-BE49-F238E27FC236}">
                  <a16:creationId xmlns:a16="http://schemas.microsoft.com/office/drawing/2014/main" id="{B280E4F0-6DB6-C367-1C64-C75C34BA19AE}"/>
                </a:ext>
              </a:extLst>
            </p:cNvPr>
            <p:cNvSpPr txBox="1"/>
            <p:nvPr/>
          </p:nvSpPr>
          <p:spPr>
            <a:xfrm rot="1788">
              <a:off x="2454574" y="5195717"/>
              <a:ext cx="325304" cy="292388"/>
            </a:xfrm>
            <a:prstGeom prst="rect">
              <a:avLst/>
            </a:prstGeom>
            <a:noFill/>
          </p:spPr>
          <p:txBody>
            <a:bodyPr wrap="none" rtlCol="0">
              <a:spAutoFit/>
            </a:bodyPr>
            <a:lstStyle/>
            <a:p>
              <a:pPr algn="l"/>
              <a:r>
                <a:rPr lang="en-US" sz="825">
                  <a:ln/>
                  <a:solidFill>
                    <a:srgbClr val="000000"/>
                  </a:solidFill>
                  <a:latin typeface="Arial" panose="020B0604020202020204" pitchFamily="34" charset="0"/>
                  <a:cs typeface="Arial" panose="020B0604020202020204" pitchFamily="34" charset="0"/>
                  <a:sym typeface="HelveticaNeueLTStd-Roman"/>
                  <a:rtl val="0"/>
                </a:rPr>
                <a:t>7</a:t>
              </a:r>
            </a:p>
          </p:txBody>
        </p:sp>
        <p:sp>
          <p:nvSpPr>
            <p:cNvPr id="1939" name="TextBox 1938">
              <a:extLst>
                <a:ext uri="{FF2B5EF4-FFF2-40B4-BE49-F238E27FC236}">
                  <a16:creationId xmlns:a16="http://schemas.microsoft.com/office/drawing/2014/main" id="{2E6393CD-B22F-CE9E-8A6E-E198A2DF04D1}"/>
                </a:ext>
              </a:extLst>
            </p:cNvPr>
            <p:cNvSpPr txBox="1"/>
            <p:nvPr/>
          </p:nvSpPr>
          <p:spPr>
            <a:xfrm rot="1788">
              <a:off x="2646686" y="5195717"/>
              <a:ext cx="325304" cy="292388"/>
            </a:xfrm>
            <a:prstGeom prst="rect">
              <a:avLst/>
            </a:prstGeom>
            <a:noFill/>
          </p:spPr>
          <p:txBody>
            <a:bodyPr wrap="none" rtlCol="0">
              <a:spAutoFit/>
            </a:bodyPr>
            <a:lstStyle/>
            <a:p>
              <a:pPr algn="l"/>
              <a:r>
                <a:rPr lang="en-US" sz="825">
                  <a:ln/>
                  <a:solidFill>
                    <a:srgbClr val="000000"/>
                  </a:solidFill>
                  <a:latin typeface="Arial" panose="020B0604020202020204" pitchFamily="34" charset="0"/>
                  <a:cs typeface="Arial" panose="020B0604020202020204" pitchFamily="34" charset="0"/>
                  <a:sym typeface="HelveticaNeueLTStd-Roman"/>
                  <a:rtl val="0"/>
                </a:rPr>
                <a:t>8</a:t>
              </a:r>
            </a:p>
          </p:txBody>
        </p:sp>
        <p:sp>
          <p:nvSpPr>
            <p:cNvPr id="1940" name="TextBox 1939">
              <a:extLst>
                <a:ext uri="{FF2B5EF4-FFF2-40B4-BE49-F238E27FC236}">
                  <a16:creationId xmlns:a16="http://schemas.microsoft.com/office/drawing/2014/main" id="{C72EDD13-EF74-F3DF-B18A-C3826A85A63E}"/>
                </a:ext>
              </a:extLst>
            </p:cNvPr>
            <p:cNvSpPr txBox="1"/>
            <p:nvPr/>
          </p:nvSpPr>
          <p:spPr>
            <a:xfrm rot="1788">
              <a:off x="2833100" y="5195717"/>
              <a:ext cx="325304" cy="292388"/>
            </a:xfrm>
            <a:prstGeom prst="rect">
              <a:avLst/>
            </a:prstGeom>
            <a:noFill/>
          </p:spPr>
          <p:txBody>
            <a:bodyPr wrap="none" rtlCol="0">
              <a:spAutoFit/>
            </a:bodyPr>
            <a:lstStyle/>
            <a:p>
              <a:pPr algn="l"/>
              <a:r>
                <a:rPr lang="en-US" sz="825">
                  <a:ln/>
                  <a:solidFill>
                    <a:srgbClr val="000000"/>
                  </a:solidFill>
                  <a:latin typeface="Arial" panose="020B0604020202020204" pitchFamily="34" charset="0"/>
                  <a:cs typeface="Arial" panose="020B0604020202020204" pitchFamily="34" charset="0"/>
                  <a:sym typeface="HelveticaNeueLTStd-Roman"/>
                  <a:rtl val="0"/>
                </a:rPr>
                <a:t>9</a:t>
              </a:r>
            </a:p>
          </p:txBody>
        </p:sp>
        <p:sp>
          <p:nvSpPr>
            <p:cNvPr id="1941" name="TextBox 1940">
              <a:extLst>
                <a:ext uri="{FF2B5EF4-FFF2-40B4-BE49-F238E27FC236}">
                  <a16:creationId xmlns:a16="http://schemas.microsoft.com/office/drawing/2014/main" id="{1C0335F4-79DB-48B6-F92A-F291738CE149}"/>
                </a:ext>
              </a:extLst>
            </p:cNvPr>
            <p:cNvSpPr txBox="1"/>
            <p:nvPr/>
          </p:nvSpPr>
          <p:spPr>
            <a:xfrm rot="1788">
              <a:off x="2994239" y="5195737"/>
              <a:ext cx="404384" cy="292388"/>
            </a:xfrm>
            <a:prstGeom prst="rect">
              <a:avLst/>
            </a:prstGeom>
            <a:noFill/>
          </p:spPr>
          <p:txBody>
            <a:bodyPr wrap="none" rtlCol="0">
              <a:spAutoFit/>
            </a:bodyPr>
            <a:lstStyle/>
            <a:p>
              <a:pPr algn="l"/>
              <a:r>
                <a:rPr lang="en-US" sz="825">
                  <a:ln/>
                  <a:solidFill>
                    <a:srgbClr val="000000"/>
                  </a:solidFill>
                  <a:latin typeface="Arial" panose="020B0604020202020204" pitchFamily="34" charset="0"/>
                  <a:cs typeface="Arial" panose="020B0604020202020204" pitchFamily="34" charset="0"/>
                  <a:sym typeface="HelveticaNeueLTStd-Roman"/>
                  <a:rtl val="0"/>
                </a:rPr>
                <a:t>10</a:t>
              </a:r>
            </a:p>
          </p:txBody>
        </p:sp>
        <p:sp>
          <p:nvSpPr>
            <p:cNvPr id="1942" name="TextBox 1941">
              <a:extLst>
                <a:ext uri="{FF2B5EF4-FFF2-40B4-BE49-F238E27FC236}">
                  <a16:creationId xmlns:a16="http://schemas.microsoft.com/office/drawing/2014/main" id="{C1B768AB-A726-68D1-0878-527E818B4CD6}"/>
                </a:ext>
              </a:extLst>
            </p:cNvPr>
            <p:cNvSpPr txBox="1"/>
            <p:nvPr/>
          </p:nvSpPr>
          <p:spPr>
            <a:xfrm rot="1788">
              <a:off x="3180691" y="5195737"/>
              <a:ext cx="404384" cy="292388"/>
            </a:xfrm>
            <a:prstGeom prst="rect">
              <a:avLst/>
            </a:prstGeom>
            <a:noFill/>
          </p:spPr>
          <p:txBody>
            <a:bodyPr wrap="none" rtlCol="0">
              <a:spAutoFit/>
            </a:bodyPr>
            <a:lstStyle/>
            <a:p>
              <a:pPr algn="l"/>
              <a:r>
                <a:rPr lang="en-US" sz="825">
                  <a:ln/>
                  <a:solidFill>
                    <a:srgbClr val="000000"/>
                  </a:solidFill>
                  <a:latin typeface="Arial" panose="020B0604020202020204" pitchFamily="34" charset="0"/>
                  <a:cs typeface="Arial" panose="020B0604020202020204" pitchFamily="34" charset="0"/>
                  <a:sym typeface="HelveticaNeueLTStd-Roman"/>
                  <a:rtl val="0"/>
                </a:rPr>
                <a:t>11</a:t>
              </a:r>
            </a:p>
          </p:txBody>
        </p:sp>
        <p:sp>
          <p:nvSpPr>
            <p:cNvPr id="1943" name="TextBox 1942">
              <a:extLst>
                <a:ext uri="{FF2B5EF4-FFF2-40B4-BE49-F238E27FC236}">
                  <a16:creationId xmlns:a16="http://schemas.microsoft.com/office/drawing/2014/main" id="{7AC9028C-19B8-9A76-1EB6-7F479B4BF10C}"/>
                </a:ext>
              </a:extLst>
            </p:cNvPr>
            <p:cNvSpPr txBox="1"/>
            <p:nvPr/>
          </p:nvSpPr>
          <p:spPr>
            <a:xfrm rot="1788">
              <a:off x="3389284" y="5195737"/>
              <a:ext cx="404384" cy="292388"/>
            </a:xfrm>
            <a:prstGeom prst="rect">
              <a:avLst/>
            </a:prstGeom>
            <a:noFill/>
          </p:spPr>
          <p:txBody>
            <a:bodyPr wrap="none" rtlCol="0">
              <a:spAutoFit/>
            </a:bodyPr>
            <a:lstStyle/>
            <a:p>
              <a:pPr algn="l"/>
              <a:r>
                <a:rPr lang="en-US" sz="825">
                  <a:ln/>
                  <a:solidFill>
                    <a:srgbClr val="000000"/>
                  </a:solidFill>
                  <a:latin typeface="Arial" panose="020B0604020202020204" pitchFamily="34" charset="0"/>
                  <a:cs typeface="Arial" panose="020B0604020202020204" pitchFamily="34" charset="0"/>
                  <a:sym typeface="HelveticaNeueLTStd-Roman"/>
                  <a:rtl val="0"/>
                </a:rPr>
                <a:t>12</a:t>
              </a:r>
            </a:p>
          </p:txBody>
        </p:sp>
        <p:sp>
          <p:nvSpPr>
            <p:cNvPr id="1944" name="TextBox 1943">
              <a:extLst>
                <a:ext uri="{FF2B5EF4-FFF2-40B4-BE49-F238E27FC236}">
                  <a16:creationId xmlns:a16="http://schemas.microsoft.com/office/drawing/2014/main" id="{ECB91BBB-0CA1-F412-3EB9-4698B761EE67}"/>
                </a:ext>
              </a:extLst>
            </p:cNvPr>
            <p:cNvSpPr txBox="1"/>
            <p:nvPr/>
          </p:nvSpPr>
          <p:spPr>
            <a:xfrm rot="1788">
              <a:off x="3575688" y="5195737"/>
              <a:ext cx="404384" cy="292388"/>
            </a:xfrm>
            <a:prstGeom prst="rect">
              <a:avLst/>
            </a:prstGeom>
            <a:noFill/>
          </p:spPr>
          <p:txBody>
            <a:bodyPr wrap="none" rtlCol="0">
              <a:spAutoFit/>
            </a:bodyPr>
            <a:lstStyle/>
            <a:p>
              <a:pPr algn="l"/>
              <a:r>
                <a:rPr lang="en-US" sz="825">
                  <a:ln/>
                  <a:solidFill>
                    <a:srgbClr val="000000"/>
                  </a:solidFill>
                  <a:latin typeface="Arial" panose="020B0604020202020204" pitchFamily="34" charset="0"/>
                  <a:cs typeface="Arial" panose="020B0604020202020204" pitchFamily="34" charset="0"/>
                  <a:sym typeface="HelveticaNeueLTStd-Roman"/>
                  <a:rtl val="0"/>
                </a:rPr>
                <a:t>13</a:t>
              </a:r>
            </a:p>
          </p:txBody>
        </p:sp>
        <p:sp>
          <p:nvSpPr>
            <p:cNvPr id="1945" name="TextBox 1944">
              <a:extLst>
                <a:ext uri="{FF2B5EF4-FFF2-40B4-BE49-F238E27FC236}">
                  <a16:creationId xmlns:a16="http://schemas.microsoft.com/office/drawing/2014/main" id="{77F63AD4-C76B-80AC-46E8-F30F0F87AA92}"/>
                </a:ext>
              </a:extLst>
            </p:cNvPr>
            <p:cNvSpPr txBox="1"/>
            <p:nvPr/>
          </p:nvSpPr>
          <p:spPr>
            <a:xfrm rot="1788">
              <a:off x="3774802" y="5195737"/>
              <a:ext cx="404384" cy="292388"/>
            </a:xfrm>
            <a:prstGeom prst="rect">
              <a:avLst/>
            </a:prstGeom>
            <a:noFill/>
          </p:spPr>
          <p:txBody>
            <a:bodyPr wrap="none" rtlCol="0">
              <a:spAutoFit/>
            </a:bodyPr>
            <a:lstStyle/>
            <a:p>
              <a:pPr algn="l"/>
              <a:r>
                <a:rPr lang="en-US" sz="825">
                  <a:ln/>
                  <a:solidFill>
                    <a:srgbClr val="000000"/>
                  </a:solidFill>
                  <a:latin typeface="Arial" panose="020B0604020202020204" pitchFamily="34" charset="0"/>
                  <a:cs typeface="Arial" panose="020B0604020202020204" pitchFamily="34" charset="0"/>
                  <a:sym typeface="HelveticaNeueLTStd-Roman"/>
                  <a:rtl val="0"/>
                </a:rPr>
                <a:t>14</a:t>
              </a:r>
            </a:p>
          </p:txBody>
        </p:sp>
        <p:sp>
          <p:nvSpPr>
            <p:cNvPr id="1946" name="TextBox 1945">
              <a:extLst>
                <a:ext uri="{FF2B5EF4-FFF2-40B4-BE49-F238E27FC236}">
                  <a16:creationId xmlns:a16="http://schemas.microsoft.com/office/drawing/2014/main" id="{153E04FF-BEDC-14B4-F75F-9A6F3F3B0A23}"/>
                </a:ext>
              </a:extLst>
            </p:cNvPr>
            <p:cNvSpPr txBox="1"/>
            <p:nvPr/>
          </p:nvSpPr>
          <p:spPr>
            <a:xfrm rot="1788">
              <a:off x="3961244" y="5195737"/>
              <a:ext cx="404384" cy="292388"/>
            </a:xfrm>
            <a:prstGeom prst="rect">
              <a:avLst/>
            </a:prstGeom>
            <a:noFill/>
          </p:spPr>
          <p:txBody>
            <a:bodyPr wrap="none" rtlCol="0">
              <a:spAutoFit/>
            </a:bodyPr>
            <a:lstStyle/>
            <a:p>
              <a:pPr algn="l"/>
              <a:r>
                <a:rPr lang="en-US" sz="825">
                  <a:ln/>
                  <a:solidFill>
                    <a:srgbClr val="000000"/>
                  </a:solidFill>
                  <a:latin typeface="Arial" panose="020B0604020202020204" pitchFamily="34" charset="0"/>
                  <a:cs typeface="Arial" panose="020B0604020202020204" pitchFamily="34" charset="0"/>
                  <a:sym typeface="HelveticaNeueLTStd-Roman"/>
                  <a:rtl val="0"/>
                </a:rPr>
                <a:t>15</a:t>
              </a:r>
            </a:p>
          </p:txBody>
        </p:sp>
        <p:sp>
          <p:nvSpPr>
            <p:cNvPr id="1947" name="TextBox 1946">
              <a:extLst>
                <a:ext uri="{FF2B5EF4-FFF2-40B4-BE49-F238E27FC236}">
                  <a16:creationId xmlns:a16="http://schemas.microsoft.com/office/drawing/2014/main" id="{FE8C26CF-AF20-1094-F3FC-DFCCF518C9D2}"/>
                </a:ext>
              </a:extLst>
            </p:cNvPr>
            <p:cNvSpPr txBox="1"/>
            <p:nvPr/>
          </p:nvSpPr>
          <p:spPr>
            <a:xfrm>
              <a:off x="4219650" y="5211037"/>
              <a:ext cx="404384" cy="292388"/>
            </a:xfrm>
            <a:prstGeom prst="rect">
              <a:avLst/>
            </a:prstGeom>
            <a:noFill/>
          </p:spPr>
          <p:txBody>
            <a:bodyPr wrap="none" rtlCol="0">
              <a:spAutoFit/>
            </a:bodyPr>
            <a:lstStyle/>
            <a:p>
              <a:pPr algn="l"/>
              <a:r>
                <a:rPr lang="en-US" sz="825">
                  <a:ln/>
                  <a:solidFill>
                    <a:srgbClr val="000000"/>
                  </a:solidFill>
                  <a:latin typeface="Arial" panose="020B0604020202020204" pitchFamily="34" charset="0"/>
                  <a:cs typeface="Arial" panose="020B0604020202020204" pitchFamily="34" charset="0"/>
                  <a:sym typeface="HelveticaNeueLTStd-Roman"/>
                  <a:rtl val="0"/>
                </a:rPr>
                <a:t>16</a:t>
              </a:r>
            </a:p>
          </p:txBody>
        </p:sp>
        <p:sp>
          <p:nvSpPr>
            <p:cNvPr id="1948" name="TextBox 1947">
              <a:extLst>
                <a:ext uri="{FF2B5EF4-FFF2-40B4-BE49-F238E27FC236}">
                  <a16:creationId xmlns:a16="http://schemas.microsoft.com/office/drawing/2014/main" id="{7DC06BF3-B387-1740-4838-1914EDBA5481}"/>
                </a:ext>
              </a:extLst>
            </p:cNvPr>
            <p:cNvSpPr txBox="1"/>
            <p:nvPr/>
          </p:nvSpPr>
          <p:spPr>
            <a:xfrm>
              <a:off x="4406094" y="5211037"/>
              <a:ext cx="404384" cy="292388"/>
            </a:xfrm>
            <a:prstGeom prst="rect">
              <a:avLst/>
            </a:prstGeom>
            <a:noFill/>
          </p:spPr>
          <p:txBody>
            <a:bodyPr wrap="none" rtlCol="0">
              <a:spAutoFit/>
            </a:bodyPr>
            <a:lstStyle/>
            <a:p>
              <a:pPr algn="l"/>
              <a:r>
                <a:rPr lang="en-US" sz="825">
                  <a:ln/>
                  <a:solidFill>
                    <a:srgbClr val="000000"/>
                  </a:solidFill>
                  <a:latin typeface="Arial" panose="020B0604020202020204" pitchFamily="34" charset="0"/>
                  <a:cs typeface="Arial" panose="020B0604020202020204" pitchFamily="34" charset="0"/>
                  <a:sym typeface="HelveticaNeueLTStd-Roman"/>
                  <a:rtl val="0"/>
                </a:rPr>
                <a:t>17</a:t>
              </a:r>
            </a:p>
          </p:txBody>
        </p:sp>
        <p:sp>
          <p:nvSpPr>
            <p:cNvPr id="1949" name="TextBox 1948">
              <a:extLst>
                <a:ext uri="{FF2B5EF4-FFF2-40B4-BE49-F238E27FC236}">
                  <a16:creationId xmlns:a16="http://schemas.microsoft.com/office/drawing/2014/main" id="{D1AFB831-9C0B-72C0-774D-6FDA49D6B05A}"/>
                </a:ext>
              </a:extLst>
            </p:cNvPr>
            <p:cNvSpPr txBox="1"/>
            <p:nvPr/>
          </p:nvSpPr>
          <p:spPr>
            <a:xfrm>
              <a:off x="4605176" y="5211037"/>
              <a:ext cx="404384" cy="292388"/>
            </a:xfrm>
            <a:prstGeom prst="rect">
              <a:avLst/>
            </a:prstGeom>
            <a:noFill/>
          </p:spPr>
          <p:txBody>
            <a:bodyPr wrap="none" rtlCol="0">
              <a:spAutoFit/>
            </a:bodyPr>
            <a:lstStyle/>
            <a:p>
              <a:pPr algn="l"/>
              <a:r>
                <a:rPr lang="en-US" sz="825">
                  <a:ln/>
                  <a:solidFill>
                    <a:srgbClr val="000000"/>
                  </a:solidFill>
                  <a:latin typeface="Arial" panose="020B0604020202020204" pitchFamily="34" charset="0"/>
                  <a:cs typeface="Arial" panose="020B0604020202020204" pitchFamily="34" charset="0"/>
                  <a:sym typeface="HelveticaNeueLTStd-Roman"/>
                  <a:rtl val="0"/>
                </a:rPr>
                <a:t>18</a:t>
              </a:r>
            </a:p>
          </p:txBody>
        </p:sp>
        <p:sp>
          <p:nvSpPr>
            <p:cNvPr id="1950" name="TextBox 1949">
              <a:extLst>
                <a:ext uri="{FF2B5EF4-FFF2-40B4-BE49-F238E27FC236}">
                  <a16:creationId xmlns:a16="http://schemas.microsoft.com/office/drawing/2014/main" id="{D05FB861-3E6C-55F0-8CDC-BEA06D656B1F}"/>
                </a:ext>
              </a:extLst>
            </p:cNvPr>
            <p:cNvSpPr txBox="1"/>
            <p:nvPr/>
          </p:nvSpPr>
          <p:spPr>
            <a:xfrm>
              <a:off x="4791627" y="5211037"/>
              <a:ext cx="404384" cy="292388"/>
            </a:xfrm>
            <a:prstGeom prst="rect">
              <a:avLst/>
            </a:prstGeom>
            <a:noFill/>
          </p:spPr>
          <p:txBody>
            <a:bodyPr wrap="none" rtlCol="0">
              <a:spAutoFit/>
            </a:bodyPr>
            <a:lstStyle/>
            <a:p>
              <a:pPr algn="l"/>
              <a:r>
                <a:rPr lang="en-US" sz="825">
                  <a:ln/>
                  <a:solidFill>
                    <a:srgbClr val="000000"/>
                  </a:solidFill>
                  <a:latin typeface="Arial" panose="020B0604020202020204" pitchFamily="34" charset="0"/>
                  <a:cs typeface="Arial" panose="020B0604020202020204" pitchFamily="34" charset="0"/>
                  <a:sym typeface="HelveticaNeueLTStd-Roman"/>
                  <a:rtl val="0"/>
                </a:rPr>
                <a:t>19</a:t>
              </a:r>
            </a:p>
          </p:txBody>
        </p:sp>
        <p:sp>
          <p:nvSpPr>
            <p:cNvPr id="1951" name="TextBox 1950">
              <a:extLst>
                <a:ext uri="{FF2B5EF4-FFF2-40B4-BE49-F238E27FC236}">
                  <a16:creationId xmlns:a16="http://schemas.microsoft.com/office/drawing/2014/main" id="{88ED029C-1256-EFB4-BA47-B82D560E056B}"/>
                </a:ext>
              </a:extLst>
            </p:cNvPr>
            <p:cNvSpPr txBox="1"/>
            <p:nvPr/>
          </p:nvSpPr>
          <p:spPr>
            <a:xfrm>
              <a:off x="5000202" y="5211037"/>
              <a:ext cx="404384" cy="292388"/>
            </a:xfrm>
            <a:prstGeom prst="rect">
              <a:avLst/>
            </a:prstGeom>
            <a:noFill/>
          </p:spPr>
          <p:txBody>
            <a:bodyPr wrap="none" rtlCol="0">
              <a:spAutoFit/>
            </a:bodyPr>
            <a:lstStyle/>
            <a:p>
              <a:pPr algn="l"/>
              <a:r>
                <a:rPr lang="en-US" sz="825">
                  <a:ln/>
                  <a:solidFill>
                    <a:srgbClr val="000000"/>
                  </a:solidFill>
                  <a:latin typeface="Arial" panose="020B0604020202020204" pitchFamily="34" charset="0"/>
                  <a:cs typeface="Arial" panose="020B0604020202020204" pitchFamily="34" charset="0"/>
                  <a:sym typeface="HelveticaNeueLTStd-Roman"/>
                  <a:rtl val="0"/>
                </a:rPr>
                <a:t>20</a:t>
              </a:r>
            </a:p>
          </p:txBody>
        </p:sp>
        <p:sp>
          <p:nvSpPr>
            <p:cNvPr id="1952" name="TextBox 1951">
              <a:extLst>
                <a:ext uri="{FF2B5EF4-FFF2-40B4-BE49-F238E27FC236}">
                  <a16:creationId xmlns:a16="http://schemas.microsoft.com/office/drawing/2014/main" id="{0A704FA6-7661-0A70-7D2E-76A8D4EF53DF}"/>
                </a:ext>
              </a:extLst>
            </p:cNvPr>
            <p:cNvSpPr txBox="1"/>
            <p:nvPr/>
          </p:nvSpPr>
          <p:spPr>
            <a:xfrm>
              <a:off x="5186644" y="5211037"/>
              <a:ext cx="404384" cy="292388"/>
            </a:xfrm>
            <a:prstGeom prst="rect">
              <a:avLst/>
            </a:prstGeom>
            <a:noFill/>
          </p:spPr>
          <p:txBody>
            <a:bodyPr wrap="none" rtlCol="0">
              <a:spAutoFit/>
            </a:bodyPr>
            <a:lstStyle/>
            <a:p>
              <a:pPr algn="l"/>
              <a:r>
                <a:rPr lang="en-US" sz="825">
                  <a:ln/>
                  <a:solidFill>
                    <a:srgbClr val="000000"/>
                  </a:solidFill>
                  <a:latin typeface="Arial" panose="020B0604020202020204" pitchFamily="34" charset="0"/>
                  <a:cs typeface="Arial" panose="020B0604020202020204" pitchFamily="34" charset="0"/>
                  <a:sym typeface="HelveticaNeueLTStd-Roman"/>
                  <a:rtl val="0"/>
                </a:rPr>
                <a:t>21</a:t>
              </a:r>
            </a:p>
          </p:txBody>
        </p:sp>
        <p:sp>
          <p:nvSpPr>
            <p:cNvPr id="1953" name="TextBox 1952">
              <a:extLst>
                <a:ext uri="{FF2B5EF4-FFF2-40B4-BE49-F238E27FC236}">
                  <a16:creationId xmlns:a16="http://schemas.microsoft.com/office/drawing/2014/main" id="{3F93851D-16FA-EBF1-D7DC-D4E4F4B5965E}"/>
                </a:ext>
              </a:extLst>
            </p:cNvPr>
            <p:cNvSpPr txBox="1"/>
            <p:nvPr/>
          </p:nvSpPr>
          <p:spPr>
            <a:xfrm>
              <a:off x="5385738" y="5211037"/>
              <a:ext cx="404384" cy="292388"/>
            </a:xfrm>
            <a:prstGeom prst="rect">
              <a:avLst/>
            </a:prstGeom>
            <a:noFill/>
          </p:spPr>
          <p:txBody>
            <a:bodyPr wrap="none" rtlCol="0">
              <a:spAutoFit/>
            </a:bodyPr>
            <a:lstStyle/>
            <a:p>
              <a:pPr algn="l"/>
              <a:r>
                <a:rPr lang="en-US" sz="825">
                  <a:ln/>
                  <a:solidFill>
                    <a:srgbClr val="000000"/>
                  </a:solidFill>
                  <a:latin typeface="Arial" panose="020B0604020202020204" pitchFamily="34" charset="0"/>
                  <a:cs typeface="Arial" panose="020B0604020202020204" pitchFamily="34" charset="0"/>
                  <a:sym typeface="HelveticaNeueLTStd-Roman"/>
                  <a:rtl val="0"/>
                </a:rPr>
                <a:t>22</a:t>
              </a:r>
            </a:p>
          </p:txBody>
        </p:sp>
        <p:sp>
          <p:nvSpPr>
            <p:cNvPr id="1954" name="TextBox 1953">
              <a:extLst>
                <a:ext uri="{FF2B5EF4-FFF2-40B4-BE49-F238E27FC236}">
                  <a16:creationId xmlns:a16="http://schemas.microsoft.com/office/drawing/2014/main" id="{7FFA9D43-DD76-BE04-37A6-D54B96F45920}"/>
                </a:ext>
              </a:extLst>
            </p:cNvPr>
            <p:cNvSpPr txBox="1"/>
            <p:nvPr/>
          </p:nvSpPr>
          <p:spPr>
            <a:xfrm>
              <a:off x="5572161" y="5211037"/>
              <a:ext cx="404384" cy="292388"/>
            </a:xfrm>
            <a:prstGeom prst="rect">
              <a:avLst/>
            </a:prstGeom>
            <a:noFill/>
          </p:spPr>
          <p:txBody>
            <a:bodyPr wrap="none" rtlCol="0">
              <a:spAutoFit/>
            </a:bodyPr>
            <a:lstStyle/>
            <a:p>
              <a:pPr algn="l"/>
              <a:r>
                <a:rPr lang="en-US" sz="825">
                  <a:ln/>
                  <a:solidFill>
                    <a:srgbClr val="000000"/>
                  </a:solidFill>
                  <a:latin typeface="Arial" panose="020B0604020202020204" pitchFamily="34" charset="0"/>
                  <a:cs typeface="Arial" panose="020B0604020202020204" pitchFamily="34" charset="0"/>
                  <a:sym typeface="HelveticaNeueLTStd-Roman"/>
                  <a:rtl val="0"/>
                </a:rPr>
                <a:t>23</a:t>
              </a:r>
            </a:p>
          </p:txBody>
        </p:sp>
        <p:sp>
          <p:nvSpPr>
            <p:cNvPr id="1955" name="TextBox 1954">
              <a:extLst>
                <a:ext uri="{FF2B5EF4-FFF2-40B4-BE49-F238E27FC236}">
                  <a16:creationId xmlns:a16="http://schemas.microsoft.com/office/drawing/2014/main" id="{59247CCB-0EE9-DBAB-C26F-581DC3515E36}"/>
                </a:ext>
              </a:extLst>
            </p:cNvPr>
            <p:cNvSpPr txBox="1"/>
            <p:nvPr/>
          </p:nvSpPr>
          <p:spPr>
            <a:xfrm>
              <a:off x="5764292" y="5211037"/>
              <a:ext cx="404384" cy="292388"/>
            </a:xfrm>
            <a:prstGeom prst="rect">
              <a:avLst/>
            </a:prstGeom>
            <a:noFill/>
          </p:spPr>
          <p:txBody>
            <a:bodyPr wrap="none" rtlCol="0">
              <a:spAutoFit/>
            </a:bodyPr>
            <a:lstStyle/>
            <a:p>
              <a:pPr algn="l"/>
              <a:r>
                <a:rPr lang="en-US" sz="825">
                  <a:ln/>
                  <a:solidFill>
                    <a:srgbClr val="000000"/>
                  </a:solidFill>
                  <a:latin typeface="Arial" panose="020B0604020202020204" pitchFamily="34" charset="0"/>
                  <a:cs typeface="Arial" panose="020B0604020202020204" pitchFamily="34" charset="0"/>
                  <a:sym typeface="HelveticaNeueLTStd-Roman"/>
                  <a:rtl val="0"/>
                </a:rPr>
                <a:t>24</a:t>
              </a:r>
            </a:p>
          </p:txBody>
        </p:sp>
        <p:sp>
          <p:nvSpPr>
            <p:cNvPr id="1956" name="TextBox 1955">
              <a:extLst>
                <a:ext uri="{FF2B5EF4-FFF2-40B4-BE49-F238E27FC236}">
                  <a16:creationId xmlns:a16="http://schemas.microsoft.com/office/drawing/2014/main" id="{823E14CE-F82F-FE58-465F-0BF8670A6D8D}"/>
                </a:ext>
              </a:extLst>
            </p:cNvPr>
            <p:cNvSpPr txBox="1"/>
            <p:nvPr/>
          </p:nvSpPr>
          <p:spPr>
            <a:xfrm>
              <a:off x="5950755" y="5211037"/>
              <a:ext cx="404384" cy="292388"/>
            </a:xfrm>
            <a:prstGeom prst="rect">
              <a:avLst/>
            </a:prstGeom>
            <a:noFill/>
          </p:spPr>
          <p:txBody>
            <a:bodyPr wrap="none" rtlCol="0">
              <a:spAutoFit/>
            </a:bodyPr>
            <a:lstStyle/>
            <a:p>
              <a:pPr algn="l"/>
              <a:r>
                <a:rPr lang="en-US" sz="825" dirty="0">
                  <a:ln/>
                  <a:solidFill>
                    <a:srgbClr val="000000"/>
                  </a:solidFill>
                  <a:latin typeface="Arial" panose="020B0604020202020204" pitchFamily="34" charset="0"/>
                  <a:cs typeface="Arial" panose="020B0604020202020204" pitchFamily="34" charset="0"/>
                  <a:sym typeface="HelveticaNeueLTStd-Roman"/>
                  <a:rtl val="0"/>
                </a:rPr>
                <a:t>25</a:t>
              </a:r>
            </a:p>
          </p:txBody>
        </p:sp>
        <p:sp>
          <p:nvSpPr>
            <p:cNvPr id="1957" name="TextBox 1956">
              <a:extLst>
                <a:ext uri="{FF2B5EF4-FFF2-40B4-BE49-F238E27FC236}">
                  <a16:creationId xmlns:a16="http://schemas.microsoft.com/office/drawing/2014/main" id="{B8568BED-A370-F053-6AA9-397CE9CF8426}"/>
                </a:ext>
              </a:extLst>
            </p:cNvPr>
            <p:cNvSpPr txBox="1"/>
            <p:nvPr/>
          </p:nvSpPr>
          <p:spPr>
            <a:xfrm>
              <a:off x="6149828" y="5211037"/>
              <a:ext cx="404384" cy="292388"/>
            </a:xfrm>
            <a:prstGeom prst="rect">
              <a:avLst/>
            </a:prstGeom>
            <a:noFill/>
          </p:spPr>
          <p:txBody>
            <a:bodyPr wrap="none" rtlCol="0">
              <a:spAutoFit/>
            </a:bodyPr>
            <a:lstStyle/>
            <a:p>
              <a:pPr algn="l"/>
              <a:r>
                <a:rPr lang="en-US" sz="825">
                  <a:ln/>
                  <a:solidFill>
                    <a:srgbClr val="000000"/>
                  </a:solidFill>
                  <a:latin typeface="Arial" panose="020B0604020202020204" pitchFamily="34" charset="0"/>
                  <a:cs typeface="Arial" panose="020B0604020202020204" pitchFamily="34" charset="0"/>
                  <a:sym typeface="HelveticaNeueLTStd-Roman"/>
                  <a:rtl val="0"/>
                </a:rPr>
                <a:t>26</a:t>
              </a:r>
            </a:p>
          </p:txBody>
        </p:sp>
        <p:sp>
          <p:nvSpPr>
            <p:cNvPr id="1958" name="TextBox 1957">
              <a:extLst>
                <a:ext uri="{FF2B5EF4-FFF2-40B4-BE49-F238E27FC236}">
                  <a16:creationId xmlns:a16="http://schemas.microsoft.com/office/drawing/2014/main" id="{470E1DB9-6A00-71F8-6A75-983A4532D8B7}"/>
                </a:ext>
              </a:extLst>
            </p:cNvPr>
            <p:cNvSpPr txBox="1"/>
            <p:nvPr/>
          </p:nvSpPr>
          <p:spPr>
            <a:xfrm>
              <a:off x="6336280" y="5211037"/>
              <a:ext cx="404384" cy="292388"/>
            </a:xfrm>
            <a:prstGeom prst="rect">
              <a:avLst/>
            </a:prstGeom>
            <a:noFill/>
          </p:spPr>
          <p:txBody>
            <a:bodyPr wrap="none" rtlCol="0">
              <a:spAutoFit/>
            </a:bodyPr>
            <a:lstStyle/>
            <a:p>
              <a:pPr algn="l"/>
              <a:r>
                <a:rPr lang="en-US" sz="825">
                  <a:ln/>
                  <a:solidFill>
                    <a:srgbClr val="000000"/>
                  </a:solidFill>
                  <a:latin typeface="Arial" panose="020B0604020202020204" pitchFamily="34" charset="0"/>
                  <a:cs typeface="Arial" panose="020B0604020202020204" pitchFamily="34" charset="0"/>
                  <a:sym typeface="HelveticaNeueLTStd-Roman"/>
                  <a:rtl val="0"/>
                </a:rPr>
                <a:t>27</a:t>
              </a:r>
            </a:p>
          </p:txBody>
        </p:sp>
        <p:sp>
          <p:nvSpPr>
            <p:cNvPr id="1959" name="TextBox 1958">
              <a:extLst>
                <a:ext uri="{FF2B5EF4-FFF2-40B4-BE49-F238E27FC236}">
                  <a16:creationId xmlns:a16="http://schemas.microsoft.com/office/drawing/2014/main" id="{95CC2D37-C963-29D1-71A9-688B5123F51B}"/>
                </a:ext>
              </a:extLst>
            </p:cNvPr>
            <p:cNvSpPr txBox="1"/>
            <p:nvPr/>
          </p:nvSpPr>
          <p:spPr>
            <a:xfrm>
              <a:off x="6544855" y="5211037"/>
              <a:ext cx="404384" cy="292388"/>
            </a:xfrm>
            <a:prstGeom prst="rect">
              <a:avLst/>
            </a:prstGeom>
            <a:noFill/>
          </p:spPr>
          <p:txBody>
            <a:bodyPr wrap="none" rtlCol="0">
              <a:spAutoFit/>
            </a:bodyPr>
            <a:lstStyle/>
            <a:p>
              <a:pPr algn="l"/>
              <a:r>
                <a:rPr lang="en-US" sz="825">
                  <a:ln/>
                  <a:solidFill>
                    <a:srgbClr val="000000"/>
                  </a:solidFill>
                  <a:latin typeface="Arial" panose="020B0604020202020204" pitchFamily="34" charset="0"/>
                  <a:cs typeface="Arial" panose="020B0604020202020204" pitchFamily="34" charset="0"/>
                  <a:sym typeface="HelveticaNeueLTStd-Roman"/>
                  <a:rtl val="0"/>
                </a:rPr>
                <a:t>28</a:t>
              </a:r>
            </a:p>
          </p:txBody>
        </p:sp>
        <p:sp>
          <p:nvSpPr>
            <p:cNvPr id="1960" name="TextBox 1959">
              <a:extLst>
                <a:ext uri="{FF2B5EF4-FFF2-40B4-BE49-F238E27FC236}">
                  <a16:creationId xmlns:a16="http://schemas.microsoft.com/office/drawing/2014/main" id="{2CB54860-376A-F221-CA6A-E77D5DB4A0CD}"/>
                </a:ext>
              </a:extLst>
            </p:cNvPr>
            <p:cNvSpPr txBox="1"/>
            <p:nvPr/>
          </p:nvSpPr>
          <p:spPr>
            <a:xfrm>
              <a:off x="6731249" y="5211037"/>
              <a:ext cx="404384" cy="292388"/>
            </a:xfrm>
            <a:prstGeom prst="rect">
              <a:avLst/>
            </a:prstGeom>
            <a:noFill/>
          </p:spPr>
          <p:txBody>
            <a:bodyPr wrap="none" rtlCol="0">
              <a:spAutoFit/>
            </a:bodyPr>
            <a:lstStyle/>
            <a:p>
              <a:pPr algn="l"/>
              <a:r>
                <a:rPr lang="en-US" sz="825">
                  <a:ln/>
                  <a:solidFill>
                    <a:srgbClr val="000000"/>
                  </a:solidFill>
                  <a:latin typeface="Arial" panose="020B0604020202020204" pitchFamily="34" charset="0"/>
                  <a:cs typeface="Arial" panose="020B0604020202020204" pitchFamily="34" charset="0"/>
                  <a:sym typeface="HelveticaNeueLTStd-Roman"/>
                  <a:rtl val="0"/>
                </a:rPr>
                <a:t>29</a:t>
              </a:r>
            </a:p>
          </p:txBody>
        </p:sp>
        <p:sp>
          <p:nvSpPr>
            <p:cNvPr id="1961" name="TextBox 1960">
              <a:extLst>
                <a:ext uri="{FF2B5EF4-FFF2-40B4-BE49-F238E27FC236}">
                  <a16:creationId xmlns:a16="http://schemas.microsoft.com/office/drawing/2014/main" id="{B7BDA578-37AB-C942-A0B2-1EC173B49341}"/>
                </a:ext>
              </a:extLst>
            </p:cNvPr>
            <p:cNvSpPr txBox="1"/>
            <p:nvPr/>
          </p:nvSpPr>
          <p:spPr>
            <a:xfrm>
              <a:off x="6930408" y="5211037"/>
              <a:ext cx="404384" cy="292388"/>
            </a:xfrm>
            <a:prstGeom prst="rect">
              <a:avLst/>
            </a:prstGeom>
            <a:noFill/>
          </p:spPr>
          <p:txBody>
            <a:bodyPr wrap="none" rtlCol="0">
              <a:spAutoFit/>
            </a:bodyPr>
            <a:lstStyle/>
            <a:p>
              <a:pPr algn="l"/>
              <a:r>
                <a:rPr lang="en-US" sz="825">
                  <a:ln/>
                  <a:solidFill>
                    <a:srgbClr val="000000"/>
                  </a:solidFill>
                  <a:latin typeface="Arial" panose="020B0604020202020204" pitchFamily="34" charset="0"/>
                  <a:cs typeface="Arial" panose="020B0604020202020204" pitchFamily="34" charset="0"/>
                  <a:sym typeface="HelveticaNeueLTStd-Roman"/>
                  <a:rtl val="0"/>
                </a:rPr>
                <a:t>30</a:t>
              </a:r>
            </a:p>
          </p:txBody>
        </p:sp>
        <p:sp>
          <p:nvSpPr>
            <p:cNvPr id="1962" name="TextBox 1961">
              <a:extLst>
                <a:ext uri="{FF2B5EF4-FFF2-40B4-BE49-F238E27FC236}">
                  <a16:creationId xmlns:a16="http://schemas.microsoft.com/office/drawing/2014/main" id="{C04851FB-D02C-0DBF-9169-3F08101FCD58}"/>
                </a:ext>
              </a:extLst>
            </p:cNvPr>
            <p:cNvSpPr txBox="1"/>
            <p:nvPr/>
          </p:nvSpPr>
          <p:spPr>
            <a:xfrm>
              <a:off x="7116841" y="5211037"/>
              <a:ext cx="404384" cy="292388"/>
            </a:xfrm>
            <a:prstGeom prst="rect">
              <a:avLst/>
            </a:prstGeom>
            <a:noFill/>
          </p:spPr>
          <p:txBody>
            <a:bodyPr wrap="none" rtlCol="0">
              <a:spAutoFit/>
            </a:bodyPr>
            <a:lstStyle/>
            <a:p>
              <a:pPr algn="l"/>
              <a:r>
                <a:rPr lang="en-US" sz="825">
                  <a:ln/>
                  <a:solidFill>
                    <a:srgbClr val="000000"/>
                  </a:solidFill>
                  <a:latin typeface="Arial" panose="020B0604020202020204" pitchFamily="34" charset="0"/>
                  <a:cs typeface="Arial" panose="020B0604020202020204" pitchFamily="34" charset="0"/>
                  <a:sym typeface="HelveticaNeueLTStd-Roman"/>
                  <a:rtl val="0"/>
                </a:rPr>
                <a:t>31</a:t>
              </a:r>
            </a:p>
          </p:txBody>
        </p:sp>
        <p:sp>
          <p:nvSpPr>
            <p:cNvPr id="1963" name="TextBox 1962">
              <a:extLst>
                <a:ext uri="{FF2B5EF4-FFF2-40B4-BE49-F238E27FC236}">
                  <a16:creationId xmlns:a16="http://schemas.microsoft.com/office/drawing/2014/main" id="{9B5340D6-BA8E-B1DA-4F69-BCDA56B4B45C}"/>
                </a:ext>
              </a:extLst>
            </p:cNvPr>
            <p:cNvSpPr txBox="1"/>
            <p:nvPr/>
          </p:nvSpPr>
          <p:spPr>
            <a:xfrm>
              <a:off x="7316291" y="5211037"/>
              <a:ext cx="404384" cy="292388"/>
            </a:xfrm>
            <a:prstGeom prst="rect">
              <a:avLst/>
            </a:prstGeom>
            <a:noFill/>
          </p:spPr>
          <p:txBody>
            <a:bodyPr wrap="none" rtlCol="0">
              <a:spAutoFit/>
            </a:bodyPr>
            <a:lstStyle/>
            <a:p>
              <a:pPr algn="l"/>
              <a:r>
                <a:rPr lang="en-US" sz="825" dirty="0">
                  <a:ln/>
                  <a:solidFill>
                    <a:srgbClr val="000000"/>
                  </a:solidFill>
                  <a:latin typeface="Arial" panose="020B0604020202020204" pitchFamily="34" charset="0"/>
                  <a:cs typeface="Arial" panose="020B0604020202020204" pitchFamily="34" charset="0"/>
                  <a:sym typeface="HelveticaNeueLTStd-Roman"/>
                  <a:rtl val="0"/>
                </a:rPr>
                <a:t>32</a:t>
              </a:r>
            </a:p>
          </p:txBody>
        </p:sp>
        <p:sp>
          <p:nvSpPr>
            <p:cNvPr id="1964" name="TextBox 1963">
              <a:extLst>
                <a:ext uri="{FF2B5EF4-FFF2-40B4-BE49-F238E27FC236}">
                  <a16:creationId xmlns:a16="http://schemas.microsoft.com/office/drawing/2014/main" id="{0FC72661-233B-DCEC-2724-1ED857049636}"/>
                </a:ext>
              </a:extLst>
            </p:cNvPr>
            <p:cNvSpPr txBox="1"/>
            <p:nvPr/>
          </p:nvSpPr>
          <p:spPr>
            <a:xfrm>
              <a:off x="7502752" y="5211037"/>
              <a:ext cx="404384" cy="292388"/>
            </a:xfrm>
            <a:prstGeom prst="rect">
              <a:avLst/>
            </a:prstGeom>
            <a:noFill/>
          </p:spPr>
          <p:txBody>
            <a:bodyPr wrap="none" rtlCol="0">
              <a:spAutoFit/>
            </a:bodyPr>
            <a:lstStyle/>
            <a:p>
              <a:pPr algn="l"/>
              <a:r>
                <a:rPr lang="en-US" sz="825">
                  <a:ln/>
                  <a:solidFill>
                    <a:srgbClr val="000000"/>
                  </a:solidFill>
                  <a:latin typeface="Arial" panose="020B0604020202020204" pitchFamily="34" charset="0"/>
                  <a:cs typeface="Arial" panose="020B0604020202020204" pitchFamily="34" charset="0"/>
                  <a:sym typeface="HelveticaNeueLTStd-Roman"/>
                  <a:rtl val="0"/>
                </a:rPr>
                <a:t>33</a:t>
              </a:r>
            </a:p>
          </p:txBody>
        </p:sp>
        <p:sp>
          <p:nvSpPr>
            <p:cNvPr id="1965" name="TextBox 1964">
              <a:extLst>
                <a:ext uri="{FF2B5EF4-FFF2-40B4-BE49-F238E27FC236}">
                  <a16:creationId xmlns:a16="http://schemas.microsoft.com/office/drawing/2014/main" id="{BBE41BB1-03B9-E462-D61B-67C742A305E1}"/>
                </a:ext>
              </a:extLst>
            </p:cNvPr>
            <p:cNvSpPr txBox="1"/>
            <p:nvPr/>
          </p:nvSpPr>
          <p:spPr>
            <a:xfrm>
              <a:off x="7701796" y="5211037"/>
              <a:ext cx="404384" cy="292388"/>
            </a:xfrm>
            <a:prstGeom prst="rect">
              <a:avLst/>
            </a:prstGeom>
            <a:noFill/>
          </p:spPr>
          <p:txBody>
            <a:bodyPr wrap="none" rtlCol="0">
              <a:spAutoFit/>
            </a:bodyPr>
            <a:lstStyle/>
            <a:p>
              <a:pPr algn="l"/>
              <a:r>
                <a:rPr lang="en-US" sz="825">
                  <a:ln/>
                  <a:solidFill>
                    <a:srgbClr val="000000"/>
                  </a:solidFill>
                  <a:latin typeface="Arial" panose="020B0604020202020204" pitchFamily="34" charset="0"/>
                  <a:cs typeface="Arial" panose="020B0604020202020204" pitchFamily="34" charset="0"/>
                  <a:sym typeface="HelveticaNeueLTStd-Roman"/>
                  <a:rtl val="0"/>
                </a:rPr>
                <a:t>34</a:t>
              </a:r>
            </a:p>
          </p:txBody>
        </p:sp>
        <p:sp>
          <p:nvSpPr>
            <p:cNvPr id="1966" name="TextBox 1965">
              <a:extLst>
                <a:ext uri="{FF2B5EF4-FFF2-40B4-BE49-F238E27FC236}">
                  <a16:creationId xmlns:a16="http://schemas.microsoft.com/office/drawing/2014/main" id="{FCCF20A4-D88F-6890-49FD-87235FDEE95E}"/>
                </a:ext>
              </a:extLst>
            </p:cNvPr>
            <p:cNvSpPr txBox="1"/>
            <p:nvPr/>
          </p:nvSpPr>
          <p:spPr>
            <a:xfrm>
              <a:off x="7888268" y="5211037"/>
              <a:ext cx="404384" cy="292388"/>
            </a:xfrm>
            <a:prstGeom prst="rect">
              <a:avLst/>
            </a:prstGeom>
            <a:noFill/>
          </p:spPr>
          <p:txBody>
            <a:bodyPr wrap="none" rtlCol="0">
              <a:spAutoFit/>
            </a:bodyPr>
            <a:lstStyle/>
            <a:p>
              <a:pPr algn="l"/>
              <a:r>
                <a:rPr lang="en-US" sz="825">
                  <a:ln/>
                  <a:solidFill>
                    <a:srgbClr val="000000"/>
                  </a:solidFill>
                  <a:latin typeface="Arial" panose="020B0604020202020204" pitchFamily="34" charset="0"/>
                  <a:cs typeface="Arial" panose="020B0604020202020204" pitchFamily="34" charset="0"/>
                  <a:sym typeface="HelveticaNeueLTStd-Roman"/>
                  <a:rtl val="0"/>
                </a:rPr>
                <a:t>35</a:t>
              </a:r>
            </a:p>
          </p:txBody>
        </p:sp>
        <p:sp>
          <p:nvSpPr>
            <p:cNvPr id="1967" name="TextBox 1966">
              <a:extLst>
                <a:ext uri="{FF2B5EF4-FFF2-40B4-BE49-F238E27FC236}">
                  <a16:creationId xmlns:a16="http://schemas.microsoft.com/office/drawing/2014/main" id="{9AEF50A2-BC09-87C7-D0E1-A0BCB0E53E10}"/>
                </a:ext>
              </a:extLst>
            </p:cNvPr>
            <p:cNvSpPr txBox="1"/>
            <p:nvPr/>
          </p:nvSpPr>
          <p:spPr>
            <a:xfrm>
              <a:off x="8096871" y="5211037"/>
              <a:ext cx="404384" cy="292388"/>
            </a:xfrm>
            <a:prstGeom prst="rect">
              <a:avLst/>
            </a:prstGeom>
            <a:noFill/>
          </p:spPr>
          <p:txBody>
            <a:bodyPr wrap="none" rtlCol="0">
              <a:spAutoFit/>
            </a:bodyPr>
            <a:lstStyle/>
            <a:p>
              <a:pPr algn="l"/>
              <a:r>
                <a:rPr lang="en-US" sz="825" dirty="0">
                  <a:ln/>
                  <a:solidFill>
                    <a:srgbClr val="000000"/>
                  </a:solidFill>
                  <a:latin typeface="Arial" panose="020B0604020202020204" pitchFamily="34" charset="0"/>
                  <a:cs typeface="Arial" panose="020B0604020202020204" pitchFamily="34" charset="0"/>
                  <a:sym typeface="HelveticaNeueLTStd-Roman"/>
                  <a:rtl val="0"/>
                </a:rPr>
                <a:t>36</a:t>
              </a:r>
            </a:p>
          </p:txBody>
        </p:sp>
        <p:sp>
          <p:nvSpPr>
            <p:cNvPr id="1968" name="TextBox 1967">
              <a:extLst>
                <a:ext uri="{FF2B5EF4-FFF2-40B4-BE49-F238E27FC236}">
                  <a16:creationId xmlns:a16="http://schemas.microsoft.com/office/drawing/2014/main" id="{E29F883E-FD7D-8C4B-024B-23B11213B5BD}"/>
                </a:ext>
              </a:extLst>
            </p:cNvPr>
            <p:cNvSpPr txBox="1"/>
            <p:nvPr/>
          </p:nvSpPr>
          <p:spPr>
            <a:xfrm>
              <a:off x="8283324" y="5211037"/>
              <a:ext cx="404384" cy="292388"/>
            </a:xfrm>
            <a:prstGeom prst="rect">
              <a:avLst/>
            </a:prstGeom>
            <a:noFill/>
          </p:spPr>
          <p:txBody>
            <a:bodyPr wrap="none" rtlCol="0">
              <a:spAutoFit/>
            </a:bodyPr>
            <a:lstStyle/>
            <a:p>
              <a:pPr algn="l"/>
              <a:r>
                <a:rPr lang="en-US" sz="825">
                  <a:ln/>
                  <a:solidFill>
                    <a:srgbClr val="000000"/>
                  </a:solidFill>
                  <a:latin typeface="Arial" panose="020B0604020202020204" pitchFamily="34" charset="0"/>
                  <a:cs typeface="Arial" panose="020B0604020202020204" pitchFamily="34" charset="0"/>
                  <a:sym typeface="HelveticaNeueLTStd-Roman"/>
                  <a:rtl val="0"/>
                </a:rPr>
                <a:t>37</a:t>
              </a:r>
            </a:p>
          </p:txBody>
        </p:sp>
        <p:sp>
          <p:nvSpPr>
            <p:cNvPr id="1969" name="TextBox 1968">
              <a:extLst>
                <a:ext uri="{FF2B5EF4-FFF2-40B4-BE49-F238E27FC236}">
                  <a16:creationId xmlns:a16="http://schemas.microsoft.com/office/drawing/2014/main" id="{5A0274FA-E45D-BAD7-A153-145E77A57803}"/>
                </a:ext>
              </a:extLst>
            </p:cNvPr>
            <p:cNvSpPr txBox="1"/>
            <p:nvPr/>
          </p:nvSpPr>
          <p:spPr>
            <a:xfrm>
              <a:off x="8482407" y="5211037"/>
              <a:ext cx="404384" cy="292388"/>
            </a:xfrm>
            <a:prstGeom prst="rect">
              <a:avLst/>
            </a:prstGeom>
            <a:noFill/>
          </p:spPr>
          <p:txBody>
            <a:bodyPr wrap="none" rtlCol="0">
              <a:spAutoFit/>
            </a:bodyPr>
            <a:lstStyle/>
            <a:p>
              <a:pPr algn="l"/>
              <a:r>
                <a:rPr lang="en-US" sz="825" dirty="0">
                  <a:ln/>
                  <a:solidFill>
                    <a:srgbClr val="000000"/>
                  </a:solidFill>
                  <a:latin typeface="Arial" panose="020B0604020202020204" pitchFamily="34" charset="0"/>
                  <a:cs typeface="Arial" panose="020B0604020202020204" pitchFamily="34" charset="0"/>
                  <a:sym typeface="HelveticaNeueLTStd-Roman"/>
                  <a:rtl val="0"/>
                </a:rPr>
                <a:t>38</a:t>
              </a:r>
            </a:p>
          </p:txBody>
        </p:sp>
        <p:sp>
          <p:nvSpPr>
            <p:cNvPr id="1970" name="TextBox 1969">
              <a:extLst>
                <a:ext uri="{FF2B5EF4-FFF2-40B4-BE49-F238E27FC236}">
                  <a16:creationId xmlns:a16="http://schemas.microsoft.com/office/drawing/2014/main" id="{82C524DB-D481-85DF-5EB6-D306D8BEDA2E}"/>
                </a:ext>
              </a:extLst>
            </p:cNvPr>
            <p:cNvSpPr txBox="1"/>
            <p:nvPr/>
          </p:nvSpPr>
          <p:spPr>
            <a:xfrm>
              <a:off x="8668859" y="5211037"/>
              <a:ext cx="404384" cy="292388"/>
            </a:xfrm>
            <a:prstGeom prst="rect">
              <a:avLst/>
            </a:prstGeom>
            <a:noFill/>
          </p:spPr>
          <p:txBody>
            <a:bodyPr wrap="none" rtlCol="0">
              <a:spAutoFit/>
            </a:bodyPr>
            <a:lstStyle/>
            <a:p>
              <a:pPr algn="l"/>
              <a:r>
                <a:rPr lang="en-US" sz="825">
                  <a:ln/>
                  <a:solidFill>
                    <a:srgbClr val="000000"/>
                  </a:solidFill>
                  <a:latin typeface="Arial" panose="020B0604020202020204" pitchFamily="34" charset="0"/>
                  <a:cs typeface="Arial" panose="020B0604020202020204" pitchFamily="34" charset="0"/>
                  <a:sym typeface="HelveticaNeueLTStd-Roman"/>
                  <a:rtl val="0"/>
                </a:rPr>
                <a:t>39</a:t>
              </a:r>
            </a:p>
          </p:txBody>
        </p:sp>
        <p:sp>
          <p:nvSpPr>
            <p:cNvPr id="1971" name="TextBox 1970">
              <a:extLst>
                <a:ext uri="{FF2B5EF4-FFF2-40B4-BE49-F238E27FC236}">
                  <a16:creationId xmlns:a16="http://schemas.microsoft.com/office/drawing/2014/main" id="{CA89E6E1-6AF9-0481-ABEA-E8EAAF0D8525}"/>
                </a:ext>
              </a:extLst>
            </p:cNvPr>
            <p:cNvSpPr txBox="1"/>
            <p:nvPr/>
          </p:nvSpPr>
          <p:spPr>
            <a:xfrm>
              <a:off x="8860981" y="5211037"/>
              <a:ext cx="404384" cy="292388"/>
            </a:xfrm>
            <a:prstGeom prst="rect">
              <a:avLst/>
            </a:prstGeom>
            <a:noFill/>
          </p:spPr>
          <p:txBody>
            <a:bodyPr wrap="none" rtlCol="0">
              <a:spAutoFit/>
            </a:bodyPr>
            <a:lstStyle/>
            <a:p>
              <a:pPr algn="l"/>
              <a:r>
                <a:rPr lang="en-US" sz="825">
                  <a:ln/>
                  <a:solidFill>
                    <a:srgbClr val="000000"/>
                  </a:solidFill>
                  <a:latin typeface="Arial" panose="020B0604020202020204" pitchFamily="34" charset="0"/>
                  <a:cs typeface="Arial" panose="020B0604020202020204" pitchFamily="34" charset="0"/>
                  <a:sym typeface="HelveticaNeueLTStd-Roman"/>
                  <a:rtl val="0"/>
                </a:rPr>
                <a:t>40</a:t>
              </a:r>
            </a:p>
          </p:txBody>
        </p:sp>
        <p:sp>
          <p:nvSpPr>
            <p:cNvPr id="1972" name="TextBox 1971">
              <a:extLst>
                <a:ext uri="{FF2B5EF4-FFF2-40B4-BE49-F238E27FC236}">
                  <a16:creationId xmlns:a16="http://schemas.microsoft.com/office/drawing/2014/main" id="{42419030-13C2-B4BA-BD9B-6796E234F3B1}"/>
                </a:ext>
              </a:extLst>
            </p:cNvPr>
            <p:cNvSpPr txBox="1"/>
            <p:nvPr/>
          </p:nvSpPr>
          <p:spPr>
            <a:xfrm>
              <a:off x="9047433" y="5211037"/>
              <a:ext cx="404384" cy="292388"/>
            </a:xfrm>
            <a:prstGeom prst="rect">
              <a:avLst/>
            </a:prstGeom>
            <a:noFill/>
          </p:spPr>
          <p:txBody>
            <a:bodyPr wrap="none" rtlCol="0">
              <a:spAutoFit/>
            </a:bodyPr>
            <a:lstStyle/>
            <a:p>
              <a:pPr algn="l"/>
              <a:r>
                <a:rPr lang="en-US" sz="825">
                  <a:ln/>
                  <a:solidFill>
                    <a:srgbClr val="000000"/>
                  </a:solidFill>
                  <a:latin typeface="Arial" panose="020B0604020202020204" pitchFamily="34" charset="0"/>
                  <a:cs typeface="Arial" panose="020B0604020202020204" pitchFamily="34" charset="0"/>
                  <a:sym typeface="HelveticaNeueLTStd-Roman"/>
                  <a:rtl val="0"/>
                </a:rPr>
                <a:t>41</a:t>
              </a:r>
            </a:p>
          </p:txBody>
        </p:sp>
        <p:sp>
          <p:nvSpPr>
            <p:cNvPr id="1973" name="TextBox 1972">
              <a:extLst>
                <a:ext uri="{FF2B5EF4-FFF2-40B4-BE49-F238E27FC236}">
                  <a16:creationId xmlns:a16="http://schemas.microsoft.com/office/drawing/2014/main" id="{D247DE67-71A3-902D-8BD4-A74D728C3077}"/>
                </a:ext>
              </a:extLst>
            </p:cNvPr>
            <p:cNvSpPr txBox="1"/>
            <p:nvPr/>
          </p:nvSpPr>
          <p:spPr>
            <a:xfrm>
              <a:off x="9246486" y="5211037"/>
              <a:ext cx="404384" cy="292388"/>
            </a:xfrm>
            <a:prstGeom prst="rect">
              <a:avLst/>
            </a:prstGeom>
            <a:noFill/>
          </p:spPr>
          <p:txBody>
            <a:bodyPr wrap="none" rtlCol="0">
              <a:spAutoFit/>
            </a:bodyPr>
            <a:lstStyle/>
            <a:p>
              <a:pPr algn="l"/>
              <a:r>
                <a:rPr lang="en-US" sz="825">
                  <a:ln/>
                  <a:solidFill>
                    <a:srgbClr val="000000"/>
                  </a:solidFill>
                  <a:latin typeface="Arial" panose="020B0604020202020204" pitchFamily="34" charset="0"/>
                  <a:cs typeface="Arial" panose="020B0604020202020204" pitchFamily="34" charset="0"/>
                  <a:sym typeface="HelveticaNeueLTStd-Roman"/>
                  <a:rtl val="0"/>
                </a:rPr>
                <a:t>42</a:t>
              </a:r>
            </a:p>
          </p:txBody>
        </p:sp>
        <p:sp>
          <p:nvSpPr>
            <p:cNvPr id="1974" name="TextBox 1973">
              <a:extLst>
                <a:ext uri="{FF2B5EF4-FFF2-40B4-BE49-F238E27FC236}">
                  <a16:creationId xmlns:a16="http://schemas.microsoft.com/office/drawing/2014/main" id="{133DA8EE-859E-5D2F-9870-6650A5F18F35}"/>
                </a:ext>
              </a:extLst>
            </p:cNvPr>
            <p:cNvSpPr txBox="1"/>
            <p:nvPr/>
          </p:nvSpPr>
          <p:spPr>
            <a:xfrm>
              <a:off x="9432901" y="5211037"/>
              <a:ext cx="404384" cy="292388"/>
            </a:xfrm>
            <a:prstGeom prst="rect">
              <a:avLst/>
            </a:prstGeom>
            <a:noFill/>
          </p:spPr>
          <p:txBody>
            <a:bodyPr wrap="none" rtlCol="0">
              <a:spAutoFit/>
            </a:bodyPr>
            <a:lstStyle/>
            <a:p>
              <a:pPr algn="l"/>
              <a:r>
                <a:rPr lang="en-US" sz="825">
                  <a:ln/>
                  <a:solidFill>
                    <a:srgbClr val="000000"/>
                  </a:solidFill>
                  <a:latin typeface="Arial" panose="020B0604020202020204" pitchFamily="34" charset="0"/>
                  <a:cs typeface="Arial" panose="020B0604020202020204" pitchFamily="34" charset="0"/>
                  <a:sym typeface="HelveticaNeueLTStd-Roman"/>
                  <a:rtl val="0"/>
                </a:rPr>
                <a:t>43</a:t>
              </a:r>
            </a:p>
          </p:txBody>
        </p:sp>
        <p:sp>
          <p:nvSpPr>
            <p:cNvPr id="1975" name="TextBox 1974">
              <a:extLst>
                <a:ext uri="{FF2B5EF4-FFF2-40B4-BE49-F238E27FC236}">
                  <a16:creationId xmlns:a16="http://schemas.microsoft.com/office/drawing/2014/main" id="{7E23E12A-42E1-0BC1-AF70-A6461941B1F4}"/>
                </a:ext>
              </a:extLst>
            </p:cNvPr>
            <p:cNvSpPr txBox="1"/>
            <p:nvPr/>
          </p:nvSpPr>
          <p:spPr>
            <a:xfrm>
              <a:off x="9641504" y="5211037"/>
              <a:ext cx="404384" cy="292388"/>
            </a:xfrm>
            <a:prstGeom prst="rect">
              <a:avLst/>
            </a:prstGeom>
            <a:noFill/>
          </p:spPr>
          <p:txBody>
            <a:bodyPr wrap="none" rtlCol="0">
              <a:spAutoFit/>
            </a:bodyPr>
            <a:lstStyle/>
            <a:p>
              <a:pPr algn="l"/>
              <a:r>
                <a:rPr lang="en-US" sz="825" dirty="0">
                  <a:ln/>
                  <a:solidFill>
                    <a:srgbClr val="000000"/>
                  </a:solidFill>
                  <a:latin typeface="Arial" panose="020B0604020202020204" pitchFamily="34" charset="0"/>
                  <a:cs typeface="Arial" panose="020B0604020202020204" pitchFamily="34" charset="0"/>
                  <a:sym typeface="HelveticaNeueLTStd-Roman"/>
                  <a:rtl val="0"/>
                </a:rPr>
                <a:t>44</a:t>
              </a:r>
            </a:p>
          </p:txBody>
        </p:sp>
        <p:sp>
          <p:nvSpPr>
            <p:cNvPr id="1976" name="TextBox 1975">
              <a:extLst>
                <a:ext uri="{FF2B5EF4-FFF2-40B4-BE49-F238E27FC236}">
                  <a16:creationId xmlns:a16="http://schemas.microsoft.com/office/drawing/2014/main" id="{3A7E391E-7EB5-0F0C-52F1-EE3341FBF5D6}"/>
                </a:ext>
              </a:extLst>
            </p:cNvPr>
            <p:cNvSpPr txBox="1"/>
            <p:nvPr/>
          </p:nvSpPr>
          <p:spPr>
            <a:xfrm>
              <a:off x="9827966" y="5211037"/>
              <a:ext cx="404384" cy="292388"/>
            </a:xfrm>
            <a:prstGeom prst="rect">
              <a:avLst/>
            </a:prstGeom>
            <a:noFill/>
          </p:spPr>
          <p:txBody>
            <a:bodyPr wrap="none" rtlCol="0">
              <a:spAutoFit/>
            </a:bodyPr>
            <a:lstStyle/>
            <a:p>
              <a:pPr algn="l"/>
              <a:r>
                <a:rPr lang="en-US" sz="825">
                  <a:ln/>
                  <a:solidFill>
                    <a:srgbClr val="000000"/>
                  </a:solidFill>
                  <a:latin typeface="Arial" panose="020B0604020202020204" pitchFamily="34" charset="0"/>
                  <a:cs typeface="Arial" panose="020B0604020202020204" pitchFamily="34" charset="0"/>
                  <a:sym typeface="HelveticaNeueLTStd-Roman"/>
                  <a:rtl val="0"/>
                </a:rPr>
                <a:t>45</a:t>
              </a:r>
            </a:p>
          </p:txBody>
        </p:sp>
        <p:sp>
          <p:nvSpPr>
            <p:cNvPr id="1977" name="TextBox 1976">
              <a:extLst>
                <a:ext uri="{FF2B5EF4-FFF2-40B4-BE49-F238E27FC236}">
                  <a16:creationId xmlns:a16="http://schemas.microsoft.com/office/drawing/2014/main" id="{3815F20F-4C59-6FC5-F676-ABC0E3B40511}"/>
                </a:ext>
              </a:extLst>
            </p:cNvPr>
            <p:cNvSpPr txBox="1"/>
            <p:nvPr/>
          </p:nvSpPr>
          <p:spPr>
            <a:xfrm>
              <a:off x="10035125" y="5211037"/>
              <a:ext cx="404384" cy="292388"/>
            </a:xfrm>
            <a:prstGeom prst="rect">
              <a:avLst/>
            </a:prstGeom>
            <a:noFill/>
          </p:spPr>
          <p:txBody>
            <a:bodyPr wrap="none" rtlCol="0">
              <a:spAutoFit/>
            </a:bodyPr>
            <a:lstStyle/>
            <a:p>
              <a:pPr algn="l"/>
              <a:r>
                <a:rPr lang="en-US" sz="825">
                  <a:ln/>
                  <a:solidFill>
                    <a:srgbClr val="000000"/>
                  </a:solidFill>
                  <a:latin typeface="Arial" panose="020B0604020202020204" pitchFamily="34" charset="0"/>
                  <a:cs typeface="Arial" panose="020B0604020202020204" pitchFamily="34" charset="0"/>
                  <a:sym typeface="HelveticaNeueLTStd-Roman"/>
                  <a:rtl val="0"/>
                </a:rPr>
                <a:t>46</a:t>
              </a:r>
            </a:p>
          </p:txBody>
        </p:sp>
        <p:sp>
          <p:nvSpPr>
            <p:cNvPr id="1978" name="TextBox 1977">
              <a:extLst>
                <a:ext uri="{FF2B5EF4-FFF2-40B4-BE49-F238E27FC236}">
                  <a16:creationId xmlns:a16="http://schemas.microsoft.com/office/drawing/2014/main" id="{89A1C446-FBD9-4CB0-DD18-2D70B71FEA32}"/>
                </a:ext>
              </a:extLst>
            </p:cNvPr>
            <p:cNvSpPr txBox="1"/>
            <p:nvPr/>
          </p:nvSpPr>
          <p:spPr>
            <a:xfrm>
              <a:off x="10225726" y="5211037"/>
              <a:ext cx="404384" cy="292388"/>
            </a:xfrm>
            <a:prstGeom prst="rect">
              <a:avLst/>
            </a:prstGeom>
            <a:noFill/>
          </p:spPr>
          <p:txBody>
            <a:bodyPr wrap="none" rtlCol="0">
              <a:spAutoFit/>
            </a:bodyPr>
            <a:lstStyle/>
            <a:p>
              <a:pPr algn="l"/>
              <a:r>
                <a:rPr lang="en-US" sz="825" dirty="0">
                  <a:ln/>
                  <a:solidFill>
                    <a:srgbClr val="000000"/>
                  </a:solidFill>
                  <a:latin typeface="Arial" panose="020B0604020202020204" pitchFamily="34" charset="0"/>
                  <a:cs typeface="Arial" panose="020B0604020202020204" pitchFamily="34" charset="0"/>
                  <a:sym typeface="HelveticaNeueLTStd-Roman"/>
                  <a:rtl val="0"/>
                </a:rPr>
                <a:t>47</a:t>
              </a:r>
            </a:p>
          </p:txBody>
        </p:sp>
        <p:sp>
          <p:nvSpPr>
            <p:cNvPr id="1981" name="TextBox 1980">
              <a:extLst>
                <a:ext uri="{FF2B5EF4-FFF2-40B4-BE49-F238E27FC236}">
                  <a16:creationId xmlns:a16="http://schemas.microsoft.com/office/drawing/2014/main" id="{3635A17B-FB2A-8D20-628F-2C3FFFD4137E}"/>
                </a:ext>
              </a:extLst>
            </p:cNvPr>
            <p:cNvSpPr txBox="1"/>
            <p:nvPr/>
          </p:nvSpPr>
          <p:spPr>
            <a:xfrm rot="1788">
              <a:off x="1074005" y="5770613"/>
              <a:ext cx="419347" cy="246221"/>
            </a:xfrm>
            <a:prstGeom prst="rect">
              <a:avLst/>
            </a:prstGeom>
            <a:noFill/>
          </p:spPr>
          <p:txBody>
            <a:bodyPr wrap="none" rtlCol="0">
              <a:spAutoFit/>
            </a:bodyPr>
            <a:lstStyle/>
            <a:p>
              <a:pPr algn="l"/>
              <a:r>
                <a:rPr lang="en-US" sz="600" dirty="0">
                  <a:ln/>
                  <a:solidFill>
                    <a:srgbClr val="000000"/>
                  </a:solidFill>
                  <a:latin typeface="Arial" panose="020B0604020202020204" pitchFamily="34" charset="0"/>
                  <a:cs typeface="Arial" panose="020B0604020202020204" pitchFamily="34" charset="0"/>
                  <a:sym typeface="HelveticaNeueLTStd-Roman"/>
                  <a:rtl val="0"/>
                </a:rPr>
                <a:t>261</a:t>
              </a:r>
            </a:p>
          </p:txBody>
        </p:sp>
        <p:sp>
          <p:nvSpPr>
            <p:cNvPr id="1982" name="TextBox 1981">
              <a:extLst>
                <a:ext uri="{FF2B5EF4-FFF2-40B4-BE49-F238E27FC236}">
                  <a16:creationId xmlns:a16="http://schemas.microsoft.com/office/drawing/2014/main" id="{8C497368-7C70-651F-D0C1-0EF3C38FFA2B}"/>
                </a:ext>
              </a:extLst>
            </p:cNvPr>
            <p:cNvSpPr txBox="1"/>
            <p:nvPr/>
          </p:nvSpPr>
          <p:spPr>
            <a:xfrm rot="1788">
              <a:off x="1260458" y="5770613"/>
              <a:ext cx="419347" cy="246221"/>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256</a:t>
              </a:r>
            </a:p>
          </p:txBody>
        </p:sp>
        <p:sp>
          <p:nvSpPr>
            <p:cNvPr id="1983" name="TextBox 1982">
              <a:extLst>
                <a:ext uri="{FF2B5EF4-FFF2-40B4-BE49-F238E27FC236}">
                  <a16:creationId xmlns:a16="http://schemas.microsoft.com/office/drawing/2014/main" id="{49204904-2AE7-9640-C186-B3DE135A5E05}"/>
                </a:ext>
              </a:extLst>
            </p:cNvPr>
            <p:cNvSpPr txBox="1"/>
            <p:nvPr/>
          </p:nvSpPr>
          <p:spPr>
            <a:xfrm rot="1788">
              <a:off x="1459567" y="5770613"/>
              <a:ext cx="419347" cy="246221"/>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256</a:t>
              </a:r>
            </a:p>
          </p:txBody>
        </p:sp>
        <p:sp>
          <p:nvSpPr>
            <p:cNvPr id="1984" name="TextBox 1983">
              <a:extLst>
                <a:ext uri="{FF2B5EF4-FFF2-40B4-BE49-F238E27FC236}">
                  <a16:creationId xmlns:a16="http://schemas.microsoft.com/office/drawing/2014/main" id="{2478888E-9E11-2D46-97B4-4A5A02A16218}"/>
                </a:ext>
              </a:extLst>
            </p:cNvPr>
            <p:cNvSpPr txBox="1"/>
            <p:nvPr/>
          </p:nvSpPr>
          <p:spPr>
            <a:xfrm rot="1788">
              <a:off x="1646022" y="5770613"/>
              <a:ext cx="419347" cy="246221"/>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255</a:t>
              </a:r>
            </a:p>
          </p:txBody>
        </p:sp>
        <p:sp>
          <p:nvSpPr>
            <p:cNvPr id="1985" name="TextBox 1984">
              <a:extLst>
                <a:ext uri="{FF2B5EF4-FFF2-40B4-BE49-F238E27FC236}">
                  <a16:creationId xmlns:a16="http://schemas.microsoft.com/office/drawing/2014/main" id="{A9B29C73-B64F-72A4-D509-C6A477DDDDA9}"/>
                </a:ext>
              </a:extLst>
            </p:cNvPr>
            <p:cNvSpPr txBox="1"/>
            <p:nvPr/>
          </p:nvSpPr>
          <p:spPr>
            <a:xfrm rot="1788">
              <a:off x="1854590" y="5770613"/>
              <a:ext cx="419347" cy="246221"/>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254</a:t>
              </a:r>
            </a:p>
          </p:txBody>
        </p:sp>
        <p:sp>
          <p:nvSpPr>
            <p:cNvPr id="1986" name="TextBox 1985">
              <a:extLst>
                <a:ext uri="{FF2B5EF4-FFF2-40B4-BE49-F238E27FC236}">
                  <a16:creationId xmlns:a16="http://schemas.microsoft.com/office/drawing/2014/main" id="{D412FDE3-856E-D70C-CACE-1D4385EF7D54}"/>
                </a:ext>
              </a:extLst>
            </p:cNvPr>
            <p:cNvSpPr txBox="1"/>
            <p:nvPr/>
          </p:nvSpPr>
          <p:spPr>
            <a:xfrm rot="1788">
              <a:off x="2041019" y="5770613"/>
              <a:ext cx="419347" cy="246221"/>
            </a:xfrm>
            <a:prstGeom prst="rect">
              <a:avLst/>
            </a:prstGeom>
            <a:noFill/>
          </p:spPr>
          <p:txBody>
            <a:bodyPr wrap="none" rtlCol="0">
              <a:spAutoFit/>
            </a:bodyPr>
            <a:lstStyle/>
            <a:p>
              <a:pPr algn="l"/>
              <a:r>
                <a:rPr lang="en-US" sz="600" dirty="0">
                  <a:ln/>
                  <a:solidFill>
                    <a:srgbClr val="000000"/>
                  </a:solidFill>
                  <a:latin typeface="Arial" panose="020B0604020202020204" pitchFamily="34" charset="0"/>
                  <a:cs typeface="Arial" panose="020B0604020202020204" pitchFamily="34" charset="0"/>
                  <a:sym typeface="HelveticaNeueLTStd-Roman"/>
                  <a:rtl val="0"/>
                </a:rPr>
                <a:t>251</a:t>
              </a:r>
            </a:p>
          </p:txBody>
        </p:sp>
        <p:sp>
          <p:nvSpPr>
            <p:cNvPr id="1987" name="TextBox 1986">
              <a:extLst>
                <a:ext uri="{FF2B5EF4-FFF2-40B4-BE49-F238E27FC236}">
                  <a16:creationId xmlns:a16="http://schemas.microsoft.com/office/drawing/2014/main" id="{7041CB80-0A09-CB40-D2AA-E1EB666DDFCE}"/>
                </a:ext>
              </a:extLst>
            </p:cNvPr>
            <p:cNvSpPr txBox="1"/>
            <p:nvPr/>
          </p:nvSpPr>
          <p:spPr>
            <a:xfrm rot="1788">
              <a:off x="2240120" y="5770613"/>
              <a:ext cx="419347" cy="246221"/>
            </a:xfrm>
            <a:prstGeom prst="rect">
              <a:avLst/>
            </a:prstGeom>
            <a:noFill/>
          </p:spPr>
          <p:txBody>
            <a:bodyPr wrap="none" rtlCol="0">
              <a:spAutoFit/>
            </a:bodyPr>
            <a:lstStyle/>
            <a:p>
              <a:pPr algn="l"/>
              <a:r>
                <a:rPr lang="en-US" sz="600" dirty="0">
                  <a:ln/>
                  <a:solidFill>
                    <a:srgbClr val="000000"/>
                  </a:solidFill>
                  <a:latin typeface="Arial" panose="020B0604020202020204" pitchFamily="34" charset="0"/>
                  <a:cs typeface="Arial" panose="020B0604020202020204" pitchFamily="34" charset="0"/>
                  <a:sym typeface="HelveticaNeueLTStd-Roman"/>
                  <a:rtl val="0"/>
                </a:rPr>
                <a:t>249</a:t>
              </a:r>
            </a:p>
          </p:txBody>
        </p:sp>
        <p:sp>
          <p:nvSpPr>
            <p:cNvPr id="1988" name="TextBox 1987">
              <a:extLst>
                <a:ext uri="{FF2B5EF4-FFF2-40B4-BE49-F238E27FC236}">
                  <a16:creationId xmlns:a16="http://schemas.microsoft.com/office/drawing/2014/main" id="{8AD66C35-7148-7727-C404-F457FFDA4C5C}"/>
                </a:ext>
              </a:extLst>
            </p:cNvPr>
            <p:cNvSpPr txBox="1"/>
            <p:nvPr/>
          </p:nvSpPr>
          <p:spPr>
            <a:xfrm rot="1788">
              <a:off x="2426563" y="5770613"/>
              <a:ext cx="419347" cy="246221"/>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244</a:t>
              </a:r>
            </a:p>
          </p:txBody>
        </p:sp>
        <p:sp>
          <p:nvSpPr>
            <p:cNvPr id="1989" name="TextBox 1988">
              <a:extLst>
                <a:ext uri="{FF2B5EF4-FFF2-40B4-BE49-F238E27FC236}">
                  <a16:creationId xmlns:a16="http://schemas.microsoft.com/office/drawing/2014/main" id="{FF3686B0-FE7B-30C7-200C-55DD436A3151}"/>
                </a:ext>
              </a:extLst>
            </p:cNvPr>
            <p:cNvSpPr txBox="1"/>
            <p:nvPr/>
          </p:nvSpPr>
          <p:spPr>
            <a:xfrm rot="1788">
              <a:off x="2618687" y="5770613"/>
              <a:ext cx="419347" cy="246221"/>
            </a:xfrm>
            <a:prstGeom prst="rect">
              <a:avLst/>
            </a:prstGeom>
            <a:noFill/>
          </p:spPr>
          <p:txBody>
            <a:bodyPr wrap="none" rtlCol="0">
              <a:spAutoFit/>
            </a:bodyPr>
            <a:lstStyle/>
            <a:p>
              <a:pPr algn="l"/>
              <a:r>
                <a:rPr lang="en-US" sz="600" dirty="0">
                  <a:ln/>
                  <a:solidFill>
                    <a:srgbClr val="000000"/>
                  </a:solidFill>
                  <a:latin typeface="Arial" panose="020B0604020202020204" pitchFamily="34" charset="0"/>
                  <a:cs typeface="Arial" panose="020B0604020202020204" pitchFamily="34" charset="0"/>
                  <a:sym typeface="HelveticaNeueLTStd-Roman"/>
                  <a:rtl val="0"/>
                </a:rPr>
                <a:t>243</a:t>
              </a:r>
            </a:p>
          </p:txBody>
        </p:sp>
        <p:sp>
          <p:nvSpPr>
            <p:cNvPr id="1990" name="TextBox 1989">
              <a:extLst>
                <a:ext uri="{FF2B5EF4-FFF2-40B4-BE49-F238E27FC236}">
                  <a16:creationId xmlns:a16="http://schemas.microsoft.com/office/drawing/2014/main" id="{765DAB3E-8C6A-469B-E42D-45B1A797B95E}"/>
                </a:ext>
              </a:extLst>
            </p:cNvPr>
            <p:cNvSpPr txBox="1"/>
            <p:nvPr/>
          </p:nvSpPr>
          <p:spPr>
            <a:xfrm rot="1788">
              <a:off x="2805086" y="5770613"/>
              <a:ext cx="419347" cy="246221"/>
            </a:xfrm>
            <a:prstGeom prst="rect">
              <a:avLst/>
            </a:prstGeom>
            <a:noFill/>
          </p:spPr>
          <p:txBody>
            <a:bodyPr wrap="none" rtlCol="0">
              <a:spAutoFit/>
            </a:bodyPr>
            <a:lstStyle/>
            <a:p>
              <a:pPr algn="l"/>
              <a:r>
                <a:rPr lang="en-US" sz="600" dirty="0">
                  <a:ln/>
                  <a:solidFill>
                    <a:srgbClr val="000000"/>
                  </a:solidFill>
                  <a:latin typeface="Arial" panose="020B0604020202020204" pitchFamily="34" charset="0"/>
                  <a:cs typeface="Arial" panose="020B0604020202020204" pitchFamily="34" charset="0"/>
                  <a:sym typeface="HelveticaNeueLTStd-Roman"/>
                  <a:rtl val="0"/>
                </a:rPr>
                <a:t>241</a:t>
              </a:r>
            </a:p>
          </p:txBody>
        </p:sp>
        <p:sp>
          <p:nvSpPr>
            <p:cNvPr id="1991" name="TextBox 1990">
              <a:extLst>
                <a:ext uri="{FF2B5EF4-FFF2-40B4-BE49-F238E27FC236}">
                  <a16:creationId xmlns:a16="http://schemas.microsoft.com/office/drawing/2014/main" id="{624BFDEA-6E8B-2EC9-AE11-D7DE3598D115}"/>
                </a:ext>
              </a:extLst>
            </p:cNvPr>
            <p:cNvSpPr txBox="1"/>
            <p:nvPr/>
          </p:nvSpPr>
          <p:spPr>
            <a:xfrm rot="1788">
              <a:off x="3004191" y="5770613"/>
              <a:ext cx="419347" cy="246221"/>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238</a:t>
              </a:r>
            </a:p>
          </p:txBody>
        </p:sp>
        <p:sp>
          <p:nvSpPr>
            <p:cNvPr id="1992" name="TextBox 1991">
              <a:extLst>
                <a:ext uri="{FF2B5EF4-FFF2-40B4-BE49-F238E27FC236}">
                  <a16:creationId xmlns:a16="http://schemas.microsoft.com/office/drawing/2014/main" id="{1FF7ADEB-2976-3969-8A85-87967E3F5779}"/>
                </a:ext>
              </a:extLst>
            </p:cNvPr>
            <p:cNvSpPr txBox="1"/>
            <p:nvPr/>
          </p:nvSpPr>
          <p:spPr>
            <a:xfrm rot="1788">
              <a:off x="3190655" y="5770613"/>
              <a:ext cx="419347" cy="246221"/>
            </a:xfrm>
            <a:prstGeom prst="rect">
              <a:avLst/>
            </a:prstGeom>
            <a:noFill/>
          </p:spPr>
          <p:txBody>
            <a:bodyPr wrap="none" rtlCol="0">
              <a:spAutoFit/>
            </a:bodyPr>
            <a:lstStyle/>
            <a:p>
              <a:pPr algn="l"/>
              <a:r>
                <a:rPr lang="en-US" sz="600" dirty="0">
                  <a:ln/>
                  <a:solidFill>
                    <a:srgbClr val="000000"/>
                  </a:solidFill>
                  <a:latin typeface="Arial" panose="020B0604020202020204" pitchFamily="34" charset="0"/>
                  <a:cs typeface="Arial" panose="020B0604020202020204" pitchFamily="34" charset="0"/>
                  <a:sym typeface="HelveticaNeueLTStd-Roman"/>
                  <a:rtl val="0"/>
                </a:rPr>
                <a:t>236</a:t>
              </a:r>
            </a:p>
          </p:txBody>
        </p:sp>
        <p:sp>
          <p:nvSpPr>
            <p:cNvPr id="1993" name="TextBox 1992">
              <a:extLst>
                <a:ext uri="{FF2B5EF4-FFF2-40B4-BE49-F238E27FC236}">
                  <a16:creationId xmlns:a16="http://schemas.microsoft.com/office/drawing/2014/main" id="{51F30033-9C95-0A24-2615-B8A797623287}"/>
                </a:ext>
              </a:extLst>
            </p:cNvPr>
            <p:cNvSpPr txBox="1"/>
            <p:nvPr/>
          </p:nvSpPr>
          <p:spPr>
            <a:xfrm rot="1788">
              <a:off x="3399247" y="5770613"/>
              <a:ext cx="419347" cy="246221"/>
            </a:xfrm>
            <a:prstGeom prst="rect">
              <a:avLst/>
            </a:prstGeom>
            <a:noFill/>
          </p:spPr>
          <p:txBody>
            <a:bodyPr wrap="none" rtlCol="0">
              <a:spAutoFit/>
            </a:bodyPr>
            <a:lstStyle/>
            <a:p>
              <a:pPr algn="l"/>
              <a:r>
                <a:rPr lang="en-US" sz="600" dirty="0">
                  <a:ln/>
                  <a:solidFill>
                    <a:srgbClr val="000000"/>
                  </a:solidFill>
                  <a:latin typeface="Arial" panose="020B0604020202020204" pitchFamily="34" charset="0"/>
                  <a:cs typeface="Arial" panose="020B0604020202020204" pitchFamily="34" charset="0"/>
                  <a:sym typeface="HelveticaNeueLTStd-Roman"/>
                  <a:rtl val="0"/>
                </a:rPr>
                <a:t>236</a:t>
              </a:r>
            </a:p>
          </p:txBody>
        </p:sp>
        <p:sp>
          <p:nvSpPr>
            <p:cNvPr id="1994" name="TextBox 1993">
              <a:extLst>
                <a:ext uri="{FF2B5EF4-FFF2-40B4-BE49-F238E27FC236}">
                  <a16:creationId xmlns:a16="http://schemas.microsoft.com/office/drawing/2014/main" id="{0C734C4B-35AC-6CB4-7987-03BA52A2A5F9}"/>
                </a:ext>
              </a:extLst>
            </p:cNvPr>
            <p:cNvSpPr txBox="1"/>
            <p:nvPr/>
          </p:nvSpPr>
          <p:spPr>
            <a:xfrm rot="1788">
              <a:off x="3585642" y="5770613"/>
              <a:ext cx="419347" cy="246221"/>
            </a:xfrm>
            <a:prstGeom prst="rect">
              <a:avLst/>
            </a:prstGeom>
            <a:noFill/>
          </p:spPr>
          <p:txBody>
            <a:bodyPr wrap="none" rtlCol="0">
              <a:spAutoFit/>
            </a:bodyPr>
            <a:lstStyle/>
            <a:p>
              <a:pPr algn="l"/>
              <a:r>
                <a:rPr lang="en-US" sz="600" dirty="0">
                  <a:ln/>
                  <a:solidFill>
                    <a:srgbClr val="000000"/>
                  </a:solidFill>
                  <a:latin typeface="Arial" panose="020B0604020202020204" pitchFamily="34" charset="0"/>
                  <a:cs typeface="Arial" panose="020B0604020202020204" pitchFamily="34" charset="0"/>
                  <a:sym typeface="HelveticaNeueLTStd-Roman"/>
                  <a:rtl val="0"/>
                </a:rPr>
                <a:t>236</a:t>
              </a:r>
            </a:p>
          </p:txBody>
        </p:sp>
        <p:sp>
          <p:nvSpPr>
            <p:cNvPr id="1995" name="TextBox 1994">
              <a:extLst>
                <a:ext uri="{FF2B5EF4-FFF2-40B4-BE49-F238E27FC236}">
                  <a16:creationId xmlns:a16="http://schemas.microsoft.com/office/drawing/2014/main" id="{36E25DE6-0083-4EEA-3BF4-2753676215C8}"/>
                </a:ext>
              </a:extLst>
            </p:cNvPr>
            <p:cNvSpPr txBox="1"/>
            <p:nvPr/>
          </p:nvSpPr>
          <p:spPr>
            <a:xfrm rot="1788">
              <a:off x="3784744" y="5770613"/>
              <a:ext cx="419347" cy="246221"/>
            </a:xfrm>
            <a:prstGeom prst="rect">
              <a:avLst/>
            </a:prstGeom>
            <a:noFill/>
          </p:spPr>
          <p:txBody>
            <a:bodyPr wrap="none" rtlCol="0">
              <a:spAutoFit/>
            </a:bodyPr>
            <a:lstStyle/>
            <a:p>
              <a:pPr algn="l"/>
              <a:r>
                <a:rPr lang="en-US" sz="600" dirty="0">
                  <a:ln/>
                  <a:solidFill>
                    <a:srgbClr val="000000"/>
                  </a:solidFill>
                  <a:latin typeface="Arial" panose="020B0604020202020204" pitchFamily="34" charset="0"/>
                  <a:cs typeface="Arial" panose="020B0604020202020204" pitchFamily="34" charset="0"/>
                  <a:sym typeface="HelveticaNeueLTStd-Roman"/>
                  <a:rtl val="0"/>
                </a:rPr>
                <a:t>231</a:t>
              </a:r>
            </a:p>
          </p:txBody>
        </p:sp>
        <p:sp>
          <p:nvSpPr>
            <p:cNvPr id="1996" name="TextBox 1995">
              <a:extLst>
                <a:ext uri="{FF2B5EF4-FFF2-40B4-BE49-F238E27FC236}">
                  <a16:creationId xmlns:a16="http://schemas.microsoft.com/office/drawing/2014/main" id="{D9976723-C323-FC99-D383-2D9C4AF3F867}"/>
                </a:ext>
              </a:extLst>
            </p:cNvPr>
            <p:cNvSpPr txBox="1"/>
            <p:nvPr/>
          </p:nvSpPr>
          <p:spPr>
            <a:xfrm rot="1788">
              <a:off x="3971202" y="5770613"/>
              <a:ext cx="419347" cy="246221"/>
            </a:xfrm>
            <a:prstGeom prst="rect">
              <a:avLst/>
            </a:prstGeom>
            <a:noFill/>
          </p:spPr>
          <p:txBody>
            <a:bodyPr wrap="none" rtlCol="0">
              <a:spAutoFit/>
            </a:bodyPr>
            <a:lstStyle/>
            <a:p>
              <a:pPr algn="l"/>
              <a:r>
                <a:rPr lang="en-US" sz="600" dirty="0">
                  <a:ln/>
                  <a:solidFill>
                    <a:srgbClr val="000000"/>
                  </a:solidFill>
                  <a:latin typeface="Arial" panose="020B0604020202020204" pitchFamily="34" charset="0"/>
                  <a:cs typeface="Arial" panose="020B0604020202020204" pitchFamily="34" charset="0"/>
                  <a:sym typeface="HelveticaNeueLTStd-Roman"/>
                  <a:rtl val="0"/>
                </a:rPr>
                <a:t>224</a:t>
              </a:r>
            </a:p>
          </p:txBody>
        </p:sp>
        <p:sp>
          <p:nvSpPr>
            <p:cNvPr id="1997" name="TextBox 1996">
              <a:extLst>
                <a:ext uri="{FF2B5EF4-FFF2-40B4-BE49-F238E27FC236}">
                  <a16:creationId xmlns:a16="http://schemas.microsoft.com/office/drawing/2014/main" id="{F24E741E-06F4-5E5A-666B-F3987FFA1986}"/>
                </a:ext>
              </a:extLst>
            </p:cNvPr>
            <p:cNvSpPr txBox="1"/>
            <p:nvPr/>
          </p:nvSpPr>
          <p:spPr>
            <a:xfrm>
              <a:off x="4213933" y="5785907"/>
              <a:ext cx="419347" cy="246221"/>
            </a:xfrm>
            <a:prstGeom prst="rect">
              <a:avLst/>
            </a:prstGeom>
            <a:noFill/>
          </p:spPr>
          <p:txBody>
            <a:bodyPr wrap="none" rtlCol="0">
              <a:spAutoFit/>
            </a:bodyPr>
            <a:lstStyle/>
            <a:p>
              <a:pPr algn="l"/>
              <a:r>
                <a:rPr lang="en-US" sz="600" dirty="0">
                  <a:ln/>
                  <a:solidFill>
                    <a:srgbClr val="000000"/>
                  </a:solidFill>
                  <a:latin typeface="Arial" panose="020B0604020202020204" pitchFamily="34" charset="0"/>
                  <a:cs typeface="Arial" panose="020B0604020202020204" pitchFamily="34" charset="0"/>
                  <a:sym typeface="HelveticaNeueLTStd-Roman"/>
                  <a:rtl val="0"/>
                </a:rPr>
                <a:t>218</a:t>
              </a:r>
            </a:p>
          </p:txBody>
        </p:sp>
        <p:sp>
          <p:nvSpPr>
            <p:cNvPr id="1998" name="TextBox 1997">
              <a:extLst>
                <a:ext uri="{FF2B5EF4-FFF2-40B4-BE49-F238E27FC236}">
                  <a16:creationId xmlns:a16="http://schemas.microsoft.com/office/drawing/2014/main" id="{D7A29F27-C9A2-31BB-A8C9-47ADAD9CDD9F}"/>
                </a:ext>
              </a:extLst>
            </p:cNvPr>
            <p:cNvSpPr txBox="1"/>
            <p:nvPr/>
          </p:nvSpPr>
          <p:spPr>
            <a:xfrm>
              <a:off x="4409085" y="5785907"/>
              <a:ext cx="419347" cy="246221"/>
            </a:xfrm>
            <a:prstGeom prst="rect">
              <a:avLst/>
            </a:prstGeom>
            <a:noFill/>
          </p:spPr>
          <p:txBody>
            <a:bodyPr wrap="none" rtlCol="0">
              <a:spAutoFit/>
            </a:bodyPr>
            <a:lstStyle/>
            <a:p>
              <a:pPr algn="l"/>
              <a:r>
                <a:rPr lang="en-US" sz="600" dirty="0">
                  <a:ln/>
                  <a:solidFill>
                    <a:srgbClr val="000000"/>
                  </a:solidFill>
                  <a:latin typeface="Arial" panose="020B0604020202020204" pitchFamily="34" charset="0"/>
                  <a:cs typeface="Arial" panose="020B0604020202020204" pitchFamily="34" charset="0"/>
                  <a:sym typeface="HelveticaNeueLTStd-Roman"/>
                  <a:rtl val="0"/>
                </a:rPr>
                <a:t>213</a:t>
              </a:r>
            </a:p>
          </p:txBody>
        </p:sp>
        <p:sp>
          <p:nvSpPr>
            <p:cNvPr id="1999" name="TextBox 1998">
              <a:extLst>
                <a:ext uri="{FF2B5EF4-FFF2-40B4-BE49-F238E27FC236}">
                  <a16:creationId xmlns:a16="http://schemas.microsoft.com/office/drawing/2014/main" id="{268016AA-C82B-F196-531C-5C3853A1E7E2}"/>
                </a:ext>
              </a:extLst>
            </p:cNvPr>
            <p:cNvSpPr txBox="1"/>
            <p:nvPr/>
          </p:nvSpPr>
          <p:spPr>
            <a:xfrm>
              <a:off x="4608169" y="5785907"/>
              <a:ext cx="419347" cy="246221"/>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211</a:t>
              </a:r>
            </a:p>
          </p:txBody>
        </p:sp>
        <p:sp>
          <p:nvSpPr>
            <p:cNvPr id="2000" name="TextBox 1999">
              <a:extLst>
                <a:ext uri="{FF2B5EF4-FFF2-40B4-BE49-F238E27FC236}">
                  <a16:creationId xmlns:a16="http://schemas.microsoft.com/office/drawing/2014/main" id="{EA27AAFD-67DC-BF12-D9FB-C321BD7B12A7}"/>
                </a:ext>
              </a:extLst>
            </p:cNvPr>
            <p:cNvSpPr txBox="1"/>
            <p:nvPr/>
          </p:nvSpPr>
          <p:spPr>
            <a:xfrm>
              <a:off x="4794621" y="5785907"/>
              <a:ext cx="419347" cy="246221"/>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206</a:t>
              </a:r>
            </a:p>
          </p:txBody>
        </p:sp>
        <p:sp>
          <p:nvSpPr>
            <p:cNvPr id="2001" name="TextBox 2000">
              <a:extLst>
                <a:ext uri="{FF2B5EF4-FFF2-40B4-BE49-F238E27FC236}">
                  <a16:creationId xmlns:a16="http://schemas.microsoft.com/office/drawing/2014/main" id="{45F3E903-3248-D8E3-91C7-800920B72C0F}"/>
                </a:ext>
              </a:extLst>
            </p:cNvPr>
            <p:cNvSpPr txBox="1"/>
            <p:nvPr/>
          </p:nvSpPr>
          <p:spPr>
            <a:xfrm>
              <a:off x="5003195" y="5785907"/>
              <a:ext cx="419347" cy="246221"/>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201</a:t>
              </a:r>
            </a:p>
          </p:txBody>
        </p:sp>
        <p:sp>
          <p:nvSpPr>
            <p:cNvPr id="2002" name="TextBox 2001">
              <a:extLst>
                <a:ext uri="{FF2B5EF4-FFF2-40B4-BE49-F238E27FC236}">
                  <a16:creationId xmlns:a16="http://schemas.microsoft.com/office/drawing/2014/main" id="{7F79BBB9-C7C3-AEE2-90BE-C02C93DA5E1C}"/>
                </a:ext>
              </a:extLst>
            </p:cNvPr>
            <p:cNvSpPr txBox="1"/>
            <p:nvPr/>
          </p:nvSpPr>
          <p:spPr>
            <a:xfrm>
              <a:off x="5189637" y="5785907"/>
              <a:ext cx="419347" cy="246221"/>
            </a:xfrm>
            <a:prstGeom prst="rect">
              <a:avLst/>
            </a:prstGeom>
            <a:noFill/>
          </p:spPr>
          <p:txBody>
            <a:bodyPr wrap="none" rtlCol="0">
              <a:spAutoFit/>
            </a:bodyPr>
            <a:lstStyle/>
            <a:p>
              <a:pPr algn="l"/>
              <a:r>
                <a:rPr lang="en-US" sz="600" dirty="0">
                  <a:ln/>
                  <a:solidFill>
                    <a:srgbClr val="000000"/>
                  </a:solidFill>
                  <a:latin typeface="Arial" panose="020B0604020202020204" pitchFamily="34" charset="0"/>
                  <a:cs typeface="Arial" panose="020B0604020202020204" pitchFamily="34" charset="0"/>
                  <a:sym typeface="HelveticaNeueLTStd-Roman"/>
                  <a:rtl val="0"/>
                </a:rPr>
                <a:t>200</a:t>
              </a:r>
            </a:p>
          </p:txBody>
        </p:sp>
        <p:sp>
          <p:nvSpPr>
            <p:cNvPr id="2003" name="TextBox 2002">
              <a:extLst>
                <a:ext uri="{FF2B5EF4-FFF2-40B4-BE49-F238E27FC236}">
                  <a16:creationId xmlns:a16="http://schemas.microsoft.com/office/drawing/2014/main" id="{3B2AB27D-D0B6-7642-906F-41C8851B0458}"/>
                </a:ext>
              </a:extLst>
            </p:cNvPr>
            <p:cNvSpPr txBox="1"/>
            <p:nvPr/>
          </p:nvSpPr>
          <p:spPr>
            <a:xfrm>
              <a:off x="5388729" y="5785907"/>
              <a:ext cx="419347" cy="246221"/>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196</a:t>
              </a:r>
            </a:p>
          </p:txBody>
        </p:sp>
        <p:sp>
          <p:nvSpPr>
            <p:cNvPr id="2004" name="TextBox 2003">
              <a:extLst>
                <a:ext uri="{FF2B5EF4-FFF2-40B4-BE49-F238E27FC236}">
                  <a16:creationId xmlns:a16="http://schemas.microsoft.com/office/drawing/2014/main" id="{27E2B2A4-4C27-6821-435D-3ADE18594D3F}"/>
                </a:ext>
              </a:extLst>
            </p:cNvPr>
            <p:cNvSpPr txBox="1"/>
            <p:nvPr/>
          </p:nvSpPr>
          <p:spPr>
            <a:xfrm>
              <a:off x="5575153" y="5785907"/>
              <a:ext cx="419347" cy="246221"/>
            </a:xfrm>
            <a:prstGeom prst="rect">
              <a:avLst/>
            </a:prstGeom>
            <a:noFill/>
          </p:spPr>
          <p:txBody>
            <a:bodyPr wrap="none" rtlCol="0">
              <a:spAutoFit/>
            </a:bodyPr>
            <a:lstStyle/>
            <a:p>
              <a:pPr algn="l"/>
              <a:r>
                <a:rPr lang="en-US" sz="600" dirty="0">
                  <a:ln/>
                  <a:solidFill>
                    <a:srgbClr val="000000"/>
                  </a:solidFill>
                  <a:latin typeface="Arial" panose="020B0604020202020204" pitchFamily="34" charset="0"/>
                  <a:cs typeface="Arial" panose="020B0604020202020204" pitchFamily="34" charset="0"/>
                  <a:sym typeface="HelveticaNeueLTStd-Roman"/>
                  <a:rtl val="0"/>
                </a:rPr>
                <a:t>193</a:t>
              </a:r>
            </a:p>
          </p:txBody>
        </p:sp>
        <p:sp>
          <p:nvSpPr>
            <p:cNvPr id="2005" name="TextBox 2004">
              <a:extLst>
                <a:ext uri="{FF2B5EF4-FFF2-40B4-BE49-F238E27FC236}">
                  <a16:creationId xmlns:a16="http://schemas.microsoft.com/office/drawing/2014/main" id="{17F4DCD1-1975-15FD-E4FF-F36331E7A724}"/>
                </a:ext>
              </a:extLst>
            </p:cNvPr>
            <p:cNvSpPr txBox="1"/>
            <p:nvPr/>
          </p:nvSpPr>
          <p:spPr>
            <a:xfrm>
              <a:off x="5767285" y="5785907"/>
              <a:ext cx="419347" cy="246221"/>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187</a:t>
              </a:r>
            </a:p>
          </p:txBody>
        </p:sp>
        <p:sp>
          <p:nvSpPr>
            <p:cNvPr id="2006" name="TextBox 2005">
              <a:extLst>
                <a:ext uri="{FF2B5EF4-FFF2-40B4-BE49-F238E27FC236}">
                  <a16:creationId xmlns:a16="http://schemas.microsoft.com/office/drawing/2014/main" id="{7424D77D-37DB-FB52-9D52-2747F937BBDD}"/>
                </a:ext>
              </a:extLst>
            </p:cNvPr>
            <p:cNvSpPr txBox="1"/>
            <p:nvPr/>
          </p:nvSpPr>
          <p:spPr>
            <a:xfrm>
              <a:off x="5953749" y="5785907"/>
              <a:ext cx="419347" cy="246221"/>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182</a:t>
              </a:r>
            </a:p>
          </p:txBody>
        </p:sp>
        <p:sp>
          <p:nvSpPr>
            <p:cNvPr id="2007" name="TextBox 2006">
              <a:extLst>
                <a:ext uri="{FF2B5EF4-FFF2-40B4-BE49-F238E27FC236}">
                  <a16:creationId xmlns:a16="http://schemas.microsoft.com/office/drawing/2014/main" id="{50B42169-7E45-E282-ED0B-B1A6D6B28983}"/>
                </a:ext>
              </a:extLst>
            </p:cNvPr>
            <p:cNvSpPr txBox="1"/>
            <p:nvPr/>
          </p:nvSpPr>
          <p:spPr>
            <a:xfrm>
              <a:off x="6152821" y="5785907"/>
              <a:ext cx="419347" cy="246221"/>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173</a:t>
              </a:r>
            </a:p>
          </p:txBody>
        </p:sp>
        <p:sp>
          <p:nvSpPr>
            <p:cNvPr id="2008" name="TextBox 2007">
              <a:extLst>
                <a:ext uri="{FF2B5EF4-FFF2-40B4-BE49-F238E27FC236}">
                  <a16:creationId xmlns:a16="http://schemas.microsoft.com/office/drawing/2014/main" id="{2D727E05-0AC0-19F8-EB0E-731EA473797A}"/>
                </a:ext>
              </a:extLst>
            </p:cNvPr>
            <p:cNvSpPr txBox="1"/>
            <p:nvPr/>
          </p:nvSpPr>
          <p:spPr>
            <a:xfrm>
              <a:off x="6339275" y="5785907"/>
              <a:ext cx="419347" cy="246221"/>
            </a:xfrm>
            <a:prstGeom prst="rect">
              <a:avLst/>
            </a:prstGeom>
            <a:noFill/>
          </p:spPr>
          <p:txBody>
            <a:bodyPr wrap="none" rtlCol="0">
              <a:spAutoFit/>
            </a:bodyPr>
            <a:lstStyle/>
            <a:p>
              <a:pPr algn="l"/>
              <a:r>
                <a:rPr lang="en-US" sz="600" dirty="0">
                  <a:ln/>
                  <a:solidFill>
                    <a:srgbClr val="000000"/>
                  </a:solidFill>
                  <a:latin typeface="Arial" panose="020B0604020202020204" pitchFamily="34" charset="0"/>
                  <a:cs typeface="Arial" panose="020B0604020202020204" pitchFamily="34" charset="0"/>
                  <a:sym typeface="HelveticaNeueLTStd-Roman"/>
                  <a:rtl val="0"/>
                </a:rPr>
                <a:t>156</a:t>
              </a:r>
            </a:p>
          </p:txBody>
        </p:sp>
        <p:sp>
          <p:nvSpPr>
            <p:cNvPr id="2009" name="TextBox 2008">
              <a:extLst>
                <a:ext uri="{FF2B5EF4-FFF2-40B4-BE49-F238E27FC236}">
                  <a16:creationId xmlns:a16="http://schemas.microsoft.com/office/drawing/2014/main" id="{AD26C5BC-606A-3E64-A74E-67EB7AD18897}"/>
                </a:ext>
              </a:extLst>
            </p:cNvPr>
            <p:cNvSpPr txBox="1"/>
            <p:nvPr/>
          </p:nvSpPr>
          <p:spPr>
            <a:xfrm>
              <a:off x="6547848" y="5785907"/>
              <a:ext cx="419347" cy="246221"/>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142</a:t>
              </a:r>
            </a:p>
          </p:txBody>
        </p:sp>
        <p:sp>
          <p:nvSpPr>
            <p:cNvPr id="2010" name="TextBox 2009">
              <a:extLst>
                <a:ext uri="{FF2B5EF4-FFF2-40B4-BE49-F238E27FC236}">
                  <a16:creationId xmlns:a16="http://schemas.microsoft.com/office/drawing/2014/main" id="{ACA48EBC-DFE0-D974-09F8-59311F2E9AEA}"/>
                </a:ext>
              </a:extLst>
            </p:cNvPr>
            <p:cNvSpPr txBox="1"/>
            <p:nvPr/>
          </p:nvSpPr>
          <p:spPr>
            <a:xfrm>
              <a:off x="6734243" y="5785907"/>
              <a:ext cx="419347" cy="246221"/>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124</a:t>
              </a:r>
            </a:p>
          </p:txBody>
        </p:sp>
        <p:sp>
          <p:nvSpPr>
            <p:cNvPr id="2011" name="TextBox 2010">
              <a:extLst>
                <a:ext uri="{FF2B5EF4-FFF2-40B4-BE49-F238E27FC236}">
                  <a16:creationId xmlns:a16="http://schemas.microsoft.com/office/drawing/2014/main" id="{7BDFBCB9-2D3E-28FF-A09C-FBD0C98DEA2C}"/>
                </a:ext>
              </a:extLst>
            </p:cNvPr>
            <p:cNvSpPr txBox="1"/>
            <p:nvPr/>
          </p:nvSpPr>
          <p:spPr>
            <a:xfrm>
              <a:off x="6933392" y="5785907"/>
              <a:ext cx="419347" cy="246221"/>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109</a:t>
              </a:r>
            </a:p>
          </p:txBody>
        </p:sp>
        <p:sp>
          <p:nvSpPr>
            <p:cNvPr id="2012" name="TextBox 2011">
              <a:extLst>
                <a:ext uri="{FF2B5EF4-FFF2-40B4-BE49-F238E27FC236}">
                  <a16:creationId xmlns:a16="http://schemas.microsoft.com/office/drawing/2014/main" id="{F32F767F-6DC7-8FE4-2906-006C56A6C186}"/>
                </a:ext>
              </a:extLst>
            </p:cNvPr>
            <p:cNvSpPr txBox="1"/>
            <p:nvPr/>
          </p:nvSpPr>
          <p:spPr>
            <a:xfrm>
              <a:off x="7146596" y="5785907"/>
              <a:ext cx="361637" cy="246221"/>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91</a:t>
              </a:r>
            </a:p>
          </p:txBody>
        </p:sp>
        <p:sp>
          <p:nvSpPr>
            <p:cNvPr id="2013" name="TextBox 2012">
              <a:extLst>
                <a:ext uri="{FF2B5EF4-FFF2-40B4-BE49-F238E27FC236}">
                  <a16:creationId xmlns:a16="http://schemas.microsoft.com/office/drawing/2014/main" id="{039B7E63-C5E8-3DC9-5C55-36F01FCF1B61}"/>
                </a:ext>
              </a:extLst>
            </p:cNvPr>
            <p:cNvSpPr txBox="1"/>
            <p:nvPr/>
          </p:nvSpPr>
          <p:spPr>
            <a:xfrm>
              <a:off x="7346054" y="5785907"/>
              <a:ext cx="361637" cy="246221"/>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73</a:t>
              </a:r>
            </a:p>
          </p:txBody>
        </p:sp>
        <p:sp>
          <p:nvSpPr>
            <p:cNvPr id="2014" name="TextBox 2013">
              <a:extLst>
                <a:ext uri="{FF2B5EF4-FFF2-40B4-BE49-F238E27FC236}">
                  <a16:creationId xmlns:a16="http://schemas.microsoft.com/office/drawing/2014/main" id="{FAB6FCA6-0854-88B3-7BDE-6932B2311932}"/>
                </a:ext>
              </a:extLst>
            </p:cNvPr>
            <p:cNvSpPr txBox="1"/>
            <p:nvPr/>
          </p:nvSpPr>
          <p:spPr>
            <a:xfrm>
              <a:off x="7532506" y="5785907"/>
              <a:ext cx="361637" cy="246221"/>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64</a:t>
              </a:r>
            </a:p>
          </p:txBody>
        </p:sp>
        <p:sp>
          <p:nvSpPr>
            <p:cNvPr id="2015" name="TextBox 2014">
              <a:extLst>
                <a:ext uri="{FF2B5EF4-FFF2-40B4-BE49-F238E27FC236}">
                  <a16:creationId xmlns:a16="http://schemas.microsoft.com/office/drawing/2014/main" id="{4EFBEB77-27C3-FFF7-2850-854DDEC9C1B0}"/>
                </a:ext>
              </a:extLst>
            </p:cNvPr>
            <p:cNvSpPr txBox="1"/>
            <p:nvPr/>
          </p:nvSpPr>
          <p:spPr>
            <a:xfrm>
              <a:off x="7731560" y="5785907"/>
              <a:ext cx="361637" cy="246221"/>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51</a:t>
              </a:r>
            </a:p>
          </p:txBody>
        </p:sp>
        <p:sp>
          <p:nvSpPr>
            <p:cNvPr id="2016" name="TextBox 2015">
              <a:extLst>
                <a:ext uri="{FF2B5EF4-FFF2-40B4-BE49-F238E27FC236}">
                  <a16:creationId xmlns:a16="http://schemas.microsoft.com/office/drawing/2014/main" id="{124D54C9-6ABB-6B0F-9B43-50F0E0462371}"/>
                </a:ext>
              </a:extLst>
            </p:cNvPr>
            <p:cNvSpPr txBox="1"/>
            <p:nvPr/>
          </p:nvSpPr>
          <p:spPr>
            <a:xfrm>
              <a:off x="7918032" y="5785907"/>
              <a:ext cx="361637" cy="246221"/>
            </a:xfrm>
            <a:prstGeom prst="rect">
              <a:avLst/>
            </a:prstGeom>
            <a:noFill/>
          </p:spPr>
          <p:txBody>
            <a:bodyPr wrap="none" rtlCol="0">
              <a:spAutoFit/>
            </a:bodyPr>
            <a:lstStyle/>
            <a:p>
              <a:pPr algn="l"/>
              <a:r>
                <a:rPr lang="en-US" sz="600" dirty="0">
                  <a:ln/>
                  <a:solidFill>
                    <a:srgbClr val="000000"/>
                  </a:solidFill>
                  <a:latin typeface="Arial" panose="020B0604020202020204" pitchFamily="34" charset="0"/>
                  <a:cs typeface="Arial" panose="020B0604020202020204" pitchFamily="34" charset="0"/>
                  <a:sym typeface="HelveticaNeueLTStd-Roman"/>
                  <a:rtl val="0"/>
                </a:rPr>
                <a:t>44</a:t>
              </a:r>
            </a:p>
          </p:txBody>
        </p:sp>
        <p:sp>
          <p:nvSpPr>
            <p:cNvPr id="2017" name="TextBox 2016">
              <a:extLst>
                <a:ext uri="{FF2B5EF4-FFF2-40B4-BE49-F238E27FC236}">
                  <a16:creationId xmlns:a16="http://schemas.microsoft.com/office/drawing/2014/main" id="{38BA7DFE-54A6-22B9-6D41-662BC4E679AB}"/>
                </a:ext>
              </a:extLst>
            </p:cNvPr>
            <p:cNvSpPr txBox="1"/>
            <p:nvPr/>
          </p:nvSpPr>
          <p:spPr>
            <a:xfrm>
              <a:off x="8126636" y="5785907"/>
              <a:ext cx="361637" cy="246221"/>
            </a:xfrm>
            <a:prstGeom prst="rect">
              <a:avLst/>
            </a:prstGeom>
            <a:noFill/>
          </p:spPr>
          <p:txBody>
            <a:bodyPr wrap="none" rtlCol="0">
              <a:spAutoFit/>
            </a:bodyPr>
            <a:lstStyle/>
            <a:p>
              <a:pPr algn="l"/>
              <a:r>
                <a:rPr lang="en-US" sz="600" dirty="0">
                  <a:ln/>
                  <a:solidFill>
                    <a:srgbClr val="000000"/>
                  </a:solidFill>
                  <a:latin typeface="Arial" panose="020B0604020202020204" pitchFamily="34" charset="0"/>
                  <a:cs typeface="Arial" panose="020B0604020202020204" pitchFamily="34" charset="0"/>
                  <a:sym typeface="HelveticaNeueLTStd-Roman"/>
                  <a:rtl val="0"/>
                </a:rPr>
                <a:t>38</a:t>
              </a:r>
            </a:p>
          </p:txBody>
        </p:sp>
        <p:sp>
          <p:nvSpPr>
            <p:cNvPr id="2018" name="TextBox 2017">
              <a:extLst>
                <a:ext uri="{FF2B5EF4-FFF2-40B4-BE49-F238E27FC236}">
                  <a16:creationId xmlns:a16="http://schemas.microsoft.com/office/drawing/2014/main" id="{C392A7A3-4750-6155-3B67-02D986914A5B}"/>
                </a:ext>
              </a:extLst>
            </p:cNvPr>
            <p:cNvSpPr txBox="1"/>
            <p:nvPr/>
          </p:nvSpPr>
          <p:spPr>
            <a:xfrm>
              <a:off x="8313088" y="5785907"/>
              <a:ext cx="361637" cy="246221"/>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30</a:t>
              </a:r>
            </a:p>
          </p:txBody>
        </p:sp>
        <p:sp>
          <p:nvSpPr>
            <p:cNvPr id="2019" name="TextBox 2018">
              <a:extLst>
                <a:ext uri="{FF2B5EF4-FFF2-40B4-BE49-F238E27FC236}">
                  <a16:creationId xmlns:a16="http://schemas.microsoft.com/office/drawing/2014/main" id="{07B3A54D-6B72-4BC3-A435-DCCF1A022E95}"/>
                </a:ext>
              </a:extLst>
            </p:cNvPr>
            <p:cNvSpPr txBox="1"/>
            <p:nvPr/>
          </p:nvSpPr>
          <p:spPr>
            <a:xfrm>
              <a:off x="8512160" y="5785907"/>
              <a:ext cx="361637" cy="246221"/>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22</a:t>
              </a:r>
            </a:p>
          </p:txBody>
        </p:sp>
        <p:sp>
          <p:nvSpPr>
            <p:cNvPr id="2020" name="TextBox 2019">
              <a:extLst>
                <a:ext uri="{FF2B5EF4-FFF2-40B4-BE49-F238E27FC236}">
                  <a16:creationId xmlns:a16="http://schemas.microsoft.com/office/drawing/2014/main" id="{05511E96-B03C-2F02-AFC8-7FF3B553EAD6}"/>
                </a:ext>
              </a:extLst>
            </p:cNvPr>
            <p:cNvSpPr txBox="1"/>
            <p:nvPr/>
          </p:nvSpPr>
          <p:spPr>
            <a:xfrm>
              <a:off x="8698624" y="5785907"/>
              <a:ext cx="361637" cy="246221"/>
            </a:xfrm>
            <a:prstGeom prst="rect">
              <a:avLst/>
            </a:prstGeom>
            <a:noFill/>
          </p:spPr>
          <p:txBody>
            <a:bodyPr wrap="none" rtlCol="0">
              <a:spAutoFit/>
            </a:bodyPr>
            <a:lstStyle/>
            <a:p>
              <a:pPr algn="l"/>
              <a:r>
                <a:rPr lang="en-US" sz="600" dirty="0">
                  <a:ln/>
                  <a:solidFill>
                    <a:srgbClr val="000000"/>
                  </a:solidFill>
                  <a:latin typeface="Arial" panose="020B0604020202020204" pitchFamily="34" charset="0"/>
                  <a:cs typeface="Arial" panose="020B0604020202020204" pitchFamily="34" charset="0"/>
                  <a:sym typeface="HelveticaNeueLTStd-Roman"/>
                  <a:rtl val="0"/>
                </a:rPr>
                <a:t>18</a:t>
              </a:r>
            </a:p>
          </p:txBody>
        </p:sp>
        <p:sp>
          <p:nvSpPr>
            <p:cNvPr id="2021" name="TextBox 2020">
              <a:extLst>
                <a:ext uri="{FF2B5EF4-FFF2-40B4-BE49-F238E27FC236}">
                  <a16:creationId xmlns:a16="http://schemas.microsoft.com/office/drawing/2014/main" id="{C379B18C-A67C-5729-E2D1-2677C8A749A5}"/>
                </a:ext>
              </a:extLst>
            </p:cNvPr>
            <p:cNvSpPr txBox="1"/>
            <p:nvPr/>
          </p:nvSpPr>
          <p:spPr>
            <a:xfrm>
              <a:off x="9103949" y="5785907"/>
              <a:ext cx="303931" cy="246221"/>
            </a:xfrm>
            <a:prstGeom prst="rect">
              <a:avLst/>
            </a:prstGeom>
            <a:noFill/>
          </p:spPr>
          <p:txBody>
            <a:bodyPr wrap="none" rtlCol="0">
              <a:spAutoFit/>
            </a:bodyPr>
            <a:lstStyle/>
            <a:p>
              <a:pPr algn="l"/>
              <a:r>
                <a:rPr lang="en-US" sz="600" dirty="0">
                  <a:ln/>
                  <a:solidFill>
                    <a:srgbClr val="000000"/>
                  </a:solidFill>
                  <a:latin typeface="Arial" panose="020B0604020202020204" pitchFamily="34" charset="0"/>
                  <a:cs typeface="Arial" panose="020B0604020202020204" pitchFamily="34" charset="0"/>
                  <a:sym typeface="HelveticaNeueLTStd-Roman"/>
                  <a:rtl val="0"/>
                </a:rPr>
                <a:t>9</a:t>
              </a:r>
            </a:p>
          </p:txBody>
        </p:sp>
        <p:sp>
          <p:nvSpPr>
            <p:cNvPr id="2022" name="TextBox 2021">
              <a:extLst>
                <a:ext uri="{FF2B5EF4-FFF2-40B4-BE49-F238E27FC236}">
                  <a16:creationId xmlns:a16="http://schemas.microsoft.com/office/drawing/2014/main" id="{2DFF2599-F056-63E5-536E-C889649CC4F3}"/>
                </a:ext>
              </a:extLst>
            </p:cNvPr>
            <p:cNvSpPr txBox="1"/>
            <p:nvPr/>
          </p:nvSpPr>
          <p:spPr>
            <a:xfrm>
              <a:off x="9303004" y="5785907"/>
              <a:ext cx="303931" cy="246221"/>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7</a:t>
              </a:r>
            </a:p>
          </p:txBody>
        </p:sp>
        <p:sp>
          <p:nvSpPr>
            <p:cNvPr id="2023" name="TextBox 2022">
              <a:extLst>
                <a:ext uri="{FF2B5EF4-FFF2-40B4-BE49-F238E27FC236}">
                  <a16:creationId xmlns:a16="http://schemas.microsoft.com/office/drawing/2014/main" id="{186E7AEA-A1C4-F048-BB2E-B672F1DF89D3}"/>
                </a:ext>
              </a:extLst>
            </p:cNvPr>
            <p:cNvSpPr txBox="1"/>
            <p:nvPr/>
          </p:nvSpPr>
          <p:spPr>
            <a:xfrm>
              <a:off x="9489494" y="5785907"/>
              <a:ext cx="303931" cy="246221"/>
            </a:xfrm>
            <a:prstGeom prst="rect">
              <a:avLst/>
            </a:prstGeom>
            <a:noFill/>
          </p:spPr>
          <p:txBody>
            <a:bodyPr wrap="none" rtlCol="0">
              <a:spAutoFit/>
            </a:bodyPr>
            <a:lstStyle/>
            <a:p>
              <a:pPr algn="l"/>
              <a:r>
                <a:rPr lang="en-US" sz="600" dirty="0">
                  <a:ln/>
                  <a:solidFill>
                    <a:srgbClr val="000000"/>
                  </a:solidFill>
                  <a:latin typeface="Arial" panose="020B0604020202020204" pitchFamily="34" charset="0"/>
                  <a:cs typeface="Arial" panose="020B0604020202020204" pitchFamily="34" charset="0"/>
                  <a:sym typeface="HelveticaNeueLTStd-Roman"/>
                  <a:rtl val="0"/>
                </a:rPr>
                <a:t>6</a:t>
              </a:r>
            </a:p>
          </p:txBody>
        </p:sp>
        <p:sp>
          <p:nvSpPr>
            <p:cNvPr id="2024" name="TextBox 2023">
              <a:extLst>
                <a:ext uri="{FF2B5EF4-FFF2-40B4-BE49-F238E27FC236}">
                  <a16:creationId xmlns:a16="http://schemas.microsoft.com/office/drawing/2014/main" id="{C4231FCB-25A4-9A86-D7DF-0250540FB49D}"/>
                </a:ext>
              </a:extLst>
            </p:cNvPr>
            <p:cNvSpPr txBox="1"/>
            <p:nvPr/>
          </p:nvSpPr>
          <p:spPr>
            <a:xfrm>
              <a:off x="9698001" y="5785907"/>
              <a:ext cx="303931" cy="246221"/>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1</a:t>
              </a:r>
            </a:p>
          </p:txBody>
        </p:sp>
        <p:sp>
          <p:nvSpPr>
            <p:cNvPr id="2025" name="TextBox 2024">
              <a:extLst>
                <a:ext uri="{FF2B5EF4-FFF2-40B4-BE49-F238E27FC236}">
                  <a16:creationId xmlns:a16="http://schemas.microsoft.com/office/drawing/2014/main" id="{4083D6B5-2E88-326B-30FB-CA47223C0F92}"/>
                </a:ext>
              </a:extLst>
            </p:cNvPr>
            <p:cNvSpPr txBox="1"/>
            <p:nvPr/>
          </p:nvSpPr>
          <p:spPr>
            <a:xfrm>
              <a:off x="9884463" y="5785907"/>
              <a:ext cx="303931" cy="246221"/>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1</a:t>
              </a:r>
            </a:p>
          </p:txBody>
        </p:sp>
        <p:sp>
          <p:nvSpPr>
            <p:cNvPr id="2026" name="TextBox 2025">
              <a:extLst>
                <a:ext uri="{FF2B5EF4-FFF2-40B4-BE49-F238E27FC236}">
                  <a16:creationId xmlns:a16="http://schemas.microsoft.com/office/drawing/2014/main" id="{220132CC-16C9-F457-69BF-FBE3C9373E54}"/>
                </a:ext>
              </a:extLst>
            </p:cNvPr>
            <p:cNvSpPr txBox="1"/>
            <p:nvPr/>
          </p:nvSpPr>
          <p:spPr>
            <a:xfrm>
              <a:off x="10091621" y="5785907"/>
              <a:ext cx="303931" cy="246221"/>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1</a:t>
              </a:r>
            </a:p>
          </p:txBody>
        </p:sp>
        <p:sp>
          <p:nvSpPr>
            <p:cNvPr id="2027" name="TextBox 2026">
              <a:extLst>
                <a:ext uri="{FF2B5EF4-FFF2-40B4-BE49-F238E27FC236}">
                  <a16:creationId xmlns:a16="http://schemas.microsoft.com/office/drawing/2014/main" id="{6077AE40-6650-6C71-4972-D66286B2E802}"/>
                </a:ext>
              </a:extLst>
            </p:cNvPr>
            <p:cNvSpPr txBox="1"/>
            <p:nvPr/>
          </p:nvSpPr>
          <p:spPr>
            <a:xfrm>
              <a:off x="10282223" y="5785907"/>
              <a:ext cx="303931" cy="246221"/>
            </a:xfrm>
            <a:prstGeom prst="rect">
              <a:avLst/>
            </a:prstGeom>
            <a:noFill/>
          </p:spPr>
          <p:txBody>
            <a:bodyPr wrap="none" rtlCol="0">
              <a:spAutoFit/>
            </a:bodyPr>
            <a:lstStyle/>
            <a:p>
              <a:pPr algn="l"/>
              <a:r>
                <a:rPr lang="en-US" sz="600" dirty="0">
                  <a:ln/>
                  <a:solidFill>
                    <a:srgbClr val="000000"/>
                  </a:solidFill>
                  <a:latin typeface="Arial" panose="020B0604020202020204" pitchFamily="34" charset="0"/>
                  <a:cs typeface="Arial" panose="020B0604020202020204" pitchFamily="34" charset="0"/>
                  <a:sym typeface="HelveticaNeueLTStd-Roman"/>
                  <a:rtl val="0"/>
                </a:rPr>
                <a:t>0</a:t>
              </a:r>
            </a:p>
          </p:txBody>
        </p:sp>
        <p:sp>
          <p:nvSpPr>
            <p:cNvPr id="2075" name="TextBox 2074">
              <a:extLst>
                <a:ext uri="{FF2B5EF4-FFF2-40B4-BE49-F238E27FC236}">
                  <a16:creationId xmlns:a16="http://schemas.microsoft.com/office/drawing/2014/main" id="{49C97952-6988-6EC8-14F4-3D6E08049D22}"/>
                </a:ext>
              </a:extLst>
            </p:cNvPr>
            <p:cNvSpPr txBox="1"/>
            <p:nvPr/>
          </p:nvSpPr>
          <p:spPr>
            <a:xfrm>
              <a:off x="8890736" y="5785907"/>
              <a:ext cx="361637" cy="246221"/>
            </a:xfrm>
            <a:prstGeom prst="rect">
              <a:avLst/>
            </a:prstGeom>
            <a:noFill/>
          </p:spPr>
          <p:txBody>
            <a:bodyPr wrap="none" rtlCol="0">
              <a:spAutoFit/>
            </a:bodyPr>
            <a:lstStyle/>
            <a:p>
              <a:pPr algn="l"/>
              <a:r>
                <a:rPr lang="en-US" sz="600">
                  <a:ln/>
                  <a:solidFill>
                    <a:srgbClr val="000000"/>
                  </a:solidFill>
                  <a:latin typeface="Arial" panose="020B0604020202020204" pitchFamily="34" charset="0"/>
                  <a:cs typeface="Arial" panose="020B0604020202020204" pitchFamily="34" charset="0"/>
                  <a:sym typeface="HelveticaNeueLTStd-Roman"/>
                  <a:rtl val="0"/>
                </a:rPr>
                <a:t>11</a:t>
              </a:r>
            </a:p>
          </p:txBody>
        </p:sp>
        <p:sp>
          <p:nvSpPr>
            <p:cNvPr id="1980" name="TextBox 1979">
              <a:extLst>
                <a:ext uri="{FF2B5EF4-FFF2-40B4-BE49-F238E27FC236}">
                  <a16:creationId xmlns:a16="http://schemas.microsoft.com/office/drawing/2014/main" id="{122C64B4-F689-D780-9445-E2F76ED7A571}"/>
                </a:ext>
              </a:extLst>
            </p:cNvPr>
            <p:cNvSpPr txBox="1"/>
            <p:nvPr/>
          </p:nvSpPr>
          <p:spPr>
            <a:xfrm>
              <a:off x="5072963" y="5431311"/>
              <a:ext cx="1480406" cy="369332"/>
            </a:xfrm>
            <a:prstGeom prst="rect">
              <a:avLst/>
            </a:prstGeom>
            <a:noFill/>
          </p:spPr>
          <p:txBody>
            <a:bodyPr wrap="none" rtlCol="0">
              <a:spAutoFit/>
            </a:bodyPr>
            <a:lstStyle/>
            <a:p>
              <a:pPr algn="ctr"/>
              <a:r>
                <a:rPr lang="en-US" sz="1200" dirty="0">
                  <a:ln/>
                  <a:solidFill>
                    <a:srgbClr val="000000"/>
                  </a:solidFill>
                  <a:latin typeface="Arial" panose="020B0604020202020204" pitchFamily="34" charset="0"/>
                  <a:cs typeface="Arial" panose="020B0604020202020204" pitchFamily="34" charset="0"/>
                  <a:sym typeface="HelveticaNeueLTStd-Bd"/>
                  <a:rtl val="0"/>
                </a:rPr>
                <a:t>Time, months</a:t>
              </a:r>
            </a:p>
          </p:txBody>
        </p:sp>
      </p:grpSp>
      <p:graphicFrame>
        <p:nvGraphicFramePr>
          <p:cNvPr id="3" name="Table 10">
            <a:extLst>
              <a:ext uri="{FF2B5EF4-FFF2-40B4-BE49-F238E27FC236}">
                <a16:creationId xmlns:a16="http://schemas.microsoft.com/office/drawing/2014/main" id="{B56E735E-8956-B9A1-8869-F131945EBC8D}"/>
              </a:ext>
            </a:extLst>
          </p:cNvPr>
          <p:cNvGraphicFramePr>
            <a:graphicFrameLocks noGrp="1"/>
          </p:cNvGraphicFramePr>
          <p:nvPr/>
        </p:nvGraphicFramePr>
        <p:xfrm>
          <a:off x="6172520" y="809008"/>
          <a:ext cx="2750577" cy="1295400"/>
        </p:xfrm>
        <a:graphic>
          <a:graphicData uri="http://schemas.openxmlformats.org/drawingml/2006/table">
            <a:tbl>
              <a:tblPr firstRow="1" bandRow="1">
                <a:tableStyleId>{5C22544A-7EE6-4342-B048-85BDC9FD1C3A}</a:tableStyleId>
              </a:tblPr>
              <a:tblGrid>
                <a:gridCol w="916859">
                  <a:extLst>
                    <a:ext uri="{9D8B030D-6E8A-4147-A177-3AD203B41FA5}">
                      <a16:colId xmlns:a16="http://schemas.microsoft.com/office/drawing/2014/main" val="4170772947"/>
                    </a:ext>
                  </a:extLst>
                </a:gridCol>
                <a:gridCol w="916859">
                  <a:extLst>
                    <a:ext uri="{9D8B030D-6E8A-4147-A177-3AD203B41FA5}">
                      <a16:colId xmlns:a16="http://schemas.microsoft.com/office/drawing/2014/main" val="230439153"/>
                    </a:ext>
                  </a:extLst>
                </a:gridCol>
                <a:gridCol w="916859">
                  <a:extLst>
                    <a:ext uri="{9D8B030D-6E8A-4147-A177-3AD203B41FA5}">
                      <a16:colId xmlns:a16="http://schemas.microsoft.com/office/drawing/2014/main" val="2280158204"/>
                    </a:ext>
                  </a:extLst>
                </a:gridCol>
              </a:tblGrid>
              <a:tr h="251460">
                <a:tc>
                  <a:txBody>
                    <a:bodyPr/>
                    <a:lstStyle/>
                    <a:p>
                      <a:pPr algn="ctr"/>
                      <a:endParaRPr lang="en-US" sz="1200" dirty="0">
                        <a:latin typeface="Arial" panose="020B0604020202020204" pitchFamily="34" charset="0"/>
                        <a:cs typeface="Arial" panose="020B0604020202020204" pitchFamily="34" charset="0"/>
                      </a:endParaRPr>
                    </a:p>
                  </a:txBody>
                  <a:tcPr marL="68580" marR="68580" marT="34290" marB="3429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1200" dirty="0">
                          <a:latin typeface="Arial" panose="020B0604020202020204" pitchFamily="34" charset="0"/>
                          <a:cs typeface="Arial" panose="020B0604020202020204" pitchFamily="34" charset="0"/>
                        </a:rPr>
                        <a:t>T-DXd</a:t>
                      </a:r>
                    </a:p>
                  </a:txBody>
                  <a:tcPr marL="68580" marR="68580" marT="34290" marB="34290">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pPr algn="ctr"/>
                      <a:r>
                        <a:rPr lang="en-US" sz="1200" dirty="0">
                          <a:latin typeface="Arial" panose="020B0604020202020204" pitchFamily="34" charset="0"/>
                          <a:cs typeface="Arial" panose="020B0604020202020204" pitchFamily="34" charset="0"/>
                        </a:rPr>
                        <a:t>T-DM1</a:t>
                      </a:r>
                    </a:p>
                  </a:txBody>
                  <a:tcPr marL="68580" marR="68580" marT="34290" marB="34290">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828283"/>
                    </a:solidFill>
                  </a:tcPr>
                </a:tc>
                <a:extLst>
                  <a:ext uri="{0D108BD9-81ED-4DB2-BD59-A6C34878D82A}">
                    <a16:rowId xmlns:a16="http://schemas.microsoft.com/office/drawing/2014/main" val="2896536547"/>
                  </a:ext>
                </a:extLst>
              </a:tr>
              <a:tr h="5486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a:latin typeface="Arial" panose="020B0604020202020204" pitchFamily="34" charset="0"/>
                          <a:cs typeface="Arial" panose="020B0604020202020204" pitchFamily="34" charset="0"/>
                        </a:rPr>
                        <a:t>Media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a:latin typeface="Arial" panose="020B0604020202020204" pitchFamily="34" charset="0"/>
                          <a:cs typeface="Arial" panose="020B0604020202020204" pitchFamily="34" charset="0"/>
                        </a:rPr>
                        <a:t>(95% CI), months</a:t>
                      </a:r>
                    </a:p>
                  </a:txBody>
                  <a:tcPr marL="68580" marR="68580" marT="34290" marB="34290">
                    <a:lnL w="12700" cmpd="sng">
                      <a:noFill/>
                    </a:lnL>
                    <a:lnR w="12700" cmpd="sng">
                      <a:noFill/>
                    </a:lnR>
                    <a:lnT w="38100" cmpd="sng">
                      <a:noFill/>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1" dirty="0">
                          <a:latin typeface="Arial" panose="020B0604020202020204" pitchFamily="34" charset="0"/>
                          <a:cs typeface="Arial" panose="020B0604020202020204" pitchFamily="34" charset="0"/>
                        </a:rPr>
                        <a:t>NR </a:t>
                      </a:r>
                    </a:p>
                    <a:p>
                      <a:pPr algn="ctr"/>
                      <a:r>
                        <a:rPr lang="en-US" sz="1100" b="0" dirty="0">
                          <a:latin typeface="Arial" panose="020B0604020202020204" pitchFamily="34" charset="0"/>
                          <a:cs typeface="Arial" panose="020B0604020202020204" pitchFamily="34" charset="0"/>
                        </a:rPr>
                        <a:t>(40.5-NE)</a:t>
                      </a:r>
                    </a:p>
                  </a:txBody>
                  <a:tcPr marL="68580" marR="68580" marT="34290" marB="34290">
                    <a:lnL w="12700" cmpd="sng">
                      <a:noFill/>
                    </a:lnL>
                    <a:lnR w="12700" cmpd="sng">
                      <a:noFill/>
                    </a:lnR>
                    <a:lnT w="38100" cmpd="sng">
                      <a:noFill/>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E6ECF9"/>
                    </a:solidFill>
                  </a:tcPr>
                </a:tc>
                <a:tc>
                  <a:txBody>
                    <a:bodyPr/>
                    <a:lstStyle/>
                    <a:p>
                      <a:pPr algn="ctr"/>
                      <a:r>
                        <a:rPr lang="en-US" sz="1100" b="1" dirty="0">
                          <a:latin typeface="Arial" panose="020B0604020202020204" pitchFamily="34" charset="0"/>
                          <a:cs typeface="Arial" panose="020B0604020202020204" pitchFamily="34" charset="0"/>
                        </a:rPr>
                        <a:t>NR </a:t>
                      </a:r>
                    </a:p>
                    <a:p>
                      <a:pPr algn="ctr"/>
                      <a:r>
                        <a:rPr lang="en-US" sz="1100" b="0" dirty="0">
                          <a:latin typeface="Arial" panose="020B0604020202020204" pitchFamily="34" charset="0"/>
                          <a:cs typeface="Arial" panose="020B0604020202020204" pitchFamily="34" charset="0"/>
                        </a:rPr>
                        <a:t>(34.0-NE)</a:t>
                      </a:r>
                    </a:p>
                  </a:txBody>
                  <a:tcPr marL="68580" marR="68580" marT="34290" marB="34290">
                    <a:lnL w="12700" cmpd="sng">
                      <a:noFill/>
                    </a:lnL>
                    <a:lnR w="12700" cmpd="sng">
                      <a:noFill/>
                    </a:lnR>
                    <a:lnT w="38100" cmpd="sng">
                      <a:noFill/>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3079423255"/>
                  </a:ext>
                </a:extLst>
              </a:tr>
              <a:tr h="228600">
                <a:tc>
                  <a:txBody>
                    <a:bodyPr/>
                    <a:lstStyle/>
                    <a:p>
                      <a:pPr algn="ctr"/>
                      <a:r>
                        <a:rPr lang="en-US" sz="1100" b="1">
                          <a:solidFill>
                            <a:srgbClr val="742455"/>
                          </a:solidFill>
                          <a:latin typeface="Arial" panose="020B0604020202020204" pitchFamily="34" charset="0"/>
                          <a:cs typeface="Arial" panose="020B0604020202020204" pitchFamily="34" charset="0"/>
                        </a:rPr>
                        <a:t>HR</a:t>
                      </a:r>
                      <a:endParaRPr lang="en-US" sz="1100" b="1" baseline="30000" dirty="0">
                        <a:solidFill>
                          <a:srgbClr val="742455"/>
                        </a:solidFill>
                        <a:latin typeface="Arial" panose="020B0604020202020204" pitchFamily="34" charset="0"/>
                        <a:cs typeface="Arial" panose="020B0604020202020204" pitchFamily="34" charset="0"/>
                      </a:endParaRPr>
                    </a:p>
                  </a:txBody>
                  <a:tcPr marL="68580" marR="68580" marT="34290" marB="34290">
                    <a:lnL w="12700" cmpd="sng">
                      <a:noFill/>
                    </a:lnL>
                    <a:lnR w="12700" cmpd="sng">
                      <a:no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lang="en-US" sz="1100" b="1" dirty="0">
                          <a:solidFill>
                            <a:srgbClr val="742455"/>
                          </a:solidFill>
                          <a:latin typeface="Arial" panose="020B0604020202020204" pitchFamily="34" charset="0"/>
                          <a:cs typeface="Arial" panose="020B0604020202020204" pitchFamily="34" charset="0"/>
                        </a:rPr>
                        <a:t>0.64 </a:t>
                      </a:r>
                      <a:r>
                        <a:rPr lang="en-US" sz="1100" b="0" dirty="0">
                          <a:solidFill>
                            <a:srgbClr val="742455"/>
                          </a:solidFill>
                          <a:latin typeface="Arial" panose="020B0604020202020204" pitchFamily="34" charset="0"/>
                          <a:cs typeface="Arial" panose="020B0604020202020204" pitchFamily="34" charset="0"/>
                        </a:rPr>
                        <a:t>(95% CI, 0.47-0.87)</a:t>
                      </a:r>
                    </a:p>
                  </a:txBody>
                  <a:tcPr marL="68580" marR="68580" marT="34290" marB="34290">
                    <a:lnL w="12700" cmpd="sng">
                      <a:noFill/>
                    </a:lnL>
                    <a:lnR w="12700" cmpd="sng">
                      <a:no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1600" dirty="0">
                        <a:latin typeface="Arial" panose="020B0604020202020204" pitchFamily="34" charset="0"/>
                        <a:cs typeface="Arial" panose="020B0604020202020204" pitchFamily="34" charset="0"/>
                      </a:endParaRPr>
                    </a:p>
                  </a:txBody>
                  <a:tcPr>
                    <a:solidFill>
                      <a:srgbClr val="F7F7F7"/>
                    </a:solidFill>
                  </a:tcPr>
                </a:tc>
                <a:extLst>
                  <a:ext uri="{0D108BD9-81ED-4DB2-BD59-A6C34878D82A}">
                    <a16:rowId xmlns:a16="http://schemas.microsoft.com/office/drawing/2014/main" val="1088208777"/>
                  </a:ext>
                </a:extLst>
              </a:tr>
              <a:tr h="228600">
                <a:tc>
                  <a:txBody>
                    <a:bodyPr/>
                    <a:lstStyle/>
                    <a:p>
                      <a:pPr algn="ctr"/>
                      <a:r>
                        <a:rPr lang="en-US" sz="1100" b="1" i="1" dirty="0">
                          <a:solidFill>
                            <a:srgbClr val="742455"/>
                          </a:solidFill>
                          <a:latin typeface="Arial" panose="020B0604020202020204" pitchFamily="34" charset="0"/>
                          <a:cs typeface="Arial" panose="020B0604020202020204" pitchFamily="34" charset="0"/>
                        </a:rPr>
                        <a:t>P</a:t>
                      </a:r>
                      <a:endParaRPr lang="en-US" sz="1100" b="1" baseline="30000" dirty="0">
                        <a:solidFill>
                          <a:srgbClr val="742455"/>
                        </a:solidFill>
                        <a:latin typeface="Arial" panose="020B0604020202020204" pitchFamily="34" charset="0"/>
                        <a:cs typeface="Arial" panose="020B0604020202020204" pitchFamily="34" charset="0"/>
                      </a:endParaRPr>
                    </a:p>
                  </a:txBody>
                  <a:tcPr marL="68580" marR="68580" marT="34290" marB="34290">
                    <a:lnL w="12700" cmpd="sng">
                      <a:noFill/>
                    </a:lnL>
                    <a:lnR w="12700" cmpd="sng">
                      <a:noFill/>
                    </a:lnR>
                    <a:lnT w="12700" cap="flat" cmpd="sng" algn="ctr">
                      <a:solidFill>
                        <a:srgbClr val="002060"/>
                      </a:solidFill>
                      <a:prstDash val="solid"/>
                      <a:round/>
                      <a:headEnd type="none" w="med" len="med"/>
                      <a:tailEnd type="none" w="med" len="med"/>
                    </a:lnT>
                    <a:lnB w="12700" cap="flat" cmpd="sng" algn="ctr">
                      <a:solidFill>
                        <a:srgbClr val="00447C"/>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a:solidFill>
                            <a:srgbClr val="742455"/>
                          </a:solidFill>
                          <a:latin typeface="Arial" panose="020B0604020202020204" pitchFamily="34" charset="0"/>
                          <a:cs typeface="Arial" panose="020B0604020202020204" pitchFamily="34" charset="0"/>
                        </a:rPr>
                        <a:t>0.0037</a:t>
                      </a:r>
                      <a:r>
                        <a:rPr lang="en-US" sz="1100" b="1" baseline="30000" dirty="0">
                          <a:solidFill>
                            <a:srgbClr val="742455"/>
                          </a:solidFill>
                          <a:latin typeface="Arial" panose="020B0604020202020204" pitchFamily="34" charset="0"/>
                          <a:cs typeface="Arial" panose="020B0604020202020204" pitchFamily="34" charset="0"/>
                        </a:rPr>
                        <a:t>a,b</a:t>
                      </a:r>
                    </a:p>
                  </a:txBody>
                  <a:tcPr marL="68580" marR="68580" marT="34290" marB="34290">
                    <a:lnL w="12700" cmpd="sng">
                      <a:noFill/>
                    </a:lnL>
                    <a:lnR w="12700" cmpd="sng">
                      <a:noFill/>
                    </a:lnR>
                    <a:lnT w="12700" cap="flat" cmpd="sng" algn="ctr">
                      <a:solidFill>
                        <a:srgbClr val="002060"/>
                      </a:solidFill>
                      <a:prstDash val="solid"/>
                      <a:round/>
                      <a:headEnd type="none" w="med" len="med"/>
                      <a:tailEnd type="none" w="med" len="med"/>
                    </a:lnT>
                    <a:lnB w="12700" cap="flat" cmpd="sng" algn="ctr">
                      <a:solidFill>
                        <a:srgbClr val="00447C"/>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extLst>
                  <a:ext uri="{0D108BD9-81ED-4DB2-BD59-A6C34878D82A}">
                    <a16:rowId xmlns:a16="http://schemas.microsoft.com/office/drawing/2014/main" val="3570503468"/>
                  </a:ext>
                </a:extLst>
              </a:tr>
            </a:tbl>
          </a:graphicData>
        </a:graphic>
      </p:graphicFrame>
    </p:spTree>
    <p:extLst>
      <p:ext uri="{BB962C8B-B14F-4D97-AF65-F5344CB8AC3E}">
        <p14:creationId xmlns:p14="http://schemas.microsoft.com/office/powerpoint/2010/main" val="1003024906"/>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7">
            <a:extLst>
              <a:ext uri="{FF2B5EF4-FFF2-40B4-BE49-F238E27FC236}">
                <a16:creationId xmlns:a16="http://schemas.microsoft.com/office/drawing/2014/main" id="{04AE8F37-5D44-E258-DF27-6E6AF64E6D41}"/>
              </a:ext>
            </a:extLst>
          </p:cNvPr>
          <p:cNvGraphicFramePr>
            <a:graphicFrameLocks noGrp="1"/>
          </p:cNvGraphicFramePr>
          <p:nvPr/>
        </p:nvGraphicFramePr>
        <p:xfrm>
          <a:off x="203349" y="978941"/>
          <a:ext cx="8605433" cy="3202894"/>
        </p:xfrm>
        <a:graphic>
          <a:graphicData uri="http://schemas.openxmlformats.org/drawingml/2006/table">
            <a:tbl>
              <a:tblPr firstRow="1" bandRow="1">
                <a:tableStyleId>{3B4B98B0-60AC-42C2-AFA5-B58CD77FA1E5}</a:tableStyleId>
              </a:tblPr>
              <a:tblGrid>
                <a:gridCol w="1117251">
                  <a:extLst>
                    <a:ext uri="{9D8B030D-6E8A-4147-A177-3AD203B41FA5}">
                      <a16:colId xmlns:a16="http://schemas.microsoft.com/office/drawing/2014/main" val="3169238537"/>
                    </a:ext>
                  </a:extLst>
                </a:gridCol>
                <a:gridCol w="1143495">
                  <a:extLst>
                    <a:ext uri="{9D8B030D-6E8A-4147-A177-3AD203B41FA5}">
                      <a16:colId xmlns:a16="http://schemas.microsoft.com/office/drawing/2014/main" val="2254719512"/>
                    </a:ext>
                  </a:extLst>
                </a:gridCol>
                <a:gridCol w="639707">
                  <a:extLst>
                    <a:ext uri="{9D8B030D-6E8A-4147-A177-3AD203B41FA5}">
                      <a16:colId xmlns:a16="http://schemas.microsoft.com/office/drawing/2014/main" val="1806724744"/>
                    </a:ext>
                  </a:extLst>
                </a:gridCol>
                <a:gridCol w="946917">
                  <a:extLst>
                    <a:ext uri="{9D8B030D-6E8A-4147-A177-3AD203B41FA5}">
                      <a16:colId xmlns:a16="http://schemas.microsoft.com/office/drawing/2014/main" val="3379561342"/>
                    </a:ext>
                  </a:extLst>
                </a:gridCol>
                <a:gridCol w="898973">
                  <a:extLst>
                    <a:ext uri="{9D8B030D-6E8A-4147-A177-3AD203B41FA5}">
                      <a16:colId xmlns:a16="http://schemas.microsoft.com/office/drawing/2014/main" val="3109026249"/>
                    </a:ext>
                  </a:extLst>
                </a:gridCol>
                <a:gridCol w="1103682">
                  <a:extLst>
                    <a:ext uri="{9D8B030D-6E8A-4147-A177-3AD203B41FA5}">
                      <a16:colId xmlns:a16="http://schemas.microsoft.com/office/drawing/2014/main" val="811390260"/>
                    </a:ext>
                  </a:extLst>
                </a:gridCol>
                <a:gridCol w="1445308">
                  <a:extLst>
                    <a:ext uri="{9D8B030D-6E8A-4147-A177-3AD203B41FA5}">
                      <a16:colId xmlns:a16="http://schemas.microsoft.com/office/drawing/2014/main" val="3985462296"/>
                    </a:ext>
                  </a:extLst>
                </a:gridCol>
                <a:gridCol w="1310100">
                  <a:extLst>
                    <a:ext uri="{9D8B030D-6E8A-4147-A177-3AD203B41FA5}">
                      <a16:colId xmlns:a16="http://schemas.microsoft.com/office/drawing/2014/main" val="1624459634"/>
                    </a:ext>
                  </a:extLst>
                </a:gridCol>
              </a:tblGrid>
              <a:tr h="205740">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latin typeface="Arial" panose="020B0604020202020204" pitchFamily="34" charset="0"/>
                        <a:cs typeface="Arial" panose="020B0604020202020204" pitchFamily="34" charset="0"/>
                      </a:endParaRPr>
                    </a:p>
                  </a:txBody>
                  <a:tcPr marL="68580" marR="68580" marT="34290" marB="34290" anchor="b">
                    <a:lnT w="12700" cap="flat" cmpd="sng" algn="ctr">
                      <a:noFill/>
                      <a:prstDash val="solid"/>
                      <a:round/>
                      <a:headEnd type="none" w="med" len="med"/>
                      <a:tailEnd type="none" w="med" len="med"/>
                    </a:lnT>
                    <a:lnB w="12700" cap="flat" cmpd="sng" algn="ctr">
                      <a:solidFill>
                        <a:srgbClr val="00447C"/>
                      </a:solidFill>
                      <a:prstDash val="solid"/>
                      <a:round/>
                      <a:headEnd type="none" w="med" len="med"/>
                      <a:tailEnd type="none" w="med" len="med"/>
                    </a:lnB>
                    <a:noFill/>
                  </a:tcPr>
                </a:tc>
                <a:tc rowSpan="2">
                  <a:txBody>
                    <a:bodyPr/>
                    <a:lstStyle/>
                    <a:p>
                      <a:endParaRPr lang="en-US" sz="900" dirty="0">
                        <a:latin typeface="Arial" panose="020B0604020202020204" pitchFamily="34" charset="0"/>
                        <a:cs typeface="Arial" panose="020B0604020202020204" pitchFamily="34" charset="0"/>
                      </a:endParaRPr>
                    </a:p>
                  </a:txBody>
                  <a:tcPr marL="68580" marR="68580" marT="34290" marB="34290" anchor="b">
                    <a:lnT w="12700" cap="flat" cmpd="sng" algn="ctr">
                      <a:noFill/>
                      <a:prstDash val="solid"/>
                      <a:round/>
                      <a:headEnd type="none" w="med" len="med"/>
                      <a:tailEnd type="none" w="med" len="med"/>
                    </a:lnT>
                    <a:lnB w="12700" cap="flat" cmpd="sng" algn="ctr">
                      <a:solidFill>
                        <a:srgbClr val="00447C"/>
                      </a:solidFill>
                      <a:prstDash val="solid"/>
                      <a:round/>
                      <a:headEnd type="none" w="med" len="med"/>
                      <a:tailEnd type="none" w="med" len="med"/>
                    </a:lnB>
                    <a:noFill/>
                  </a:tcPr>
                </a:tc>
                <a:tc gridSpan="2">
                  <a:txBody>
                    <a:bodyPr/>
                    <a:lstStyle/>
                    <a:p>
                      <a:pPr algn="ctr"/>
                      <a:r>
                        <a:rPr lang="en-US" sz="900" dirty="0">
                          <a:latin typeface="Arial" panose="020B0604020202020204" pitchFamily="34" charset="0"/>
                          <a:cs typeface="Arial" panose="020B0604020202020204" pitchFamily="34" charset="0"/>
                        </a:rPr>
                        <a:t>Number of Events</a:t>
                      </a:r>
                    </a:p>
                  </a:txBody>
                  <a:tcPr marL="68580" marR="68580" marT="34290" marB="34290" anchor="b">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hMerge="1">
                  <a:txBody>
                    <a:bodyPr/>
                    <a:lstStyle/>
                    <a:p>
                      <a:endParaRPr lang="en-US" sz="1400" dirty="0">
                        <a:latin typeface="Arial" panose="020B0604020202020204" pitchFamily="34" charset="0"/>
                        <a:cs typeface="Arial" panose="020B0604020202020204" pitchFamily="34" charset="0"/>
                      </a:endParaRPr>
                    </a:p>
                  </a:txBody>
                  <a:tcPr/>
                </a:tc>
                <a:tc gridSpan="2">
                  <a:txBody>
                    <a:bodyPr/>
                    <a:lstStyle/>
                    <a:p>
                      <a:r>
                        <a:rPr lang="en-US" sz="900" dirty="0">
                          <a:solidFill>
                            <a:schemeClr val="tx1"/>
                          </a:solidFill>
                          <a:latin typeface="Arial" panose="020B0604020202020204" pitchFamily="34" charset="0"/>
                          <a:cs typeface="Arial" panose="020B0604020202020204" pitchFamily="34" charset="0"/>
                        </a:rPr>
                        <a:t>Median OS time (m</a:t>
                      </a:r>
                      <a:r>
                        <a:rPr lang="en-US" sz="900" dirty="0">
                          <a:latin typeface="Arial" panose="020B0604020202020204" pitchFamily="34" charset="0"/>
                          <a:cs typeface="Arial" panose="020B0604020202020204" pitchFamily="34" charset="0"/>
                        </a:rPr>
                        <a:t>onths, 95% CI)</a:t>
                      </a:r>
                    </a:p>
                  </a:txBody>
                  <a:tcPr marL="68580" marR="68580" marT="34290" marB="3429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hMerge="1">
                  <a:txBody>
                    <a:bodyPr/>
                    <a:lstStyle/>
                    <a:p>
                      <a:endParaRPr lang="en-US" sz="1400" dirty="0">
                        <a:latin typeface="Arial" panose="020B0604020202020204" pitchFamily="34" charset="0"/>
                        <a:cs typeface="Arial" panose="020B0604020202020204" pitchFamily="34" charset="0"/>
                      </a:endParaRPr>
                    </a:p>
                  </a:txBody>
                  <a:tcPr/>
                </a:tc>
                <a:tc rowSpan="2" gridSpan="2">
                  <a:txBody>
                    <a:bodyPr/>
                    <a:lstStyle/>
                    <a:p>
                      <a:pPr algn="ctr"/>
                      <a:r>
                        <a:rPr lang="en-US" sz="900" b="1" dirty="0">
                          <a:solidFill>
                            <a:schemeClr val="tx1"/>
                          </a:solidFill>
                          <a:latin typeface="Arial" panose="020B0604020202020204" pitchFamily="34" charset="0"/>
                          <a:cs typeface="Arial" panose="020B0604020202020204" pitchFamily="34" charset="0"/>
                        </a:rPr>
                        <a:t>Hazard Ratio for Death </a:t>
                      </a:r>
                    </a:p>
                    <a:p>
                      <a:pPr algn="ctr"/>
                      <a:r>
                        <a:rPr lang="en-US" sz="900" b="1" dirty="0">
                          <a:solidFill>
                            <a:schemeClr val="tx1"/>
                          </a:solidFill>
                          <a:latin typeface="Arial" panose="020B0604020202020204" pitchFamily="34" charset="0"/>
                          <a:cs typeface="Arial" panose="020B0604020202020204" pitchFamily="34" charset="0"/>
                        </a:rPr>
                        <a:t>(95% CI)</a:t>
                      </a:r>
                    </a:p>
                  </a:txBody>
                  <a:tcPr marL="68580" marR="68580" marT="34290" marB="34290">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rgbClr val="00447C"/>
                      </a:solidFill>
                      <a:prstDash val="solid"/>
                      <a:round/>
                      <a:headEnd type="none" w="med" len="med"/>
                      <a:tailEnd type="none" w="med" len="med"/>
                    </a:lnB>
                    <a:noFill/>
                  </a:tcPr>
                </a:tc>
                <a:tc rowSpan="2" hMerge="1">
                  <a:txBody>
                    <a:bodyPr/>
                    <a:lstStyle/>
                    <a:p>
                      <a:pPr algn="ctr"/>
                      <a:endParaRPr lang="en-US" sz="1200" b="1" dirty="0">
                        <a:latin typeface="Arial" panose="020B0604020202020204" pitchFamily="34" charset="0"/>
                        <a:cs typeface="Arial" panose="020B0604020202020204" pitchFamily="34" charset="0"/>
                      </a:endParaRPr>
                    </a:p>
                  </a:txBody>
                  <a:tcPr anchor="b">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noFill/>
                  </a:tcPr>
                </a:tc>
                <a:extLst>
                  <a:ext uri="{0D108BD9-81ED-4DB2-BD59-A6C34878D82A}">
                    <a16:rowId xmlns:a16="http://schemas.microsoft.com/office/drawing/2014/main" val="2390455073"/>
                  </a:ext>
                </a:extLst>
              </a:tr>
              <a:tr h="278130">
                <a:tc vMerge="1">
                  <a:txBody>
                    <a:bodyPr/>
                    <a:lstStyle/>
                    <a:p>
                      <a:endParaRPr lang="en-US" sz="1200" dirty="0">
                        <a:latin typeface="Arial" panose="020B0604020202020204" pitchFamily="34" charset="0"/>
                        <a:cs typeface="Arial" panose="020B0604020202020204" pitchFamily="34" charset="0"/>
                      </a:endParaRPr>
                    </a:p>
                  </a:txBody>
                  <a:tcPr>
                    <a:noFill/>
                  </a:tcPr>
                </a:tc>
                <a:tc vMerge="1">
                  <a:txBody>
                    <a:bodyPr/>
                    <a:lstStyle/>
                    <a:p>
                      <a:endParaRPr lang="en-US"/>
                    </a:p>
                  </a:txBody>
                  <a:tcPr/>
                </a:tc>
                <a:tc>
                  <a:txBody>
                    <a:bodyPr/>
                    <a:lstStyle/>
                    <a:p>
                      <a:pPr algn="ctr"/>
                      <a:r>
                        <a:rPr lang="en-US" sz="900" b="1" dirty="0">
                          <a:solidFill>
                            <a:schemeClr val="tx1"/>
                          </a:solidFill>
                          <a:latin typeface="Arial" panose="020B0604020202020204" pitchFamily="34" charset="0"/>
                          <a:cs typeface="Arial" panose="020B0604020202020204" pitchFamily="34" charset="0"/>
                        </a:rPr>
                        <a:t>T-DXd</a:t>
                      </a:r>
                    </a:p>
                  </a:txBody>
                  <a:tcPr marL="68580" marR="68580" marT="34290" marB="3429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0447C"/>
                      </a:solidFill>
                      <a:prstDash val="solid"/>
                      <a:round/>
                      <a:headEnd type="none" w="med" len="med"/>
                      <a:tailEnd type="none" w="med" len="med"/>
                    </a:lnB>
                    <a:noFill/>
                  </a:tcPr>
                </a:tc>
                <a:tc>
                  <a:txBody>
                    <a:bodyPr/>
                    <a:lstStyle/>
                    <a:p>
                      <a:pPr algn="ctr"/>
                      <a:r>
                        <a:rPr lang="en-US" sz="900" b="1" dirty="0">
                          <a:solidFill>
                            <a:schemeClr val="tx1"/>
                          </a:solidFill>
                          <a:latin typeface="Arial" panose="020B0604020202020204" pitchFamily="34" charset="0"/>
                          <a:cs typeface="Arial" panose="020B0604020202020204" pitchFamily="34" charset="0"/>
                        </a:rPr>
                        <a:t>T-DM1</a:t>
                      </a:r>
                    </a:p>
                  </a:txBody>
                  <a:tcPr marL="68580" marR="68580" marT="34290" marB="3429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0447C"/>
                      </a:solidFill>
                      <a:prstDash val="solid"/>
                      <a:round/>
                      <a:headEnd type="none" w="med" len="med"/>
                      <a:tailEnd type="none" w="med" len="med"/>
                    </a:lnB>
                    <a:noFill/>
                  </a:tcPr>
                </a:tc>
                <a:tc>
                  <a:txBody>
                    <a:bodyPr/>
                    <a:lstStyle/>
                    <a:p>
                      <a:pPr algn="ctr"/>
                      <a:r>
                        <a:rPr lang="en-US" sz="900" b="1" dirty="0">
                          <a:solidFill>
                            <a:schemeClr val="tx1"/>
                          </a:solidFill>
                          <a:latin typeface="Arial" panose="020B0604020202020204" pitchFamily="34" charset="0"/>
                          <a:cs typeface="Arial" panose="020B0604020202020204" pitchFamily="34" charset="0"/>
                        </a:rPr>
                        <a:t>T-DXd</a:t>
                      </a:r>
                    </a:p>
                  </a:txBody>
                  <a:tcPr marL="68580" marR="68580" marT="34290" marB="3429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0447C"/>
                      </a:solidFill>
                      <a:prstDash val="solid"/>
                      <a:round/>
                      <a:headEnd type="none" w="med" len="med"/>
                      <a:tailEnd type="none" w="med" len="med"/>
                    </a:lnB>
                    <a:noFill/>
                  </a:tcPr>
                </a:tc>
                <a:tc>
                  <a:txBody>
                    <a:bodyPr/>
                    <a:lstStyle/>
                    <a:p>
                      <a:pPr algn="ctr"/>
                      <a:r>
                        <a:rPr lang="en-US" sz="900" b="1" dirty="0">
                          <a:solidFill>
                            <a:schemeClr val="tx1"/>
                          </a:solidFill>
                          <a:latin typeface="Arial" panose="020B0604020202020204" pitchFamily="34" charset="0"/>
                          <a:cs typeface="Arial" panose="020B0604020202020204" pitchFamily="34" charset="0"/>
                        </a:rPr>
                        <a:t>T-DM1</a:t>
                      </a:r>
                    </a:p>
                  </a:txBody>
                  <a:tcPr marL="68580" marR="68580" marT="34290" marB="3429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0447C"/>
                      </a:solidFill>
                      <a:prstDash val="solid"/>
                      <a:round/>
                      <a:headEnd type="none" w="med" len="med"/>
                      <a:tailEnd type="none" w="med" len="med"/>
                    </a:lnB>
                    <a:noFill/>
                  </a:tcPr>
                </a:tc>
                <a:tc gridSpan="2" vMerge="1">
                  <a:txBody>
                    <a:bodyPr/>
                    <a:lstStyle/>
                    <a:p>
                      <a:endParaRPr lang="en-US" sz="1200" dirty="0">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noFill/>
                  </a:tcPr>
                </a:tc>
                <a:tc hMerge="1" vMerge="1">
                  <a:txBody>
                    <a:bodyPr/>
                    <a:lstStyle/>
                    <a:p>
                      <a:endParaRPr lang="en-US"/>
                    </a:p>
                  </a:txBody>
                  <a:tcPr/>
                </a:tc>
                <a:extLst>
                  <a:ext uri="{0D108BD9-81ED-4DB2-BD59-A6C34878D82A}">
                    <a16:rowId xmlns:a16="http://schemas.microsoft.com/office/drawing/2014/main" val="3528636517"/>
                  </a:ext>
                </a:extLst>
              </a:tr>
              <a:tr h="247184">
                <a:tc>
                  <a:txBody>
                    <a:bodyPr/>
                    <a:lstStyle/>
                    <a:p>
                      <a:r>
                        <a:rPr lang="en-US" sz="900" b="1" dirty="0">
                          <a:latin typeface="Arial" panose="020B0604020202020204" pitchFamily="34" charset="0"/>
                          <a:cs typeface="Arial" panose="020B0604020202020204" pitchFamily="34" charset="0"/>
                        </a:rPr>
                        <a:t>All patients</a:t>
                      </a:r>
                    </a:p>
                  </a:txBody>
                  <a:tcPr marL="68580" marR="68580" marT="34290" marB="34290">
                    <a:lnT w="12700" cap="flat" cmpd="sng" algn="ctr">
                      <a:solidFill>
                        <a:srgbClr val="00447C"/>
                      </a:solidFill>
                      <a:prstDash val="solid"/>
                      <a:round/>
                      <a:headEnd type="none" w="med" len="med"/>
                      <a:tailEnd type="none" w="med" len="med"/>
                    </a:lnT>
                    <a:lnB w="12700" cap="flat" cmpd="sng" algn="ctr">
                      <a:solidFill>
                        <a:srgbClr val="00447C"/>
                      </a:solidFill>
                      <a:prstDash val="solid"/>
                      <a:round/>
                      <a:headEnd type="none" w="med" len="med"/>
                      <a:tailEnd type="none" w="med" len="med"/>
                    </a:lnB>
                    <a:noFill/>
                  </a:tcPr>
                </a:tc>
                <a:tc>
                  <a:txBody>
                    <a:bodyPr/>
                    <a:lstStyle/>
                    <a:p>
                      <a:endParaRPr lang="en-US" sz="900" b="1" dirty="0">
                        <a:latin typeface="Arial" panose="020B0604020202020204" pitchFamily="34" charset="0"/>
                        <a:cs typeface="Arial" panose="020B0604020202020204" pitchFamily="34" charset="0"/>
                      </a:endParaRPr>
                    </a:p>
                  </a:txBody>
                  <a:tcPr marL="68580" marR="68580" marT="34290" marB="34290">
                    <a:lnT w="12700" cap="flat" cmpd="sng" algn="ctr">
                      <a:solidFill>
                        <a:srgbClr val="00447C"/>
                      </a:solidFill>
                      <a:prstDash val="solid"/>
                      <a:round/>
                      <a:headEnd type="none" w="med" len="med"/>
                      <a:tailEnd type="none" w="med" len="med"/>
                    </a:lnT>
                    <a:lnB w="12700" cap="flat" cmpd="sng" algn="ctr">
                      <a:solidFill>
                        <a:srgbClr val="00447C"/>
                      </a:solidFill>
                      <a:prstDash val="solid"/>
                      <a:round/>
                      <a:headEnd type="none" w="med" len="med"/>
                      <a:tailEnd type="none" w="med" len="med"/>
                    </a:lnB>
                  </a:tcPr>
                </a:tc>
                <a:tc>
                  <a:txBody>
                    <a:bodyPr/>
                    <a:lstStyle/>
                    <a:p>
                      <a:pPr algn="ctr"/>
                      <a:r>
                        <a:rPr lang="en-US" sz="900" dirty="0">
                          <a:latin typeface="Arial" panose="020B0604020202020204" pitchFamily="34" charset="0"/>
                          <a:cs typeface="Arial" panose="020B0604020202020204" pitchFamily="34" charset="0"/>
                        </a:rPr>
                        <a:t>72/261</a:t>
                      </a:r>
                    </a:p>
                  </a:txBody>
                  <a:tcPr marL="68580" marR="68580" marT="34290" marB="34290">
                    <a:lnT w="12700" cap="flat" cmpd="sng" algn="ctr">
                      <a:solidFill>
                        <a:srgbClr val="00447C"/>
                      </a:solidFill>
                      <a:prstDash val="solid"/>
                      <a:round/>
                      <a:headEnd type="none" w="med" len="med"/>
                      <a:tailEnd type="none" w="med" len="med"/>
                    </a:lnT>
                    <a:lnB w="12700" cap="flat" cmpd="sng" algn="ctr">
                      <a:solidFill>
                        <a:srgbClr val="00447C"/>
                      </a:solidFill>
                      <a:prstDash val="solid"/>
                      <a:round/>
                      <a:headEnd type="none" w="med" len="med"/>
                      <a:tailEnd type="none" w="med" len="med"/>
                    </a:lnB>
                  </a:tcPr>
                </a:tc>
                <a:tc>
                  <a:txBody>
                    <a:bodyPr/>
                    <a:lstStyle/>
                    <a:p>
                      <a:pPr algn="ctr"/>
                      <a:r>
                        <a:rPr lang="en-US" sz="900" dirty="0">
                          <a:latin typeface="Arial" panose="020B0604020202020204" pitchFamily="34" charset="0"/>
                          <a:cs typeface="Arial" panose="020B0604020202020204" pitchFamily="34" charset="0"/>
                        </a:rPr>
                        <a:t>97/263</a:t>
                      </a:r>
                    </a:p>
                  </a:txBody>
                  <a:tcPr marL="68580" marR="68580" marT="34290" marB="34290">
                    <a:lnT w="12700" cap="flat" cmpd="sng" algn="ctr">
                      <a:solidFill>
                        <a:srgbClr val="00447C"/>
                      </a:solidFill>
                      <a:prstDash val="solid"/>
                      <a:round/>
                      <a:headEnd type="none" w="med" len="med"/>
                      <a:tailEnd type="none" w="med" len="med"/>
                    </a:lnT>
                    <a:lnB w="12700" cap="flat" cmpd="sng" algn="ctr">
                      <a:solidFill>
                        <a:srgbClr val="00447C"/>
                      </a:solidFill>
                      <a:prstDash val="solid"/>
                      <a:round/>
                      <a:headEnd type="none" w="med" len="med"/>
                      <a:tailEnd type="none" w="med" len="med"/>
                    </a:lnB>
                  </a:tcPr>
                </a:tc>
                <a:tc>
                  <a:txBody>
                    <a:bodyPr/>
                    <a:lstStyle/>
                    <a:p>
                      <a:pPr algn="ctr"/>
                      <a:r>
                        <a:rPr lang="en-US" sz="900" dirty="0">
                          <a:latin typeface="Arial" panose="020B0604020202020204" pitchFamily="34" charset="0"/>
                          <a:cs typeface="Arial" panose="020B0604020202020204" pitchFamily="34" charset="0"/>
                        </a:rPr>
                        <a:t>NR (40.5-NE)</a:t>
                      </a:r>
                    </a:p>
                  </a:txBody>
                  <a:tcPr marL="68580" marR="68580" marT="34290" marB="34290">
                    <a:lnT w="12700" cap="flat" cmpd="sng" algn="ctr">
                      <a:solidFill>
                        <a:srgbClr val="00447C"/>
                      </a:solidFill>
                      <a:prstDash val="solid"/>
                      <a:round/>
                      <a:headEnd type="none" w="med" len="med"/>
                      <a:tailEnd type="none" w="med" len="med"/>
                    </a:lnT>
                    <a:lnB w="12700" cap="flat" cmpd="sng" algn="ctr">
                      <a:solidFill>
                        <a:srgbClr val="00447C"/>
                      </a:solidFill>
                      <a:prstDash val="solid"/>
                      <a:round/>
                      <a:headEnd type="none" w="med" len="med"/>
                      <a:tailEnd type="none" w="med" len="med"/>
                    </a:lnB>
                  </a:tcPr>
                </a:tc>
                <a:tc>
                  <a:txBody>
                    <a:bodyPr/>
                    <a:lstStyle/>
                    <a:p>
                      <a:pPr algn="ctr"/>
                      <a:r>
                        <a:rPr lang="en-US" sz="900" dirty="0">
                          <a:latin typeface="Arial" panose="020B0604020202020204" pitchFamily="34" charset="0"/>
                          <a:cs typeface="Arial" panose="020B0604020202020204" pitchFamily="34" charset="0"/>
                        </a:rPr>
                        <a:t>NR (34.0-NE)</a:t>
                      </a:r>
                    </a:p>
                  </a:txBody>
                  <a:tcPr marL="68580" marR="68580" marT="34290" marB="34290">
                    <a:lnT w="12700" cap="flat" cmpd="sng" algn="ctr">
                      <a:solidFill>
                        <a:srgbClr val="00447C"/>
                      </a:solidFill>
                      <a:prstDash val="solid"/>
                      <a:round/>
                      <a:headEnd type="none" w="med" len="med"/>
                      <a:tailEnd type="none" w="med" len="med"/>
                    </a:lnT>
                    <a:lnB w="12700" cap="flat" cmpd="sng" algn="ctr">
                      <a:solidFill>
                        <a:srgbClr val="00447C"/>
                      </a:solidFill>
                      <a:prstDash val="solid"/>
                      <a:round/>
                      <a:headEnd type="none" w="med" len="med"/>
                      <a:tailEnd type="none" w="med" len="med"/>
                    </a:lnB>
                  </a:tcPr>
                </a:tc>
                <a:tc>
                  <a:txBody>
                    <a:bodyPr/>
                    <a:lstStyle/>
                    <a:p>
                      <a:pPr algn="ctr"/>
                      <a:endParaRPr lang="en-US" sz="900" dirty="0">
                        <a:latin typeface="Arial" panose="020B0604020202020204" pitchFamily="34" charset="0"/>
                        <a:cs typeface="Arial" panose="020B0604020202020204" pitchFamily="34" charset="0"/>
                      </a:endParaRPr>
                    </a:p>
                  </a:txBody>
                  <a:tcPr marL="68580" marR="68580" marT="34290" marB="34290">
                    <a:lnT w="12700" cap="flat" cmpd="sng" algn="ctr">
                      <a:solidFill>
                        <a:srgbClr val="00447C"/>
                      </a:solidFill>
                      <a:prstDash val="solid"/>
                      <a:round/>
                      <a:headEnd type="none" w="med" len="med"/>
                      <a:tailEnd type="none" w="med" len="med"/>
                    </a:lnT>
                    <a:lnB w="12700" cap="flat" cmpd="sng" algn="ctr">
                      <a:solidFill>
                        <a:srgbClr val="00447C"/>
                      </a:solidFill>
                      <a:prstDash val="solid"/>
                      <a:round/>
                      <a:headEnd type="none" w="med" len="med"/>
                      <a:tailEnd type="none" w="med" len="med"/>
                    </a:lnB>
                  </a:tcPr>
                </a:tc>
                <a:tc>
                  <a:txBody>
                    <a:bodyPr/>
                    <a:lstStyle/>
                    <a:p>
                      <a:pPr algn="ctr"/>
                      <a:r>
                        <a:rPr lang="en-US" sz="900" dirty="0">
                          <a:latin typeface="Arial" panose="020B0604020202020204" pitchFamily="34" charset="0"/>
                          <a:cs typeface="Arial" panose="020B0604020202020204" pitchFamily="34" charset="0"/>
                        </a:rPr>
                        <a:t>0.64 (0.47-0.87)</a:t>
                      </a:r>
                    </a:p>
                  </a:txBody>
                  <a:tcPr marL="68580" marR="68580" marT="34290" marB="34290">
                    <a:lnT w="12700" cap="flat" cmpd="sng" algn="ctr">
                      <a:solidFill>
                        <a:srgbClr val="00447C"/>
                      </a:solidFill>
                      <a:prstDash val="solid"/>
                      <a:round/>
                      <a:headEnd type="none" w="med" len="med"/>
                      <a:tailEnd type="none" w="med" len="med"/>
                    </a:lnT>
                    <a:lnB w="12700" cap="flat" cmpd="sng" algn="ctr">
                      <a:solidFill>
                        <a:srgbClr val="00447C"/>
                      </a:solidFill>
                      <a:prstDash val="solid"/>
                      <a:round/>
                      <a:headEnd type="none" w="med" len="med"/>
                      <a:tailEnd type="none" w="med" len="med"/>
                    </a:lnB>
                  </a:tcPr>
                </a:tc>
                <a:extLst>
                  <a:ext uri="{0D108BD9-81ED-4DB2-BD59-A6C34878D82A}">
                    <a16:rowId xmlns:a16="http://schemas.microsoft.com/office/drawing/2014/main" val="1471415143"/>
                  </a:ext>
                </a:extLst>
              </a:tr>
              <a:tr h="247184">
                <a:tc rowSpan="2">
                  <a:txBody>
                    <a:bodyPr/>
                    <a:lstStyle/>
                    <a:p>
                      <a:r>
                        <a:rPr lang="en-US" sz="900" b="1" dirty="0">
                          <a:latin typeface="Arial" panose="020B0604020202020204" pitchFamily="34" charset="0"/>
                          <a:cs typeface="Arial" panose="020B0604020202020204" pitchFamily="34" charset="0"/>
                        </a:rPr>
                        <a:t>Hormone receptor status </a:t>
                      </a:r>
                    </a:p>
                  </a:txBody>
                  <a:tcPr marL="68580" marR="68580" marT="34290" marB="34290" anchor="ctr">
                    <a:lnT w="12700" cap="flat" cmpd="sng" algn="ctr">
                      <a:solidFill>
                        <a:srgbClr val="00447C"/>
                      </a:solidFill>
                      <a:prstDash val="solid"/>
                      <a:round/>
                      <a:headEnd type="none" w="med" len="med"/>
                      <a:tailEnd type="none" w="med" len="med"/>
                    </a:lnT>
                    <a:lnB w="12700" cap="flat" cmpd="sng" algn="ctr">
                      <a:solidFill>
                        <a:srgbClr val="00447C"/>
                      </a:solidFill>
                      <a:prstDash val="solid"/>
                      <a:round/>
                      <a:headEnd type="none" w="med" len="med"/>
                      <a:tailEnd type="none" w="med" len="med"/>
                    </a:lnB>
                    <a:noFill/>
                  </a:tcPr>
                </a:tc>
                <a:tc>
                  <a:txBody>
                    <a:bodyPr/>
                    <a:lstStyle/>
                    <a:p>
                      <a:r>
                        <a:rPr lang="en-US" sz="900" b="0" dirty="0">
                          <a:latin typeface="Arial" panose="020B0604020202020204" pitchFamily="34" charset="0"/>
                          <a:cs typeface="Arial" panose="020B0604020202020204" pitchFamily="34" charset="0"/>
                        </a:rPr>
                        <a:t>Positive (n = 272)</a:t>
                      </a:r>
                    </a:p>
                  </a:txBody>
                  <a:tcPr marL="68580" marR="68580" marT="34290" marB="34290">
                    <a:lnT w="12700" cap="flat" cmpd="sng" algn="ctr">
                      <a:solidFill>
                        <a:srgbClr val="00447C"/>
                      </a:solidFill>
                      <a:prstDash val="solid"/>
                      <a:round/>
                      <a:headEnd type="none" w="med" len="med"/>
                      <a:tailEnd type="none" w="med" len="med"/>
                    </a:lnT>
                    <a:solidFill>
                      <a:srgbClr val="CCDAE5"/>
                    </a:solidFill>
                  </a:tcPr>
                </a:tc>
                <a:tc>
                  <a:txBody>
                    <a:bodyPr/>
                    <a:lstStyle/>
                    <a:p>
                      <a:pPr algn="ctr"/>
                      <a:r>
                        <a:rPr lang="en-US" sz="900" dirty="0">
                          <a:latin typeface="Arial" panose="020B0604020202020204" pitchFamily="34" charset="0"/>
                          <a:cs typeface="Arial" panose="020B0604020202020204" pitchFamily="34" charset="0"/>
                        </a:rPr>
                        <a:t>42/133</a:t>
                      </a:r>
                    </a:p>
                  </a:txBody>
                  <a:tcPr marL="68580" marR="68580" marT="34290" marB="34290">
                    <a:lnT w="12700" cap="flat" cmpd="sng" algn="ctr">
                      <a:solidFill>
                        <a:srgbClr val="00447C"/>
                      </a:solidFill>
                      <a:prstDash val="solid"/>
                      <a:round/>
                      <a:headEnd type="none" w="med" len="med"/>
                      <a:tailEnd type="none" w="med" len="med"/>
                    </a:lnT>
                    <a:solidFill>
                      <a:srgbClr val="CCDAE5"/>
                    </a:solidFill>
                  </a:tcPr>
                </a:tc>
                <a:tc>
                  <a:txBody>
                    <a:bodyPr/>
                    <a:lstStyle/>
                    <a:p>
                      <a:pPr algn="ctr"/>
                      <a:r>
                        <a:rPr lang="en-US" sz="900" dirty="0">
                          <a:latin typeface="Arial" panose="020B0604020202020204" pitchFamily="34" charset="0"/>
                          <a:cs typeface="Arial" panose="020B0604020202020204" pitchFamily="34" charset="0"/>
                        </a:rPr>
                        <a:t>51/139</a:t>
                      </a:r>
                    </a:p>
                  </a:txBody>
                  <a:tcPr marL="68580" marR="68580" marT="34290" marB="34290">
                    <a:lnT w="12700" cap="flat" cmpd="sng" algn="ctr">
                      <a:solidFill>
                        <a:srgbClr val="00447C"/>
                      </a:solidFill>
                      <a:prstDash val="solid"/>
                      <a:round/>
                      <a:headEnd type="none" w="med" len="med"/>
                      <a:tailEnd type="none" w="med" len="med"/>
                    </a:lnT>
                    <a:solidFill>
                      <a:srgbClr val="CCDAE5"/>
                    </a:solidFill>
                  </a:tcPr>
                </a:tc>
                <a:tc>
                  <a:txBody>
                    <a:bodyPr/>
                    <a:lstStyle/>
                    <a:p>
                      <a:pPr algn="ctr"/>
                      <a:r>
                        <a:rPr lang="en-US" sz="900" dirty="0">
                          <a:latin typeface="Arial" panose="020B0604020202020204" pitchFamily="34" charset="0"/>
                          <a:cs typeface="Arial" panose="020B0604020202020204" pitchFamily="34" charset="0"/>
                        </a:rPr>
                        <a:t>NR (40.5-NE)</a:t>
                      </a:r>
                    </a:p>
                  </a:txBody>
                  <a:tcPr marL="68580" marR="68580" marT="34290" marB="34290">
                    <a:lnT w="12700" cap="flat" cmpd="sng" algn="ctr">
                      <a:solidFill>
                        <a:srgbClr val="00447C"/>
                      </a:solidFill>
                      <a:prstDash val="solid"/>
                      <a:round/>
                      <a:headEnd type="none" w="med" len="med"/>
                      <a:tailEnd type="none" w="med" len="med"/>
                    </a:lnT>
                    <a:solidFill>
                      <a:srgbClr val="CCDAE5"/>
                    </a:solidFill>
                  </a:tcPr>
                </a:tc>
                <a:tc>
                  <a:txBody>
                    <a:bodyPr/>
                    <a:lstStyle/>
                    <a:p>
                      <a:pPr algn="ctr"/>
                      <a:r>
                        <a:rPr lang="en-US" sz="900" dirty="0">
                          <a:latin typeface="Arial" panose="020B0604020202020204" pitchFamily="34" charset="0"/>
                          <a:cs typeface="Arial" panose="020B0604020202020204" pitchFamily="34" charset="0"/>
                        </a:rPr>
                        <a:t>37.7 (34.0-NE)</a:t>
                      </a:r>
                    </a:p>
                  </a:txBody>
                  <a:tcPr marL="68580" marR="68580" marT="34290" marB="34290">
                    <a:lnT w="12700" cap="flat" cmpd="sng" algn="ctr">
                      <a:solidFill>
                        <a:srgbClr val="00447C"/>
                      </a:solidFill>
                      <a:prstDash val="solid"/>
                      <a:round/>
                      <a:headEnd type="none" w="med" len="med"/>
                      <a:tailEnd type="none" w="med" len="med"/>
                    </a:lnT>
                    <a:solidFill>
                      <a:srgbClr val="CCDAE5"/>
                    </a:solidFill>
                  </a:tcPr>
                </a:tc>
                <a:tc>
                  <a:txBody>
                    <a:bodyPr/>
                    <a:lstStyle/>
                    <a:p>
                      <a:pPr algn="ctr"/>
                      <a:endParaRPr lang="en-US" sz="900" dirty="0">
                        <a:latin typeface="Arial" panose="020B0604020202020204" pitchFamily="34" charset="0"/>
                        <a:cs typeface="Arial" panose="020B0604020202020204" pitchFamily="34" charset="0"/>
                      </a:endParaRPr>
                    </a:p>
                  </a:txBody>
                  <a:tcPr marL="68580" marR="68580" marT="34290" marB="34290">
                    <a:lnT w="12700" cap="flat" cmpd="sng" algn="ctr">
                      <a:solidFill>
                        <a:srgbClr val="00447C"/>
                      </a:solidFill>
                      <a:prstDash val="solid"/>
                      <a:round/>
                      <a:headEnd type="none" w="med" len="med"/>
                      <a:tailEnd type="none" w="med" len="med"/>
                    </a:lnT>
                    <a:solidFill>
                      <a:srgbClr val="CCDAE5"/>
                    </a:solidFill>
                  </a:tcPr>
                </a:tc>
                <a:tc>
                  <a:txBody>
                    <a:bodyPr/>
                    <a:lstStyle/>
                    <a:p>
                      <a:pPr algn="ctr"/>
                      <a:r>
                        <a:rPr lang="en-US" sz="900" dirty="0">
                          <a:latin typeface="Arial" panose="020B0604020202020204" pitchFamily="34" charset="0"/>
                          <a:cs typeface="Arial" panose="020B0604020202020204" pitchFamily="34" charset="0"/>
                        </a:rPr>
                        <a:t>0.76 (0.50-1.14)</a:t>
                      </a:r>
                    </a:p>
                  </a:txBody>
                  <a:tcPr marL="68580" marR="68580" marT="34290" marB="34290">
                    <a:lnT w="12700" cap="flat" cmpd="sng" algn="ctr">
                      <a:solidFill>
                        <a:srgbClr val="00447C"/>
                      </a:solidFill>
                      <a:prstDash val="solid"/>
                      <a:round/>
                      <a:headEnd type="none" w="med" len="med"/>
                      <a:tailEnd type="none" w="med" len="med"/>
                    </a:lnT>
                    <a:solidFill>
                      <a:srgbClr val="CCDAE5"/>
                    </a:solidFill>
                  </a:tcPr>
                </a:tc>
                <a:extLst>
                  <a:ext uri="{0D108BD9-81ED-4DB2-BD59-A6C34878D82A}">
                    <a16:rowId xmlns:a16="http://schemas.microsoft.com/office/drawing/2014/main" val="4023840704"/>
                  </a:ext>
                </a:extLst>
              </a:tr>
              <a:tr h="247184">
                <a:tc vMerge="1">
                  <a:txBody>
                    <a:bodyPr/>
                    <a:lstStyle/>
                    <a:p>
                      <a:endParaRPr lang="en-US" sz="1200" dirty="0">
                        <a:latin typeface="Arial" panose="020B0604020202020204" pitchFamily="34" charset="0"/>
                        <a:cs typeface="Arial" panose="020B0604020202020204" pitchFamily="34" charset="0"/>
                      </a:endParaRPr>
                    </a:p>
                  </a:txBody>
                  <a:tcPr/>
                </a:tc>
                <a:tc>
                  <a:txBody>
                    <a:bodyPr/>
                    <a:lstStyle/>
                    <a:p>
                      <a:r>
                        <a:rPr lang="en-US" sz="900" b="0" dirty="0">
                          <a:latin typeface="Arial" panose="020B0604020202020204" pitchFamily="34" charset="0"/>
                          <a:cs typeface="Arial" panose="020B0604020202020204" pitchFamily="34" charset="0"/>
                        </a:rPr>
                        <a:t>Negative (n = 248)</a:t>
                      </a:r>
                    </a:p>
                  </a:txBody>
                  <a:tcPr marL="68580" marR="68580" marT="34290" marB="34290">
                    <a:lnB w="12700" cap="flat" cmpd="sng" algn="ctr">
                      <a:solidFill>
                        <a:srgbClr val="00447C"/>
                      </a:solidFill>
                      <a:prstDash val="solid"/>
                      <a:round/>
                      <a:headEnd type="none" w="med" len="med"/>
                      <a:tailEnd type="none" w="med" len="med"/>
                    </a:lnB>
                    <a:noFill/>
                  </a:tcPr>
                </a:tc>
                <a:tc>
                  <a:txBody>
                    <a:bodyPr/>
                    <a:lstStyle/>
                    <a:p>
                      <a:pPr algn="ctr"/>
                      <a:r>
                        <a:rPr lang="en-US" sz="900" dirty="0">
                          <a:latin typeface="Arial" panose="020B0604020202020204" pitchFamily="34" charset="0"/>
                          <a:cs typeface="Arial" panose="020B0604020202020204" pitchFamily="34" charset="0"/>
                        </a:rPr>
                        <a:t>30/126</a:t>
                      </a:r>
                    </a:p>
                  </a:txBody>
                  <a:tcPr marL="68580" marR="68580" marT="34290" marB="34290">
                    <a:lnB w="12700" cap="flat" cmpd="sng" algn="ctr">
                      <a:solidFill>
                        <a:srgbClr val="00447C"/>
                      </a:solidFill>
                      <a:prstDash val="solid"/>
                      <a:round/>
                      <a:headEnd type="none" w="med" len="med"/>
                      <a:tailEnd type="none" w="med" len="med"/>
                    </a:lnB>
                    <a:noFill/>
                  </a:tcPr>
                </a:tc>
                <a:tc>
                  <a:txBody>
                    <a:bodyPr/>
                    <a:lstStyle/>
                    <a:p>
                      <a:pPr algn="ctr"/>
                      <a:r>
                        <a:rPr lang="en-US" sz="900" dirty="0">
                          <a:latin typeface="Arial" panose="020B0604020202020204" pitchFamily="34" charset="0"/>
                          <a:cs typeface="Arial" panose="020B0604020202020204" pitchFamily="34" charset="0"/>
                        </a:rPr>
                        <a:t>45/122</a:t>
                      </a:r>
                    </a:p>
                  </a:txBody>
                  <a:tcPr marL="68580" marR="68580" marT="34290" marB="34290">
                    <a:lnB w="12700" cap="flat" cmpd="sng" algn="ctr">
                      <a:solidFill>
                        <a:srgbClr val="00447C"/>
                      </a:solidFill>
                      <a:prstDash val="solid"/>
                      <a:round/>
                      <a:headEnd type="none" w="med" len="med"/>
                      <a:tailEnd type="none" w="med" len="med"/>
                    </a:lnB>
                    <a:noFill/>
                  </a:tcPr>
                </a:tc>
                <a:tc>
                  <a:txBody>
                    <a:bodyPr/>
                    <a:lstStyle/>
                    <a:p>
                      <a:pPr algn="ctr"/>
                      <a:r>
                        <a:rPr lang="en-US" sz="900" dirty="0">
                          <a:latin typeface="Arial" panose="020B0604020202020204" pitchFamily="34" charset="0"/>
                          <a:cs typeface="Arial" panose="020B0604020202020204" pitchFamily="34" charset="0"/>
                        </a:rPr>
                        <a:t>NR (NE-NE)</a:t>
                      </a:r>
                    </a:p>
                  </a:txBody>
                  <a:tcPr marL="68580" marR="68580" marT="34290" marB="34290">
                    <a:lnB w="12700" cap="flat" cmpd="sng" algn="ctr">
                      <a:solidFill>
                        <a:srgbClr val="00447C"/>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latin typeface="Arial" panose="020B0604020202020204" pitchFamily="34" charset="0"/>
                          <a:cs typeface="Arial" panose="020B0604020202020204" pitchFamily="34" charset="0"/>
                        </a:rPr>
                        <a:t>NR (28.5-NE)</a:t>
                      </a:r>
                    </a:p>
                  </a:txBody>
                  <a:tcPr marL="68580" marR="68580" marT="34290" marB="34290">
                    <a:lnB w="12700" cap="flat" cmpd="sng" algn="ctr">
                      <a:solidFill>
                        <a:srgbClr val="00447C"/>
                      </a:solidFill>
                      <a:prstDash val="solid"/>
                      <a:round/>
                      <a:headEnd type="none" w="med" len="med"/>
                      <a:tailEnd type="none" w="med" len="med"/>
                    </a:lnB>
                    <a:noFill/>
                  </a:tcPr>
                </a:tc>
                <a:tc>
                  <a:txBody>
                    <a:bodyPr/>
                    <a:lstStyle/>
                    <a:p>
                      <a:pPr algn="ctr"/>
                      <a:endParaRPr lang="en-US" sz="900" dirty="0">
                        <a:latin typeface="Arial" panose="020B0604020202020204" pitchFamily="34" charset="0"/>
                        <a:cs typeface="Arial" panose="020B0604020202020204" pitchFamily="34" charset="0"/>
                      </a:endParaRPr>
                    </a:p>
                  </a:txBody>
                  <a:tcPr marL="68580" marR="68580" marT="34290" marB="34290">
                    <a:lnB w="12700" cap="flat" cmpd="sng" algn="ctr">
                      <a:solidFill>
                        <a:srgbClr val="00447C"/>
                      </a:solidFill>
                      <a:prstDash val="solid"/>
                      <a:round/>
                      <a:headEnd type="none" w="med" len="med"/>
                      <a:tailEnd type="none" w="med" len="med"/>
                    </a:lnB>
                    <a:noFill/>
                  </a:tcPr>
                </a:tc>
                <a:tc>
                  <a:txBody>
                    <a:bodyPr/>
                    <a:lstStyle/>
                    <a:p>
                      <a:pPr algn="ctr"/>
                      <a:r>
                        <a:rPr lang="en-US" sz="900" dirty="0">
                          <a:latin typeface="Arial" panose="020B0604020202020204" pitchFamily="34" charset="0"/>
                          <a:cs typeface="Arial" panose="020B0604020202020204" pitchFamily="34" charset="0"/>
                        </a:rPr>
                        <a:t>0.55 (0.35-0.87)</a:t>
                      </a:r>
                    </a:p>
                  </a:txBody>
                  <a:tcPr marL="68580" marR="68580" marT="34290" marB="34290">
                    <a:lnB w="12700" cap="flat" cmpd="sng" algn="ctr">
                      <a:solidFill>
                        <a:srgbClr val="00447C"/>
                      </a:solidFill>
                      <a:prstDash val="solid"/>
                      <a:round/>
                      <a:headEnd type="none" w="med" len="med"/>
                      <a:tailEnd type="none" w="med" len="med"/>
                    </a:lnB>
                    <a:noFill/>
                  </a:tcPr>
                </a:tc>
                <a:extLst>
                  <a:ext uri="{0D108BD9-81ED-4DB2-BD59-A6C34878D82A}">
                    <a16:rowId xmlns:a16="http://schemas.microsoft.com/office/drawing/2014/main" val="2748584401"/>
                  </a:ext>
                </a:extLst>
              </a:tr>
              <a:tr h="247184">
                <a:tc rowSpan="2">
                  <a:txBody>
                    <a:bodyPr/>
                    <a:lstStyle/>
                    <a:p>
                      <a:r>
                        <a:rPr lang="en-US" sz="900" b="1" dirty="0">
                          <a:latin typeface="Arial" panose="020B0604020202020204" pitchFamily="34" charset="0"/>
                          <a:cs typeface="Arial" panose="020B0604020202020204" pitchFamily="34" charset="0"/>
                        </a:rPr>
                        <a:t>Prior pertuzumab</a:t>
                      </a:r>
                    </a:p>
                  </a:txBody>
                  <a:tcPr marL="68580" marR="68580" marT="34290" marB="34290" anchor="ctr">
                    <a:lnT w="12700" cap="flat" cmpd="sng" algn="ctr">
                      <a:solidFill>
                        <a:srgbClr val="00447C"/>
                      </a:solidFill>
                      <a:prstDash val="solid"/>
                      <a:round/>
                      <a:headEnd type="none" w="med" len="med"/>
                      <a:tailEnd type="none" w="med" len="med"/>
                    </a:lnT>
                    <a:lnB w="12700" cap="flat" cmpd="sng" algn="ctr">
                      <a:solidFill>
                        <a:srgbClr val="00447C"/>
                      </a:solidFill>
                      <a:prstDash val="solid"/>
                      <a:round/>
                      <a:headEnd type="none" w="med" len="med"/>
                      <a:tailEnd type="none" w="med" len="med"/>
                    </a:lnB>
                    <a:noFill/>
                  </a:tcPr>
                </a:tc>
                <a:tc>
                  <a:txBody>
                    <a:bodyPr/>
                    <a:lstStyle/>
                    <a:p>
                      <a:r>
                        <a:rPr lang="en-US" sz="900" b="0" dirty="0">
                          <a:latin typeface="Arial" panose="020B0604020202020204" pitchFamily="34" charset="0"/>
                          <a:cs typeface="Arial" panose="020B0604020202020204" pitchFamily="34" charset="0"/>
                        </a:rPr>
                        <a:t>Yes (n = 320)</a:t>
                      </a:r>
                    </a:p>
                  </a:txBody>
                  <a:tcPr marL="68580" marR="68580" marT="34290" marB="34290">
                    <a:lnT w="12700" cap="flat" cmpd="sng" algn="ctr">
                      <a:solidFill>
                        <a:srgbClr val="00447C"/>
                      </a:solidFill>
                      <a:prstDash val="solid"/>
                      <a:round/>
                      <a:headEnd type="none" w="med" len="med"/>
                      <a:tailEnd type="none" w="med" len="med"/>
                    </a:lnT>
                    <a:solidFill>
                      <a:srgbClr val="CCDAE5"/>
                    </a:solidFill>
                  </a:tcPr>
                </a:tc>
                <a:tc>
                  <a:txBody>
                    <a:bodyPr/>
                    <a:lstStyle/>
                    <a:p>
                      <a:pPr algn="ctr"/>
                      <a:r>
                        <a:rPr lang="en-US" sz="900" dirty="0">
                          <a:latin typeface="Arial" panose="020B0604020202020204" pitchFamily="34" charset="0"/>
                          <a:cs typeface="Arial" panose="020B0604020202020204" pitchFamily="34" charset="0"/>
                        </a:rPr>
                        <a:t>41/162</a:t>
                      </a:r>
                    </a:p>
                  </a:txBody>
                  <a:tcPr marL="68580" marR="68580" marT="34290" marB="34290">
                    <a:lnT w="12700" cap="flat" cmpd="sng" algn="ctr">
                      <a:solidFill>
                        <a:srgbClr val="00447C"/>
                      </a:solidFill>
                      <a:prstDash val="solid"/>
                      <a:round/>
                      <a:headEnd type="none" w="med" len="med"/>
                      <a:tailEnd type="none" w="med" len="med"/>
                    </a:lnT>
                    <a:solidFill>
                      <a:srgbClr val="CCDAE5"/>
                    </a:solidFill>
                  </a:tcPr>
                </a:tc>
                <a:tc>
                  <a:txBody>
                    <a:bodyPr/>
                    <a:lstStyle/>
                    <a:p>
                      <a:pPr algn="ctr"/>
                      <a:r>
                        <a:rPr lang="en-US" sz="900" dirty="0">
                          <a:latin typeface="Arial" panose="020B0604020202020204" pitchFamily="34" charset="0"/>
                          <a:cs typeface="Arial" panose="020B0604020202020204" pitchFamily="34" charset="0"/>
                        </a:rPr>
                        <a:t>50/158</a:t>
                      </a:r>
                    </a:p>
                  </a:txBody>
                  <a:tcPr marL="68580" marR="68580" marT="34290" marB="34290">
                    <a:lnT w="12700" cap="flat" cmpd="sng" algn="ctr">
                      <a:solidFill>
                        <a:srgbClr val="00447C"/>
                      </a:solidFill>
                      <a:prstDash val="solid"/>
                      <a:round/>
                      <a:headEnd type="none" w="med" len="med"/>
                      <a:tailEnd type="none" w="med" len="med"/>
                    </a:lnT>
                    <a:solidFill>
                      <a:srgbClr val="CCDAE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latin typeface="Arial" panose="020B0604020202020204" pitchFamily="34" charset="0"/>
                          <a:cs typeface="Arial" panose="020B0604020202020204" pitchFamily="34" charset="0"/>
                        </a:rPr>
                        <a:t>NR (40.5-NE)</a:t>
                      </a:r>
                    </a:p>
                  </a:txBody>
                  <a:tcPr marL="68580" marR="68580" marT="34290" marB="34290">
                    <a:lnT w="12700" cap="flat" cmpd="sng" algn="ctr">
                      <a:solidFill>
                        <a:srgbClr val="00447C"/>
                      </a:solidFill>
                      <a:prstDash val="solid"/>
                      <a:round/>
                      <a:headEnd type="none" w="med" len="med"/>
                      <a:tailEnd type="none" w="med" len="med"/>
                    </a:lnT>
                    <a:solidFill>
                      <a:srgbClr val="CCDAE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latin typeface="Arial" panose="020B0604020202020204" pitchFamily="34" charset="0"/>
                          <a:cs typeface="Arial" panose="020B0604020202020204" pitchFamily="34" charset="0"/>
                        </a:rPr>
                        <a:t>NR (37.7-NE)</a:t>
                      </a:r>
                    </a:p>
                  </a:txBody>
                  <a:tcPr marL="68580" marR="68580" marT="34290" marB="34290">
                    <a:lnT w="12700" cap="flat" cmpd="sng" algn="ctr">
                      <a:solidFill>
                        <a:srgbClr val="00447C"/>
                      </a:solidFill>
                      <a:prstDash val="solid"/>
                      <a:round/>
                      <a:headEnd type="none" w="med" len="med"/>
                      <a:tailEnd type="none" w="med" len="med"/>
                    </a:lnT>
                    <a:solidFill>
                      <a:srgbClr val="CCDAE5"/>
                    </a:solidFill>
                  </a:tcPr>
                </a:tc>
                <a:tc>
                  <a:txBody>
                    <a:bodyPr/>
                    <a:lstStyle/>
                    <a:p>
                      <a:pPr algn="ctr"/>
                      <a:endParaRPr lang="en-US" sz="900" dirty="0">
                        <a:latin typeface="Arial" panose="020B0604020202020204" pitchFamily="34" charset="0"/>
                        <a:cs typeface="Arial" panose="020B0604020202020204" pitchFamily="34" charset="0"/>
                      </a:endParaRPr>
                    </a:p>
                  </a:txBody>
                  <a:tcPr marL="68580" marR="68580" marT="34290" marB="34290">
                    <a:lnT w="12700" cap="flat" cmpd="sng" algn="ctr">
                      <a:solidFill>
                        <a:srgbClr val="00447C"/>
                      </a:solidFill>
                      <a:prstDash val="solid"/>
                      <a:round/>
                      <a:headEnd type="none" w="med" len="med"/>
                      <a:tailEnd type="none" w="med" len="med"/>
                    </a:lnT>
                    <a:solidFill>
                      <a:srgbClr val="CCDAE5"/>
                    </a:solidFill>
                  </a:tcPr>
                </a:tc>
                <a:tc>
                  <a:txBody>
                    <a:bodyPr/>
                    <a:lstStyle/>
                    <a:p>
                      <a:pPr algn="ctr"/>
                      <a:r>
                        <a:rPr lang="en-US" sz="900" dirty="0">
                          <a:latin typeface="Arial" panose="020B0604020202020204" pitchFamily="34" charset="0"/>
                          <a:cs typeface="Arial" panose="020B0604020202020204" pitchFamily="34" charset="0"/>
                        </a:rPr>
                        <a:t>0.70 (0.46-1.06)</a:t>
                      </a:r>
                    </a:p>
                  </a:txBody>
                  <a:tcPr marL="68580" marR="68580" marT="34290" marB="34290">
                    <a:lnT w="12700" cap="flat" cmpd="sng" algn="ctr">
                      <a:solidFill>
                        <a:srgbClr val="00447C"/>
                      </a:solidFill>
                      <a:prstDash val="solid"/>
                      <a:round/>
                      <a:headEnd type="none" w="med" len="med"/>
                      <a:tailEnd type="none" w="med" len="med"/>
                    </a:lnT>
                    <a:solidFill>
                      <a:srgbClr val="CCDAE5"/>
                    </a:solidFill>
                  </a:tcPr>
                </a:tc>
                <a:extLst>
                  <a:ext uri="{0D108BD9-81ED-4DB2-BD59-A6C34878D82A}">
                    <a16:rowId xmlns:a16="http://schemas.microsoft.com/office/drawing/2014/main" val="4050355400"/>
                  </a:ext>
                </a:extLst>
              </a:tr>
              <a:tr h="247184">
                <a:tc vMerge="1">
                  <a:txBody>
                    <a:bodyPr/>
                    <a:lstStyle/>
                    <a:p>
                      <a:endParaRPr lang="en-US" sz="1200" dirty="0">
                        <a:latin typeface="Arial" panose="020B0604020202020204" pitchFamily="34" charset="0"/>
                        <a:cs typeface="Arial" panose="020B0604020202020204" pitchFamily="34" charset="0"/>
                      </a:endParaRPr>
                    </a:p>
                  </a:txBody>
                  <a:tcPr/>
                </a:tc>
                <a:tc>
                  <a:txBody>
                    <a:bodyPr/>
                    <a:lstStyle/>
                    <a:p>
                      <a:r>
                        <a:rPr lang="en-US" sz="900" b="0" dirty="0">
                          <a:latin typeface="Arial" panose="020B0604020202020204" pitchFamily="34" charset="0"/>
                          <a:cs typeface="Arial" panose="020B0604020202020204" pitchFamily="34" charset="0"/>
                        </a:rPr>
                        <a:t>No (n = 204)</a:t>
                      </a:r>
                    </a:p>
                  </a:txBody>
                  <a:tcPr marL="68580" marR="68580" marT="34290" marB="34290">
                    <a:lnB w="12700" cap="flat" cmpd="sng" algn="ctr">
                      <a:solidFill>
                        <a:srgbClr val="00447C"/>
                      </a:solidFill>
                      <a:prstDash val="solid"/>
                      <a:round/>
                      <a:headEnd type="none" w="med" len="med"/>
                      <a:tailEnd type="none" w="med" len="med"/>
                    </a:lnB>
                    <a:noFill/>
                  </a:tcPr>
                </a:tc>
                <a:tc>
                  <a:txBody>
                    <a:bodyPr/>
                    <a:lstStyle/>
                    <a:p>
                      <a:pPr algn="ctr"/>
                      <a:r>
                        <a:rPr lang="en-US" sz="900" dirty="0">
                          <a:latin typeface="Arial" panose="020B0604020202020204" pitchFamily="34" charset="0"/>
                          <a:cs typeface="Arial" panose="020B0604020202020204" pitchFamily="34" charset="0"/>
                        </a:rPr>
                        <a:t>31/99</a:t>
                      </a:r>
                    </a:p>
                  </a:txBody>
                  <a:tcPr marL="68580" marR="68580" marT="34290" marB="34290">
                    <a:lnB w="12700" cap="flat" cmpd="sng" algn="ctr">
                      <a:solidFill>
                        <a:srgbClr val="00447C"/>
                      </a:solidFill>
                      <a:prstDash val="solid"/>
                      <a:round/>
                      <a:headEnd type="none" w="med" len="med"/>
                      <a:tailEnd type="none" w="med" len="med"/>
                    </a:lnB>
                    <a:noFill/>
                  </a:tcPr>
                </a:tc>
                <a:tc>
                  <a:txBody>
                    <a:bodyPr/>
                    <a:lstStyle/>
                    <a:p>
                      <a:pPr algn="ctr"/>
                      <a:r>
                        <a:rPr lang="en-US" sz="900" dirty="0">
                          <a:latin typeface="Arial" panose="020B0604020202020204" pitchFamily="34" charset="0"/>
                          <a:cs typeface="Arial" panose="020B0604020202020204" pitchFamily="34" charset="0"/>
                        </a:rPr>
                        <a:t>47/105</a:t>
                      </a:r>
                    </a:p>
                  </a:txBody>
                  <a:tcPr marL="68580" marR="68580" marT="34290" marB="34290">
                    <a:lnB w="12700" cap="flat" cmpd="sng" algn="ctr">
                      <a:solidFill>
                        <a:srgbClr val="00447C"/>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latin typeface="Arial" panose="020B0604020202020204" pitchFamily="34" charset="0"/>
                          <a:cs typeface="Arial" panose="020B0604020202020204" pitchFamily="34" charset="0"/>
                        </a:rPr>
                        <a:t>NR (NE-NE)</a:t>
                      </a:r>
                    </a:p>
                  </a:txBody>
                  <a:tcPr marL="68580" marR="68580" marT="34290" marB="34290">
                    <a:lnB w="12700" cap="flat" cmpd="sng" algn="ctr">
                      <a:solidFill>
                        <a:srgbClr val="00447C"/>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latin typeface="Arial" panose="020B0604020202020204" pitchFamily="34" charset="0"/>
                          <a:cs typeface="Arial" panose="020B0604020202020204" pitchFamily="34" charset="0"/>
                        </a:rPr>
                        <a:t>31.5 (22.7-NE)</a:t>
                      </a:r>
                    </a:p>
                  </a:txBody>
                  <a:tcPr marL="68580" marR="68580" marT="34290" marB="34290">
                    <a:lnB w="12700" cap="flat" cmpd="sng" algn="ctr">
                      <a:solidFill>
                        <a:srgbClr val="00447C"/>
                      </a:solidFill>
                      <a:prstDash val="solid"/>
                      <a:round/>
                      <a:headEnd type="none" w="med" len="med"/>
                      <a:tailEnd type="none" w="med" len="med"/>
                    </a:lnB>
                    <a:noFill/>
                  </a:tcPr>
                </a:tc>
                <a:tc>
                  <a:txBody>
                    <a:bodyPr/>
                    <a:lstStyle/>
                    <a:p>
                      <a:pPr algn="ctr"/>
                      <a:endParaRPr lang="en-US" sz="900" dirty="0">
                        <a:latin typeface="Arial" panose="020B0604020202020204" pitchFamily="34" charset="0"/>
                        <a:cs typeface="Arial" panose="020B0604020202020204" pitchFamily="34" charset="0"/>
                      </a:endParaRPr>
                    </a:p>
                  </a:txBody>
                  <a:tcPr marL="68580" marR="68580" marT="34290" marB="34290">
                    <a:lnB w="12700" cap="flat" cmpd="sng" algn="ctr">
                      <a:solidFill>
                        <a:srgbClr val="00447C"/>
                      </a:solidFill>
                      <a:prstDash val="solid"/>
                      <a:round/>
                      <a:headEnd type="none" w="med" len="med"/>
                      <a:tailEnd type="none" w="med" len="med"/>
                    </a:lnB>
                    <a:noFill/>
                  </a:tcPr>
                </a:tc>
                <a:tc>
                  <a:txBody>
                    <a:bodyPr/>
                    <a:lstStyle/>
                    <a:p>
                      <a:pPr algn="ctr"/>
                      <a:r>
                        <a:rPr lang="en-US" sz="900" dirty="0">
                          <a:latin typeface="Arial" panose="020B0604020202020204" pitchFamily="34" charset="0"/>
                          <a:cs typeface="Arial" panose="020B0604020202020204" pitchFamily="34" charset="0"/>
                        </a:rPr>
                        <a:t>0.59 (0.38-0.93)</a:t>
                      </a:r>
                    </a:p>
                  </a:txBody>
                  <a:tcPr marL="68580" marR="68580" marT="34290" marB="34290">
                    <a:lnB w="12700" cap="flat" cmpd="sng" algn="ctr">
                      <a:solidFill>
                        <a:srgbClr val="00447C"/>
                      </a:solidFill>
                      <a:prstDash val="solid"/>
                      <a:round/>
                      <a:headEnd type="none" w="med" len="med"/>
                      <a:tailEnd type="none" w="med" len="med"/>
                    </a:lnB>
                    <a:noFill/>
                  </a:tcPr>
                </a:tc>
                <a:extLst>
                  <a:ext uri="{0D108BD9-81ED-4DB2-BD59-A6C34878D82A}">
                    <a16:rowId xmlns:a16="http://schemas.microsoft.com/office/drawing/2014/main" val="104616972"/>
                  </a:ext>
                </a:extLst>
              </a:tr>
              <a:tr h="247184">
                <a:tc rowSpan="2">
                  <a:txBody>
                    <a:bodyPr/>
                    <a:lstStyle/>
                    <a:p>
                      <a:r>
                        <a:rPr lang="en-US" sz="900" b="1" dirty="0">
                          <a:latin typeface="Arial" panose="020B0604020202020204" pitchFamily="34" charset="0"/>
                          <a:cs typeface="Arial" panose="020B0604020202020204" pitchFamily="34" charset="0"/>
                        </a:rPr>
                        <a:t>Baseline visceral disease</a:t>
                      </a:r>
                    </a:p>
                  </a:txBody>
                  <a:tcPr marL="68580" marR="68580" marT="34290" marB="34290" anchor="ctr">
                    <a:lnT w="12700" cap="flat" cmpd="sng" algn="ctr">
                      <a:solidFill>
                        <a:srgbClr val="00447C"/>
                      </a:solidFill>
                      <a:prstDash val="solid"/>
                      <a:round/>
                      <a:headEnd type="none" w="med" len="med"/>
                      <a:tailEnd type="none" w="med" len="med"/>
                    </a:lnT>
                    <a:lnB w="12700" cap="flat" cmpd="sng" algn="ctr">
                      <a:solidFill>
                        <a:srgbClr val="00447C"/>
                      </a:solidFill>
                      <a:prstDash val="solid"/>
                      <a:round/>
                      <a:headEnd type="none" w="med" len="med"/>
                      <a:tailEnd type="none" w="med" len="med"/>
                    </a:lnB>
                    <a:noFill/>
                  </a:tcPr>
                </a:tc>
                <a:tc>
                  <a:txBody>
                    <a:bodyPr/>
                    <a:lstStyle/>
                    <a:p>
                      <a:r>
                        <a:rPr lang="en-US" sz="900" b="0" dirty="0">
                          <a:latin typeface="Arial" panose="020B0604020202020204" pitchFamily="34" charset="0"/>
                          <a:cs typeface="Arial" panose="020B0604020202020204" pitchFamily="34" charset="0"/>
                        </a:rPr>
                        <a:t>Yes (n = 384)</a:t>
                      </a:r>
                    </a:p>
                  </a:txBody>
                  <a:tcPr marL="68580" marR="68580" marT="34290" marB="34290">
                    <a:lnT w="12700" cap="flat" cmpd="sng" algn="ctr">
                      <a:solidFill>
                        <a:srgbClr val="00447C"/>
                      </a:solidFill>
                      <a:prstDash val="solid"/>
                      <a:round/>
                      <a:headEnd type="none" w="med" len="med"/>
                      <a:tailEnd type="none" w="med" len="med"/>
                    </a:lnT>
                    <a:solidFill>
                      <a:srgbClr val="CCDAE5"/>
                    </a:solidFill>
                  </a:tcPr>
                </a:tc>
                <a:tc>
                  <a:txBody>
                    <a:bodyPr/>
                    <a:lstStyle/>
                    <a:p>
                      <a:pPr algn="ctr"/>
                      <a:r>
                        <a:rPr lang="en-US" sz="900" dirty="0">
                          <a:latin typeface="Arial" panose="020B0604020202020204" pitchFamily="34" charset="0"/>
                          <a:cs typeface="Arial" panose="020B0604020202020204" pitchFamily="34" charset="0"/>
                        </a:rPr>
                        <a:t>64/195</a:t>
                      </a:r>
                    </a:p>
                  </a:txBody>
                  <a:tcPr marL="68580" marR="68580" marT="34290" marB="34290">
                    <a:lnT w="12700" cap="flat" cmpd="sng" algn="ctr">
                      <a:solidFill>
                        <a:srgbClr val="00447C"/>
                      </a:solidFill>
                      <a:prstDash val="solid"/>
                      <a:round/>
                      <a:headEnd type="none" w="med" len="med"/>
                      <a:tailEnd type="none" w="med" len="med"/>
                    </a:lnT>
                    <a:solidFill>
                      <a:srgbClr val="CCDAE5"/>
                    </a:solidFill>
                  </a:tcPr>
                </a:tc>
                <a:tc>
                  <a:txBody>
                    <a:bodyPr/>
                    <a:lstStyle/>
                    <a:p>
                      <a:pPr algn="ctr"/>
                      <a:r>
                        <a:rPr lang="en-US" sz="900" dirty="0">
                          <a:latin typeface="Arial" panose="020B0604020202020204" pitchFamily="34" charset="0"/>
                          <a:cs typeface="Arial" panose="020B0604020202020204" pitchFamily="34" charset="0"/>
                        </a:rPr>
                        <a:t>80/189</a:t>
                      </a:r>
                    </a:p>
                  </a:txBody>
                  <a:tcPr marL="68580" marR="68580" marT="34290" marB="34290">
                    <a:lnT w="12700" cap="flat" cmpd="sng" algn="ctr">
                      <a:solidFill>
                        <a:srgbClr val="00447C"/>
                      </a:solidFill>
                      <a:prstDash val="solid"/>
                      <a:round/>
                      <a:headEnd type="none" w="med" len="med"/>
                      <a:tailEnd type="none" w="med" len="med"/>
                    </a:lnT>
                    <a:solidFill>
                      <a:srgbClr val="CCDAE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latin typeface="Arial" panose="020B0604020202020204" pitchFamily="34" charset="0"/>
                          <a:cs typeface="Arial" panose="020B0604020202020204" pitchFamily="34" charset="0"/>
                        </a:rPr>
                        <a:t>NR (40.5-NE)</a:t>
                      </a:r>
                    </a:p>
                  </a:txBody>
                  <a:tcPr marL="68580" marR="68580" marT="34290" marB="34290">
                    <a:lnT w="12700" cap="flat" cmpd="sng" algn="ctr">
                      <a:solidFill>
                        <a:srgbClr val="00447C"/>
                      </a:solidFill>
                      <a:prstDash val="solid"/>
                      <a:round/>
                      <a:headEnd type="none" w="med" len="med"/>
                      <a:tailEnd type="none" w="med" len="med"/>
                    </a:lnT>
                    <a:solidFill>
                      <a:srgbClr val="CCDAE5"/>
                    </a:solidFill>
                  </a:tcPr>
                </a:tc>
                <a:tc>
                  <a:txBody>
                    <a:bodyPr/>
                    <a:lstStyle/>
                    <a:p>
                      <a:pPr algn="ctr"/>
                      <a:r>
                        <a:rPr lang="en-US" sz="900" dirty="0">
                          <a:latin typeface="Arial" panose="020B0604020202020204" pitchFamily="34" charset="0"/>
                          <a:cs typeface="Arial" panose="020B0604020202020204" pitchFamily="34" charset="0"/>
                        </a:rPr>
                        <a:t>35.4 (29.9-NE)</a:t>
                      </a:r>
                    </a:p>
                  </a:txBody>
                  <a:tcPr marL="68580" marR="68580" marT="34290" marB="34290">
                    <a:lnT w="12700" cap="flat" cmpd="sng" algn="ctr">
                      <a:solidFill>
                        <a:srgbClr val="00447C"/>
                      </a:solidFill>
                      <a:prstDash val="solid"/>
                      <a:round/>
                      <a:headEnd type="none" w="med" len="med"/>
                      <a:tailEnd type="none" w="med" len="med"/>
                    </a:lnT>
                    <a:solidFill>
                      <a:srgbClr val="CCDAE5"/>
                    </a:solidFill>
                  </a:tcPr>
                </a:tc>
                <a:tc>
                  <a:txBody>
                    <a:bodyPr/>
                    <a:lstStyle/>
                    <a:p>
                      <a:pPr algn="ctr"/>
                      <a:endParaRPr lang="en-US" sz="900" dirty="0">
                        <a:latin typeface="Arial" panose="020B0604020202020204" pitchFamily="34" charset="0"/>
                        <a:cs typeface="Arial" panose="020B0604020202020204" pitchFamily="34" charset="0"/>
                      </a:endParaRPr>
                    </a:p>
                  </a:txBody>
                  <a:tcPr marL="68580" marR="68580" marT="34290" marB="34290">
                    <a:lnT w="12700" cap="flat" cmpd="sng" algn="ctr">
                      <a:solidFill>
                        <a:srgbClr val="00447C"/>
                      </a:solidFill>
                      <a:prstDash val="solid"/>
                      <a:round/>
                      <a:headEnd type="none" w="med" len="med"/>
                      <a:tailEnd type="none" w="med" len="med"/>
                    </a:lnT>
                    <a:solidFill>
                      <a:srgbClr val="CCDAE5"/>
                    </a:solidFill>
                  </a:tcPr>
                </a:tc>
                <a:tc>
                  <a:txBody>
                    <a:bodyPr/>
                    <a:lstStyle/>
                    <a:p>
                      <a:pPr algn="ctr"/>
                      <a:r>
                        <a:rPr lang="en-US" sz="900" dirty="0">
                          <a:latin typeface="Arial" panose="020B0604020202020204" pitchFamily="34" charset="0"/>
                          <a:cs typeface="Arial" panose="020B0604020202020204" pitchFamily="34" charset="0"/>
                        </a:rPr>
                        <a:t>0.68 (0.49-0.95)</a:t>
                      </a:r>
                    </a:p>
                  </a:txBody>
                  <a:tcPr marL="68580" marR="68580" marT="34290" marB="34290">
                    <a:lnT w="12700" cap="flat" cmpd="sng" algn="ctr">
                      <a:solidFill>
                        <a:srgbClr val="00447C"/>
                      </a:solidFill>
                      <a:prstDash val="solid"/>
                      <a:round/>
                      <a:headEnd type="none" w="med" len="med"/>
                      <a:tailEnd type="none" w="med" len="med"/>
                    </a:lnT>
                    <a:solidFill>
                      <a:srgbClr val="CCDAE5"/>
                    </a:solidFill>
                  </a:tcPr>
                </a:tc>
                <a:extLst>
                  <a:ext uri="{0D108BD9-81ED-4DB2-BD59-A6C34878D82A}">
                    <a16:rowId xmlns:a16="http://schemas.microsoft.com/office/drawing/2014/main" val="2129518978"/>
                  </a:ext>
                </a:extLst>
              </a:tr>
              <a:tr h="247184">
                <a:tc vMerge="1">
                  <a:txBody>
                    <a:bodyPr/>
                    <a:lstStyle/>
                    <a:p>
                      <a:endParaRPr lang="en-US" sz="1200" dirty="0">
                        <a:latin typeface="Arial" panose="020B0604020202020204" pitchFamily="34" charset="0"/>
                        <a:cs typeface="Arial" panose="020B0604020202020204" pitchFamily="34" charset="0"/>
                      </a:endParaRPr>
                    </a:p>
                  </a:txBody>
                  <a:tcPr/>
                </a:tc>
                <a:tc>
                  <a:txBody>
                    <a:bodyPr/>
                    <a:lstStyle/>
                    <a:p>
                      <a:r>
                        <a:rPr lang="en-US" sz="900" b="0" dirty="0">
                          <a:latin typeface="Arial" panose="020B0604020202020204" pitchFamily="34" charset="0"/>
                          <a:cs typeface="Arial" panose="020B0604020202020204" pitchFamily="34" charset="0"/>
                        </a:rPr>
                        <a:t>No (n = 140)</a:t>
                      </a:r>
                    </a:p>
                  </a:txBody>
                  <a:tcPr marL="68580" marR="68580" marT="34290" marB="34290">
                    <a:lnB w="12700" cap="flat" cmpd="sng" algn="ctr">
                      <a:solidFill>
                        <a:srgbClr val="00447C"/>
                      </a:solidFill>
                      <a:prstDash val="solid"/>
                      <a:round/>
                      <a:headEnd type="none" w="med" len="med"/>
                      <a:tailEnd type="none" w="med" len="med"/>
                    </a:lnB>
                    <a:noFill/>
                  </a:tcPr>
                </a:tc>
                <a:tc>
                  <a:txBody>
                    <a:bodyPr/>
                    <a:lstStyle/>
                    <a:p>
                      <a:pPr algn="ctr"/>
                      <a:r>
                        <a:rPr lang="en-US" sz="900" dirty="0">
                          <a:latin typeface="Arial" panose="020B0604020202020204" pitchFamily="34" charset="0"/>
                          <a:cs typeface="Arial" panose="020B0604020202020204" pitchFamily="34" charset="0"/>
                        </a:rPr>
                        <a:t>8/66</a:t>
                      </a:r>
                    </a:p>
                  </a:txBody>
                  <a:tcPr marL="68580" marR="68580" marT="34290" marB="34290">
                    <a:lnB w="12700" cap="flat" cmpd="sng" algn="ctr">
                      <a:solidFill>
                        <a:srgbClr val="00447C"/>
                      </a:solidFill>
                      <a:prstDash val="solid"/>
                      <a:round/>
                      <a:headEnd type="none" w="med" len="med"/>
                      <a:tailEnd type="none" w="med" len="med"/>
                    </a:lnB>
                    <a:noFill/>
                  </a:tcPr>
                </a:tc>
                <a:tc>
                  <a:txBody>
                    <a:bodyPr/>
                    <a:lstStyle/>
                    <a:p>
                      <a:pPr algn="ctr"/>
                      <a:r>
                        <a:rPr lang="en-US" sz="900" dirty="0">
                          <a:latin typeface="Arial" panose="020B0604020202020204" pitchFamily="34" charset="0"/>
                          <a:cs typeface="Arial" panose="020B0604020202020204" pitchFamily="34" charset="0"/>
                        </a:rPr>
                        <a:t>17/74</a:t>
                      </a:r>
                    </a:p>
                  </a:txBody>
                  <a:tcPr marL="68580" marR="68580" marT="34290" marB="34290">
                    <a:lnB w="12700" cap="flat" cmpd="sng" algn="ctr">
                      <a:solidFill>
                        <a:srgbClr val="00447C"/>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latin typeface="Arial" panose="020B0604020202020204" pitchFamily="34" charset="0"/>
                          <a:cs typeface="Arial" panose="020B0604020202020204" pitchFamily="34" charset="0"/>
                        </a:rPr>
                        <a:t>NR (NE-NE)</a:t>
                      </a:r>
                    </a:p>
                  </a:txBody>
                  <a:tcPr marL="68580" marR="68580" marT="34290" marB="34290">
                    <a:lnB w="12700" cap="flat" cmpd="sng" algn="ctr">
                      <a:solidFill>
                        <a:srgbClr val="00447C"/>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latin typeface="Arial" panose="020B0604020202020204" pitchFamily="34" charset="0"/>
                          <a:cs typeface="Arial" panose="020B0604020202020204" pitchFamily="34" charset="0"/>
                        </a:rPr>
                        <a:t>NR (NE-NE)</a:t>
                      </a:r>
                    </a:p>
                  </a:txBody>
                  <a:tcPr marL="68580" marR="68580" marT="34290" marB="34290">
                    <a:lnB w="12700" cap="flat" cmpd="sng" algn="ctr">
                      <a:solidFill>
                        <a:srgbClr val="00447C"/>
                      </a:solidFill>
                      <a:prstDash val="solid"/>
                      <a:round/>
                      <a:headEnd type="none" w="med" len="med"/>
                      <a:tailEnd type="none" w="med" len="med"/>
                    </a:lnB>
                    <a:noFill/>
                  </a:tcPr>
                </a:tc>
                <a:tc>
                  <a:txBody>
                    <a:bodyPr/>
                    <a:lstStyle/>
                    <a:p>
                      <a:pPr algn="ctr"/>
                      <a:endParaRPr lang="en-US" sz="900" dirty="0">
                        <a:latin typeface="Arial" panose="020B0604020202020204" pitchFamily="34" charset="0"/>
                        <a:cs typeface="Arial" panose="020B0604020202020204" pitchFamily="34" charset="0"/>
                      </a:endParaRPr>
                    </a:p>
                  </a:txBody>
                  <a:tcPr marL="68580" marR="68580" marT="34290" marB="34290">
                    <a:lnB w="12700" cap="flat" cmpd="sng" algn="ctr">
                      <a:solidFill>
                        <a:srgbClr val="00447C"/>
                      </a:solidFill>
                      <a:prstDash val="solid"/>
                      <a:round/>
                      <a:headEnd type="none" w="med" len="med"/>
                      <a:tailEnd type="none" w="med" len="med"/>
                    </a:lnB>
                    <a:noFill/>
                  </a:tcPr>
                </a:tc>
                <a:tc>
                  <a:txBody>
                    <a:bodyPr/>
                    <a:lstStyle/>
                    <a:p>
                      <a:pPr algn="ctr"/>
                      <a:r>
                        <a:rPr lang="en-US" sz="900" dirty="0">
                          <a:latin typeface="Arial" panose="020B0604020202020204" pitchFamily="34" charset="0"/>
                          <a:cs typeface="Arial" panose="020B0604020202020204" pitchFamily="34" charset="0"/>
                        </a:rPr>
                        <a:t>0.44 (0.19-1.02)</a:t>
                      </a:r>
                    </a:p>
                  </a:txBody>
                  <a:tcPr marL="68580" marR="68580" marT="34290" marB="34290">
                    <a:lnB w="12700" cap="flat" cmpd="sng" algn="ctr">
                      <a:solidFill>
                        <a:srgbClr val="00447C"/>
                      </a:solidFill>
                      <a:prstDash val="solid"/>
                      <a:round/>
                      <a:headEnd type="none" w="med" len="med"/>
                      <a:tailEnd type="none" w="med" len="med"/>
                    </a:lnB>
                    <a:noFill/>
                  </a:tcPr>
                </a:tc>
                <a:extLst>
                  <a:ext uri="{0D108BD9-81ED-4DB2-BD59-A6C34878D82A}">
                    <a16:rowId xmlns:a16="http://schemas.microsoft.com/office/drawing/2014/main" val="2403404046"/>
                  </a:ext>
                </a:extLst>
              </a:tr>
              <a:tr h="247184">
                <a:tc rowSpan="2">
                  <a:txBody>
                    <a:bodyPr/>
                    <a:lstStyle/>
                    <a:p>
                      <a:r>
                        <a:rPr lang="en-US" sz="900" b="1" dirty="0">
                          <a:latin typeface="Arial" panose="020B0604020202020204" pitchFamily="34" charset="0"/>
                          <a:cs typeface="Arial" panose="020B0604020202020204" pitchFamily="34" charset="0"/>
                        </a:rPr>
                        <a:t>Prior lines of systemic therapy</a:t>
                      </a:r>
                      <a:r>
                        <a:rPr lang="en-US" sz="900" b="1" baseline="30000" dirty="0">
                          <a:latin typeface="Arial" panose="020B0604020202020204" pitchFamily="34" charset="0"/>
                          <a:cs typeface="Arial" panose="020B0604020202020204" pitchFamily="34" charset="0"/>
                        </a:rPr>
                        <a:t>a</a:t>
                      </a:r>
                    </a:p>
                  </a:txBody>
                  <a:tcPr marL="68580" marR="68580" marT="34290" marB="34290" anchor="ctr">
                    <a:lnT w="12700" cap="flat" cmpd="sng" algn="ctr">
                      <a:solidFill>
                        <a:srgbClr val="00447C"/>
                      </a:solidFill>
                      <a:prstDash val="solid"/>
                      <a:round/>
                      <a:headEnd type="none" w="med" len="med"/>
                      <a:tailEnd type="none" w="med" len="med"/>
                    </a:lnT>
                    <a:lnB w="12700" cap="flat" cmpd="sng" algn="ctr">
                      <a:solidFill>
                        <a:srgbClr val="00447C"/>
                      </a:solidFill>
                      <a:prstDash val="solid"/>
                      <a:round/>
                      <a:headEnd type="none" w="med" len="med"/>
                      <a:tailEnd type="none" w="med" len="med"/>
                    </a:lnB>
                    <a:noFill/>
                  </a:tcPr>
                </a:tc>
                <a:tc>
                  <a:txBody>
                    <a:bodyPr/>
                    <a:lstStyle/>
                    <a:p>
                      <a:r>
                        <a:rPr lang="en-US" sz="900" b="0" dirty="0">
                          <a:latin typeface="Arial" panose="020B0604020202020204" pitchFamily="34" charset="0"/>
                          <a:cs typeface="Arial" panose="020B0604020202020204" pitchFamily="34" charset="0"/>
                        </a:rPr>
                        <a:t>&lt;3 (n = 379)</a:t>
                      </a:r>
                    </a:p>
                  </a:txBody>
                  <a:tcPr marL="68580" marR="68580" marT="34290" marB="34290">
                    <a:lnT w="12700" cap="flat" cmpd="sng" algn="ctr">
                      <a:solidFill>
                        <a:srgbClr val="00447C"/>
                      </a:solidFill>
                      <a:prstDash val="solid"/>
                      <a:round/>
                      <a:headEnd type="none" w="med" len="med"/>
                      <a:tailEnd type="none" w="med" len="med"/>
                    </a:lnT>
                    <a:solidFill>
                      <a:srgbClr val="CCDAE5"/>
                    </a:solidFill>
                  </a:tcPr>
                </a:tc>
                <a:tc>
                  <a:txBody>
                    <a:bodyPr/>
                    <a:lstStyle/>
                    <a:p>
                      <a:pPr algn="ctr"/>
                      <a:r>
                        <a:rPr lang="en-US" sz="900" dirty="0">
                          <a:latin typeface="Arial" panose="020B0604020202020204" pitchFamily="34" charset="0"/>
                          <a:cs typeface="Arial" panose="020B0604020202020204" pitchFamily="34" charset="0"/>
                        </a:rPr>
                        <a:t>44/188</a:t>
                      </a:r>
                    </a:p>
                  </a:txBody>
                  <a:tcPr marL="68580" marR="68580" marT="34290" marB="34290">
                    <a:lnT w="12700" cap="flat" cmpd="sng" algn="ctr">
                      <a:solidFill>
                        <a:srgbClr val="00447C"/>
                      </a:solidFill>
                      <a:prstDash val="solid"/>
                      <a:round/>
                      <a:headEnd type="none" w="med" len="med"/>
                      <a:tailEnd type="none" w="med" len="med"/>
                    </a:lnT>
                    <a:solidFill>
                      <a:srgbClr val="CCDAE5"/>
                    </a:solidFill>
                  </a:tcPr>
                </a:tc>
                <a:tc>
                  <a:txBody>
                    <a:bodyPr/>
                    <a:lstStyle/>
                    <a:p>
                      <a:pPr algn="ctr"/>
                      <a:r>
                        <a:rPr lang="en-US" sz="900" dirty="0">
                          <a:latin typeface="Arial" panose="020B0604020202020204" pitchFamily="34" charset="0"/>
                          <a:cs typeface="Arial" panose="020B0604020202020204" pitchFamily="34" charset="0"/>
                        </a:rPr>
                        <a:t>57/191</a:t>
                      </a:r>
                    </a:p>
                  </a:txBody>
                  <a:tcPr marL="68580" marR="68580" marT="34290" marB="34290">
                    <a:lnT w="12700" cap="flat" cmpd="sng" algn="ctr">
                      <a:solidFill>
                        <a:srgbClr val="00447C"/>
                      </a:solidFill>
                      <a:prstDash val="solid"/>
                      <a:round/>
                      <a:headEnd type="none" w="med" len="med"/>
                      <a:tailEnd type="none" w="med" len="med"/>
                    </a:lnT>
                    <a:solidFill>
                      <a:srgbClr val="CCDAE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latin typeface="Arial" panose="020B0604020202020204" pitchFamily="34" charset="0"/>
                          <a:cs typeface="Arial" panose="020B0604020202020204" pitchFamily="34" charset="0"/>
                        </a:rPr>
                        <a:t>NR (40.5-NE)</a:t>
                      </a:r>
                    </a:p>
                  </a:txBody>
                  <a:tcPr marL="68580" marR="68580" marT="34290" marB="34290">
                    <a:lnT w="12700" cap="flat" cmpd="sng" algn="ctr">
                      <a:solidFill>
                        <a:srgbClr val="00447C"/>
                      </a:solidFill>
                      <a:prstDash val="solid"/>
                      <a:round/>
                      <a:headEnd type="none" w="med" len="med"/>
                      <a:tailEnd type="none" w="med" len="med"/>
                    </a:lnT>
                    <a:solidFill>
                      <a:srgbClr val="CCDAE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latin typeface="Arial" panose="020B0604020202020204" pitchFamily="34" charset="0"/>
                          <a:cs typeface="Arial" panose="020B0604020202020204" pitchFamily="34" charset="0"/>
                        </a:rPr>
                        <a:t>NR (37.7-NE)</a:t>
                      </a:r>
                    </a:p>
                  </a:txBody>
                  <a:tcPr marL="68580" marR="68580" marT="34290" marB="34290">
                    <a:lnT w="12700" cap="flat" cmpd="sng" algn="ctr">
                      <a:solidFill>
                        <a:srgbClr val="00447C"/>
                      </a:solidFill>
                      <a:prstDash val="solid"/>
                      <a:round/>
                      <a:headEnd type="none" w="med" len="med"/>
                      <a:tailEnd type="none" w="med" len="med"/>
                    </a:lnT>
                    <a:solidFill>
                      <a:srgbClr val="CCDAE5"/>
                    </a:solidFill>
                  </a:tcPr>
                </a:tc>
                <a:tc>
                  <a:txBody>
                    <a:bodyPr/>
                    <a:lstStyle/>
                    <a:p>
                      <a:pPr algn="ctr"/>
                      <a:endParaRPr lang="en-US" sz="900" dirty="0">
                        <a:latin typeface="Arial" panose="020B0604020202020204" pitchFamily="34" charset="0"/>
                        <a:cs typeface="Arial" panose="020B0604020202020204" pitchFamily="34" charset="0"/>
                      </a:endParaRPr>
                    </a:p>
                  </a:txBody>
                  <a:tcPr marL="68580" marR="68580" marT="34290" marB="34290">
                    <a:lnT w="12700" cap="flat" cmpd="sng" algn="ctr">
                      <a:solidFill>
                        <a:srgbClr val="00447C"/>
                      </a:solidFill>
                      <a:prstDash val="solid"/>
                      <a:round/>
                      <a:headEnd type="none" w="med" len="med"/>
                      <a:tailEnd type="none" w="med" len="med"/>
                    </a:lnT>
                    <a:solidFill>
                      <a:srgbClr val="CCDAE5"/>
                    </a:solidFill>
                  </a:tcPr>
                </a:tc>
                <a:tc>
                  <a:txBody>
                    <a:bodyPr/>
                    <a:lstStyle/>
                    <a:p>
                      <a:pPr algn="ctr"/>
                      <a:r>
                        <a:rPr lang="en-US" sz="900" dirty="0">
                          <a:latin typeface="Arial" panose="020B0604020202020204" pitchFamily="34" charset="0"/>
                          <a:cs typeface="Arial" panose="020B0604020202020204" pitchFamily="34" charset="0"/>
                        </a:rPr>
                        <a:t>0.70 (0.47-1.04)</a:t>
                      </a:r>
                    </a:p>
                  </a:txBody>
                  <a:tcPr marL="68580" marR="68580" marT="34290" marB="34290">
                    <a:lnT w="12700" cap="flat" cmpd="sng" algn="ctr">
                      <a:solidFill>
                        <a:srgbClr val="00447C"/>
                      </a:solidFill>
                      <a:prstDash val="solid"/>
                      <a:round/>
                      <a:headEnd type="none" w="med" len="med"/>
                      <a:tailEnd type="none" w="med" len="med"/>
                    </a:lnT>
                    <a:solidFill>
                      <a:srgbClr val="CCDAE5"/>
                    </a:solidFill>
                  </a:tcPr>
                </a:tc>
                <a:extLst>
                  <a:ext uri="{0D108BD9-81ED-4DB2-BD59-A6C34878D82A}">
                    <a16:rowId xmlns:a16="http://schemas.microsoft.com/office/drawing/2014/main" val="3550325633"/>
                  </a:ext>
                </a:extLst>
              </a:tr>
              <a:tr h="247184">
                <a:tc vMerge="1">
                  <a:txBody>
                    <a:bodyPr/>
                    <a:lstStyle/>
                    <a:p>
                      <a:endParaRPr lang="en-US" sz="1200" dirty="0">
                        <a:latin typeface="Arial" panose="020B0604020202020204" pitchFamily="34" charset="0"/>
                        <a:cs typeface="Arial" panose="020B0604020202020204" pitchFamily="34" charset="0"/>
                      </a:endParaRPr>
                    </a:p>
                  </a:txBody>
                  <a:tcPr/>
                </a:tc>
                <a:tc>
                  <a:txBody>
                    <a:bodyPr/>
                    <a:lstStyle/>
                    <a:p>
                      <a:r>
                        <a:rPr lang="en-US" sz="900" b="0" dirty="0">
                          <a:latin typeface="Arial" panose="020B0604020202020204" pitchFamily="34" charset="0"/>
                          <a:cs typeface="Arial" panose="020B0604020202020204" pitchFamily="34" charset="0"/>
                        </a:rPr>
                        <a:t>≥3 (n = 145)</a:t>
                      </a:r>
                    </a:p>
                  </a:txBody>
                  <a:tcPr marL="68580" marR="68580" marT="34290" marB="34290">
                    <a:lnB w="12700" cap="flat" cmpd="sng" algn="ctr">
                      <a:solidFill>
                        <a:srgbClr val="00447C"/>
                      </a:solidFill>
                      <a:prstDash val="solid"/>
                      <a:round/>
                      <a:headEnd type="none" w="med" len="med"/>
                      <a:tailEnd type="none" w="med" len="med"/>
                    </a:lnB>
                    <a:noFill/>
                  </a:tcPr>
                </a:tc>
                <a:tc>
                  <a:txBody>
                    <a:bodyPr/>
                    <a:lstStyle/>
                    <a:p>
                      <a:pPr algn="ctr"/>
                      <a:r>
                        <a:rPr lang="en-US" sz="900" dirty="0">
                          <a:latin typeface="Arial" panose="020B0604020202020204" pitchFamily="34" charset="0"/>
                          <a:cs typeface="Arial" panose="020B0604020202020204" pitchFamily="34" charset="0"/>
                        </a:rPr>
                        <a:t>28/73</a:t>
                      </a:r>
                    </a:p>
                  </a:txBody>
                  <a:tcPr marL="68580" marR="68580" marT="34290" marB="34290">
                    <a:lnB w="12700" cap="flat" cmpd="sng" algn="ctr">
                      <a:solidFill>
                        <a:srgbClr val="00447C"/>
                      </a:solidFill>
                      <a:prstDash val="solid"/>
                      <a:round/>
                      <a:headEnd type="none" w="med" len="med"/>
                      <a:tailEnd type="none" w="med" len="med"/>
                    </a:lnB>
                    <a:noFill/>
                  </a:tcPr>
                </a:tc>
                <a:tc>
                  <a:txBody>
                    <a:bodyPr/>
                    <a:lstStyle/>
                    <a:p>
                      <a:pPr algn="ctr"/>
                      <a:r>
                        <a:rPr lang="en-US" sz="900" dirty="0">
                          <a:latin typeface="Arial" panose="020B0604020202020204" pitchFamily="34" charset="0"/>
                          <a:cs typeface="Arial" panose="020B0604020202020204" pitchFamily="34" charset="0"/>
                        </a:rPr>
                        <a:t>40/72</a:t>
                      </a:r>
                    </a:p>
                  </a:txBody>
                  <a:tcPr marL="68580" marR="68580" marT="34290" marB="34290">
                    <a:lnB w="12700" cap="flat" cmpd="sng" algn="ctr">
                      <a:solidFill>
                        <a:srgbClr val="00447C"/>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latin typeface="Arial" panose="020B0604020202020204" pitchFamily="34" charset="0"/>
                          <a:cs typeface="Arial" panose="020B0604020202020204" pitchFamily="34" charset="0"/>
                        </a:rPr>
                        <a:t>NR (27.4-NE)</a:t>
                      </a:r>
                    </a:p>
                  </a:txBody>
                  <a:tcPr marL="68580" marR="68580" marT="34290" marB="34290">
                    <a:lnB w="12700" cap="flat" cmpd="sng" algn="ctr">
                      <a:solidFill>
                        <a:srgbClr val="00447C"/>
                      </a:solidFill>
                      <a:prstDash val="solid"/>
                      <a:round/>
                      <a:headEnd type="none" w="med" len="med"/>
                      <a:tailEnd type="none" w="med" len="med"/>
                    </a:lnB>
                    <a:noFill/>
                  </a:tcPr>
                </a:tc>
                <a:tc>
                  <a:txBody>
                    <a:bodyPr/>
                    <a:lstStyle/>
                    <a:p>
                      <a:pPr algn="ctr"/>
                      <a:r>
                        <a:rPr lang="en-US" sz="900" dirty="0">
                          <a:latin typeface="Arial" panose="020B0604020202020204" pitchFamily="34" charset="0"/>
                          <a:cs typeface="Arial" panose="020B0604020202020204" pitchFamily="34" charset="0"/>
                        </a:rPr>
                        <a:t>22.8 (16.1-31.5)</a:t>
                      </a:r>
                    </a:p>
                  </a:txBody>
                  <a:tcPr marL="68580" marR="68580" marT="34290" marB="34290">
                    <a:lnB w="12700" cap="flat" cmpd="sng" algn="ctr">
                      <a:solidFill>
                        <a:srgbClr val="00447C"/>
                      </a:solidFill>
                      <a:prstDash val="solid"/>
                      <a:round/>
                      <a:headEnd type="none" w="med" len="med"/>
                      <a:tailEnd type="none" w="med" len="med"/>
                    </a:lnB>
                    <a:noFill/>
                  </a:tcPr>
                </a:tc>
                <a:tc>
                  <a:txBody>
                    <a:bodyPr/>
                    <a:lstStyle/>
                    <a:p>
                      <a:pPr algn="ctr"/>
                      <a:endParaRPr lang="en-US" sz="900" dirty="0">
                        <a:latin typeface="Arial" panose="020B0604020202020204" pitchFamily="34" charset="0"/>
                        <a:cs typeface="Arial" panose="020B0604020202020204" pitchFamily="34" charset="0"/>
                      </a:endParaRPr>
                    </a:p>
                  </a:txBody>
                  <a:tcPr marL="68580" marR="68580" marT="34290" marB="34290">
                    <a:lnB w="12700" cap="flat" cmpd="sng" algn="ctr">
                      <a:solidFill>
                        <a:srgbClr val="00447C"/>
                      </a:solidFill>
                      <a:prstDash val="solid"/>
                      <a:round/>
                      <a:headEnd type="none" w="med" len="med"/>
                      <a:tailEnd type="none" w="med" len="med"/>
                    </a:lnB>
                    <a:noFill/>
                  </a:tcPr>
                </a:tc>
                <a:tc>
                  <a:txBody>
                    <a:bodyPr/>
                    <a:lstStyle/>
                    <a:p>
                      <a:pPr algn="ctr"/>
                      <a:r>
                        <a:rPr lang="en-US" sz="900" dirty="0">
                          <a:latin typeface="Arial" panose="020B0604020202020204" pitchFamily="34" charset="0"/>
                          <a:cs typeface="Arial" panose="020B0604020202020204" pitchFamily="34" charset="0"/>
                        </a:rPr>
                        <a:t>0.55 (0.34-0.89)</a:t>
                      </a:r>
                    </a:p>
                  </a:txBody>
                  <a:tcPr marL="68580" marR="68580" marT="34290" marB="34290">
                    <a:lnB w="12700" cap="flat" cmpd="sng" algn="ctr">
                      <a:solidFill>
                        <a:srgbClr val="00447C"/>
                      </a:solidFill>
                      <a:prstDash val="solid"/>
                      <a:round/>
                      <a:headEnd type="none" w="med" len="med"/>
                      <a:tailEnd type="none" w="med" len="med"/>
                    </a:lnB>
                    <a:noFill/>
                  </a:tcPr>
                </a:tc>
                <a:extLst>
                  <a:ext uri="{0D108BD9-81ED-4DB2-BD59-A6C34878D82A}">
                    <a16:rowId xmlns:a16="http://schemas.microsoft.com/office/drawing/2014/main" val="2811870510"/>
                  </a:ext>
                </a:extLst>
              </a:tr>
              <a:tr h="247184">
                <a:tc rowSpan="2">
                  <a:txBody>
                    <a:bodyPr/>
                    <a:lstStyle/>
                    <a:p>
                      <a:r>
                        <a:rPr lang="en-US" sz="900" b="1" dirty="0">
                          <a:latin typeface="Arial" panose="020B0604020202020204" pitchFamily="34" charset="0"/>
                          <a:cs typeface="Arial" panose="020B0604020202020204" pitchFamily="34" charset="0"/>
                        </a:rPr>
                        <a:t>Baseline BM</a:t>
                      </a:r>
                    </a:p>
                  </a:txBody>
                  <a:tcPr marL="68580" marR="68580" marT="34290" marB="34290" anchor="ctr">
                    <a:lnT w="12700" cap="flat" cmpd="sng" algn="ctr">
                      <a:solidFill>
                        <a:srgbClr val="00447C"/>
                      </a:solidFill>
                      <a:prstDash val="solid"/>
                      <a:round/>
                      <a:headEnd type="none" w="med" len="med"/>
                      <a:tailEnd type="none" w="med" len="med"/>
                    </a:lnT>
                    <a:lnB w="12700" cap="flat" cmpd="sng" algn="ctr">
                      <a:solidFill>
                        <a:srgbClr val="00447C"/>
                      </a:solidFill>
                      <a:prstDash val="solid"/>
                      <a:round/>
                      <a:headEnd type="none" w="med" len="med"/>
                      <a:tailEnd type="none" w="med" len="med"/>
                    </a:lnB>
                    <a:noFill/>
                  </a:tcPr>
                </a:tc>
                <a:tc>
                  <a:txBody>
                    <a:bodyPr/>
                    <a:lstStyle/>
                    <a:p>
                      <a:r>
                        <a:rPr lang="en-US" sz="900" b="0" dirty="0">
                          <a:latin typeface="Arial" panose="020B0604020202020204" pitchFamily="34" charset="0"/>
                          <a:cs typeface="Arial" panose="020B0604020202020204" pitchFamily="34" charset="0"/>
                        </a:rPr>
                        <a:t>Yes (n = 82)</a:t>
                      </a:r>
                    </a:p>
                  </a:txBody>
                  <a:tcPr marL="68580" marR="68580" marT="34290" marB="34290">
                    <a:lnT w="12700" cap="flat" cmpd="sng" algn="ctr">
                      <a:solidFill>
                        <a:srgbClr val="00447C"/>
                      </a:solidFill>
                      <a:prstDash val="solid"/>
                      <a:round/>
                      <a:headEnd type="none" w="med" len="med"/>
                      <a:tailEnd type="none" w="med" len="med"/>
                    </a:lnT>
                    <a:solidFill>
                      <a:srgbClr val="CCDAE5"/>
                    </a:solidFill>
                  </a:tcPr>
                </a:tc>
                <a:tc>
                  <a:txBody>
                    <a:bodyPr/>
                    <a:lstStyle/>
                    <a:p>
                      <a:pPr algn="ctr"/>
                      <a:r>
                        <a:rPr lang="en-US" sz="900" dirty="0">
                          <a:latin typeface="Arial" panose="020B0604020202020204" pitchFamily="34" charset="0"/>
                          <a:cs typeface="Arial" panose="020B0604020202020204" pitchFamily="34" charset="0"/>
                        </a:rPr>
                        <a:t>17/43</a:t>
                      </a:r>
                    </a:p>
                  </a:txBody>
                  <a:tcPr marL="68580" marR="68580" marT="34290" marB="34290">
                    <a:lnT w="12700" cap="flat" cmpd="sng" algn="ctr">
                      <a:solidFill>
                        <a:srgbClr val="00447C"/>
                      </a:solidFill>
                      <a:prstDash val="solid"/>
                      <a:round/>
                      <a:headEnd type="none" w="med" len="med"/>
                      <a:tailEnd type="none" w="med" len="med"/>
                    </a:lnT>
                    <a:solidFill>
                      <a:srgbClr val="CCDAE5"/>
                    </a:solidFill>
                  </a:tcPr>
                </a:tc>
                <a:tc>
                  <a:txBody>
                    <a:bodyPr/>
                    <a:lstStyle/>
                    <a:p>
                      <a:pPr algn="ctr"/>
                      <a:r>
                        <a:rPr lang="en-US" sz="900" dirty="0">
                          <a:latin typeface="Arial" panose="020B0604020202020204" pitchFamily="34" charset="0"/>
                          <a:cs typeface="Arial" panose="020B0604020202020204" pitchFamily="34" charset="0"/>
                        </a:rPr>
                        <a:t>22/39</a:t>
                      </a:r>
                    </a:p>
                  </a:txBody>
                  <a:tcPr marL="68580" marR="68580" marT="34290" marB="34290">
                    <a:lnT w="12700" cap="flat" cmpd="sng" algn="ctr">
                      <a:solidFill>
                        <a:srgbClr val="00447C"/>
                      </a:solidFill>
                      <a:prstDash val="solid"/>
                      <a:round/>
                      <a:headEnd type="none" w="med" len="med"/>
                      <a:tailEnd type="none" w="med" len="med"/>
                    </a:lnT>
                    <a:solidFill>
                      <a:srgbClr val="CCDAE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latin typeface="Arial" panose="020B0604020202020204" pitchFamily="34" charset="0"/>
                          <a:cs typeface="Arial" panose="020B0604020202020204" pitchFamily="34" charset="0"/>
                        </a:rPr>
                        <a:t>NR (23.8-NE)</a:t>
                      </a:r>
                    </a:p>
                  </a:txBody>
                  <a:tcPr marL="68580" marR="68580" marT="34290" marB="34290">
                    <a:lnT w="12700" cap="flat" cmpd="sng" algn="ctr">
                      <a:solidFill>
                        <a:srgbClr val="00447C"/>
                      </a:solidFill>
                      <a:prstDash val="solid"/>
                      <a:round/>
                      <a:headEnd type="none" w="med" len="med"/>
                      <a:tailEnd type="none" w="med" len="med"/>
                    </a:lnT>
                    <a:solidFill>
                      <a:srgbClr val="CCDAE5"/>
                    </a:solidFill>
                  </a:tcPr>
                </a:tc>
                <a:tc>
                  <a:txBody>
                    <a:bodyPr/>
                    <a:lstStyle/>
                    <a:p>
                      <a:pPr algn="ctr"/>
                      <a:r>
                        <a:rPr lang="en-US" sz="900" dirty="0">
                          <a:latin typeface="Arial" panose="020B0604020202020204" pitchFamily="34" charset="0"/>
                          <a:cs typeface="Arial" panose="020B0604020202020204" pitchFamily="34" charset="0"/>
                        </a:rPr>
                        <a:t>25.1 (12.6-NE)</a:t>
                      </a:r>
                    </a:p>
                  </a:txBody>
                  <a:tcPr marL="68580" marR="68580" marT="34290" marB="34290">
                    <a:lnT w="12700" cap="flat" cmpd="sng" algn="ctr">
                      <a:solidFill>
                        <a:srgbClr val="00447C"/>
                      </a:solidFill>
                      <a:prstDash val="solid"/>
                      <a:round/>
                      <a:headEnd type="none" w="med" len="med"/>
                      <a:tailEnd type="none" w="med" len="med"/>
                    </a:lnT>
                    <a:solidFill>
                      <a:srgbClr val="CCDAE5"/>
                    </a:solidFill>
                  </a:tcPr>
                </a:tc>
                <a:tc>
                  <a:txBody>
                    <a:bodyPr/>
                    <a:lstStyle/>
                    <a:p>
                      <a:pPr algn="ctr"/>
                      <a:endParaRPr lang="en-US" sz="900" dirty="0">
                        <a:latin typeface="Arial" panose="020B0604020202020204" pitchFamily="34" charset="0"/>
                        <a:cs typeface="Arial" panose="020B0604020202020204" pitchFamily="34" charset="0"/>
                      </a:endParaRPr>
                    </a:p>
                  </a:txBody>
                  <a:tcPr marL="68580" marR="68580" marT="34290" marB="34290">
                    <a:lnT w="12700" cap="flat" cmpd="sng" algn="ctr">
                      <a:solidFill>
                        <a:srgbClr val="00447C"/>
                      </a:solidFill>
                      <a:prstDash val="solid"/>
                      <a:round/>
                      <a:headEnd type="none" w="med" len="med"/>
                      <a:tailEnd type="none" w="med" len="med"/>
                    </a:lnT>
                    <a:solidFill>
                      <a:srgbClr val="CCDAE5"/>
                    </a:solidFill>
                  </a:tcPr>
                </a:tc>
                <a:tc>
                  <a:txBody>
                    <a:bodyPr/>
                    <a:lstStyle/>
                    <a:p>
                      <a:pPr algn="ctr"/>
                      <a:r>
                        <a:rPr lang="en-US" sz="900" dirty="0">
                          <a:latin typeface="Arial" panose="020B0604020202020204" pitchFamily="34" charset="0"/>
                          <a:cs typeface="Arial" panose="020B0604020202020204" pitchFamily="34" charset="0"/>
                        </a:rPr>
                        <a:t>0.54 (0.29-1.03)</a:t>
                      </a:r>
                    </a:p>
                  </a:txBody>
                  <a:tcPr marL="68580" marR="68580" marT="34290" marB="34290">
                    <a:lnT w="12700" cap="flat" cmpd="sng" algn="ctr">
                      <a:solidFill>
                        <a:srgbClr val="00447C"/>
                      </a:solidFill>
                      <a:prstDash val="solid"/>
                      <a:round/>
                      <a:headEnd type="none" w="med" len="med"/>
                      <a:tailEnd type="none" w="med" len="med"/>
                    </a:lnT>
                    <a:solidFill>
                      <a:srgbClr val="CCDAE5"/>
                    </a:solidFill>
                  </a:tcPr>
                </a:tc>
                <a:extLst>
                  <a:ext uri="{0D108BD9-81ED-4DB2-BD59-A6C34878D82A}">
                    <a16:rowId xmlns:a16="http://schemas.microsoft.com/office/drawing/2014/main" val="2530329639"/>
                  </a:ext>
                </a:extLst>
              </a:tr>
              <a:tr h="247184">
                <a:tc vMerge="1">
                  <a:txBody>
                    <a:bodyPr/>
                    <a:lstStyle/>
                    <a:p>
                      <a:endParaRPr lang="en-US" sz="1200" dirty="0">
                        <a:latin typeface="Arial" panose="020B0604020202020204" pitchFamily="34" charset="0"/>
                        <a:cs typeface="Arial" panose="020B0604020202020204" pitchFamily="34" charset="0"/>
                      </a:endParaRPr>
                    </a:p>
                  </a:txBody>
                  <a:tcPr/>
                </a:tc>
                <a:tc>
                  <a:txBody>
                    <a:bodyPr/>
                    <a:lstStyle/>
                    <a:p>
                      <a:r>
                        <a:rPr lang="en-US" sz="900" b="0" dirty="0">
                          <a:latin typeface="Arial" panose="020B0604020202020204" pitchFamily="34" charset="0"/>
                          <a:cs typeface="Arial" panose="020B0604020202020204" pitchFamily="34" charset="0"/>
                        </a:rPr>
                        <a:t>No (n = 442)</a:t>
                      </a:r>
                    </a:p>
                  </a:txBody>
                  <a:tcPr marL="68580" marR="68580" marT="34290" marB="34290">
                    <a:lnB w="12700" cap="flat" cmpd="sng" algn="ctr">
                      <a:solidFill>
                        <a:srgbClr val="00447C"/>
                      </a:solidFill>
                      <a:prstDash val="solid"/>
                      <a:round/>
                      <a:headEnd type="none" w="med" len="med"/>
                      <a:tailEnd type="none" w="med" len="med"/>
                    </a:lnB>
                    <a:noFill/>
                  </a:tcPr>
                </a:tc>
                <a:tc>
                  <a:txBody>
                    <a:bodyPr/>
                    <a:lstStyle/>
                    <a:p>
                      <a:pPr algn="ctr"/>
                      <a:r>
                        <a:rPr lang="en-US" sz="900" dirty="0">
                          <a:latin typeface="Arial" panose="020B0604020202020204" pitchFamily="34" charset="0"/>
                          <a:cs typeface="Arial" panose="020B0604020202020204" pitchFamily="34" charset="0"/>
                        </a:rPr>
                        <a:t>55/218</a:t>
                      </a:r>
                    </a:p>
                  </a:txBody>
                  <a:tcPr marL="68580" marR="68580" marT="34290" marB="34290">
                    <a:lnB w="12700" cap="flat" cmpd="sng" algn="ctr">
                      <a:solidFill>
                        <a:srgbClr val="00447C"/>
                      </a:solidFill>
                      <a:prstDash val="solid"/>
                      <a:round/>
                      <a:headEnd type="none" w="med" len="med"/>
                      <a:tailEnd type="none" w="med" len="med"/>
                    </a:lnB>
                    <a:noFill/>
                  </a:tcPr>
                </a:tc>
                <a:tc>
                  <a:txBody>
                    <a:bodyPr/>
                    <a:lstStyle/>
                    <a:p>
                      <a:pPr algn="ctr"/>
                      <a:r>
                        <a:rPr lang="en-US" sz="900" dirty="0">
                          <a:latin typeface="Arial" panose="020B0604020202020204" pitchFamily="34" charset="0"/>
                          <a:cs typeface="Arial" panose="020B0604020202020204" pitchFamily="34" charset="0"/>
                        </a:rPr>
                        <a:t>75/224</a:t>
                      </a:r>
                    </a:p>
                  </a:txBody>
                  <a:tcPr marL="68580" marR="68580" marT="34290" marB="34290">
                    <a:lnB w="12700" cap="flat" cmpd="sng" algn="ctr">
                      <a:solidFill>
                        <a:srgbClr val="00447C"/>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latin typeface="Arial" panose="020B0604020202020204" pitchFamily="34" charset="0"/>
                          <a:cs typeface="Arial" panose="020B0604020202020204" pitchFamily="34" charset="0"/>
                        </a:rPr>
                        <a:t>NR (40.5-NE)</a:t>
                      </a:r>
                    </a:p>
                  </a:txBody>
                  <a:tcPr marL="68580" marR="68580" marT="34290" marB="34290">
                    <a:lnB w="12700" cap="flat" cmpd="sng" algn="ctr">
                      <a:solidFill>
                        <a:srgbClr val="00447C"/>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latin typeface="Arial" panose="020B0604020202020204" pitchFamily="34" charset="0"/>
                          <a:cs typeface="Arial" panose="020B0604020202020204" pitchFamily="34" charset="0"/>
                        </a:rPr>
                        <a:t>NR (37.7-NE)</a:t>
                      </a:r>
                    </a:p>
                  </a:txBody>
                  <a:tcPr marL="68580" marR="68580" marT="34290" marB="34290">
                    <a:lnB w="12700" cap="flat" cmpd="sng" algn="ctr">
                      <a:solidFill>
                        <a:srgbClr val="00447C"/>
                      </a:solidFill>
                      <a:prstDash val="solid"/>
                      <a:round/>
                      <a:headEnd type="none" w="med" len="med"/>
                      <a:tailEnd type="none" w="med" len="med"/>
                    </a:lnB>
                    <a:noFill/>
                  </a:tcPr>
                </a:tc>
                <a:tc>
                  <a:txBody>
                    <a:bodyPr/>
                    <a:lstStyle/>
                    <a:p>
                      <a:pPr algn="ctr"/>
                      <a:endParaRPr lang="en-US" sz="900" dirty="0">
                        <a:latin typeface="Arial" panose="020B0604020202020204" pitchFamily="34" charset="0"/>
                        <a:cs typeface="Arial" panose="020B0604020202020204" pitchFamily="34" charset="0"/>
                      </a:endParaRPr>
                    </a:p>
                  </a:txBody>
                  <a:tcPr marL="68580" marR="68580" marT="34290" marB="34290">
                    <a:lnB w="12700" cap="flat" cmpd="sng" algn="ctr">
                      <a:solidFill>
                        <a:srgbClr val="00447C"/>
                      </a:solidFill>
                      <a:prstDash val="solid"/>
                      <a:round/>
                      <a:headEnd type="none" w="med" len="med"/>
                      <a:tailEnd type="none" w="med" len="med"/>
                    </a:lnB>
                    <a:noFill/>
                  </a:tcPr>
                </a:tc>
                <a:tc>
                  <a:txBody>
                    <a:bodyPr/>
                    <a:lstStyle/>
                    <a:p>
                      <a:pPr algn="ctr"/>
                      <a:r>
                        <a:rPr lang="en-US" sz="900" dirty="0">
                          <a:latin typeface="Arial" panose="020B0604020202020204" pitchFamily="34" charset="0"/>
                          <a:cs typeface="Arial" panose="020B0604020202020204" pitchFamily="34" charset="0"/>
                        </a:rPr>
                        <a:t>0.66 (</a:t>
                      </a:r>
                      <a:r>
                        <a:rPr lang="en-US" sz="900" dirty="0">
                          <a:solidFill>
                            <a:schemeClr val="tx1"/>
                          </a:solidFill>
                          <a:latin typeface="Arial" panose="020B0604020202020204" pitchFamily="34" charset="0"/>
                          <a:cs typeface="Arial" panose="020B0604020202020204" pitchFamily="34" charset="0"/>
                        </a:rPr>
                        <a:t>0.47-0.94</a:t>
                      </a:r>
                      <a:r>
                        <a:rPr lang="en-US" sz="900" dirty="0">
                          <a:latin typeface="Arial" panose="020B0604020202020204" pitchFamily="34" charset="0"/>
                          <a:cs typeface="Arial" panose="020B0604020202020204" pitchFamily="34" charset="0"/>
                        </a:rPr>
                        <a:t>)</a:t>
                      </a:r>
                    </a:p>
                  </a:txBody>
                  <a:tcPr marL="68580" marR="68580" marT="34290" marB="34290">
                    <a:lnB w="12700" cap="flat" cmpd="sng" algn="ctr">
                      <a:solidFill>
                        <a:srgbClr val="00447C"/>
                      </a:solidFill>
                      <a:prstDash val="solid"/>
                      <a:round/>
                      <a:headEnd type="none" w="med" len="med"/>
                      <a:tailEnd type="none" w="med" len="med"/>
                    </a:lnB>
                    <a:noFill/>
                  </a:tcPr>
                </a:tc>
                <a:extLst>
                  <a:ext uri="{0D108BD9-81ED-4DB2-BD59-A6C34878D82A}">
                    <a16:rowId xmlns:a16="http://schemas.microsoft.com/office/drawing/2014/main" val="3087853014"/>
                  </a:ext>
                </a:extLst>
              </a:tr>
            </a:tbl>
          </a:graphicData>
        </a:graphic>
      </p:graphicFrame>
      <p:sp>
        <p:nvSpPr>
          <p:cNvPr id="2" name="Title 1">
            <a:extLst>
              <a:ext uri="{FF2B5EF4-FFF2-40B4-BE49-F238E27FC236}">
                <a16:creationId xmlns:a16="http://schemas.microsoft.com/office/drawing/2014/main" id="{844D58C1-2463-42D7-99E4-0465364458E2}"/>
              </a:ext>
            </a:extLst>
          </p:cNvPr>
          <p:cNvSpPr>
            <a:spLocks noGrp="1"/>
          </p:cNvSpPr>
          <p:nvPr>
            <p:ph type="ctrTitle"/>
          </p:nvPr>
        </p:nvSpPr>
        <p:spPr>
          <a:xfrm>
            <a:off x="367118" y="477695"/>
            <a:ext cx="8409765" cy="432000"/>
          </a:xfrm>
        </p:spPr>
        <p:txBody>
          <a:bodyPr/>
          <a:lstStyle/>
          <a:p>
            <a:r>
              <a:rPr lang="en-US" sz="2100" dirty="0">
                <a:solidFill>
                  <a:schemeClr val="tx1"/>
                </a:solidFill>
              </a:rPr>
              <a:t>Overall Survival by Subgroups</a:t>
            </a:r>
          </a:p>
        </p:txBody>
      </p:sp>
      <p:sp>
        <p:nvSpPr>
          <p:cNvPr id="6" name="TextBox 5">
            <a:extLst>
              <a:ext uri="{FF2B5EF4-FFF2-40B4-BE49-F238E27FC236}">
                <a16:creationId xmlns:a16="http://schemas.microsoft.com/office/drawing/2014/main" id="{DB625FC5-982E-4A0B-9354-782D1B9E3A3C}"/>
              </a:ext>
            </a:extLst>
          </p:cNvPr>
          <p:cNvSpPr txBox="1"/>
          <p:nvPr/>
        </p:nvSpPr>
        <p:spPr>
          <a:xfrm>
            <a:off x="94149" y="4220138"/>
            <a:ext cx="8823832" cy="276999"/>
          </a:xfrm>
          <a:prstGeom prst="rect">
            <a:avLst/>
          </a:prstGeom>
          <a:noFill/>
        </p:spPr>
        <p:txBody>
          <a:bodyPr wrap="square" rtlCol="0" anchor="b">
            <a:spAutoFit/>
          </a:bodyPr>
          <a:lstStyle/>
          <a:p>
            <a:r>
              <a:rPr lang="en-US" sz="600" dirty="0">
                <a:solidFill>
                  <a:prstClr val="black"/>
                </a:solidFill>
                <a:latin typeface="Arial" panose="020B0604020202020204" pitchFamily="34" charset="0"/>
                <a:cs typeface="Arial" panose="020B0604020202020204" pitchFamily="34" charset="0"/>
              </a:rPr>
              <a:t>BM, brain metastases; NE, not estimable; NR, not reached; OS, overall survival; T-DM1, t</a:t>
            </a:r>
            <a:r>
              <a:rPr lang="en-US" sz="600" dirty="0">
                <a:latin typeface="Arial" panose="020B0604020202020204" pitchFamily="34" charset="0"/>
                <a:cs typeface="Arial" panose="020B0604020202020204" pitchFamily="34" charset="0"/>
                <a:sym typeface="Arial Narrow"/>
              </a:rPr>
              <a:t>rastuzumab emtansine; </a:t>
            </a:r>
            <a:r>
              <a:rPr lang="en-US" sz="600" dirty="0">
                <a:solidFill>
                  <a:prstClr val="black"/>
                </a:solidFill>
                <a:latin typeface="Arial" panose="020B0604020202020204" pitchFamily="34" charset="0"/>
                <a:cs typeface="Arial" panose="020B0604020202020204" pitchFamily="34" charset="0"/>
              </a:rPr>
              <a:t>T-DXd, </a:t>
            </a:r>
            <a:r>
              <a:rPr lang="en-US" sz="600" dirty="0">
                <a:solidFill>
                  <a:prstClr val="black"/>
                </a:solidFill>
                <a:latin typeface="Arial" panose="020B0604020202020204" pitchFamily="34" charset="0"/>
                <a:cs typeface="Arial" panose="020B0604020202020204" pitchFamily="34" charset="0"/>
                <a:sym typeface="Arial Narrow"/>
              </a:rPr>
              <a:t>t</a:t>
            </a:r>
            <a:r>
              <a:rPr lang="en-US" sz="600" dirty="0">
                <a:latin typeface="Arial" panose="020B0604020202020204" pitchFamily="34" charset="0"/>
                <a:cs typeface="Arial" panose="020B0604020202020204" pitchFamily="34" charset="0"/>
                <a:sym typeface="Arial Narrow"/>
              </a:rPr>
              <a:t>rastuzumab deruxtecan</a:t>
            </a:r>
            <a:r>
              <a:rPr lang="en-US" sz="600" dirty="0">
                <a:solidFill>
                  <a:prstClr val="black"/>
                </a:solidFill>
                <a:latin typeface="Arial" panose="020B0604020202020204" pitchFamily="34" charset="0"/>
                <a:cs typeface="Arial" panose="020B0604020202020204" pitchFamily="34" charset="0"/>
              </a:rPr>
              <a:t>.</a:t>
            </a:r>
          </a:p>
          <a:p>
            <a:r>
              <a:rPr lang="en-US" sz="600" baseline="30000" dirty="0" err="1">
                <a:latin typeface="Arial" panose="020B0604020202020204" pitchFamily="34" charset="0"/>
                <a:cs typeface="Arial" panose="020B0604020202020204" pitchFamily="34" charset="0"/>
              </a:rPr>
              <a:t>a</a:t>
            </a:r>
            <a:r>
              <a:rPr lang="en-US" sz="600" dirty="0" err="1">
                <a:latin typeface="Arial" panose="020B0604020202020204" pitchFamily="34" charset="0"/>
                <a:cs typeface="Arial" panose="020B0604020202020204" pitchFamily="34" charset="0"/>
              </a:rPr>
              <a:t>Prior</a:t>
            </a:r>
            <a:r>
              <a:rPr lang="en-US" sz="600" dirty="0">
                <a:latin typeface="Arial" panose="020B0604020202020204" pitchFamily="34" charset="0"/>
                <a:cs typeface="Arial" panose="020B0604020202020204" pitchFamily="34" charset="0"/>
              </a:rPr>
              <a:t> lines of systemic therapy not including hormone therapy.</a:t>
            </a:r>
          </a:p>
        </p:txBody>
      </p:sp>
      <p:sp>
        <p:nvSpPr>
          <p:cNvPr id="8" name="TextBox 7">
            <a:extLst>
              <a:ext uri="{FF2B5EF4-FFF2-40B4-BE49-F238E27FC236}">
                <a16:creationId xmlns:a16="http://schemas.microsoft.com/office/drawing/2014/main" id="{87B66077-E505-DA06-4315-94387E03BA4F}"/>
              </a:ext>
            </a:extLst>
          </p:cNvPr>
          <p:cNvSpPr txBox="1"/>
          <p:nvPr/>
        </p:nvSpPr>
        <p:spPr>
          <a:xfrm>
            <a:off x="6325432" y="4633740"/>
            <a:ext cx="2042327" cy="230832"/>
          </a:xfrm>
          <a:prstGeom prst="rect">
            <a:avLst/>
          </a:prstGeom>
          <a:noFill/>
        </p:spPr>
        <p:txBody>
          <a:bodyPr wrap="square" rtlCol="0">
            <a:spAutoFit/>
          </a:bodyPr>
          <a:lstStyle/>
          <a:p>
            <a:pPr algn="ctr"/>
            <a:r>
              <a:rPr lang="en-US" sz="900" b="1" dirty="0">
                <a:solidFill>
                  <a:srgbClr val="002985"/>
                </a:solidFill>
                <a:latin typeface="Arial" panose="020B0604020202020204" pitchFamily="34" charset="0"/>
                <a:cs typeface="Arial" panose="020B0604020202020204" pitchFamily="34" charset="0"/>
              </a:rPr>
              <a:t>T-DXd better  </a:t>
            </a:r>
            <a:r>
              <a:rPr lang="en-US" sz="900" b="1" dirty="0">
                <a:solidFill>
                  <a:srgbClr val="828283"/>
                </a:solidFill>
                <a:latin typeface="Arial" panose="020B0604020202020204" pitchFamily="34" charset="0"/>
                <a:cs typeface="Arial" panose="020B0604020202020204" pitchFamily="34" charset="0"/>
              </a:rPr>
              <a:t>T-DM1 better</a:t>
            </a:r>
          </a:p>
        </p:txBody>
      </p:sp>
      <p:graphicFrame>
        <p:nvGraphicFramePr>
          <p:cNvPr id="3" name="Chart 2">
            <a:extLst>
              <a:ext uri="{FF2B5EF4-FFF2-40B4-BE49-F238E27FC236}">
                <a16:creationId xmlns:a16="http://schemas.microsoft.com/office/drawing/2014/main" id="{E91F4AF7-47BE-EA91-861C-325BC10F9600}"/>
              </a:ext>
            </a:extLst>
          </p:cNvPr>
          <p:cNvGraphicFramePr>
            <a:graphicFrameLocks/>
          </p:cNvGraphicFramePr>
          <p:nvPr/>
        </p:nvGraphicFramePr>
        <p:xfrm>
          <a:off x="5840948" y="284096"/>
          <a:ext cx="2042328" cy="4211704"/>
        </p:xfrm>
        <a:graphic>
          <a:graphicData uri="http://schemas.openxmlformats.org/drawingml/2006/chart">
            <c:chart xmlns:c="http://schemas.openxmlformats.org/drawingml/2006/chart" xmlns:r="http://schemas.openxmlformats.org/officeDocument/2006/relationships" r:id="rId3"/>
          </a:graphicData>
        </a:graphic>
      </p:graphicFrame>
      <p:cxnSp>
        <p:nvCxnSpPr>
          <p:cNvPr id="9" name="Straight Connector 8">
            <a:extLst>
              <a:ext uri="{FF2B5EF4-FFF2-40B4-BE49-F238E27FC236}">
                <a16:creationId xmlns:a16="http://schemas.microsoft.com/office/drawing/2014/main" id="{3E5961FD-C319-411F-F203-0681873AB40D}"/>
              </a:ext>
            </a:extLst>
          </p:cNvPr>
          <p:cNvCxnSpPr>
            <a:cxnSpLocks/>
          </p:cNvCxnSpPr>
          <p:nvPr/>
        </p:nvCxnSpPr>
        <p:spPr>
          <a:xfrm flipH="1" flipV="1">
            <a:off x="7364784" y="1493597"/>
            <a:ext cx="4763" cy="2782239"/>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7" name="Straight Arrow Connector 6">
            <a:extLst>
              <a:ext uri="{FF2B5EF4-FFF2-40B4-BE49-F238E27FC236}">
                <a16:creationId xmlns:a16="http://schemas.microsoft.com/office/drawing/2014/main" id="{3C6C2AC5-B653-60A5-5AEE-873439BDA130}"/>
              </a:ext>
            </a:extLst>
          </p:cNvPr>
          <p:cNvCxnSpPr>
            <a:cxnSpLocks/>
          </p:cNvCxnSpPr>
          <p:nvPr/>
        </p:nvCxnSpPr>
        <p:spPr>
          <a:xfrm>
            <a:off x="7374665" y="4600718"/>
            <a:ext cx="447568"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E3EA1E92-E3F0-673C-7A5C-73DB1DF977AF}"/>
              </a:ext>
            </a:extLst>
          </p:cNvPr>
          <p:cNvCxnSpPr>
            <a:cxnSpLocks/>
          </p:cNvCxnSpPr>
          <p:nvPr/>
        </p:nvCxnSpPr>
        <p:spPr>
          <a:xfrm flipH="1">
            <a:off x="6862112" y="4600718"/>
            <a:ext cx="44577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2D3A5BFE-CCC7-A0E4-9D65-88593F258105}"/>
              </a:ext>
            </a:extLst>
          </p:cNvPr>
          <p:cNvSpPr txBox="1"/>
          <p:nvPr/>
        </p:nvSpPr>
        <p:spPr>
          <a:xfrm>
            <a:off x="7154208" y="4430855"/>
            <a:ext cx="474096" cy="207749"/>
          </a:xfrm>
          <a:prstGeom prst="rect">
            <a:avLst/>
          </a:prstGeom>
          <a:noFill/>
        </p:spPr>
        <p:txBody>
          <a:bodyPr wrap="square" rtlCol="0">
            <a:spAutoFit/>
          </a:bodyPr>
          <a:lstStyle/>
          <a:p>
            <a:r>
              <a:rPr lang="en-US" sz="750" dirty="0">
                <a:latin typeface="Arial" panose="020B0604020202020204" pitchFamily="34" charset="0"/>
                <a:cs typeface="Arial" panose="020B0604020202020204" pitchFamily="34" charset="0"/>
              </a:rPr>
              <a:t>(log</a:t>
            </a:r>
            <a:r>
              <a:rPr lang="en-US" sz="750" baseline="-25000" dirty="0">
                <a:latin typeface="Arial" panose="020B0604020202020204" pitchFamily="34" charset="0"/>
                <a:cs typeface="Arial" panose="020B0604020202020204" pitchFamily="34" charset="0"/>
              </a:rPr>
              <a:t>10</a:t>
            </a:r>
            <a:r>
              <a:rPr lang="en-US" sz="750" dirty="0">
                <a:latin typeface="Arial" panose="020B0604020202020204" pitchFamily="34" charset="0"/>
                <a:cs typeface="Arial" panose="020B0604020202020204" pitchFamily="34" charset="0"/>
              </a:rPr>
              <a:t>)</a:t>
            </a:r>
            <a:endParaRPr lang="en-GB" sz="750" dirty="0">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6D2EE161-609B-FBAD-DD3E-D6EBD4B8E716}"/>
              </a:ext>
            </a:extLst>
          </p:cNvPr>
          <p:cNvSpPr txBox="1"/>
          <p:nvPr/>
        </p:nvSpPr>
        <p:spPr>
          <a:xfrm>
            <a:off x="7699963" y="4313803"/>
            <a:ext cx="310800" cy="230832"/>
          </a:xfrm>
          <a:prstGeom prst="rect">
            <a:avLst/>
          </a:prstGeom>
          <a:noFill/>
        </p:spPr>
        <p:txBody>
          <a:bodyPr wrap="square" rtlCol="0">
            <a:spAutoFit/>
          </a:bodyPr>
          <a:lstStyle/>
          <a:p>
            <a:r>
              <a:rPr lang="en-US" sz="900" b="1" dirty="0">
                <a:latin typeface="Arial" panose="020B0604020202020204" pitchFamily="34" charset="0"/>
                <a:cs typeface="Arial" panose="020B0604020202020204" pitchFamily="34" charset="0"/>
              </a:rPr>
              <a:t>2</a:t>
            </a:r>
          </a:p>
        </p:txBody>
      </p:sp>
    </p:spTree>
    <p:extLst>
      <p:ext uri="{BB962C8B-B14F-4D97-AF65-F5344CB8AC3E}">
        <p14:creationId xmlns:p14="http://schemas.microsoft.com/office/powerpoint/2010/main" val="369731331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48018BAF-CA25-B2D8-82AA-E53FE153BA50}"/>
              </a:ext>
            </a:extLst>
          </p:cNvPr>
          <p:cNvSpPr txBox="1"/>
          <p:nvPr/>
        </p:nvSpPr>
        <p:spPr>
          <a:xfrm>
            <a:off x="3625703" y="4754025"/>
            <a:ext cx="2977116" cy="246221"/>
          </a:xfrm>
          <a:prstGeom prst="rect">
            <a:avLst/>
          </a:prstGeom>
          <a:noFill/>
        </p:spPr>
        <p:txBody>
          <a:bodyPr wrap="square" rtlCol="0">
            <a:spAutoFit/>
          </a:bodyPr>
          <a:lstStyle/>
          <a:p>
            <a:r>
              <a:rPr lang="en-US" sz="1000" dirty="0">
                <a:solidFill>
                  <a:srgbClr val="333333"/>
                </a:solidFill>
                <a:effectLst/>
                <a:latin typeface="+mn-lt"/>
              </a:rPr>
              <a:t>Watt, et al. Breast Cancer Res 24, 17 (2022)</a:t>
            </a:r>
          </a:p>
        </p:txBody>
      </p:sp>
      <p:pic>
        <p:nvPicPr>
          <p:cNvPr id="12" name="Picture 11">
            <a:extLst>
              <a:ext uri="{FF2B5EF4-FFF2-40B4-BE49-F238E27FC236}">
                <a16:creationId xmlns:a16="http://schemas.microsoft.com/office/drawing/2014/main" id="{94787ACB-6C21-7AC6-F020-7E9239406E4F}"/>
              </a:ext>
            </a:extLst>
          </p:cNvPr>
          <p:cNvPicPr>
            <a:picLocks noChangeAspect="1"/>
          </p:cNvPicPr>
          <p:nvPr/>
        </p:nvPicPr>
        <p:blipFill>
          <a:blip r:embed="rId3"/>
          <a:stretch>
            <a:fillRect/>
          </a:stretch>
        </p:blipFill>
        <p:spPr>
          <a:xfrm>
            <a:off x="2823771" y="56402"/>
            <a:ext cx="5225985" cy="4248801"/>
          </a:xfrm>
          <a:prstGeom prst="rect">
            <a:avLst/>
          </a:prstGeom>
        </p:spPr>
      </p:pic>
      <p:graphicFrame>
        <p:nvGraphicFramePr>
          <p:cNvPr id="14" name="Table 13">
            <a:extLst>
              <a:ext uri="{FF2B5EF4-FFF2-40B4-BE49-F238E27FC236}">
                <a16:creationId xmlns:a16="http://schemas.microsoft.com/office/drawing/2014/main" id="{3974BB76-1533-C813-AAAA-1277CE254466}"/>
              </a:ext>
            </a:extLst>
          </p:cNvPr>
          <p:cNvGraphicFramePr>
            <a:graphicFrameLocks noGrp="1"/>
          </p:cNvGraphicFramePr>
          <p:nvPr>
            <p:extLst>
              <p:ext uri="{D42A27DB-BD31-4B8C-83A1-F6EECF244321}">
                <p14:modId xmlns:p14="http://schemas.microsoft.com/office/powerpoint/2010/main" val="848901168"/>
              </p:ext>
            </p:extLst>
          </p:nvPr>
        </p:nvGraphicFramePr>
        <p:xfrm>
          <a:off x="372360" y="526248"/>
          <a:ext cx="1917120" cy="2104381"/>
        </p:xfrm>
        <a:graphic>
          <a:graphicData uri="http://schemas.openxmlformats.org/drawingml/2006/table">
            <a:tbl>
              <a:tblPr firstRow="1" bandRow="1">
                <a:tableStyleId>{5C22544A-7EE6-4342-B048-85BDC9FD1C3A}</a:tableStyleId>
              </a:tblPr>
              <a:tblGrid>
                <a:gridCol w="1917120">
                  <a:extLst>
                    <a:ext uri="{9D8B030D-6E8A-4147-A177-3AD203B41FA5}">
                      <a16:colId xmlns:a16="http://schemas.microsoft.com/office/drawing/2014/main" val="3022109424"/>
                    </a:ext>
                  </a:extLst>
                </a:gridCol>
              </a:tblGrid>
              <a:tr h="251158">
                <a:tc>
                  <a:txBody>
                    <a:bodyPr/>
                    <a:lstStyle/>
                    <a:p>
                      <a:pPr algn="ctr"/>
                      <a:r>
                        <a:rPr lang="en-US" sz="1400" dirty="0">
                          <a:solidFill>
                            <a:schemeClr val="tx1"/>
                          </a:solidFill>
                        </a:rPr>
                        <a:t>MOA</a:t>
                      </a:r>
                    </a:p>
                  </a:txBody>
                  <a:tcPr/>
                </a:tc>
                <a:extLst>
                  <a:ext uri="{0D108BD9-81ED-4DB2-BD59-A6C34878D82A}">
                    <a16:rowId xmlns:a16="http://schemas.microsoft.com/office/drawing/2014/main" val="2913958007"/>
                  </a:ext>
                </a:extLst>
              </a:tr>
              <a:tr h="359168">
                <a:tc>
                  <a:txBody>
                    <a:bodyPr/>
                    <a:lstStyle/>
                    <a:p>
                      <a:r>
                        <a:rPr lang="en-US" sz="1000" dirty="0"/>
                        <a:t>CDK 4/6 inhibitors prevent RB phosphorylation:</a:t>
                      </a:r>
                    </a:p>
                  </a:txBody>
                  <a:tcPr/>
                </a:tc>
                <a:extLst>
                  <a:ext uri="{0D108BD9-81ED-4DB2-BD59-A6C34878D82A}">
                    <a16:rowId xmlns:a16="http://schemas.microsoft.com/office/drawing/2014/main" val="699387246"/>
                  </a:ext>
                </a:extLst>
              </a:tr>
              <a:tr h="359168">
                <a:tc>
                  <a:txBody>
                    <a:bodyPr/>
                    <a:lstStyle/>
                    <a:p>
                      <a:pPr marL="228600" indent="-228600">
                        <a:buAutoNum type="arabicPeriod"/>
                      </a:pPr>
                      <a:r>
                        <a:rPr lang="en-US" sz="1000" dirty="0"/>
                        <a:t>Block CDK 4/6 binding to D cyclins</a:t>
                      </a:r>
                    </a:p>
                  </a:txBody>
                  <a:tcPr/>
                </a:tc>
                <a:extLst>
                  <a:ext uri="{0D108BD9-81ED-4DB2-BD59-A6C34878D82A}">
                    <a16:rowId xmlns:a16="http://schemas.microsoft.com/office/drawing/2014/main" val="3196708335"/>
                  </a:ext>
                </a:extLst>
              </a:tr>
              <a:tr h="497309">
                <a:tc>
                  <a:txBody>
                    <a:bodyPr/>
                    <a:lstStyle/>
                    <a:p>
                      <a:pPr marL="228600" indent="-228600">
                        <a:buFont typeface="+mj-lt"/>
                        <a:buAutoNum type="arabicPeriod" startAt="2"/>
                      </a:pPr>
                      <a:r>
                        <a:rPr lang="en-US" sz="1000" dirty="0"/>
                        <a:t>Increase cytosolic p21 which binds and inhibits Cyclin E/CDK2</a:t>
                      </a:r>
                    </a:p>
                  </a:txBody>
                  <a:tcPr/>
                </a:tc>
                <a:extLst>
                  <a:ext uri="{0D108BD9-81ED-4DB2-BD59-A6C34878D82A}">
                    <a16:rowId xmlns:a16="http://schemas.microsoft.com/office/drawing/2014/main" val="1209724953"/>
                  </a:ext>
                </a:extLst>
              </a:tr>
              <a:tr h="458461">
                <a:tc>
                  <a:txBody>
                    <a:bodyPr/>
                    <a:lstStyle/>
                    <a:p>
                      <a:pPr marL="228600" indent="-228600">
                        <a:buFont typeface="+mj-lt"/>
                        <a:buAutoNum type="arabicPeriod" startAt="3"/>
                      </a:pPr>
                      <a:r>
                        <a:rPr lang="en-US" sz="1000" dirty="0"/>
                        <a:t>Synergism with estrogen blockade</a:t>
                      </a:r>
                    </a:p>
                  </a:txBody>
                  <a:tcPr/>
                </a:tc>
                <a:extLst>
                  <a:ext uri="{0D108BD9-81ED-4DB2-BD59-A6C34878D82A}">
                    <a16:rowId xmlns:a16="http://schemas.microsoft.com/office/drawing/2014/main" val="578793596"/>
                  </a:ext>
                </a:extLst>
              </a:tr>
            </a:tbl>
          </a:graphicData>
        </a:graphic>
      </p:graphicFrame>
      <p:sp>
        <p:nvSpPr>
          <p:cNvPr id="2" name="TextBox 1">
            <a:extLst>
              <a:ext uri="{FF2B5EF4-FFF2-40B4-BE49-F238E27FC236}">
                <a16:creationId xmlns:a16="http://schemas.microsoft.com/office/drawing/2014/main" id="{2DDCECEA-1554-4613-D26C-16623F8A2B39}"/>
              </a:ext>
            </a:extLst>
          </p:cNvPr>
          <p:cNvSpPr txBox="1"/>
          <p:nvPr/>
        </p:nvSpPr>
        <p:spPr>
          <a:xfrm>
            <a:off x="515458" y="3418942"/>
            <a:ext cx="1774021" cy="646331"/>
          </a:xfrm>
          <a:prstGeom prst="rect">
            <a:avLst/>
          </a:prstGeom>
          <a:noFill/>
        </p:spPr>
        <p:txBody>
          <a:bodyPr wrap="square" rtlCol="0">
            <a:spAutoFit/>
          </a:bodyPr>
          <a:lstStyle/>
          <a:p>
            <a:pPr marL="171450" indent="-171450">
              <a:buFont typeface="Arial" panose="020B0604020202020204" pitchFamily="34" charset="0"/>
              <a:buChar char="•"/>
            </a:pPr>
            <a:r>
              <a:rPr lang="en-US" sz="1200" dirty="0"/>
              <a:t>Cytostatic</a:t>
            </a:r>
          </a:p>
          <a:p>
            <a:pPr marL="171450" indent="-171450">
              <a:buFont typeface="Arial" panose="020B0604020202020204" pitchFamily="34" charset="0"/>
              <a:buChar char="•"/>
            </a:pPr>
            <a:r>
              <a:rPr lang="en-US" sz="1200" dirty="0"/>
              <a:t>Induce senescence</a:t>
            </a:r>
          </a:p>
          <a:p>
            <a:pPr marL="171450" indent="-171450">
              <a:buFont typeface="Arial" panose="020B0604020202020204" pitchFamily="34" charset="0"/>
              <a:buChar char="•"/>
            </a:pPr>
            <a:r>
              <a:rPr lang="en-US" sz="1200" dirty="0"/>
              <a:t>Some apoptosis</a:t>
            </a:r>
          </a:p>
        </p:txBody>
      </p:sp>
      <p:sp>
        <p:nvSpPr>
          <p:cNvPr id="3" name="Arrow: Down 2">
            <a:extLst>
              <a:ext uri="{FF2B5EF4-FFF2-40B4-BE49-F238E27FC236}">
                <a16:creationId xmlns:a16="http://schemas.microsoft.com/office/drawing/2014/main" id="{A2E1EB67-62D6-B0DA-8BF7-1A0CCAE00322}"/>
              </a:ext>
            </a:extLst>
          </p:cNvPr>
          <p:cNvSpPr/>
          <p:nvPr/>
        </p:nvSpPr>
        <p:spPr bwMode="auto">
          <a:xfrm>
            <a:off x="1094244" y="2712378"/>
            <a:ext cx="308225" cy="583537"/>
          </a:xfrm>
          <a:prstGeom prst="downArrow">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Tree>
    <p:extLst>
      <p:ext uri="{BB962C8B-B14F-4D97-AF65-F5344CB8AC3E}">
        <p14:creationId xmlns:p14="http://schemas.microsoft.com/office/powerpoint/2010/main" val="24425849"/>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DB1B8B9-C365-1DFB-9A2E-AD61D3BB97CA}"/>
              </a:ext>
            </a:extLst>
          </p:cNvPr>
          <p:cNvSpPr/>
          <p:nvPr/>
        </p:nvSpPr>
        <p:spPr>
          <a:xfrm>
            <a:off x="359999" y="3762427"/>
            <a:ext cx="8409765" cy="642938"/>
          </a:xfrm>
          <a:prstGeom prst="rect">
            <a:avLst/>
          </a:prstGeom>
          <a:solidFill>
            <a:srgbClr val="EDF1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525" algn="ctr">
              <a:spcBef>
                <a:spcPts val="450"/>
              </a:spcBef>
            </a:pPr>
            <a:r>
              <a:rPr lang="en-US" sz="1350" b="1" dirty="0">
                <a:solidFill>
                  <a:schemeClr val="accent4"/>
                </a:solidFill>
                <a:latin typeface="Arial" panose="020B0604020202020204" pitchFamily="34" charset="0"/>
                <a:cs typeface="Arial" panose="020B0604020202020204" pitchFamily="34" charset="0"/>
              </a:rPr>
              <a:t>Updated results demonstrate </a:t>
            </a:r>
            <a:r>
              <a:rPr lang="en-US" sz="1800" b="1" dirty="0">
                <a:solidFill>
                  <a:schemeClr val="accent4"/>
                </a:solidFill>
                <a:latin typeface="Arial" panose="020B0604020202020204" pitchFamily="34" charset="0"/>
                <a:cs typeface="Arial" panose="020B0604020202020204" pitchFamily="34" charset="0"/>
              </a:rPr>
              <a:t>rem</a:t>
            </a:r>
            <a:r>
              <a:rPr lang="en-US" sz="1350" b="1" dirty="0">
                <a:solidFill>
                  <a:schemeClr val="accent4"/>
                </a:solidFill>
                <a:latin typeface="Arial" panose="020B0604020202020204" pitchFamily="34" charset="0"/>
                <a:cs typeface="Arial" panose="020B0604020202020204" pitchFamily="34" charset="0"/>
              </a:rPr>
              <a:t>arkable OS and PFS benefit with T-DXd, further supporting the use of T-DXd as the second-line standard of care in patients with HER2-positive mBC</a:t>
            </a:r>
            <a:endParaRPr lang="en-US" sz="1200" strike="sngStrike" dirty="0">
              <a:solidFill>
                <a:schemeClr val="accent4"/>
              </a:solidFill>
              <a:latin typeface="Arial" panose="020B0604020202020204" pitchFamily="34" charset="0"/>
              <a:cs typeface="Arial" panose="020B0604020202020204" pitchFamily="34" charset="0"/>
            </a:endParaRPr>
          </a:p>
        </p:txBody>
      </p:sp>
      <p:sp>
        <p:nvSpPr>
          <p:cNvPr id="4" name="Text Placeholder 3">
            <a:extLst>
              <a:ext uri="{FF2B5EF4-FFF2-40B4-BE49-F238E27FC236}">
                <a16:creationId xmlns:a16="http://schemas.microsoft.com/office/drawing/2014/main" id="{5B26196B-FEF5-465A-945B-22B2FE2E9A0E}"/>
              </a:ext>
            </a:extLst>
          </p:cNvPr>
          <p:cNvSpPr>
            <a:spLocks noGrp="1"/>
          </p:cNvSpPr>
          <p:nvPr>
            <p:ph type="body" idx="1"/>
          </p:nvPr>
        </p:nvSpPr>
        <p:spPr>
          <a:xfrm>
            <a:off x="359999" y="976569"/>
            <a:ext cx="8668352" cy="2793575"/>
          </a:xfrm>
        </p:spPr>
        <p:txBody>
          <a:bodyPr/>
          <a:lstStyle/>
          <a:p>
            <a:pPr marL="223838" indent="-214313">
              <a:spcBef>
                <a:spcPts val="450"/>
              </a:spcBef>
              <a:buFont typeface="Arial" panose="020B0604020202020204" pitchFamily="34" charset="0"/>
              <a:buChar char="•"/>
            </a:pPr>
            <a:r>
              <a:rPr lang="en-US" sz="1350" b="1" dirty="0">
                <a:solidFill>
                  <a:schemeClr val="tx1"/>
                </a:solidFill>
              </a:rPr>
              <a:t>T-DXd demonstrated clinically meaningful and statistically significant improvement in OS over </a:t>
            </a:r>
            <a:br>
              <a:rPr lang="en-US" sz="1350" b="1" dirty="0">
                <a:solidFill>
                  <a:schemeClr val="tx1"/>
                </a:solidFill>
              </a:rPr>
            </a:br>
            <a:r>
              <a:rPr lang="en-US" sz="1350" b="1" dirty="0">
                <a:solidFill>
                  <a:schemeClr val="tx1"/>
                </a:solidFill>
              </a:rPr>
              <a:t>T-DM1, as well as continued PFS benefit, in patients previously treated with trastuzumab and a taxane</a:t>
            </a:r>
          </a:p>
          <a:p>
            <a:pPr marL="600075" lvl="1" indent="-257175">
              <a:spcBef>
                <a:spcPts val="450"/>
              </a:spcBef>
              <a:buFont typeface="Arial" panose="020B0604020202020204" pitchFamily="34" charset="0"/>
              <a:buChar char="•"/>
            </a:pPr>
            <a:r>
              <a:rPr lang="en-US" sz="1200" dirty="0">
                <a:solidFill>
                  <a:schemeClr val="tx1"/>
                </a:solidFill>
                <a:latin typeface="Arial" panose="020B0604020202020204" pitchFamily="34" charset="0"/>
                <a:cs typeface="Arial" panose="020B0604020202020204" pitchFamily="34" charset="0"/>
              </a:rPr>
              <a:t>T-DXd significantly reduced the risk of death by 36% (HR, 0.64)</a:t>
            </a:r>
          </a:p>
          <a:p>
            <a:pPr marL="600075" lvl="1" indent="-257175">
              <a:spcBef>
                <a:spcPts val="450"/>
              </a:spcBef>
              <a:buFont typeface="Arial" panose="020B0604020202020204" pitchFamily="34" charset="0"/>
              <a:buChar char="•"/>
            </a:pPr>
            <a:r>
              <a:rPr lang="en-US" sz="1200" dirty="0">
                <a:solidFill>
                  <a:schemeClr val="tx1"/>
                </a:solidFill>
                <a:latin typeface="Arial" panose="020B0604020202020204" pitchFamily="34" charset="0"/>
                <a:cs typeface="Arial" panose="020B0604020202020204" pitchFamily="34" charset="0"/>
              </a:rPr>
              <a:t>mPFS with T-DXd was 4 times longer than with T-DM1 (28.8 months vs 6.8 months)</a:t>
            </a:r>
          </a:p>
          <a:p>
            <a:pPr marL="600075" lvl="1" indent="-257175">
              <a:spcBef>
                <a:spcPts val="450"/>
              </a:spcBef>
              <a:buFont typeface="Arial" panose="020B0604020202020204" pitchFamily="34" charset="0"/>
              <a:buChar char="•"/>
            </a:pPr>
            <a:r>
              <a:rPr lang="en-US" sz="1200" dirty="0">
                <a:solidFill>
                  <a:schemeClr val="tx1"/>
                </a:solidFill>
                <a:latin typeface="Arial" panose="020B0604020202020204" pitchFamily="34" charset="0"/>
                <a:cs typeface="Arial" panose="020B0604020202020204" pitchFamily="34" charset="0"/>
              </a:rPr>
              <a:t>78.5% of patients experienced a confirmed objective response; 1 in 5 (21.1%) experienced a CR</a:t>
            </a:r>
          </a:p>
          <a:p>
            <a:pPr marL="223838" indent="-214313">
              <a:spcBef>
                <a:spcPts val="450"/>
              </a:spcBef>
              <a:buFont typeface="Arial" panose="020B0604020202020204" pitchFamily="34" charset="0"/>
              <a:buChar char="•"/>
            </a:pPr>
            <a:r>
              <a:rPr lang="en-US" sz="1350" b="1" dirty="0">
                <a:solidFill>
                  <a:schemeClr val="tx1"/>
                </a:solidFill>
              </a:rPr>
              <a:t>Consistent OS benefit was observed across key prespecified subgroups</a:t>
            </a:r>
          </a:p>
          <a:p>
            <a:pPr marL="223838" indent="-214313">
              <a:spcBef>
                <a:spcPts val="450"/>
              </a:spcBef>
              <a:buFont typeface="Arial" panose="020B0604020202020204" pitchFamily="34" charset="0"/>
              <a:buChar char="•"/>
            </a:pPr>
            <a:r>
              <a:rPr lang="en-US" sz="1350" b="1" dirty="0">
                <a:solidFill>
                  <a:schemeClr val="tx1"/>
                </a:solidFill>
              </a:rPr>
              <a:t>With a longer treatment duration, T-DXd continues to demonstrate a manageable and tolerable safety profile</a:t>
            </a:r>
          </a:p>
          <a:p>
            <a:pPr marL="600075" lvl="1" indent="-257175">
              <a:spcBef>
                <a:spcPts val="450"/>
              </a:spcBef>
              <a:buFont typeface="Arial" panose="020B0604020202020204" pitchFamily="34" charset="0"/>
              <a:buChar char="•"/>
            </a:pPr>
            <a:r>
              <a:rPr lang="en-US" sz="1200" dirty="0">
                <a:solidFill>
                  <a:schemeClr val="tx1"/>
                </a:solidFill>
                <a:latin typeface="Arial" panose="020B0604020202020204" pitchFamily="34" charset="0"/>
                <a:cs typeface="Arial" panose="020B0604020202020204" pitchFamily="34" charset="0"/>
              </a:rPr>
              <a:t>There were similar rates of grade ≥3 TEAEs with T-DXd and T-DM1</a:t>
            </a:r>
          </a:p>
          <a:p>
            <a:pPr marL="600075" lvl="1" indent="-257175">
              <a:spcBef>
                <a:spcPts val="450"/>
              </a:spcBef>
              <a:buFont typeface="Arial" panose="020B0604020202020204" pitchFamily="34" charset="0"/>
              <a:buChar char="•"/>
            </a:pPr>
            <a:r>
              <a:rPr lang="en-US" sz="1200" dirty="0">
                <a:solidFill>
                  <a:schemeClr val="tx1"/>
                </a:solidFill>
                <a:latin typeface="Arial" panose="020B0604020202020204" pitchFamily="34" charset="0"/>
                <a:cs typeface="Arial" panose="020B0604020202020204" pitchFamily="34" charset="0"/>
              </a:rPr>
              <a:t>There were no grade 4 or 5 adjudicated drug-related ILD/pneumonitis events</a:t>
            </a:r>
          </a:p>
          <a:p>
            <a:pPr marL="184145" indent="0">
              <a:spcBef>
                <a:spcPts val="450"/>
              </a:spcBef>
            </a:pPr>
            <a:endParaRPr lang="en-US" sz="1200" dirty="0">
              <a:solidFill>
                <a:schemeClr val="tx1"/>
              </a:solidFill>
            </a:endParaRPr>
          </a:p>
        </p:txBody>
      </p:sp>
      <p:sp>
        <p:nvSpPr>
          <p:cNvPr id="2" name="Title 1">
            <a:extLst>
              <a:ext uri="{FF2B5EF4-FFF2-40B4-BE49-F238E27FC236}">
                <a16:creationId xmlns:a16="http://schemas.microsoft.com/office/drawing/2014/main" id="{C08ED3D2-1518-4798-82C6-5B91689109C4}"/>
              </a:ext>
            </a:extLst>
          </p:cNvPr>
          <p:cNvSpPr>
            <a:spLocks noGrp="1"/>
          </p:cNvSpPr>
          <p:nvPr>
            <p:ph type="ctrTitle"/>
          </p:nvPr>
        </p:nvSpPr>
        <p:spPr>
          <a:xfrm>
            <a:off x="359999" y="475604"/>
            <a:ext cx="8409765" cy="432000"/>
          </a:xfrm>
        </p:spPr>
        <p:txBody>
          <a:bodyPr/>
          <a:lstStyle/>
          <a:p>
            <a:r>
              <a:rPr lang="en-US" sz="2100" dirty="0">
                <a:solidFill>
                  <a:schemeClr val="tx1"/>
                </a:solidFill>
              </a:rPr>
              <a:t>Conclusions</a:t>
            </a:r>
          </a:p>
        </p:txBody>
      </p:sp>
      <p:sp>
        <p:nvSpPr>
          <p:cNvPr id="5" name="TextBox 4">
            <a:extLst>
              <a:ext uri="{FF2B5EF4-FFF2-40B4-BE49-F238E27FC236}">
                <a16:creationId xmlns:a16="http://schemas.microsoft.com/office/drawing/2014/main" id="{BC8732B8-DEC9-45C4-9D68-394D3FFAFF94}"/>
              </a:ext>
            </a:extLst>
          </p:cNvPr>
          <p:cNvSpPr txBox="1"/>
          <p:nvPr/>
        </p:nvSpPr>
        <p:spPr>
          <a:xfrm>
            <a:off x="101412" y="4395660"/>
            <a:ext cx="8668352" cy="276999"/>
          </a:xfrm>
          <a:prstGeom prst="rect">
            <a:avLst/>
          </a:prstGeom>
          <a:noFill/>
        </p:spPr>
        <p:txBody>
          <a:bodyPr wrap="square" rtlCol="0" anchor="b">
            <a:spAutoFit/>
          </a:bodyPr>
          <a:lstStyle/>
          <a:p>
            <a:r>
              <a:rPr lang="en-US" sz="600" dirty="0">
                <a:solidFill>
                  <a:prstClr val="black"/>
                </a:solidFill>
                <a:latin typeface="Arial" panose="020B0604020202020204" pitchFamily="34" charset="0"/>
                <a:cs typeface="Arial" panose="020B0604020202020204" pitchFamily="34" charset="0"/>
              </a:rPr>
              <a:t>CR, complete response; HER2, human epidermal growth factor receptor 2; HR, hazard ratio; ILD, interstitial lung disease; mBC, metastatic breast cancer; mPFS, median progression-free survival; T-DM1, t</a:t>
            </a:r>
            <a:r>
              <a:rPr lang="en-US" sz="600" dirty="0">
                <a:latin typeface="Arial" panose="020B0604020202020204" pitchFamily="34" charset="0"/>
                <a:cs typeface="Arial" panose="020B0604020202020204" pitchFamily="34" charset="0"/>
                <a:sym typeface="Arial Narrow"/>
              </a:rPr>
              <a:t>rastuzumab emtansine; </a:t>
            </a:r>
            <a:br>
              <a:rPr lang="en-US" sz="600" dirty="0">
                <a:latin typeface="Arial" panose="020B0604020202020204" pitchFamily="34" charset="0"/>
                <a:cs typeface="Arial" panose="020B0604020202020204" pitchFamily="34" charset="0"/>
                <a:sym typeface="Arial Narrow"/>
              </a:rPr>
            </a:br>
            <a:r>
              <a:rPr lang="en-US" sz="600" dirty="0">
                <a:solidFill>
                  <a:prstClr val="black"/>
                </a:solidFill>
                <a:latin typeface="Arial" panose="020B0604020202020204" pitchFamily="34" charset="0"/>
                <a:cs typeface="Arial" panose="020B0604020202020204" pitchFamily="34" charset="0"/>
              </a:rPr>
              <a:t>T-DXd, </a:t>
            </a:r>
            <a:r>
              <a:rPr lang="en-US" sz="600" dirty="0">
                <a:solidFill>
                  <a:prstClr val="black"/>
                </a:solidFill>
                <a:latin typeface="Arial" panose="020B0604020202020204" pitchFamily="34" charset="0"/>
                <a:cs typeface="Arial" panose="020B0604020202020204" pitchFamily="34" charset="0"/>
                <a:sym typeface="Arial Narrow"/>
              </a:rPr>
              <a:t>t</a:t>
            </a:r>
            <a:r>
              <a:rPr lang="en-US" sz="600" dirty="0">
                <a:latin typeface="Arial" panose="020B0604020202020204" pitchFamily="34" charset="0"/>
                <a:cs typeface="Arial" panose="020B0604020202020204" pitchFamily="34" charset="0"/>
                <a:sym typeface="Arial Narrow"/>
              </a:rPr>
              <a:t>rastuzumab deruxtecan.</a:t>
            </a:r>
            <a:endParaRPr lang="en-US" sz="600" kern="0" dirty="0">
              <a:solidFill>
                <a:srgbClr val="000000"/>
              </a:solidFill>
              <a:latin typeface="Arial" panose="020B0604020202020204" pitchFamily="34" charset="0"/>
              <a:cs typeface="Arial" panose="020B0604020202020204" pitchFamily="34" charset="0"/>
              <a:sym typeface="Arial"/>
            </a:endParaRPr>
          </a:p>
        </p:txBody>
      </p:sp>
    </p:spTree>
    <p:extLst>
      <p:ext uri="{BB962C8B-B14F-4D97-AF65-F5344CB8AC3E}">
        <p14:creationId xmlns:p14="http://schemas.microsoft.com/office/powerpoint/2010/main" val="889700919"/>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832967D7-8C5E-C0AF-EF78-04777575B3D3}"/>
              </a:ext>
            </a:extLst>
          </p:cNvPr>
          <p:cNvSpPr/>
          <p:nvPr/>
        </p:nvSpPr>
        <p:spPr>
          <a:xfrm>
            <a:off x="665662" y="2348989"/>
            <a:ext cx="8116418" cy="1024196"/>
          </a:xfrm>
          <a:prstGeom prst="rect">
            <a:avLst/>
          </a:prstGeom>
          <a:solidFill>
            <a:schemeClr val="accent4">
              <a:lumMod val="20000"/>
              <a:lumOff val="80000"/>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ZA" sz="1800" dirty="0">
              <a:latin typeface="Arial" panose="020B0604020202020204" pitchFamily="34" charset="0"/>
              <a:cs typeface="Arial" panose="020B0604020202020204" pitchFamily="34" charset="0"/>
            </a:endParaRPr>
          </a:p>
        </p:txBody>
      </p:sp>
      <p:sp>
        <p:nvSpPr>
          <p:cNvPr id="4" name="Rectangle 3">
            <a:extLst>
              <a:ext uri="{FF2B5EF4-FFF2-40B4-BE49-F238E27FC236}">
                <a16:creationId xmlns:a16="http://schemas.microsoft.com/office/drawing/2014/main" id="{E48DDF0A-DD0B-1BE6-F51C-7AA0C7EE775C}"/>
              </a:ext>
            </a:extLst>
          </p:cNvPr>
          <p:cNvSpPr/>
          <p:nvPr/>
        </p:nvSpPr>
        <p:spPr>
          <a:xfrm>
            <a:off x="665661" y="880594"/>
            <a:ext cx="8116418" cy="1235721"/>
          </a:xfrm>
          <a:prstGeom prst="rect">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ZA" sz="1800" dirty="0">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ECB11C44-51C5-997D-E4B6-163A423318BE}"/>
              </a:ext>
            </a:extLst>
          </p:cNvPr>
          <p:cNvSpPr txBox="1"/>
          <p:nvPr/>
        </p:nvSpPr>
        <p:spPr>
          <a:xfrm>
            <a:off x="237824" y="3418414"/>
            <a:ext cx="8724590" cy="669414"/>
          </a:xfrm>
          <a:prstGeom prst="rect">
            <a:avLst/>
          </a:prstGeom>
          <a:noFill/>
        </p:spPr>
        <p:txBody>
          <a:bodyPr wrap="square">
            <a:spAutoFit/>
          </a:bodyPr>
          <a:lstStyle/>
          <a:p>
            <a:pPr marL="0" lvl="2" algn="ctr">
              <a:buClr>
                <a:schemeClr val="tx1"/>
              </a:buClr>
            </a:pPr>
            <a:r>
              <a:rPr lang="en-GB" sz="1275" b="1" dirty="0">
                <a:solidFill>
                  <a:srgbClr val="002985"/>
                </a:solidFill>
                <a:latin typeface="Arial" panose="020B0604020202020204" pitchFamily="34" charset="0"/>
                <a:cs typeface="Arial" panose="020B0604020202020204" pitchFamily="34" charset="0"/>
              </a:rPr>
              <a:t>DESTINY-Breast02</a:t>
            </a:r>
            <a:r>
              <a:rPr lang="en-US" sz="1275" b="1" dirty="0">
                <a:solidFill>
                  <a:srgbClr val="002985"/>
                </a:solidFill>
                <a:latin typeface="Arial" panose="020B0604020202020204" pitchFamily="34" charset="0"/>
                <a:cs typeface="Arial" panose="020B0604020202020204" pitchFamily="34" charset="0"/>
              </a:rPr>
              <a:t> is a randomized, multicenter, open-label, phase 3 trial comparing the </a:t>
            </a:r>
          </a:p>
          <a:p>
            <a:pPr marL="0" lvl="2" algn="ctr">
              <a:buClr>
                <a:schemeClr val="tx1"/>
              </a:buClr>
            </a:pPr>
            <a:r>
              <a:rPr lang="en-US" sz="1275" b="1" dirty="0">
                <a:solidFill>
                  <a:srgbClr val="002985"/>
                </a:solidFill>
                <a:latin typeface="Arial" panose="020B0604020202020204" pitchFamily="34" charset="0"/>
                <a:cs typeface="Arial" panose="020B0604020202020204" pitchFamily="34" charset="0"/>
              </a:rPr>
              <a:t>efficacy and safety of T-DXd vs TPC in patients with HER2+ mBC previously treated with T-DM1</a:t>
            </a:r>
            <a:br>
              <a:rPr lang="en-US" sz="1275" b="1" dirty="0">
                <a:solidFill>
                  <a:srgbClr val="002985"/>
                </a:solidFill>
                <a:latin typeface="Arial" panose="020B0604020202020204" pitchFamily="34" charset="0"/>
                <a:cs typeface="Arial" panose="020B0604020202020204" pitchFamily="34" charset="0"/>
              </a:rPr>
            </a:br>
            <a:r>
              <a:rPr lang="en-US" sz="1200" dirty="0">
                <a:solidFill>
                  <a:srgbClr val="002985"/>
                </a:solidFill>
                <a:latin typeface="Arial" panose="020B0604020202020204" pitchFamily="34" charset="0"/>
                <a:cs typeface="Arial" panose="020B0604020202020204" pitchFamily="34" charset="0"/>
              </a:rPr>
              <a:t>DESTINY-Breast02 is a confirmatory trial for DESTINY-Breast01. </a:t>
            </a:r>
            <a:endParaRPr lang="en-US" sz="1500" dirty="0">
              <a:solidFill>
                <a:srgbClr val="002985"/>
              </a:solidFill>
              <a:latin typeface="Arial" panose="020B0604020202020204" pitchFamily="34" charset="0"/>
              <a:cs typeface="Arial" panose="020B0604020202020204" pitchFamily="34" charset="0"/>
            </a:endParaRPr>
          </a:p>
        </p:txBody>
      </p:sp>
      <p:grpSp>
        <p:nvGrpSpPr>
          <p:cNvPr id="25" name="Group 24">
            <a:extLst>
              <a:ext uri="{FF2B5EF4-FFF2-40B4-BE49-F238E27FC236}">
                <a16:creationId xmlns:a16="http://schemas.microsoft.com/office/drawing/2014/main" id="{AD98F57A-C169-251F-44B9-4C14BA61ACD7}"/>
              </a:ext>
            </a:extLst>
          </p:cNvPr>
          <p:cNvGrpSpPr/>
          <p:nvPr/>
        </p:nvGrpSpPr>
        <p:grpSpPr>
          <a:xfrm>
            <a:off x="665662" y="2345574"/>
            <a:ext cx="3842507" cy="1056173"/>
            <a:chOff x="1053011" y="3385857"/>
            <a:chExt cx="5123343" cy="1408230"/>
          </a:xfrm>
        </p:grpSpPr>
        <p:sp>
          <p:nvSpPr>
            <p:cNvPr id="16" name="Arrow: Pentagon 19">
              <a:extLst>
                <a:ext uri="{FF2B5EF4-FFF2-40B4-BE49-F238E27FC236}">
                  <a16:creationId xmlns:a16="http://schemas.microsoft.com/office/drawing/2014/main" id="{5978F47B-595E-C239-D648-176BEE15A4C0}"/>
                </a:ext>
              </a:extLst>
            </p:cNvPr>
            <p:cNvSpPr/>
            <p:nvPr/>
          </p:nvSpPr>
          <p:spPr>
            <a:xfrm>
              <a:off x="1414054" y="3385857"/>
              <a:ext cx="4762300" cy="1408230"/>
            </a:xfrm>
            <a:prstGeom prst="homePlat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63496" defTabSz="914331">
                <a:buClr>
                  <a:srgbClr val="000000"/>
                </a:buClr>
                <a:defRPr/>
              </a:pPr>
              <a:endParaRPr lang="en-US" sz="1200" kern="0" baseline="30000" dirty="0">
                <a:solidFill>
                  <a:schemeClr val="bg1"/>
                </a:solidFill>
                <a:latin typeface="Arial" panose="020B0604020202020204" pitchFamily="34" charset="0"/>
                <a:cs typeface="Arial" panose="020B0604020202020204" pitchFamily="34" charset="0"/>
                <a:sym typeface="Arial"/>
              </a:endParaRPr>
            </a:p>
          </p:txBody>
        </p:sp>
        <p:sp>
          <p:nvSpPr>
            <p:cNvPr id="17" name="Arrow: Pentagon 19">
              <a:extLst>
                <a:ext uri="{FF2B5EF4-FFF2-40B4-BE49-F238E27FC236}">
                  <a16:creationId xmlns:a16="http://schemas.microsoft.com/office/drawing/2014/main" id="{B4FD770E-1BBD-D537-141A-E941660F0533}"/>
                </a:ext>
              </a:extLst>
            </p:cNvPr>
            <p:cNvSpPr/>
            <p:nvPr/>
          </p:nvSpPr>
          <p:spPr>
            <a:xfrm>
              <a:off x="1053011" y="3403536"/>
              <a:ext cx="4962848" cy="1352467"/>
            </a:xfrm>
            <a:prstGeom prst="homePlate">
              <a:avLst/>
            </a:prstGeom>
            <a:solidFill>
              <a:srgbClr val="0029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63496" defTabSz="914331">
                <a:buClr>
                  <a:srgbClr val="000000"/>
                </a:buClr>
                <a:defRPr/>
              </a:pPr>
              <a:r>
                <a:rPr lang="en-US" sz="1200" b="1" kern="0" dirty="0">
                  <a:solidFill>
                    <a:srgbClr val="FFFFFF"/>
                  </a:solidFill>
                  <a:latin typeface="Arial" panose="020B0604020202020204" pitchFamily="34" charset="0"/>
                  <a:cs typeface="Arial" panose="020B0604020202020204" pitchFamily="34" charset="0"/>
                  <a:sym typeface="Arial"/>
                </a:rPr>
                <a:t>T-DXd, DESTINY-Breast01: </a:t>
              </a:r>
            </a:p>
            <a:p>
              <a:pPr marL="63496" defTabSz="914331">
                <a:buClr>
                  <a:srgbClr val="000000"/>
                </a:buClr>
                <a:defRPr/>
              </a:pPr>
              <a:r>
                <a:rPr lang="en-US" sz="1050" kern="0" dirty="0">
                  <a:solidFill>
                    <a:srgbClr val="FFFFFF"/>
                  </a:solidFill>
                  <a:latin typeface="Arial" panose="020B0604020202020204" pitchFamily="34" charset="0"/>
                  <a:cs typeface="Arial" panose="020B0604020202020204" pitchFamily="34" charset="0"/>
                  <a:sym typeface="Arial"/>
                </a:rPr>
                <a:t>mPFS = 19.4 </a:t>
              </a:r>
              <a:r>
                <a:rPr lang="en-US" sz="1050" kern="0" dirty="0">
                  <a:solidFill>
                    <a:schemeClr val="bg1"/>
                  </a:solidFill>
                  <a:latin typeface="Arial" panose="020B0604020202020204" pitchFamily="34" charset="0"/>
                  <a:cs typeface="Arial" panose="020B0604020202020204" pitchFamily="34" charset="0"/>
                  <a:sym typeface="Arial"/>
                </a:rPr>
                <a:t>months</a:t>
              </a:r>
              <a:r>
                <a:rPr lang="en-US" sz="1050" kern="0" baseline="30000" dirty="0">
                  <a:solidFill>
                    <a:schemeClr val="bg1"/>
                  </a:solidFill>
                  <a:latin typeface="Arial" panose="020B0604020202020204" pitchFamily="34" charset="0"/>
                  <a:cs typeface="Arial" panose="020B0604020202020204" pitchFamily="34" charset="0"/>
                  <a:sym typeface="Arial"/>
                </a:rPr>
                <a:t>3,4</a:t>
              </a:r>
            </a:p>
          </p:txBody>
        </p:sp>
      </p:grpSp>
      <p:grpSp>
        <p:nvGrpSpPr>
          <p:cNvPr id="18" name="Group 17">
            <a:extLst>
              <a:ext uri="{FF2B5EF4-FFF2-40B4-BE49-F238E27FC236}">
                <a16:creationId xmlns:a16="http://schemas.microsoft.com/office/drawing/2014/main" id="{37D0C9FE-2EC1-F08A-358B-8116DC5A3049}"/>
              </a:ext>
            </a:extLst>
          </p:cNvPr>
          <p:cNvGrpSpPr/>
          <p:nvPr/>
        </p:nvGrpSpPr>
        <p:grpSpPr>
          <a:xfrm>
            <a:off x="312710" y="2590283"/>
            <a:ext cx="457200" cy="528681"/>
            <a:chOff x="696353" y="2119976"/>
            <a:chExt cx="457200" cy="528679"/>
          </a:xfrm>
        </p:grpSpPr>
        <p:sp>
          <p:nvSpPr>
            <p:cNvPr id="19" name="Oval 18">
              <a:extLst>
                <a:ext uri="{FF2B5EF4-FFF2-40B4-BE49-F238E27FC236}">
                  <a16:creationId xmlns:a16="http://schemas.microsoft.com/office/drawing/2014/main" id="{E0B35A0A-D5AA-2A96-1129-B6B8F3C0002F}"/>
                </a:ext>
              </a:extLst>
            </p:cNvPr>
            <p:cNvSpPr>
              <a:spLocks noChangeAspect="1"/>
            </p:cNvSpPr>
            <p:nvPr/>
          </p:nvSpPr>
          <p:spPr>
            <a:xfrm>
              <a:off x="696353" y="2119976"/>
              <a:ext cx="457200" cy="457200"/>
            </a:xfrm>
            <a:prstGeom prst="ellipse">
              <a:avLst/>
            </a:prstGeom>
            <a:solidFill>
              <a:schemeClr val="bg1"/>
            </a:solidFill>
            <a:ln>
              <a:solidFill>
                <a:srgbClr val="00298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solidFill>
                  <a:srgbClr val="6F1E50"/>
                </a:solidFill>
                <a:latin typeface="Arial" panose="020B0604020202020204" pitchFamily="34" charset="0"/>
                <a:cs typeface="Arial" panose="020B0604020202020204" pitchFamily="34" charset="0"/>
              </a:endParaRPr>
            </a:p>
          </p:txBody>
        </p:sp>
        <p:sp>
          <p:nvSpPr>
            <p:cNvPr id="20" name="TextBox 19">
              <a:extLst>
                <a:ext uri="{FF2B5EF4-FFF2-40B4-BE49-F238E27FC236}">
                  <a16:creationId xmlns:a16="http://schemas.microsoft.com/office/drawing/2014/main" id="{9B442421-7D62-0D14-9439-A694E8AF2815}"/>
                </a:ext>
              </a:extLst>
            </p:cNvPr>
            <p:cNvSpPr txBox="1"/>
            <p:nvPr/>
          </p:nvSpPr>
          <p:spPr>
            <a:xfrm>
              <a:off x="719046" y="2217770"/>
              <a:ext cx="425115" cy="430885"/>
            </a:xfrm>
            <a:prstGeom prst="rect">
              <a:avLst/>
            </a:prstGeom>
            <a:noFill/>
          </p:spPr>
          <p:txBody>
            <a:bodyPr wrap="square" rtlCol="0">
              <a:spAutoFit/>
            </a:bodyPr>
            <a:lstStyle/>
            <a:p>
              <a:pPr algn="ctr"/>
              <a:r>
                <a:rPr lang="en-US" sz="1100" b="1" dirty="0">
                  <a:solidFill>
                    <a:srgbClr val="002985"/>
                  </a:solidFill>
                  <a:latin typeface="Arial" panose="020B0604020202020204" pitchFamily="34" charset="0"/>
                  <a:cs typeface="Arial" panose="020B0604020202020204" pitchFamily="34" charset="0"/>
                </a:rPr>
                <a:t>3L+</a:t>
              </a:r>
            </a:p>
          </p:txBody>
        </p:sp>
      </p:grpSp>
      <p:cxnSp>
        <p:nvCxnSpPr>
          <p:cNvPr id="22" name="Straight Connector 21">
            <a:extLst>
              <a:ext uri="{FF2B5EF4-FFF2-40B4-BE49-F238E27FC236}">
                <a16:creationId xmlns:a16="http://schemas.microsoft.com/office/drawing/2014/main" id="{535F14EB-0E09-4D90-1A3D-B4142261B6C3}"/>
              </a:ext>
            </a:extLst>
          </p:cNvPr>
          <p:cNvCxnSpPr/>
          <p:nvPr/>
        </p:nvCxnSpPr>
        <p:spPr>
          <a:xfrm>
            <a:off x="525267" y="2219353"/>
            <a:ext cx="8321040" cy="0"/>
          </a:xfrm>
          <a:prstGeom prst="line">
            <a:avLst/>
          </a:prstGeom>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CA66914C-621A-AF12-3DE7-6D9EEE34981F}"/>
              </a:ext>
            </a:extLst>
          </p:cNvPr>
          <p:cNvSpPr txBox="1"/>
          <p:nvPr/>
        </p:nvSpPr>
        <p:spPr>
          <a:xfrm>
            <a:off x="4498759" y="944992"/>
            <a:ext cx="4269008" cy="1054135"/>
          </a:xfrm>
          <a:prstGeom prst="rect">
            <a:avLst/>
          </a:prstGeom>
          <a:noFill/>
        </p:spPr>
        <p:txBody>
          <a:bodyPr wrap="square" rtlCol="0" anchor="ctr">
            <a:spAutoFit/>
          </a:bodyPr>
          <a:lstStyle/>
          <a:p>
            <a:pPr marL="171438" indent="-171438">
              <a:spcAft>
                <a:spcPts val="300"/>
              </a:spcAft>
              <a:buFont typeface="Arial" panose="020B0604020202020204" pitchFamily="34" charset="0"/>
              <a:buChar char="•"/>
            </a:pPr>
            <a:r>
              <a:rPr lang="en-US" sz="1200" dirty="0">
                <a:latin typeface="Arial" panose="020B0604020202020204" pitchFamily="34" charset="0"/>
                <a:cs typeface="Arial" panose="020B0604020202020204" pitchFamily="34" charset="0"/>
              </a:rPr>
              <a:t>Prior to DESTINY-Breast03, the EMILIA trial established      T-DM1 as 2L+ standard of care</a:t>
            </a:r>
            <a:r>
              <a:rPr lang="en-US" sz="1200" baseline="30000" dirty="0">
                <a:latin typeface="Arial" panose="020B0604020202020204" pitchFamily="34" charset="0"/>
                <a:cs typeface="Arial" panose="020B0604020202020204" pitchFamily="34" charset="0"/>
              </a:rPr>
              <a:t>1</a:t>
            </a:r>
          </a:p>
          <a:p>
            <a:pPr marL="171438" indent="-171438">
              <a:spcAft>
                <a:spcPts val="300"/>
              </a:spcAft>
              <a:buFont typeface="Arial" panose="020B0604020202020204" pitchFamily="34" charset="0"/>
              <a:buChar char="•"/>
            </a:pPr>
            <a:r>
              <a:rPr lang="en-US" sz="1200" dirty="0">
                <a:latin typeface="Arial" panose="020B0604020202020204" pitchFamily="34" charset="0"/>
                <a:cs typeface="Arial" panose="020B0604020202020204" pitchFamily="34" charset="0"/>
              </a:rPr>
              <a:t>Based on the strength of the DESTINY-Breast03 trial efficacy and safety data, T-DXd is now the recommended option in the 2L setting</a:t>
            </a:r>
            <a:r>
              <a:rPr lang="en-US" sz="1200" baseline="30000" dirty="0">
                <a:latin typeface="Arial" panose="020B0604020202020204" pitchFamily="34" charset="0"/>
                <a:cs typeface="Arial" panose="020B0604020202020204" pitchFamily="34" charset="0"/>
              </a:rPr>
              <a:t>2</a:t>
            </a:r>
          </a:p>
        </p:txBody>
      </p:sp>
      <p:sp>
        <p:nvSpPr>
          <p:cNvPr id="24" name="TextBox 23">
            <a:extLst>
              <a:ext uri="{FF2B5EF4-FFF2-40B4-BE49-F238E27FC236}">
                <a16:creationId xmlns:a16="http://schemas.microsoft.com/office/drawing/2014/main" id="{1E01439B-A020-41D2-1CB2-E0A27A0D75DF}"/>
              </a:ext>
            </a:extLst>
          </p:cNvPr>
          <p:cNvSpPr txBox="1"/>
          <p:nvPr/>
        </p:nvSpPr>
        <p:spPr>
          <a:xfrm>
            <a:off x="4490377" y="2527425"/>
            <a:ext cx="4285772" cy="646331"/>
          </a:xfrm>
          <a:prstGeom prst="rect">
            <a:avLst/>
          </a:prstGeom>
          <a:noFill/>
        </p:spPr>
        <p:txBody>
          <a:bodyPr wrap="square" rtlCol="0">
            <a:spAutoFit/>
          </a:bodyPr>
          <a:lstStyle/>
          <a:p>
            <a:pPr marL="171438" indent="-171438">
              <a:spcAft>
                <a:spcPts val="450"/>
              </a:spcAft>
              <a:buFont typeface="Arial" panose="020B0604020202020204" pitchFamily="34" charset="0"/>
              <a:buChar char="•"/>
            </a:pPr>
            <a:r>
              <a:rPr lang="en-US" sz="1200" dirty="0">
                <a:latin typeface="Arial" panose="020B0604020202020204" pitchFamily="34" charset="0"/>
                <a:cs typeface="Arial" panose="020B0604020202020204" pitchFamily="34" charset="0"/>
              </a:rPr>
              <a:t>T-DXd demonstrated robust activity in a post-TDM1 </a:t>
            </a:r>
            <a:br>
              <a:rPr lang="en-US" sz="1200" dirty="0">
                <a:latin typeface="Arial" panose="020B0604020202020204" pitchFamily="34" charset="0"/>
                <a:cs typeface="Arial" panose="020B0604020202020204" pitchFamily="34" charset="0"/>
              </a:rPr>
            </a:br>
            <a:r>
              <a:rPr lang="en-US" sz="1200" dirty="0">
                <a:latin typeface="Arial" panose="020B0604020202020204" pitchFamily="34" charset="0"/>
                <a:cs typeface="Arial" panose="020B0604020202020204" pitchFamily="34" charset="0"/>
              </a:rPr>
              <a:t>phase 2 single arm study, DESTINY-Breast01, leading </a:t>
            </a:r>
            <a:br>
              <a:rPr lang="en-US" sz="1200" dirty="0">
                <a:latin typeface="Arial" panose="020B0604020202020204" pitchFamily="34" charset="0"/>
                <a:cs typeface="Arial" panose="020B0604020202020204" pitchFamily="34" charset="0"/>
              </a:rPr>
            </a:br>
            <a:r>
              <a:rPr lang="en-US" sz="1200" dirty="0">
                <a:latin typeface="Arial" panose="020B0604020202020204" pitchFamily="34" charset="0"/>
                <a:cs typeface="Arial" panose="020B0604020202020204" pitchFamily="34" charset="0"/>
              </a:rPr>
              <a:t>to regulatory approvals globally</a:t>
            </a:r>
            <a:r>
              <a:rPr lang="en-US" sz="1200" baseline="30000" dirty="0">
                <a:latin typeface="Arial" panose="020B0604020202020204" pitchFamily="34" charset="0"/>
                <a:cs typeface="Arial" panose="020B0604020202020204" pitchFamily="34" charset="0"/>
              </a:rPr>
              <a:t>3-5</a:t>
            </a:r>
          </a:p>
        </p:txBody>
      </p:sp>
      <p:grpSp>
        <p:nvGrpSpPr>
          <p:cNvPr id="37" name="Group 36">
            <a:extLst>
              <a:ext uri="{FF2B5EF4-FFF2-40B4-BE49-F238E27FC236}">
                <a16:creationId xmlns:a16="http://schemas.microsoft.com/office/drawing/2014/main" id="{F1A11C9F-1910-925F-F9C1-2499480CBF9D}"/>
              </a:ext>
            </a:extLst>
          </p:cNvPr>
          <p:cNvGrpSpPr/>
          <p:nvPr/>
        </p:nvGrpSpPr>
        <p:grpSpPr>
          <a:xfrm>
            <a:off x="665662" y="860504"/>
            <a:ext cx="3849881" cy="1275695"/>
            <a:chOff x="1053011" y="1777245"/>
            <a:chExt cx="5133175" cy="1410059"/>
          </a:xfrm>
        </p:grpSpPr>
        <p:sp>
          <p:nvSpPr>
            <p:cNvPr id="33" name="Arrow: Pentagon 19">
              <a:extLst>
                <a:ext uri="{FF2B5EF4-FFF2-40B4-BE49-F238E27FC236}">
                  <a16:creationId xmlns:a16="http://schemas.microsoft.com/office/drawing/2014/main" id="{71D70B9C-C6F2-6ED8-7483-8A9B5D1C42B3}"/>
                </a:ext>
              </a:extLst>
            </p:cNvPr>
            <p:cNvSpPr/>
            <p:nvPr/>
          </p:nvSpPr>
          <p:spPr>
            <a:xfrm>
              <a:off x="1337650" y="1777245"/>
              <a:ext cx="4848536" cy="1410059"/>
            </a:xfrm>
            <a:prstGeom prst="homePlat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63496" defTabSz="914331">
                <a:buClr>
                  <a:srgbClr val="000000"/>
                </a:buClr>
                <a:defRPr/>
              </a:pPr>
              <a:endParaRPr lang="en-US" sz="1200" kern="0" baseline="30000" dirty="0">
                <a:solidFill>
                  <a:schemeClr val="bg1"/>
                </a:solidFill>
                <a:latin typeface="Arial" panose="020B0604020202020204" pitchFamily="34" charset="0"/>
                <a:cs typeface="Arial" panose="020B0604020202020204" pitchFamily="34" charset="0"/>
                <a:sym typeface="Arial"/>
              </a:endParaRPr>
            </a:p>
          </p:txBody>
        </p:sp>
        <p:sp>
          <p:nvSpPr>
            <p:cNvPr id="27" name="Arrow: Pentagon 19">
              <a:extLst>
                <a:ext uri="{FF2B5EF4-FFF2-40B4-BE49-F238E27FC236}">
                  <a16:creationId xmlns:a16="http://schemas.microsoft.com/office/drawing/2014/main" id="{DF9CA076-54CE-45DE-4750-33FB02C475B1}"/>
                </a:ext>
              </a:extLst>
            </p:cNvPr>
            <p:cNvSpPr/>
            <p:nvPr/>
          </p:nvSpPr>
          <p:spPr>
            <a:xfrm>
              <a:off x="1053011" y="1794608"/>
              <a:ext cx="4962848" cy="1375018"/>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63496" defTabSz="914331">
                <a:lnSpc>
                  <a:spcPts val="1200"/>
                </a:lnSpc>
                <a:buClr>
                  <a:srgbClr val="000000"/>
                </a:buClr>
                <a:defRPr/>
              </a:pPr>
              <a:br>
                <a:rPr lang="en-US" sz="1200" b="1" kern="0" dirty="0">
                  <a:solidFill>
                    <a:srgbClr val="FFFFFF"/>
                  </a:solidFill>
                  <a:latin typeface="Arial" panose="020B0604020202020204" pitchFamily="34" charset="0"/>
                  <a:cs typeface="Arial" panose="020B0604020202020204" pitchFamily="34" charset="0"/>
                  <a:sym typeface="Arial"/>
                </a:rPr>
              </a:br>
              <a:r>
                <a:rPr lang="en-US" sz="1200" b="1" kern="0" dirty="0">
                  <a:solidFill>
                    <a:srgbClr val="FFFFFF"/>
                  </a:solidFill>
                  <a:latin typeface="Arial" panose="020B0604020202020204" pitchFamily="34" charset="0"/>
                  <a:cs typeface="Arial" panose="020B0604020202020204" pitchFamily="34" charset="0"/>
                  <a:sym typeface="Arial"/>
                </a:rPr>
                <a:t>T-DM1, EMILIA: </a:t>
              </a:r>
            </a:p>
            <a:p>
              <a:pPr marL="63496" defTabSz="914331">
                <a:lnSpc>
                  <a:spcPts val="1200"/>
                </a:lnSpc>
                <a:buClr>
                  <a:srgbClr val="000000"/>
                </a:buClr>
                <a:defRPr/>
              </a:pPr>
              <a:r>
                <a:rPr lang="en-US" sz="1050" kern="0" dirty="0">
                  <a:solidFill>
                    <a:srgbClr val="FFFFFF"/>
                  </a:solidFill>
                  <a:latin typeface="Arial" panose="020B0604020202020204" pitchFamily="34" charset="0"/>
                  <a:cs typeface="Arial" panose="020B0604020202020204" pitchFamily="34" charset="0"/>
                  <a:sym typeface="Arial"/>
                </a:rPr>
                <a:t>mPFS 9.6 months vs 6.4 months with lapatinib + capecitabine</a:t>
              </a:r>
            </a:p>
            <a:p>
              <a:pPr marL="63496" defTabSz="914331">
                <a:lnSpc>
                  <a:spcPts val="1200"/>
                </a:lnSpc>
                <a:spcAft>
                  <a:spcPts val="900"/>
                </a:spcAft>
                <a:buClr>
                  <a:srgbClr val="000000"/>
                </a:buClr>
                <a:defRPr/>
              </a:pPr>
              <a:r>
                <a:rPr lang="en-US" sz="1050" kern="0" dirty="0">
                  <a:solidFill>
                    <a:srgbClr val="FFFFFF"/>
                  </a:solidFill>
                  <a:latin typeface="Arial" panose="020B0604020202020204" pitchFamily="34" charset="0"/>
                  <a:cs typeface="Arial" panose="020B0604020202020204" pitchFamily="34" charset="0"/>
                  <a:sym typeface="Arial"/>
                </a:rPr>
                <a:t>HR, 0.65 (95% CI, 0.55-0.77; </a:t>
              </a:r>
              <a:r>
                <a:rPr lang="en-US" sz="1050" i="1" kern="0" dirty="0">
                  <a:solidFill>
                    <a:schemeClr val="bg1"/>
                  </a:solidFill>
                  <a:latin typeface="Arial" panose="020B0604020202020204" pitchFamily="34" charset="0"/>
                  <a:cs typeface="Arial" panose="020B0604020202020204" pitchFamily="34" charset="0"/>
                  <a:sym typeface="Arial"/>
                </a:rPr>
                <a:t>P</a:t>
              </a:r>
              <a:r>
                <a:rPr lang="en-US" sz="1050" kern="0" dirty="0">
                  <a:solidFill>
                    <a:schemeClr val="bg1"/>
                  </a:solidFill>
                  <a:latin typeface="Arial" panose="020B0604020202020204" pitchFamily="34" charset="0"/>
                  <a:cs typeface="Arial" panose="020B0604020202020204" pitchFamily="34" charset="0"/>
                  <a:sym typeface="Arial"/>
                </a:rPr>
                <a:t> &lt; 0.001)</a:t>
              </a:r>
              <a:r>
                <a:rPr lang="en-US" sz="1050" kern="0" baseline="30000" dirty="0">
                  <a:solidFill>
                    <a:schemeClr val="bg1"/>
                  </a:solidFill>
                  <a:latin typeface="Arial" panose="020B0604020202020204" pitchFamily="34" charset="0"/>
                  <a:cs typeface="Arial" panose="020B0604020202020204" pitchFamily="34" charset="0"/>
                  <a:sym typeface="Arial"/>
                </a:rPr>
                <a:t>1</a:t>
              </a:r>
              <a:endParaRPr lang="en-US" sz="1050" b="1" kern="0" dirty="0">
                <a:solidFill>
                  <a:srgbClr val="FFFFFF"/>
                </a:solidFill>
                <a:latin typeface="Arial" panose="020B0604020202020204" pitchFamily="34" charset="0"/>
                <a:cs typeface="Arial" panose="020B0604020202020204" pitchFamily="34" charset="0"/>
                <a:sym typeface="Arial"/>
              </a:endParaRPr>
            </a:p>
            <a:p>
              <a:pPr marL="63496" defTabSz="914331">
                <a:lnSpc>
                  <a:spcPts val="1200"/>
                </a:lnSpc>
                <a:buClr>
                  <a:srgbClr val="000000"/>
                </a:buClr>
                <a:defRPr/>
              </a:pPr>
              <a:r>
                <a:rPr lang="en-US" sz="1200" b="1" kern="0" dirty="0">
                  <a:solidFill>
                    <a:srgbClr val="FFFFFF"/>
                  </a:solidFill>
                  <a:latin typeface="Arial" panose="020B0604020202020204" pitchFamily="34" charset="0"/>
                  <a:cs typeface="Arial" panose="020B0604020202020204" pitchFamily="34" charset="0"/>
                  <a:sym typeface="Arial"/>
                </a:rPr>
                <a:t>T-DXd, DESTINY-Breast03: </a:t>
              </a:r>
            </a:p>
            <a:p>
              <a:pPr marL="63496" defTabSz="914331">
                <a:lnSpc>
                  <a:spcPts val="1200"/>
                </a:lnSpc>
                <a:buClr>
                  <a:srgbClr val="000000"/>
                </a:buClr>
                <a:defRPr/>
              </a:pPr>
              <a:r>
                <a:rPr lang="en-US" sz="1050" kern="0" dirty="0">
                  <a:solidFill>
                    <a:srgbClr val="FFFFFF"/>
                  </a:solidFill>
                  <a:latin typeface="Arial" panose="020B0604020202020204" pitchFamily="34" charset="0"/>
                  <a:cs typeface="Arial" panose="020B0604020202020204" pitchFamily="34" charset="0"/>
                  <a:sym typeface="Arial"/>
                </a:rPr>
                <a:t>mPFS </a:t>
              </a:r>
              <a:r>
                <a:rPr lang="en-US" sz="1050" kern="0" dirty="0">
                  <a:solidFill>
                    <a:schemeClr val="bg1"/>
                  </a:solidFill>
                  <a:latin typeface="Arial" panose="020B0604020202020204" pitchFamily="34" charset="0"/>
                  <a:cs typeface="Arial" panose="020B0604020202020204" pitchFamily="34" charset="0"/>
                  <a:sym typeface="Arial"/>
                </a:rPr>
                <a:t>not reached vs 6.8 months with </a:t>
              </a:r>
              <a:r>
                <a:rPr lang="en-US" sz="1050" kern="0" dirty="0">
                  <a:solidFill>
                    <a:srgbClr val="FFFFFF"/>
                  </a:solidFill>
                  <a:latin typeface="Arial" panose="020B0604020202020204" pitchFamily="34" charset="0"/>
                  <a:cs typeface="Arial" panose="020B0604020202020204" pitchFamily="34" charset="0"/>
                  <a:sym typeface="Arial"/>
                </a:rPr>
                <a:t>T-DM1; </a:t>
              </a:r>
            </a:p>
            <a:p>
              <a:pPr marL="63496" defTabSz="914331">
                <a:lnSpc>
                  <a:spcPts val="1200"/>
                </a:lnSpc>
                <a:buClr>
                  <a:srgbClr val="000000"/>
                </a:buClr>
                <a:defRPr/>
              </a:pPr>
              <a:r>
                <a:rPr lang="en-US" sz="1050" kern="0" dirty="0">
                  <a:solidFill>
                    <a:srgbClr val="FFFFFF"/>
                  </a:solidFill>
                  <a:latin typeface="Arial" panose="020B0604020202020204" pitchFamily="34" charset="0"/>
                  <a:cs typeface="Arial" panose="020B0604020202020204" pitchFamily="34" charset="0"/>
                  <a:sym typeface="Arial"/>
                </a:rPr>
                <a:t>HR, 0.28 (95% CI, </a:t>
              </a:r>
              <a:r>
                <a:rPr lang="en-US" sz="1050" kern="0" dirty="0">
                  <a:solidFill>
                    <a:schemeClr val="bg1"/>
                  </a:solidFill>
                  <a:latin typeface="Arial" panose="020B0604020202020204" pitchFamily="34" charset="0"/>
                  <a:cs typeface="Arial" panose="020B0604020202020204" pitchFamily="34" charset="0"/>
                  <a:sym typeface="Arial"/>
                </a:rPr>
                <a:t>0.22-0.37; </a:t>
              </a:r>
              <a:r>
                <a:rPr lang="en-US" sz="1050" i="1" kern="0" dirty="0">
                  <a:solidFill>
                    <a:schemeClr val="bg1"/>
                  </a:solidFill>
                  <a:latin typeface="Arial" panose="020B0604020202020204" pitchFamily="34" charset="0"/>
                  <a:cs typeface="Arial" panose="020B0604020202020204" pitchFamily="34" charset="0"/>
                  <a:sym typeface="Arial"/>
                </a:rPr>
                <a:t>P</a:t>
              </a:r>
              <a:r>
                <a:rPr lang="en-US" sz="1050" kern="0" dirty="0">
                  <a:solidFill>
                    <a:schemeClr val="bg1"/>
                  </a:solidFill>
                  <a:latin typeface="Arial" panose="020B0604020202020204" pitchFamily="34" charset="0"/>
                  <a:cs typeface="Arial" panose="020B0604020202020204" pitchFamily="34" charset="0"/>
                  <a:sym typeface="Arial"/>
                </a:rPr>
                <a:t> &lt; 0.001)</a:t>
              </a:r>
              <a:r>
                <a:rPr lang="en-US" sz="1050" kern="0" baseline="30000" dirty="0">
                  <a:solidFill>
                    <a:schemeClr val="bg1"/>
                  </a:solidFill>
                  <a:latin typeface="Arial" panose="020B0604020202020204" pitchFamily="34" charset="0"/>
                  <a:cs typeface="Arial" panose="020B0604020202020204" pitchFamily="34" charset="0"/>
                  <a:sym typeface="Arial"/>
                </a:rPr>
                <a:t>2</a:t>
              </a:r>
            </a:p>
            <a:p>
              <a:pPr marL="63496" defTabSz="914331">
                <a:buClr>
                  <a:srgbClr val="000000"/>
                </a:buClr>
                <a:defRPr/>
              </a:pPr>
              <a:endParaRPr lang="en-US" sz="1200" kern="0" baseline="30000" dirty="0">
                <a:solidFill>
                  <a:schemeClr val="bg1"/>
                </a:solidFill>
                <a:latin typeface="Arial" panose="020B0604020202020204" pitchFamily="34" charset="0"/>
                <a:cs typeface="Arial" panose="020B0604020202020204" pitchFamily="34" charset="0"/>
                <a:sym typeface="Arial"/>
              </a:endParaRPr>
            </a:p>
          </p:txBody>
        </p:sp>
      </p:grpSp>
      <p:grpSp>
        <p:nvGrpSpPr>
          <p:cNvPr id="31" name="Group 30">
            <a:extLst>
              <a:ext uri="{FF2B5EF4-FFF2-40B4-BE49-F238E27FC236}">
                <a16:creationId xmlns:a16="http://schemas.microsoft.com/office/drawing/2014/main" id="{D18D1CCB-DC15-3EA4-B584-20D5BF9E1DD2}"/>
              </a:ext>
            </a:extLst>
          </p:cNvPr>
          <p:cNvGrpSpPr/>
          <p:nvPr/>
        </p:nvGrpSpPr>
        <p:grpSpPr>
          <a:xfrm>
            <a:off x="296667" y="1298615"/>
            <a:ext cx="457200" cy="528683"/>
            <a:chOff x="526698" y="2332270"/>
            <a:chExt cx="609600" cy="704910"/>
          </a:xfrm>
        </p:grpSpPr>
        <p:sp>
          <p:nvSpPr>
            <p:cNvPr id="29" name="Oval 28">
              <a:extLst>
                <a:ext uri="{FF2B5EF4-FFF2-40B4-BE49-F238E27FC236}">
                  <a16:creationId xmlns:a16="http://schemas.microsoft.com/office/drawing/2014/main" id="{3DACCBF9-93FC-17D8-38DA-82D62DB412E6}"/>
                </a:ext>
              </a:extLst>
            </p:cNvPr>
            <p:cNvSpPr>
              <a:spLocks noChangeAspect="1"/>
            </p:cNvSpPr>
            <p:nvPr/>
          </p:nvSpPr>
          <p:spPr>
            <a:xfrm>
              <a:off x="526698" y="2332270"/>
              <a:ext cx="609600" cy="609602"/>
            </a:xfrm>
            <a:prstGeom prst="ellipse">
              <a:avLst/>
            </a:prstGeom>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sz="900" b="1" dirty="0">
                <a:solidFill>
                  <a:srgbClr val="6F1E50"/>
                </a:solidFill>
                <a:latin typeface="Arial" panose="020B0604020202020204" pitchFamily="34" charset="0"/>
                <a:cs typeface="Arial" panose="020B0604020202020204" pitchFamily="34" charset="0"/>
              </a:endParaRPr>
            </a:p>
          </p:txBody>
        </p:sp>
        <p:sp>
          <p:nvSpPr>
            <p:cNvPr id="30" name="TextBox 29">
              <a:extLst>
                <a:ext uri="{FF2B5EF4-FFF2-40B4-BE49-F238E27FC236}">
                  <a16:creationId xmlns:a16="http://schemas.microsoft.com/office/drawing/2014/main" id="{88E08FD1-2D46-EFB2-86AB-91E1CB78194D}"/>
                </a:ext>
              </a:extLst>
            </p:cNvPr>
            <p:cNvSpPr txBox="1"/>
            <p:nvPr/>
          </p:nvSpPr>
          <p:spPr>
            <a:xfrm>
              <a:off x="569478" y="2462665"/>
              <a:ext cx="566820" cy="574515"/>
            </a:xfrm>
            <a:prstGeom prst="rect">
              <a:avLst/>
            </a:prstGeom>
            <a:noFill/>
            <a:ln>
              <a:noFill/>
            </a:ln>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sz="1100" b="1" dirty="0">
                  <a:solidFill>
                    <a:schemeClr val="accent2"/>
                  </a:solidFill>
                  <a:latin typeface="Arial" panose="020B0604020202020204" pitchFamily="34" charset="0"/>
                  <a:cs typeface="Arial" panose="020B0604020202020204" pitchFamily="34" charset="0"/>
                </a:rPr>
                <a:t>2L+</a:t>
              </a:r>
            </a:p>
          </p:txBody>
        </p:sp>
      </p:grpSp>
      <p:sp>
        <p:nvSpPr>
          <p:cNvPr id="35" name="Title 1">
            <a:extLst>
              <a:ext uri="{FF2B5EF4-FFF2-40B4-BE49-F238E27FC236}">
                <a16:creationId xmlns:a16="http://schemas.microsoft.com/office/drawing/2014/main" id="{06FD4921-45FF-65D8-A4B6-3AF1EF705F78}"/>
              </a:ext>
            </a:extLst>
          </p:cNvPr>
          <p:cNvSpPr>
            <a:spLocks noGrp="1"/>
          </p:cNvSpPr>
          <p:nvPr>
            <p:ph type="ctrTitle"/>
          </p:nvPr>
        </p:nvSpPr>
        <p:spPr>
          <a:xfrm>
            <a:off x="367118" y="400819"/>
            <a:ext cx="8409765" cy="432000"/>
          </a:xfrm>
        </p:spPr>
        <p:txBody>
          <a:bodyPr anchor="ctr"/>
          <a:lstStyle/>
          <a:p>
            <a:r>
              <a:rPr lang="en-US" sz="2100" dirty="0">
                <a:solidFill>
                  <a:schemeClr val="tx1"/>
                </a:solidFill>
              </a:rPr>
              <a:t>Evolution of Treatments for HER2+ Metastatic Breast Cancer</a:t>
            </a:r>
          </a:p>
        </p:txBody>
      </p:sp>
      <p:sp>
        <p:nvSpPr>
          <p:cNvPr id="36" name="TextBox 35">
            <a:extLst>
              <a:ext uri="{FF2B5EF4-FFF2-40B4-BE49-F238E27FC236}">
                <a16:creationId xmlns:a16="http://schemas.microsoft.com/office/drawing/2014/main" id="{BDAD79DD-7FA0-8089-BE72-0D600D338CBE}"/>
              </a:ext>
            </a:extLst>
          </p:cNvPr>
          <p:cNvSpPr txBox="1"/>
          <p:nvPr/>
        </p:nvSpPr>
        <p:spPr>
          <a:xfrm>
            <a:off x="-67043" y="4099681"/>
            <a:ext cx="9209812" cy="369332"/>
          </a:xfrm>
          <a:prstGeom prst="rect">
            <a:avLst/>
          </a:prstGeom>
          <a:noFill/>
        </p:spPr>
        <p:txBody>
          <a:bodyPr wrap="square" rtlCol="0" anchor="b">
            <a:spAutoFit/>
          </a:bodyPr>
          <a:lstStyle/>
          <a:p>
            <a:r>
              <a:rPr lang="en-US" sz="600" dirty="0">
                <a:solidFill>
                  <a:prstClr val="black"/>
                </a:solidFill>
                <a:latin typeface="Arial" panose="020B0604020202020204" pitchFamily="34" charset="0"/>
                <a:cs typeface="Arial" panose="020B0604020202020204" pitchFamily="34" charset="0"/>
              </a:rPr>
              <a:t>2L, second-line; 3L, third-line; HER2, human epidermal growth factor receptor 2; HR, hazard ratio; mBC, metastatic breast cancer; mPFS, median progression-free survival; T-DM1, t</a:t>
            </a:r>
            <a:r>
              <a:rPr lang="en-US" sz="600" dirty="0">
                <a:latin typeface="Arial" panose="020B0604020202020204" pitchFamily="34" charset="0"/>
                <a:cs typeface="Arial" panose="020B0604020202020204" pitchFamily="34" charset="0"/>
                <a:sym typeface="Arial Narrow"/>
              </a:rPr>
              <a:t>rastuzumab emtansine; </a:t>
            </a:r>
            <a:r>
              <a:rPr lang="en-US" sz="600" dirty="0">
                <a:solidFill>
                  <a:prstClr val="black"/>
                </a:solidFill>
                <a:latin typeface="Arial" panose="020B0604020202020204" pitchFamily="34" charset="0"/>
                <a:cs typeface="Arial" panose="020B0604020202020204" pitchFamily="34" charset="0"/>
              </a:rPr>
              <a:t>T-DXd, </a:t>
            </a:r>
            <a:r>
              <a:rPr lang="en-US" sz="600" dirty="0">
                <a:solidFill>
                  <a:prstClr val="black"/>
                </a:solidFill>
                <a:latin typeface="Arial" panose="020B0604020202020204" pitchFamily="34" charset="0"/>
                <a:cs typeface="Arial" panose="020B0604020202020204" pitchFamily="34" charset="0"/>
                <a:sym typeface="Arial Narrow"/>
              </a:rPr>
              <a:t>t</a:t>
            </a:r>
            <a:r>
              <a:rPr lang="en-US" sz="600" dirty="0">
                <a:latin typeface="Arial" panose="020B0604020202020204" pitchFamily="34" charset="0"/>
                <a:cs typeface="Arial" panose="020B0604020202020204" pitchFamily="34" charset="0"/>
                <a:sym typeface="Arial Narrow"/>
              </a:rPr>
              <a:t>rastuzumab deruxtecan; </a:t>
            </a:r>
            <a:br>
              <a:rPr lang="en-US" sz="600" dirty="0">
                <a:latin typeface="Arial" panose="020B0604020202020204" pitchFamily="34" charset="0"/>
                <a:cs typeface="Arial" panose="020B0604020202020204" pitchFamily="34" charset="0"/>
                <a:sym typeface="Arial Narrow"/>
              </a:rPr>
            </a:br>
            <a:r>
              <a:rPr lang="en-US" sz="600" dirty="0">
                <a:latin typeface="Arial" panose="020B0604020202020204" pitchFamily="34" charset="0"/>
                <a:cs typeface="Arial" panose="020B0604020202020204" pitchFamily="34" charset="0"/>
                <a:sym typeface="Arial Narrow"/>
              </a:rPr>
              <a:t>TPC, treatment of physician’s choice. </a:t>
            </a:r>
            <a:r>
              <a:rPr lang="nl-NL" sz="600" kern="0" dirty="0">
                <a:latin typeface="Arial" panose="020B0604020202020204" pitchFamily="34" charset="0"/>
                <a:cs typeface="Arial" panose="020B0604020202020204" pitchFamily="34" charset="0"/>
                <a:sym typeface="Arial"/>
              </a:rPr>
              <a:t>1. Verma S et al. </a:t>
            </a:r>
            <a:r>
              <a:rPr lang="nl-NL" sz="600" i="1" kern="0" dirty="0">
                <a:latin typeface="Arial" panose="020B0604020202020204" pitchFamily="34" charset="0"/>
                <a:cs typeface="Arial" panose="020B0604020202020204" pitchFamily="34" charset="0"/>
                <a:sym typeface="Arial"/>
              </a:rPr>
              <a:t>N Engl J Med</a:t>
            </a:r>
            <a:r>
              <a:rPr lang="nl-NL" sz="600" kern="0" dirty="0">
                <a:latin typeface="Arial" panose="020B0604020202020204" pitchFamily="34" charset="0"/>
                <a:cs typeface="Arial" panose="020B0604020202020204" pitchFamily="34" charset="0"/>
                <a:sym typeface="Arial"/>
              </a:rPr>
              <a:t>. 2012;367:1783-1791. </a:t>
            </a:r>
            <a:r>
              <a:rPr lang="da-DK" sz="600" kern="0" dirty="0">
                <a:latin typeface="Arial" panose="020B0604020202020204" pitchFamily="34" charset="0"/>
                <a:cs typeface="Arial" panose="020B0604020202020204" pitchFamily="34" charset="0"/>
                <a:sym typeface="Arial"/>
              </a:rPr>
              <a:t>2. Cortés J et al. </a:t>
            </a:r>
            <a:r>
              <a:rPr lang="da-DK" sz="600" i="1" kern="0" dirty="0">
                <a:latin typeface="Arial" panose="020B0604020202020204" pitchFamily="34" charset="0"/>
                <a:cs typeface="Arial" panose="020B0604020202020204" pitchFamily="34" charset="0"/>
                <a:sym typeface="Arial"/>
              </a:rPr>
              <a:t>N Engl J Med.</a:t>
            </a:r>
            <a:r>
              <a:rPr lang="da-DK" sz="600" kern="0" dirty="0">
                <a:latin typeface="Arial" panose="020B0604020202020204" pitchFamily="34" charset="0"/>
                <a:cs typeface="Arial" panose="020B0604020202020204" pitchFamily="34" charset="0"/>
                <a:sym typeface="Arial"/>
              </a:rPr>
              <a:t> 2022;386:1143-1154. </a:t>
            </a:r>
            <a:r>
              <a:rPr lang="en-US" sz="600" kern="0" dirty="0">
                <a:latin typeface="Arial" panose="020B0604020202020204" pitchFamily="34" charset="0"/>
                <a:cs typeface="Arial" panose="020B0604020202020204" pitchFamily="34" charset="0"/>
                <a:sym typeface="Arial"/>
              </a:rPr>
              <a:t>3. Perez J et al. </a:t>
            </a:r>
            <a:r>
              <a:rPr lang="en-US" sz="600" i="1" kern="0" dirty="0">
                <a:latin typeface="Arial" panose="020B0604020202020204" pitchFamily="34" charset="0"/>
                <a:cs typeface="Arial" panose="020B0604020202020204" pitchFamily="34" charset="0"/>
                <a:sym typeface="Arial"/>
              </a:rPr>
              <a:t>Expert Opin Biol Ther</a:t>
            </a:r>
            <a:r>
              <a:rPr lang="en-US" sz="600" kern="0" dirty="0">
                <a:latin typeface="Arial" panose="020B0604020202020204" pitchFamily="34" charset="0"/>
                <a:cs typeface="Arial" panose="020B0604020202020204" pitchFamily="34" charset="0"/>
                <a:sym typeface="Arial"/>
              </a:rPr>
              <a:t>. 2021;21:811-824.</a:t>
            </a:r>
            <a:r>
              <a:rPr lang="da-DK" sz="600" kern="0" dirty="0">
                <a:latin typeface="Arial" panose="020B0604020202020204" pitchFamily="34" charset="0"/>
                <a:cs typeface="Arial" panose="020B0604020202020204" pitchFamily="34" charset="0"/>
                <a:sym typeface="Arial"/>
              </a:rPr>
              <a:t> </a:t>
            </a:r>
            <a:r>
              <a:rPr lang="nl-NL" sz="600" kern="0" dirty="0">
                <a:latin typeface="Arial" panose="020B0604020202020204" pitchFamily="34" charset="0"/>
                <a:cs typeface="Arial" panose="020B0604020202020204" pitchFamily="34" charset="0"/>
                <a:sym typeface="Arial"/>
              </a:rPr>
              <a:t>4. </a:t>
            </a:r>
            <a:r>
              <a:rPr lang="fr-FR" sz="600" dirty="0">
                <a:latin typeface="Arial" panose="020B0604020202020204" pitchFamily="34" charset="0"/>
                <a:cs typeface="Arial" panose="020B0604020202020204" pitchFamily="34" charset="0"/>
              </a:rPr>
              <a:t>Saura C et al. Presented at ESMO 2021. </a:t>
            </a:r>
            <a:r>
              <a:rPr lang="nl-NL" sz="600" kern="0" dirty="0">
                <a:latin typeface="Arial" panose="020B0604020202020204" pitchFamily="34" charset="0"/>
                <a:cs typeface="Arial" panose="020B0604020202020204" pitchFamily="34" charset="0"/>
                <a:sym typeface="Arial"/>
              </a:rPr>
              <a:t>5. </a:t>
            </a:r>
            <a:r>
              <a:rPr lang="en-US" sz="600" dirty="0">
                <a:latin typeface="Arial" panose="020B0604020202020204" pitchFamily="34" charset="0"/>
                <a:cs typeface="Arial" panose="020B0604020202020204" pitchFamily="34" charset="0"/>
              </a:rPr>
              <a:t>Modi S et al. </a:t>
            </a:r>
            <a:r>
              <a:rPr lang="en-US" sz="600" i="1" dirty="0">
                <a:latin typeface="Arial" panose="020B0604020202020204" pitchFamily="34" charset="0"/>
                <a:cs typeface="Arial" panose="020B0604020202020204" pitchFamily="34" charset="0"/>
              </a:rPr>
              <a:t>N Engl J Med </a:t>
            </a:r>
            <a:r>
              <a:rPr lang="en-US" sz="600" dirty="0">
                <a:latin typeface="Arial" panose="020B0604020202020204" pitchFamily="34" charset="0"/>
                <a:cs typeface="Arial" panose="020B0604020202020204" pitchFamily="34" charset="0"/>
              </a:rPr>
              <a:t>2020;382:610-621.</a:t>
            </a:r>
            <a:endParaRPr lang="en-US" sz="600" kern="0" dirty="0">
              <a:latin typeface="Arial" panose="020B0604020202020204" pitchFamily="34" charset="0"/>
              <a:cs typeface="Arial" panose="020B0604020202020204" pitchFamily="34" charset="0"/>
              <a:sym typeface="Arial"/>
            </a:endParaRPr>
          </a:p>
        </p:txBody>
      </p:sp>
    </p:spTree>
    <p:extLst>
      <p:ext uri="{BB962C8B-B14F-4D97-AF65-F5344CB8AC3E}">
        <p14:creationId xmlns:p14="http://schemas.microsoft.com/office/powerpoint/2010/main" val="71803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74D9DD4-0357-2949-B92B-B0E00E261657}"/>
              </a:ext>
            </a:extLst>
          </p:cNvPr>
          <p:cNvSpPr>
            <a:spLocks noGrp="1"/>
          </p:cNvSpPr>
          <p:nvPr>
            <p:ph type="ctrTitle"/>
          </p:nvPr>
        </p:nvSpPr>
        <p:spPr>
          <a:xfrm>
            <a:off x="360000" y="457863"/>
            <a:ext cx="8615036" cy="334653"/>
          </a:xfrm>
        </p:spPr>
        <p:txBody>
          <a:bodyPr/>
          <a:lstStyle/>
          <a:p>
            <a:r>
              <a:rPr lang="en-US" sz="2100" dirty="0">
                <a:solidFill>
                  <a:schemeClr val="tx1"/>
                </a:solidFill>
              </a:rPr>
              <a:t>DESTINY-Breast02</a:t>
            </a:r>
          </a:p>
        </p:txBody>
      </p:sp>
      <p:sp>
        <p:nvSpPr>
          <p:cNvPr id="4" name="Subtitle 3">
            <a:extLst>
              <a:ext uri="{FF2B5EF4-FFF2-40B4-BE49-F238E27FC236}">
                <a16:creationId xmlns:a16="http://schemas.microsoft.com/office/drawing/2014/main" id="{8CABB62F-CC59-7C4D-9942-14C0F638EAE1}"/>
              </a:ext>
            </a:extLst>
          </p:cNvPr>
          <p:cNvSpPr>
            <a:spLocks noGrp="1"/>
          </p:cNvSpPr>
          <p:nvPr>
            <p:ph type="subTitle" idx="2"/>
          </p:nvPr>
        </p:nvSpPr>
        <p:spPr>
          <a:xfrm>
            <a:off x="374101" y="693035"/>
            <a:ext cx="8409900" cy="338047"/>
          </a:xfrm>
        </p:spPr>
        <p:txBody>
          <a:bodyPr/>
          <a:lstStyle/>
          <a:p>
            <a:r>
              <a:rPr lang="en-US" sz="1800" dirty="0">
                <a:solidFill>
                  <a:schemeClr val="tx1"/>
                </a:solidFill>
              </a:rPr>
              <a:t>Randomized phase 3, open-label, multicenter study (NCT03523585)</a:t>
            </a:r>
          </a:p>
          <a:p>
            <a:endParaRPr lang="en-US" sz="1800" dirty="0">
              <a:solidFill>
                <a:schemeClr val="accent6">
                  <a:lumMod val="75000"/>
                </a:schemeClr>
              </a:solidFill>
            </a:endParaRPr>
          </a:p>
        </p:txBody>
      </p:sp>
      <p:sp>
        <p:nvSpPr>
          <p:cNvPr id="24" name="TextBox 23">
            <a:extLst>
              <a:ext uri="{FF2B5EF4-FFF2-40B4-BE49-F238E27FC236}">
                <a16:creationId xmlns:a16="http://schemas.microsoft.com/office/drawing/2014/main" id="{16A006B4-6CED-074D-88E4-5BFE52A4DC1A}"/>
              </a:ext>
            </a:extLst>
          </p:cNvPr>
          <p:cNvSpPr txBox="1"/>
          <p:nvPr/>
        </p:nvSpPr>
        <p:spPr>
          <a:xfrm>
            <a:off x="-74709" y="4133840"/>
            <a:ext cx="8615036" cy="276999"/>
          </a:xfrm>
          <a:prstGeom prst="rect">
            <a:avLst/>
          </a:prstGeom>
          <a:noFill/>
        </p:spPr>
        <p:txBody>
          <a:bodyPr wrap="square" rtlCol="0" anchor="b">
            <a:spAutoFit/>
          </a:bodyPr>
          <a:lstStyle/>
          <a:p>
            <a:r>
              <a:rPr lang="en-US" sz="600" dirty="0">
                <a:latin typeface="Arial" panose="020B0604020202020204" pitchFamily="34" charset="0"/>
                <a:cs typeface="Arial" panose="020B0604020202020204" pitchFamily="34" charset="0"/>
              </a:rPr>
              <a:t>BICR, blinded independent central review; CBR, clinical benefit rate; DoR, duration of response; HER2, human epidermal growth factor receptor 2; IHC, immunohistochemistry; ISH, in situ hybridization; mRECIST, modified Response Evaluation Criteria in Solid Tumors version 1.1; ORR, objective response rate; OS, overall survival; PFS, progression-free survival; PFS2; progression-free survival on the next line of therapy</a:t>
            </a:r>
          </a:p>
        </p:txBody>
      </p:sp>
      <p:sp>
        <p:nvSpPr>
          <p:cNvPr id="16" name="TextBox 15">
            <a:extLst>
              <a:ext uri="{FF2B5EF4-FFF2-40B4-BE49-F238E27FC236}">
                <a16:creationId xmlns:a16="http://schemas.microsoft.com/office/drawing/2014/main" id="{99D83670-9AF4-454E-ACAC-C6182D1930FF}"/>
              </a:ext>
            </a:extLst>
          </p:cNvPr>
          <p:cNvSpPr txBox="1"/>
          <p:nvPr/>
        </p:nvSpPr>
        <p:spPr>
          <a:xfrm>
            <a:off x="460244" y="3411879"/>
            <a:ext cx="4136288" cy="542456"/>
          </a:xfrm>
          <a:prstGeom prst="rect">
            <a:avLst/>
          </a:prstGeom>
          <a:noFill/>
        </p:spPr>
        <p:txBody>
          <a:bodyPr wrap="square">
            <a:spAutoFit/>
          </a:bodyPr>
          <a:lstStyle/>
          <a:p>
            <a:pPr defTabSz="685766">
              <a:defRPr/>
            </a:pPr>
            <a:r>
              <a:rPr lang="en-US" sz="975" dirty="0">
                <a:solidFill>
                  <a:srgbClr val="0070C0"/>
                </a:solidFill>
                <a:latin typeface="Arial" panose="020B0604020202020204" pitchFamily="34" charset="0"/>
                <a:cs typeface="Arial" panose="020B0604020202020204" pitchFamily="34" charset="0"/>
              </a:rPr>
              <a:t>At data cutoff (June 30, 2022), the median duration of follow-up was:</a:t>
            </a:r>
          </a:p>
          <a:p>
            <a:pPr marL="128588" indent="-128588" defTabSz="685766">
              <a:buFont typeface="Arial" panose="020B0604020202020204" pitchFamily="34" charset="0"/>
              <a:buChar char="•"/>
              <a:defRPr/>
            </a:pPr>
            <a:r>
              <a:rPr lang="en-US" sz="975" b="1" dirty="0">
                <a:solidFill>
                  <a:srgbClr val="0070C0"/>
                </a:solidFill>
                <a:latin typeface="Arial" panose="020B0604020202020204" pitchFamily="34" charset="0"/>
                <a:cs typeface="Arial" panose="020B0604020202020204" pitchFamily="34" charset="0"/>
              </a:rPr>
              <a:t>21.5 months </a:t>
            </a:r>
            <a:r>
              <a:rPr lang="en-US" sz="975" dirty="0">
                <a:solidFill>
                  <a:srgbClr val="0070C0"/>
                </a:solidFill>
                <a:latin typeface="Arial" panose="020B0604020202020204" pitchFamily="34" charset="0"/>
                <a:cs typeface="Arial" panose="020B0604020202020204" pitchFamily="34" charset="0"/>
              </a:rPr>
              <a:t>(range, 0.1-45.6 months) in the T-DXd arm</a:t>
            </a:r>
          </a:p>
          <a:p>
            <a:pPr marL="128588" indent="-128588" defTabSz="685766">
              <a:buFont typeface="Arial" panose="020B0604020202020204" pitchFamily="34" charset="0"/>
              <a:buChar char="•"/>
              <a:defRPr/>
            </a:pPr>
            <a:r>
              <a:rPr lang="en-US" sz="975" b="1" dirty="0">
                <a:solidFill>
                  <a:srgbClr val="0070C0"/>
                </a:solidFill>
                <a:latin typeface="Arial" panose="020B0604020202020204" pitchFamily="34" charset="0"/>
                <a:cs typeface="Arial" panose="020B0604020202020204" pitchFamily="34" charset="0"/>
              </a:rPr>
              <a:t>18.6 months </a:t>
            </a:r>
            <a:r>
              <a:rPr lang="en-US" sz="975" dirty="0">
                <a:solidFill>
                  <a:srgbClr val="0070C0"/>
                </a:solidFill>
                <a:latin typeface="Arial" panose="020B0604020202020204" pitchFamily="34" charset="0"/>
                <a:cs typeface="Arial" panose="020B0604020202020204" pitchFamily="34" charset="0"/>
              </a:rPr>
              <a:t>(range, 0-45.7 months) in the TPC arm</a:t>
            </a:r>
            <a:endParaRPr lang="en-US" sz="975" strike="sngStrike" dirty="0">
              <a:solidFill>
                <a:srgbClr val="0070C0"/>
              </a:solidFill>
              <a:latin typeface="Arial" panose="020B0604020202020204" pitchFamily="34" charset="0"/>
              <a:cs typeface="Arial" panose="020B0604020202020204" pitchFamily="34" charset="0"/>
            </a:endParaRPr>
          </a:p>
        </p:txBody>
      </p:sp>
      <p:sp>
        <p:nvSpPr>
          <p:cNvPr id="25" name="Rectangle 24">
            <a:extLst>
              <a:ext uri="{FF2B5EF4-FFF2-40B4-BE49-F238E27FC236}">
                <a16:creationId xmlns:a16="http://schemas.microsoft.com/office/drawing/2014/main" id="{1C5F4546-8A07-47C7-BE3D-F59B1F285AFB}"/>
              </a:ext>
            </a:extLst>
          </p:cNvPr>
          <p:cNvSpPr/>
          <p:nvPr/>
        </p:nvSpPr>
        <p:spPr>
          <a:xfrm flipV="1">
            <a:off x="518698" y="278843"/>
            <a:ext cx="8499572" cy="34289"/>
          </a:xfrm>
          <a:prstGeom prst="rect">
            <a:avLst/>
          </a:prstGeom>
          <a:solidFill>
            <a:srgbClr val="0029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pSp>
        <p:nvGrpSpPr>
          <p:cNvPr id="37" name="Group 36">
            <a:extLst>
              <a:ext uri="{FF2B5EF4-FFF2-40B4-BE49-F238E27FC236}">
                <a16:creationId xmlns:a16="http://schemas.microsoft.com/office/drawing/2014/main" id="{B1674D5B-42ED-A17B-1A4F-D5E483FBBE41}"/>
              </a:ext>
            </a:extLst>
          </p:cNvPr>
          <p:cNvGrpSpPr/>
          <p:nvPr/>
        </p:nvGrpSpPr>
        <p:grpSpPr>
          <a:xfrm>
            <a:off x="4718173" y="3238441"/>
            <a:ext cx="3919376" cy="834799"/>
            <a:chOff x="6292727" y="4361234"/>
            <a:chExt cx="5225835" cy="1185388"/>
          </a:xfrm>
        </p:grpSpPr>
        <p:sp>
          <p:nvSpPr>
            <p:cNvPr id="10" name="TextBox 9">
              <a:extLst>
                <a:ext uri="{FF2B5EF4-FFF2-40B4-BE49-F238E27FC236}">
                  <a16:creationId xmlns:a16="http://schemas.microsoft.com/office/drawing/2014/main" id="{9F8A5323-F51E-5297-AD62-A11F5A8A987A}"/>
                </a:ext>
              </a:extLst>
            </p:cNvPr>
            <p:cNvSpPr txBox="1"/>
            <p:nvPr/>
          </p:nvSpPr>
          <p:spPr>
            <a:xfrm>
              <a:off x="6292728" y="4361234"/>
              <a:ext cx="5225834" cy="327774"/>
            </a:xfrm>
            <a:prstGeom prst="rect">
              <a:avLst/>
            </a:prstGeom>
            <a:solidFill>
              <a:schemeClr val="tx1"/>
            </a:solidFill>
            <a:ln>
              <a:solidFill>
                <a:schemeClr val="accent6">
                  <a:lumMod val="75000"/>
                </a:schemeClr>
              </a:solidFill>
            </a:ln>
          </p:spPr>
          <p:style>
            <a:lnRef idx="2">
              <a:schemeClr val="accent2"/>
            </a:lnRef>
            <a:fillRef idx="1">
              <a:schemeClr val="lt1"/>
            </a:fillRef>
            <a:effectRef idx="0">
              <a:schemeClr val="accent2"/>
            </a:effectRef>
            <a:fontRef idx="minor">
              <a:schemeClr val="dk1"/>
            </a:fontRef>
          </p:style>
          <p:txBody>
            <a:bodyPr wrap="square">
              <a:spAutoFit/>
            </a:bodyPr>
            <a:lstStyle/>
            <a:p>
              <a:pPr algn="ctr" defTabSz="685766">
                <a:defRPr/>
              </a:pPr>
              <a:r>
                <a:rPr lang="en-US" sz="900" b="1" dirty="0">
                  <a:solidFill>
                    <a:schemeClr val="bg1"/>
                  </a:solidFill>
                  <a:latin typeface="Arial" panose="020B0604020202020204" pitchFamily="34" charset="0"/>
                  <a:cs typeface="Arial" panose="020B0604020202020204" pitchFamily="34" charset="0"/>
                </a:rPr>
                <a:t>Protocol-prespecified statistical analysis plan</a:t>
              </a:r>
            </a:p>
          </p:txBody>
        </p:sp>
        <p:sp>
          <p:nvSpPr>
            <p:cNvPr id="35" name="Rectangle 34">
              <a:extLst>
                <a:ext uri="{FF2B5EF4-FFF2-40B4-BE49-F238E27FC236}">
                  <a16:creationId xmlns:a16="http://schemas.microsoft.com/office/drawing/2014/main" id="{18E0CC08-B960-5F6A-A33A-B8C160198AFD}"/>
                </a:ext>
              </a:extLst>
            </p:cNvPr>
            <p:cNvSpPr/>
            <p:nvPr/>
          </p:nvSpPr>
          <p:spPr>
            <a:xfrm>
              <a:off x="6292727" y="4643949"/>
              <a:ext cx="5225834" cy="902673"/>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28588" lvl="2" indent="-128588">
                <a:buFont typeface="Arial" panose="020B0604020202020204" pitchFamily="34" charset="0"/>
                <a:buChar char="•"/>
              </a:pPr>
              <a:r>
                <a:rPr lang="en-GB" sz="788" dirty="0">
                  <a:solidFill>
                    <a:schemeClr val="tx1"/>
                  </a:solidFill>
                  <a:latin typeface="Arial" panose="020B0604020202020204" pitchFamily="34" charset="0"/>
                  <a:cs typeface="Arial" panose="020B0604020202020204" pitchFamily="34" charset="0"/>
                </a:rPr>
                <a:t>Primary analysis planned for ~372 BICR PFS events observed or 18 months from the last patient randomized, whichever came first</a:t>
              </a:r>
            </a:p>
            <a:p>
              <a:pPr marL="128588" lvl="2" indent="-128588">
                <a:buFont typeface="Arial" panose="020B0604020202020204" pitchFamily="34" charset="0"/>
                <a:buChar char="•"/>
              </a:pPr>
              <a:r>
                <a:rPr lang="en-GB" sz="788" dirty="0">
                  <a:solidFill>
                    <a:schemeClr val="tx1"/>
                  </a:solidFill>
                  <a:latin typeface="Arial" panose="020B0604020202020204" pitchFamily="34" charset="0"/>
                  <a:cs typeface="Arial" panose="020B0604020202020204" pitchFamily="34" charset="0"/>
                </a:rPr>
                <a:t>Group sequential testing was used to compare OS between treatment groups hierarchically, provided PFS was significant</a:t>
              </a:r>
            </a:p>
          </p:txBody>
        </p:sp>
      </p:grpSp>
      <p:sp>
        <p:nvSpPr>
          <p:cNvPr id="28" name="Subtitle 2">
            <a:extLst>
              <a:ext uri="{FF2B5EF4-FFF2-40B4-BE49-F238E27FC236}">
                <a16:creationId xmlns:a16="http://schemas.microsoft.com/office/drawing/2014/main" id="{9C7FDF18-5DF2-8943-B989-48C332DFA9C8}"/>
              </a:ext>
            </a:extLst>
          </p:cNvPr>
          <p:cNvSpPr txBox="1">
            <a:spLocks/>
          </p:cNvSpPr>
          <p:nvPr/>
        </p:nvSpPr>
        <p:spPr>
          <a:xfrm>
            <a:off x="499626" y="1379268"/>
            <a:ext cx="3188300" cy="1001050"/>
          </a:xfrm>
          <a:prstGeom prst="rect">
            <a:avLst/>
          </a:prstGeom>
          <a:solidFill>
            <a:schemeClr val="tx2">
              <a:lumMod val="20000"/>
              <a:lumOff val="80000"/>
            </a:schemeClr>
          </a:solidFill>
          <a:ln w="31750">
            <a:noFill/>
          </a:ln>
        </p:spPr>
        <p:txBody>
          <a:bodyPr anchor="ctr">
            <a:noAutofit/>
          </a:bodyPr>
          <a:lstStyle>
            <a:lvl1pPr marL="342900" marR="0" indent="-34290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Calibri"/>
                <a:ea typeface="Calibri"/>
                <a:cs typeface="Calibri"/>
                <a:sym typeface="Calibri"/>
              </a:defRPr>
            </a:lvl1pPr>
            <a:lvl2pPr marL="342900" marR="0" indent="-3810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Calibri"/>
                <a:ea typeface="Calibri"/>
                <a:cs typeface="Calibri"/>
                <a:sym typeface="Calibri"/>
              </a:defRPr>
            </a:lvl2pPr>
            <a:lvl3pPr marL="342900" marR="0" indent="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Calibri"/>
                <a:ea typeface="Calibri"/>
                <a:cs typeface="Calibri"/>
                <a:sym typeface="Calibri"/>
              </a:defRPr>
            </a:lvl3pPr>
            <a:lvl4pPr marL="342900" marR="0" indent="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Calibri"/>
                <a:ea typeface="Calibri"/>
                <a:cs typeface="Calibri"/>
                <a:sym typeface="Calibri"/>
              </a:defRPr>
            </a:lvl4pPr>
            <a:lvl5pPr marL="342900" marR="0" indent="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Calibri"/>
                <a:ea typeface="Calibri"/>
                <a:cs typeface="Calibri"/>
                <a:sym typeface="Calibri"/>
              </a:defRPr>
            </a:lvl5pPr>
            <a:lvl6pPr marL="342900" marR="0" indent="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Calibri"/>
                <a:ea typeface="Calibri"/>
                <a:cs typeface="Calibri"/>
                <a:sym typeface="Calibri"/>
              </a:defRPr>
            </a:lvl6pPr>
            <a:lvl7pPr marL="342900" marR="0" indent="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Calibri"/>
                <a:ea typeface="Calibri"/>
                <a:cs typeface="Calibri"/>
                <a:sym typeface="Calibri"/>
              </a:defRPr>
            </a:lvl7pPr>
            <a:lvl8pPr marL="342900" marR="0" indent="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Calibri"/>
                <a:ea typeface="Calibri"/>
                <a:cs typeface="Calibri"/>
                <a:sym typeface="Calibri"/>
              </a:defRPr>
            </a:lvl8pPr>
            <a:lvl9pPr marL="342900" marR="0" indent="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Calibri"/>
                <a:ea typeface="Calibri"/>
                <a:cs typeface="Calibri"/>
                <a:sym typeface="Calibri"/>
              </a:defRPr>
            </a:lvl9pPr>
          </a:lstStyle>
          <a:p>
            <a:pPr marL="0" indent="0" algn="l" defTabSz="1219139">
              <a:defRPr/>
            </a:pPr>
            <a:r>
              <a:rPr lang="en-GB" sz="1050" b="1" kern="0" dirty="0">
                <a:solidFill>
                  <a:srgbClr val="0070C0"/>
                </a:solidFill>
                <a:latin typeface="Arial" panose="020B0604020202020204" pitchFamily="34" charset="0"/>
                <a:cs typeface="Arial" panose="020B0604020202020204" pitchFamily="34" charset="0"/>
              </a:rPr>
              <a:t>Key eligibility criteria</a:t>
            </a:r>
            <a:endParaRPr lang="en-GB" sz="1050" b="1" kern="0" baseline="30000" dirty="0">
              <a:solidFill>
                <a:srgbClr val="0070C0"/>
              </a:solidFill>
              <a:latin typeface="Arial" panose="020B0604020202020204" pitchFamily="34" charset="0"/>
              <a:cs typeface="Arial" panose="020B0604020202020204" pitchFamily="34" charset="0"/>
            </a:endParaRPr>
          </a:p>
          <a:p>
            <a:pPr marL="214313" indent="-214313" algn="l" defTabSz="1219139">
              <a:spcBef>
                <a:spcPts val="0"/>
              </a:spcBef>
              <a:buClr>
                <a:srgbClr val="0070C0"/>
              </a:buClr>
              <a:buFont typeface="Arial" panose="020B0604020202020204" pitchFamily="34" charset="0"/>
              <a:buChar char="•"/>
              <a:defRPr/>
            </a:pPr>
            <a:r>
              <a:rPr lang="en-GB" sz="900" kern="0" dirty="0">
                <a:solidFill>
                  <a:schemeClr val="tx1"/>
                </a:solidFill>
                <a:latin typeface="Arial" panose="020B0604020202020204" pitchFamily="34" charset="0"/>
                <a:cs typeface="Arial" panose="020B0604020202020204" pitchFamily="34" charset="0"/>
              </a:rPr>
              <a:t>Centrally confirmed HER2-positive (</a:t>
            </a:r>
            <a:r>
              <a:rPr lang="en-US" sz="900" dirty="0">
                <a:solidFill>
                  <a:schemeClr val="tx1"/>
                </a:solidFill>
                <a:latin typeface="Arial" panose="020B0604020202020204" pitchFamily="34" charset="0"/>
                <a:cs typeface="Arial" panose="020B0604020202020204" pitchFamily="34" charset="0"/>
              </a:rPr>
              <a:t>IHC 3+ or IHC 2+/ISH+)</a:t>
            </a:r>
            <a:r>
              <a:rPr lang="en-GB" sz="900" kern="0" baseline="30000" dirty="0">
                <a:solidFill>
                  <a:schemeClr val="tx1"/>
                </a:solidFill>
                <a:latin typeface="Arial" panose="020B0604020202020204" pitchFamily="34" charset="0"/>
                <a:cs typeface="Arial" panose="020B0604020202020204" pitchFamily="34" charset="0"/>
              </a:rPr>
              <a:t> </a:t>
            </a:r>
            <a:r>
              <a:rPr lang="en-GB" sz="900" kern="0" dirty="0">
                <a:solidFill>
                  <a:schemeClr val="tx1"/>
                </a:solidFill>
                <a:latin typeface="Arial" panose="020B0604020202020204" pitchFamily="34" charset="0"/>
                <a:cs typeface="Arial" panose="020B0604020202020204" pitchFamily="34" charset="0"/>
              </a:rPr>
              <a:t>unresectable or metastatic breast cancer </a:t>
            </a:r>
          </a:p>
          <a:p>
            <a:pPr marL="214313" indent="-214313" algn="l" defTabSz="1219139">
              <a:spcBef>
                <a:spcPts val="0"/>
              </a:spcBef>
              <a:buClr>
                <a:srgbClr val="0070C0"/>
              </a:buClr>
              <a:buFont typeface="Arial" panose="020B0604020202020204" pitchFamily="34" charset="0"/>
              <a:buChar char="•"/>
              <a:defRPr/>
            </a:pPr>
            <a:r>
              <a:rPr lang="en-GB" sz="900" kern="0" dirty="0">
                <a:solidFill>
                  <a:schemeClr val="tx1"/>
                </a:solidFill>
                <a:latin typeface="Arial" panose="020B0604020202020204" pitchFamily="34" charset="0"/>
                <a:cs typeface="Arial" panose="020B0604020202020204" pitchFamily="34" charset="0"/>
              </a:rPr>
              <a:t>Documented radiographic progression after most recent treatment</a:t>
            </a:r>
          </a:p>
          <a:p>
            <a:pPr marL="214313" indent="-214313" algn="l" defTabSz="1219139">
              <a:spcBef>
                <a:spcPts val="0"/>
              </a:spcBef>
              <a:buClr>
                <a:srgbClr val="0070C0"/>
              </a:buClr>
              <a:buFont typeface="Arial" panose="020B0604020202020204" pitchFamily="34" charset="0"/>
              <a:buChar char="•"/>
              <a:defRPr/>
            </a:pPr>
            <a:r>
              <a:rPr lang="en-GB" sz="900" kern="0" dirty="0">
                <a:solidFill>
                  <a:schemeClr val="tx1"/>
                </a:solidFill>
                <a:latin typeface="Arial" panose="020B0604020202020204" pitchFamily="34" charset="0"/>
                <a:cs typeface="Arial" panose="020B0604020202020204" pitchFamily="34" charset="0"/>
              </a:rPr>
              <a:t>Previously treated with T-DM1</a:t>
            </a:r>
            <a:endParaRPr lang="en-US" sz="900" dirty="0">
              <a:solidFill>
                <a:srgbClr val="000000"/>
              </a:solidFill>
              <a:latin typeface="Arial" panose="020B0604020202020204" pitchFamily="34" charset="0"/>
              <a:cs typeface="Arial" panose="020B0604020202020204" pitchFamily="34" charset="0"/>
            </a:endParaRPr>
          </a:p>
        </p:txBody>
      </p:sp>
      <p:cxnSp>
        <p:nvCxnSpPr>
          <p:cNvPr id="18" name="Straight Connector 17">
            <a:extLst>
              <a:ext uri="{FF2B5EF4-FFF2-40B4-BE49-F238E27FC236}">
                <a16:creationId xmlns:a16="http://schemas.microsoft.com/office/drawing/2014/main" id="{44F11091-0809-9140-AE1F-CA92987BDB83}"/>
              </a:ext>
            </a:extLst>
          </p:cNvPr>
          <p:cNvCxnSpPr>
            <a:cxnSpLocks/>
          </p:cNvCxnSpPr>
          <p:nvPr/>
        </p:nvCxnSpPr>
        <p:spPr>
          <a:xfrm>
            <a:off x="4232810" y="1407562"/>
            <a:ext cx="0" cy="1161641"/>
          </a:xfrm>
          <a:prstGeom prst="line">
            <a:avLst/>
          </a:prstGeom>
          <a:noFill/>
          <a:ln w="22225" cap="flat" cmpd="sng" algn="ctr">
            <a:solidFill>
              <a:srgbClr val="000000"/>
            </a:solidFill>
            <a:prstDash val="solid"/>
          </a:ln>
          <a:effectLst/>
        </p:spPr>
      </p:cxnSp>
      <p:cxnSp>
        <p:nvCxnSpPr>
          <p:cNvPr id="19" name="Straight Arrow Connector 18">
            <a:extLst>
              <a:ext uri="{FF2B5EF4-FFF2-40B4-BE49-F238E27FC236}">
                <a16:creationId xmlns:a16="http://schemas.microsoft.com/office/drawing/2014/main" id="{8A3CC4FD-EB10-9D4E-9614-0E7E65C53A68}"/>
              </a:ext>
            </a:extLst>
          </p:cNvPr>
          <p:cNvCxnSpPr>
            <a:cxnSpLocks/>
          </p:cNvCxnSpPr>
          <p:nvPr/>
        </p:nvCxnSpPr>
        <p:spPr>
          <a:xfrm>
            <a:off x="4232809" y="2560973"/>
            <a:ext cx="488816" cy="1"/>
          </a:xfrm>
          <a:prstGeom prst="straightConnector1">
            <a:avLst/>
          </a:prstGeom>
          <a:noFill/>
          <a:ln w="22225" cap="flat" cmpd="sng" algn="ctr">
            <a:solidFill>
              <a:srgbClr val="000000"/>
            </a:solidFill>
            <a:prstDash val="solid"/>
            <a:tailEnd type="triangle"/>
          </a:ln>
          <a:effectLst/>
        </p:spPr>
      </p:cxnSp>
      <p:cxnSp>
        <p:nvCxnSpPr>
          <p:cNvPr id="20" name="Straight Arrow Connector 19">
            <a:extLst>
              <a:ext uri="{FF2B5EF4-FFF2-40B4-BE49-F238E27FC236}">
                <a16:creationId xmlns:a16="http://schemas.microsoft.com/office/drawing/2014/main" id="{862195E0-3576-7F48-9BB1-52A90B27AD2D}"/>
              </a:ext>
            </a:extLst>
          </p:cNvPr>
          <p:cNvCxnSpPr>
            <a:cxnSpLocks/>
          </p:cNvCxnSpPr>
          <p:nvPr/>
        </p:nvCxnSpPr>
        <p:spPr>
          <a:xfrm>
            <a:off x="4232810" y="1414913"/>
            <a:ext cx="488816" cy="0"/>
          </a:xfrm>
          <a:prstGeom prst="straightConnector1">
            <a:avLst/>
          </a:prstGeom>
          <a:noFill/>
          <a:ln w="22225" cap="flat" cmpd="sng" algn="ctr">
            <a:solidFill>
              <a:srgbClr val="000000"/>
            </a:solidFill>
            <a:prstDash val="solid"/>
            <a:tailEnd type="triangle"/>
          </a:ln>
          <a:effectLst/>
        </p:spPr>
      </p:cxnSp>
      <p:sp>
        <p:nvSpPr>
          <p:cNvPr id="21" name="Oval 20">
            <a:extLst>
              <a:ext uri="{FF2B5EF4-FFF2-40B4-BE49-F238E27FC236}">
                <a16:creationId xmlns:a16="http://schemas.microsoft.com/office/drawing/2014/main" id="{62A10A69-A2C8-C645-BD82-A7936ECD6F00}"/>
              </a:ext>
            </a:extLst>
          </p:cNvPr>
          <p:cNvSpPr/>
          <p:nvPr/>
        </p:nvSpPr>
        <p:spPr>
          <a:xfrm>
            <a:off x="3893859" y="1659281"/>
            <a:ext cx="702673" cy="669208"/>
          </a:xfrm>
          <a:prstGeom prst="ellipse">
            <a:avLst/>
          </a:prstGeom>
          <a:solidFill>
            <a:schemeClr val="tx1"/>
          </a:solidFill>
          <a:ln w="25400" cap="flat" cmpd="sng" algn="ctr">
            <a:noFill/>
            <a:prstDash val="solid"/>
          </a:ln>
          <a:effectLst/>
        </p:spPr>
        <p:txBody>
          <a:bodyPr lIns="36000" tIns="36000" rIns="36000" bIns="36000" rtlCol="0" anchor="ctr"/>
          <a:lstStyle/>
          <a:p>
            <a:pPr algn="ctr" defTabSz="685766">
              <a:defRPr/>
            </a:pPr>
            <a:r>
              <a:rPr lang="en-US" sz="900" b="1" dirty="0">
                <a:solidFill>
                  <a:srgbClr val="FFFFFF"/>
                </a:solidFill>
                <a:latin typeface="Arial" panose="020B0604020202020204"/>
              </a:rPr>
              <a:t>R</a:t>
            </a:r>
          </a:p>
          <a:p>
            <a:pPr algn="ctr" defTabSz="685766">
              <a:defRPr/>
            </a:pPr>
            <a:r>
              <a:rPr lang="en-US" sz="900" b="1" dirty="0">
                <a:solidFill>
                  <a:srgbClr val="FFFFFF"/>
                </a:solidFill>
                <a:latin typeface="Arial" panose="020B0604020202020204"/>
              </a:rPr>
              <a:t>2:1</a:t>
            </a:r>
          </a:p>
        </p:txBody>
      </p:sp>
      <p:sp>
        <p:nvSpPr>
          <p:cNvPr id="22" name="Rectangle 21">
            <a:extLst>
              <a:ext uri="{FF2B5EF4-FFF2-40B4-BE49-F238E27FC236}">
                <a16:creationId xmlns:a16="http://schemas.microsoft.com/office/drawing/2014/main" id="{025B87AD-058B-DE49-A6EA-B699602755C8}"/>
              </a:ext>
            </a:extLst>
          </p:cNvPr>
          <p:cNvSpPr/>
          <p:nvPr/>
        </p:nvSpPr>
        <p:spPr>
          <a:xfrm>
            <a:off x="4726355" y="1170776"/>
            <a:ext cx="2043349" cy="555395"/>
          </a:xfrm>
          <a:prstGeom prst="rect">
            <a:avLst/>
          </a:prstGeom>
          <a:solidFill>
            <a:srgbClr val="002985"/>
          </a:solidFill>
          <a:ln w="9525" cap="flat" cmpd="sng" algn="ctr">
            <a:noFill/>
            <a:prstDash val="solid"/>
          </a:ln>
          <a:effectLst/>
        </p:spPr>
        <p:txBody>
          <a:bodyPr rtlCol="0" anchor="ctr"/>
          <a:lstStyle/>
          <a:p>
            <a:pPr lvl="0" algn="ctr" fontAlgn="base">
              <a:spcBef>
                <a:spcPct val="0"/>
              </a:spcBef>
              <a:spcAft>
                <a:spcPct val="0"/>
              </a:spcAft>
              <a:buClrTx/>
              <a:defRPr/>
            </a:pPr>
            <a:r>
              <a:rPr lang="en-US" altLang="ja-JP" sz="1050" b="1" dirty="0">
                <a:solidFill>
                  <a:prstClr val="white"/>
                </a:solidFill>
                <a:latin typeface="Arial" panose="020B0604020202020204" pitchFamily="34" charset="0"/>
                <a:ea typeface="Meiryo UI" pitchFamily="50" charset="-128"/>
                <a:cs typeface="Arial" panose="020B0604020202020204" pitchFamily="34" charset="0"/>
              </a:rPr>
              <a:t>T-DXd </a:t>
            </a:r>
          </a:p>
          <a:p>
            <a:pPr lvl="0" algn="ctr" fontAlgn="base">
              <a:spcBef>
                <a:spcPct val="0"/>
              </a:spcBef>
              <a:spcAft>
                <a:spcPct val="0"/>
              </a:spcAft>
              <a:buClrTx/>
              <a:defRPr/>
            </a:pPr>
            <a:r>
              <a:rPr lang="en-US" altLang="ja-JP" sz="1050" b="1" dirty="0">
                <a:solidFill>
                  <a:prstClr val="white"/>
                </a:solidFill>
                <a:latin typeface="Arial" panose="020B0604020202020204" pitchFamily="34" charset="0"/>
                <a:ea typeface="Meiryo UI" pitchFamily="50" charset="-128"/>
                <a:cs typeface="Arial" panose="020B0604020202020204" pitchFamily="34" charset="0"/>
              </a:rPr>
              <a:t>5.4 mg/kg Q3W</a:t>
            </a:r>
          </a:p>
          <a:p>
            <a:pPr lvl="0" algn="ctr" fontAlgn="base">
              <a:spcBef>
                <a:spcPct val="0"/>
              </a:spcBef>
              <a:spcAft>
                <a:spcPct val="0"/>
              </a:spcAft>
              <a:buClrTx/>
              <a:defRPr/>
            </a:pPr>
            <a:r>
              <a:rPr lang="en-US" altLang="ja-JP" sz="1050" b="1" dirty="0">
                <a:solidFill>
                  <a:prstClr val="white"/>
                </a:solidFill>
                <a:latin typeface="Arial" panose="020B0604020202020204" pitchFamily="34" charset="0"/>
                <a:ea typeface="Meiryo UI" pitchFamily="50" charset="-128"/>
                <a:cs typeface="Arial" panose="020B0604020202020204" pitchFamily="34" charset="0"/>
              </a:rPr>
              <a:t>(n = 406)</a:t>
            </a:r>
            <a:endParaRPr lang="en-US" altLang="ja-JP" sz="1050" baseline="30000" dirty="0">
              <a:solidFill>
                <a:prstClr val="white"/>
              </a:solidFill>
              <a:latin typeface="Arial" panose="020B0604020202020204" pitchFamily="34" charset="0"/>
              <a:ea typeface="Meiryo UI" pitchFamily="50" charset="-128"/>
              <a:cs typeface="Arial" panose="020B0604020202020204" pitchFamily="34" charset="0"/>
            </a:endParaRPr>
          </a:p>
        </p:txBody>
      </p:sp>
      <p:sp>
        <p:nvSpPr>
          <p:cNvPr id="23" name="Rectangle 22">
            <a:extLst>
              <a:ext uri="{FF2B5EF4-FFF2-40B4-BE49-F238E27FC236}">
                <a16:creationId xmlns:a16="http://schemas.microsoft.com/office/drawing/2014/main" id="{CFCF67F2-BEBF-1D49-8446-7E547746D4D7}"/>
              </a:ext>
            </a:extLst>
          </p:cNvPr>
          <p:cNvSpPr/>
          <p:nvPr/>
        </p:nvSpPr>
        <p:spPr>
          <a:xfrm>
            <a:off x="4719545" y="2144408"/>
            <a:ext cx="2043350" cy="984132"/>
          </a:xfrm>
          <a:prstGeom prst="rect">
            <a:avLst/>
          </a:prstGeom>
          <a:solidFill>
            <a:srgbClr val="6E6E6E"/>
          </a:solidFill>
          <a:ln>
            <a:noFill/>
          </a:ln>
          <a:effectLst/>
        </p:spPr>
        <p:txBody>
          <a:bodyPr rtlCol="0" anchor="ctr"/>
          <a:lstStyle/>
          <a:p>
            <a:pPr lvl="0" algn="ctr" fontAlgn="base">
              <a:spcBef>
                <a:spcPct val="0"/>
              </a:spcBef>
              <a:spcAft>
                <a:spcPct val="0"/>
              </a:spcAft>
              <a:buClrTx/>
              <a:defRPr/>
            </a:pPr>
            <a:r>
              <a:rPr lang="en-US" altLang="ja-JP" sz="1050" b="1" dirty="0">
                <a:solidFill>
                  <a:schemeClr val="bg1"/>
                </a:solidFill>
                <a:latin typeface="Arial" panose="020B0604020202020204" pitchFamily="34" charset="0"/>
                <a:ea typeface="Meiryo UI" pitchFamily="50" charset="-128"/>
                <a:cs typeface="Arial" panose="020B0604020202020204" pitchFamily="34" charset="0"/>
              </a:rPr>
              <a:t>TPC</a:t>
            </a:r>
          </a:p>
          <a:p>
            <a:pPr lvl="0" algn="ctr" fontAlgn="base">
              <a:spcBef>
                <a:spcPct val="0"/>
              </a:spcBef>
              <a:spcAft>
                <a:spcPct val="0"/>
              </a:spcAft>
              <a:buClrTx/>
              <a:defRPr/>
            </a:pPr>
            <a:r>
              <a:rPr lang="en-US" altLang="ja-JP" sz="1050" b="1" dirty="0">
                <a:solidFill>
                  <a:schemeClr val="bg1"/>
                </a:solidFill>
                <a:latin typeface="Arial" panose="020B0604020202020204" pitchFamily="34" charset="0"/>
                <a:ea typeface="Meiryo UI" pitchFamily="50" charset="-128"/>
                <a:cs typeface="Arial" panose="020B0604020202020204" pitchFamily="34" charset="0"/>
              </a:rPr>
              <a:t>Per label (n = 202)</a:t>
            </a:r>
          </a:p>
          <a:p>
            <a:pPr marL="171438" indent="-171438" algn="ctr" defTabSz="685749">
              <a:buFont typeface="Arial" panose="020B0604020202020204" pitchFamily="34" charset="0"/>
              <a:buChar char="•"/>
            </a:pPr>
            <a:r>
              <a:rPr lang="en-US" sz="1050" dirty="0">
                <a:solidFill>
                  <a:schemeClr val="bg1"/>
                </a:solidFill>
                <a:latin typeface="Arial"/>
              </a:rPr>
              <a:t>Trastuzumab / Capecitabine or</a:t>
            </a:r>
          </a:p>
          <a:p>
            <a:pPr marL="171438" indent="-171438" algn="ctr" defTabSz="685749">
              <a:buFont typeface="Arial" panose="020B0604020202020204" pitchFamily="34" charset="0"/>
              <a:buChar char="•"/>
            </a:pPr>
            <a:r>
              <a:rPr lang="en-US" sz="1050" dirty="0">
                <a:solidFill>
                  <a:schemeClr val="bg1"/>
                </a:solidFill>
                <a:latin typeface="Arial"/>
              </a:rPr>
              <a:t>Lapatinib / Capecitabine</a:t>
            </a:r>
          </a:p>
        </p:txBody>
      </p:sp>
      <p:sp>
        <p:nvSpPr>
          <p:cNvPr id="29" name="Subtitle 2">
            <a:extLst>
              <a:ext uri="{FF2B5EF4-FFF2-40B4-BE49-F238E27FC236}">
                <a16:creationId xmlns:a16="http://schemas.microsoft.com/office/drawing/2014/main" id="{8D4243D1-AB1C-E449-A139-D6E1D77175A0}"/>
              </a:ext>
            </a:extLst>
          </p:cNvPr>
          <p:cNvSpPr txBox="1">
            <a:spLocks/>
          </p:cNvSpPr>
          <p:nvPr/>
        </p:nvSpPr>
        <p:spPr>
          <a:xfrm>
            <a:off x="6892582" y="1170777"/>
            <a:ext cx="1746341" cy="1962834"/>
          </a:xfrm>
          <a:prstGeom prst="rect">
            <a:avLst/>
          </a:prstGeom>
          <a:solidFill>
            <a:schemeClr val="tx2">
              <a:lumMod val="20000"/>
              <a:lumOff val="80000"/>
            </a:schemeClr>
          </a:solidFill>
          <a:ln w="31750">
            <a:noFill/>
          </a:ln>
        </p:spPr>
        <p:txBody>
          <a:bodyPr anchor="ctr">
            <a:noAutofit/>
          </a:bodyPr>
          <a:lstStyle>
            <a:lvl1pPr marL="342900" marR="0" indent="-34290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Calibri"/>
                <a:ea typeface="Calibri"/>
                <a:cs typeface="Calibri"/>
                <a:sym typeface="Calibri"/>
              </a:defRPr>
            </a:lvl1pPr>
            <a:lvl2pPr marL="342900" marR="0" indent="-3810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Calibri"/>
                <a:ea typeface="Calibri"/>
                <a:cs typeface="Calibri"/>
                <a:sym typeface="Calibri"/>
              </a:defRPr>
            </a:lvl2pPr>
            <a:lvl3pPr marL="342900" marR="0" indent="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Calibri"/>
                <a:ea typeface="Calibri"/>
                <a:cs typeface="Calibri"/>
                <a:sym typeface="Calibri"/>
              </a:defRPr>
            </a:lvl3pPr>
            <a:lvl4pPr marL="342900" marR="0" indent="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Calibri"/>
                <a:ea typeface="Calibri"/>
                <a:cs typeface="Calibri"/>
                <a:sym typeface="Calibri"/>
              </a:defRPr>
            </a:lvl4pPr>
            <a:lvl5pPr marL="342900" marR="0" indent="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Calibri"/>
                <a:ea typeface="Calibri"/>
                <a:cs typeface="Calibri"/>
                <a:sym typeface="Calibri"/>
              </a:defRPr>
            </a:lvl5pPr>
            <a:lvl6pPr marL="342900" marR="0" indent="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Calibri"/>
                <a:ea typeface="Calibri"/>
                <a:cs typeface="Calibri"/>
                <a:sym typeface="Calibri"/>
              </a:defRPr>
            </a:lvl6pPr>
            <a:lvl7pPr marL="342900" marR="0" indent="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Calibri"/>
                <a:ea typeface="Calibri"/>
                <a:cs typeface="Calibri"/>
                <a:sym typeface="Calibri"/>
              </a:defRPr>
            </a:lvl7pPr>
            <a:lvl8pPr marL="342900" marR="0" indent="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Calibri"/>
                <a:ea typeface="Calibri"/>
                <a:cs typeface="Calibri"/>
                <a:sym typeface="Calibri"/>
              </a:defRPr>
            </a:lvl8pPr>
            <a:lvl9pPr marL="342900" marR="0" indent="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Calibri"/>
                <a:ea typeface="Calibri"/>
                <a:cs typeface="Calibri"/>
                <a:sym typeface="Calibri"/>
              </a:defRPr>
            </a:lvl9pPr>
          </a:lstStyle>
          <a:p>
            <a:pPr marL="0" indent="0" algn="l" defTabSz="1219139">
              <a:defRPr/>
            </a:pPr>
            <a:r>
              <a:rPr lang="en-US" sz="1050" b="1" kern="0" dirty="0">
                <a:solidFill>
                  <a:srgbClr val="0070C0"/>
                </a:solidFill>
                <a:latin typeface="Arial" panose="020B0604020202020204" pitchFamily="34" charset="0"/>
                <a:cs typeface="Arial" panose="020B0604020202020204" pitchFamily="34" charset="0"/>
              </a:rPr>
              <a:t>Primary endpoint</a:t>
            </a:r>
          </a:p>
          <a:p>
            <a:pPr marL="171446" indent="-171446" algn="l" defTabSz="1219139">
              <a:spcBef>
                <a:spcPts val="0"/>
              </a:spcBef>
              <a:buClr>
                <a:srgbClr val="0070C0"/>
              </a:buClr>
              <a:buFont typeface="Arial" panose="020B0604020202020204" pitchFamily="34" charset="0"/>
              <a:buChar char="•"/>
              <a:defRPr/>
            </a:pPr>
            <a:r>
              <a:rPr lang="en-US" sz="900" kern="0" dirty="0">
                <a:solidFill>
                  <a:srgbClr val="000000"/>
                </a:solidFill>
                <a:latin typeface="Arial" panose="020B0604020202020204" pitchFamily="34" charset="0"/>
                <a:cs typeface="Arial" panose="020B0604020202020204" pitchFamily="34" charset="0"/>
              </a:rPr>
              <a:t>PFS (BICR)</a:t>
            </a:r>
            <a:endParaRPr lang="en-US" sz="900" b="1" kern="0" dirty="0">
              <a:solidFill>
                <a:srgbClr val="4472C4"/>
              </a:solidFill>
              <a:latin typeface="Arial" panose="020B0604020202020204" pitchFamily="34" charset="0"/>
              <a:cs typeface="Arial" panose="020B0604020202020204" pitchFamily="34" charset="0"/>
            </a:endParaRPr>
          </a:p>
          <a:p>
            <a:pPr marL="0" indent="0" algn="l" defTabSz="1219139">
              <a:spcBef>
                <a:spcPts val="0"/>
              </a:spcBef>
              <a:defRPr/>
            </a:pPr>
            <a:r>
              <a:rPr lang="en-US" sz="1050" b="1" kern="0" dirty="0">
                <a:solidFill>
                  <a:srgbClr val="0070C0"/>
                </a:solidFill>
                <a:latin typeface="Arial" panose="020B0604020202020204" pitchFamily="34" charset="0"/>
                <a:cs typeface="Arial" panose="020B0604020202020204" pitchFamily="34" charset="0"/>
              </a:rPr>
              <a:t>Key secondary endpoint</a:t>
            </a:r>
          </a:p>
          <a:p>
            <a:pPr marL="171446" indent="-171446" algn="l" defTabSz="1219139">
              <a:spcBef>
                <a:spcPts val="0"/>
              </a:spcBef>
              <a:buClr>
                <a:srgbClr val="0070C0"/>
              </a:buClr>
              <a:buFont typeface="Arial" panose="020B0604020202020204" pitchFamily="34" charset="0"/>
              <a:buChar char="•"/>
              <a:defRPr/>
            </a:pPr>
            <a:r>
              <a:rPr lang="en-US" sz="900" kern="0" dirty="0">
                <a:solidFill>
                  <a:srgbClr val="000000"/>
                </a:solidFill>
                <a:latin typeface="Arial" panose="020B0604020202020204" pitchFamily="34" charset="0"/>
                <a:cs typeface="Arial" panose="020B0604020202020204" pitchFamily="34" charset="0"/>
              </a:rPr>
              <a:t>OS</a:t>
            </a:r>
            <a:r>
              <a:rPr lang="en-US" sz="1050" kern="0" dirty="0">
                <a:solidFill>
                  <a:srgbClr val="000000"/>
                </a:solidFill>
                <a:latin typeface="Arial" panose="020B0604020202020204" pitchFamily="34" charset="0"/>
                <a:cs typeface="Arial" panose="020B0604020202020204" pitchFamily="34" charset="0"/>
              </a:rPr>
              <a:t> </a:t>
            </a:r>
            <a:endParaRPr lang="en-US" sz="1050" b="1" kern="0" dirty="0">
              <a:solidFill>
                <a:srgbClr val="113468"/>
              </a:solidFill>
              <a:latin typeface="Arial" panose="020B0604020202020204" pitchFamily="34" charset="0"/>
              <a:cs typeface="Arial" panose="020B0604020202020204" pitchFamily="34" charset="0"/>
            </a:endParaRPr>
          </a:p>
          <a:p>
            <a:pPr marL="0" indent="0" algn="l" defTabSz="1219139">
              <a:spcBef>
                <a:spcPts val="0"/>
              </a:spcBef>
              <a:buClr>
                <a:srgbClr val="333399"/>
              </a:buClr>
              <a:defRPr/>
            </a:pPr>
            <a:r>
              <a:rPr lang="en-US" sz="1050" b="1" kern="0" dirty="0">
                <a:solidFill>
                  <a:srgbClr val="0070C0"/>
                </a:solidFill>
                <a:latin typeface="Arial" panose="020B0604020202020204" pitchFamily="34" charset="0"/>
                <a:cs typeface="Arial" panose="020B0604020202020204" pitchFamily="34" charset="0"/>
              </a:rPr>
              <a:t>Secondary endpoints</a:t>
            </a:r>
          </a:p>
          <a:p>
            <a:pPr marL="176209" indent="-176209" algn="l" defTabSz="1219139">
              <a:spcBef>
                <a:spcPts val="0"/>
              </a:spcBef>
              <a:buClr>
                <a:srgbClr val="4472C4"/>
              </a:buClr>
              <a:buFont typeface="Arial" panose="020B0604020202020204" pitchFamily="34" charset="0"/>
              <a:buChar char="•"/>
              <a:defRPr/>
            </a:pPr>
            <a:r>
              <a:rPr lang="en-US" sz="900" kern="0" dirty="0">
                <a:solidFill>
                  <a:srgbClr val="000000"/>
                </a:solidFill>
                <a:latin typeface="Arial" panose="020B0604020202020204" pitchFamily="34" charset="0"/>
                <a:cs typeface="Arial" panose="020B0604020202020204" pitchFamily="34" charset="0"/>
              </a:rPr>
              <a:t>ORR (BICR)</a:t>
            </a:r>
          </a:p>
          <a:p>
            <a:pPr marL="176209" indent="-176209" algn="l" defTabSz="1219139">
              <a:spcBef>
                <a:spcPts val="0"/>
              </a:spcBef>
              <a:buClr>
                <a:srgbClr val="4472C4"/>
              </a:buClr>
              <a:buFont typeface="Arial" panose="020B0604020202020204" pitchFamily="34" charset="0"/>
              <a:buChar char="•"/>
              <a:defRPr/>
            </a:pPr>
            <a:r>
              <a:rPr lang="en-US" sz="900" kern="0" dirty="0">
                <a:solidFill>
                  <a:srgbClr val="000000"/>
                </a:solidFill>
                <a:latin typeface="Arial" panose="020B0604020202020204" pitchFamily="34" charset="0"/>
                <a:cs typeface="Arial" panose="020B0604020202020204" pitchFamily="34" charset="0"/>
              </a:rPr>
              <a:t>DoR (BICR)</a:t>
            </a:r>
          </a:p>
          <a:p>
            <a:pPr marL="176209" indent="-176209" algn="l" defTabSz="1219139">
              <a:spcBef>
                <a:spcPts val="0"/>
              </a:spcBef>
              <a:buClr>
                <a:srgbClr val="4472C4"/>
              </a:buClr>
              <a:buFont typeface="Arial" panose="020B0604020202020204" pitchFamily="34" charset="0"/>
              <a:buChar char="•"/>
              <a:defRPr/>
            </a:pPr>
            <a:r>
              <a:rPr lang="en-US" sz="900" kern="0" dirty="0">
                <a:solidFill>
                  <a:srgbClr val="000000"/>
                </a:solidFill>
                <a:latin typeface="Arial" panose="020B0604020202020204" pitchFamily="34" charset="0"/>
                <a:cs typeface="Arial" panose="020B0604020202020204" pitchFamily="34" charset="0"/>
              </a:rPr>
              <a:t>PFS (investigator)</a:t>
            </a:r>
          </a:p>
          <a:p>
            <a:pPr marL="176209" indent="-176209" algn="l" defTabSz="1219139">
              <a:spcBef>
                <a:spcPts val="0"/>
              </a:spcBef>
              <a:buClr>
                <a:srgbClr val="4472C4"/>
              </a:buClr>
              <a:buFont typeface="Arial" panose="020B0604020202020204" pitchFamily="34" charset="0"/>
              <a:buChar char="•"/>
              <a:defRPr/>
            </a:pPr>
            <a:r>
              <a:rPr lang="en-US" sz="900" kern="0" dirty="0">
                <a:solidFill>
                  <a:srgbClr val="000000"/>
                </a:solidFill>
                <a:latin typeface="Arial" panose="020B0604020202020204" pitchFamily="34" charset="0"/>
                <a:cs typeface="Arial" panose="020B0604020202020204" pitchFamily="34" charset="0"/>
              </a:rPr>
              <a:t>Safety</a:t>
            </a:r>
          </a:p>
          <a:p>
            <a:pPr marL="0" indent="0" algn="l" defTabSz="1219139">
              <a:spcBef>
                <a:spcPts val="0"/>
              </a:spcBef>
              <a:buClr>
                <a:srgbClr val="4472C4"/>
              </a:buClr>
              <a:defRPr/>
            </a:pPr>
            <a:r>
              <a:rPr lang="en-US" sz="1050" b="1" kern="0" dirty="0">
                <a:solidFill>
                  <a:srgbClr val="0070C0"/>
                </a:solidFill>
                <a:latin typeface="Arial" panose="020B0604020202020204" pitchFamily="34" charset="0"/>
                <a:cs typeface="Arial" panose="020B0604020202020204" pitchFamily="34" charset="0"/>
              </a:rPr>
              <a:t>Exploratory endpoints</a:t>
            </a:r>
          </a:p>
          <a:p>
            <a:pPr marL="176209" indent="-176209" algn="l" defTabSz="1219139">
              <a:spcBef>
                <a:spcPts val="0"/>
              </a:spcBef>
              <a:buClr>
                <a:srgbClr val="4472C4"/>
              </a:buClr>
              <a:buFont typeface="Arial" panose="020B0604020202020204" pitchFamily="34" charset="0"/>
              <a:buChar char="•"/>
              <a:defRPr/>
            </a:pPr>
            <a:r>
              <a:rPr lang="en-US" sz="900" kern="0" dirty="0">
                <a:solidFill>
                  <a:schemeClr val="tx1"/>
                </a:solidFill>
                <a:latin typeface="Arial" panose="020B0604020202020204" pitchFamily="34" charset="0"/>
                <a:cs typeface="Arial" panose="020B0604020202020204" pitchFamily="34" charset="0"/>
              </a:rPr>
              <a:t>CBR (BICR)</a:t>
            </a:r>
          </a:p>
          <a:p>
            <a:pPr marL="176209" indent="-176209" algn="l" defTabSz="1219139">
              <a:spcBef>
                <a:spcPts val="0"/>
              </a:spcBef>
              <a:buClr>
                <a:srgbClr val="4472C4"/>
              </a:buClr>
              <a:buFont typeface="Arial" panose="020B0604020202020204" pitchFamily="34" charset="0"/>
              <a:buChar char="•"/>
              <a:defRPr/>
            </a:pPr>
            <a:r>
              <a:rPr lang="en-US" sz="900" kern="0" dirty="0">
                <a:solidFill>
                  <a:schemeClr val="tx1"/>
                </a:solidFill>
                <a:latin typeface="Arial" panose="020B0604020202020204" pitchFamily="34" charset="0"/>
                <a:cs typeface="Arial" panose="020B0604020202020204" pitchFamily="34" charset="0"/>
              </a:rPr>
              <a:t>PFS2 (investigator)</a:t>
            </a:r>
          </a:p>
        </p:txBody>
      </p:sp>
      <p:cxnSp>
        <p:nvCxnSpPr>
          <p:cNvPr id="7" name="Straight Connector 6">
            <a:extLst>
              <a:ext uri="{FF2B5EF4-FFF2-40B4-BE49-F238E27FC236}">
                <a16:creationId xmlns:a16="http://schemas.microsoft.com/office/drawing/2014/main" id="{BBC18B24-26DB-1DAF-FB1C-C6A077695410}"/>
              </a:ext>
            </a:extLst>
          </p:cNvPr>
          <p:cNvCxnSpPr>
            <a:cxnSpLocks/>
            <a:endCxn id="21" idx="2"/>
          </p:cNvCxnSpPr>
          <p:nvPr/>
        </p:nvCxnSpPr>
        <p:spPr>
          <a:xfrm>
            <a:off x="3693378" y="1993885"/>
            <a:ext cx="200482"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2" name="Subtitle 2">
            <a:extLst>
              <a:ext uri="{FF2B5EF4-FFF2-40B4-BE49-F238E27FC236}">
                <a16:creationId xmlns:a16="http://schemas.microsoft.com/office/drawing/2014/main" id="{46C36426-BD31-9C19-D166-3C6CC92F5FE5}"/>
              </a:ext>
            </a:extLst>
          </p:cNvPr>
          <p:cNvSpPr txBox="1">
            <a:spLocks/>
          </p:cNvSpPr>
          <p:nvPr/>
        </p:nvSpPr>
        <p:spPr>
          <a:xfrm>
            <a:off x="505078" y="2574131"/>
            <a:ext cx="3188300" cy="649023"/>
          </a:xfrm>
          <a:prstGeom prst="rect">
            <a:avLst/>
          </a:prstGeom>
          <a:solidFill>
            <a:schemeClr val="tx2">
              <a:lumMod val="20000"/>
              <a:lumOff val="80000"/>
            </a:schemeClr>
          </a:solidFill>
          <a:ln w="31750">
            <a:noFill/>
          </a:ln>
        </p:spPr>
        <p:txBody>
          <a:bodyPr anchor="ctr">
            <a:noAutofit/>
          </a:bodyPr>
          <a:lstStyle>
            <a:lvl1pPr marL="342900" marR="0" indent="-34290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Calibri"/>
                <a:ea typeface="Calibri"/>
                <a:cs typeface="Calibri"/>
                <a:sym typeface="Calibri"/>
              </a:defRPr>
            </a:lvl1pPr>
            <a:lvl2pPr marL="342900" marR="0" indent="-3810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Calibri"/>
                <a:ea typeface="Calibri"/>
                <a:cs typeface="Calibri"/>
                <a:sym typeface="Calibri"/>
              </a:defRPr>
            </a:lvl2pPr>
            <a:lvl3pPr marL="342900" marR="0" indent="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Calibri"/>
                <a:ea typeface="Calibri"/>
                <a:cs typeface="Calibri"/>
                <a:sym typeface="Calibri"/>
              </a:defRPr>
            </a:lvl3pPr>
            <a:lvl4pPr marL="342900" marR="0" indent="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Calibri"/>
                <a:ea typeface="Calibri"/>
                <a:cs typeface="Calibri"/>
                <a:sym typeface="Calibri"/>
              </a:defRPr>
            </a:lvl4pPr>
            <a:lvl5pPr marL="342900" marR="0" indent="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Calibri"/>
                <a:ea typeface="Calibri"/>
                <a:cs typeface="Calibri"/>
                <a:sym typeface="Calibri"/>
              </a:defRPr>
            </a:lvl5pPr>
            <a:lvl6pPr marL="342900" marR="0" indent="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Calibri"/>
                <a:ea typeface="Calibri"/>
                <a:cs typeface="Calibri"/>
                <a:sym typeface="Calibri"/>
              </a:defRPr>
            </a:lvl6pPr>
            <a:lvl7pPr marL="342900" marR="0" indent="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Calibri"/>
                <a:ea typeface="Calibri"/>
                <a:cs typeface="Calibri"/>
                <a:sym typeface="Calibri"/>
              </a:defRPr>
            </a:lvl7pPr>
            <a:lvl8pPr marL="342900" marR="0" indent="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Calibri"/>
                <a:ea typeface="Calibri"/>
                <a:cs typeface="Calibri"/>
                <a:sym typeface="Calibri"/>
              </a:defRPr>
            </a:lvl8pPr>
            <a:lvl9pPr marL="342900" marR="0" indent="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Calibri"/>
                <a:ea typeface="Calibri"/>
                <a:cs typeface="Calibri"/>
                <a:sym typeface="Calibri"/>
              </a:defRPr>
            </a:lvl9pPr>
          </a:lstStyle>
          <a:p>
            <a:pPr marL="0" indent="0" algn="l" defTabSz="1219139">
              <a:defRPr/>
            </a:pPr>
            <a:endParaRPr lang="en-GB" sz="1050" b="1" kern="0" dirty="0">
              <a:solidFill>
                <a:srgbClr val="0070C0"/>
              </a:solidFill>
              <a:latin typeface="Arial" panose="020B0604020202020204" pitchFamily="34" charset="0"/>
              <a:cs typeface="Arial" panose="020B0604020202020204" pitchFamily="34" charset="0"/>
            </a:endParaRPr>
          </a:p>
          <a:p>
            <a:pPr marL="0" indent="0" algn="l" defTabSz="1219139">
              <a:defRPr/>
            </a:pPr>
            <a:endParaRPr lang="en-GB" sz="1050" b="1" kern="0" dirty="0">
              <a:solidFill>
                <a:srgbClr val="0070C0"/>
              </a:solidFill>
              <a:latin typeface="Arial" panose="020B0604020202020204" pitchFamily="34" charset="0"/>
              <a:cs typeface="Arial" panose="020B0604020202020204" pitchFamily="34" charset="0"/>
            </a:endParaRPr>
          </a:p>
          <a:p>
            <a:pPr marL="0" indent="0" algn="l" defTabSz="1219139">
              <a:spcBef>
                <a:spcPts val="0"/>
              </a:spcBef>
              <a:buClr>
                <a:srgbClr val="113468"/>
              </a:buClr>
              <a:defRPr/>
            </a:pPr>
            <a:endParaRPr lang="en-US" sz="1050" b="1" kern="0" dirty="0">
              <a:solidFill>
                <a:srgbClr val="0070C0"/>
              </a:solidFill>
              <a:latin typeface="Arial" panose="020B0604020202020204" pitchFamily="34" charset="0"/>
              <a:cs typeface="Arial" panose="020B0604020202020204" pitchFamily="34" charset="0"/>
            </a:endParaRPr>
          </a:p>
          <a:p>
            <a:pPr marL="0" indent="0" algn="l" defTabSz="1219139">
              <a:spcBef>
                <a:spcPts val="0"/>
              </a:spcBef>
              <a:buClr>
                <a:srgbClr val="113468"/>
              </a:buClr>
              <a:defRPr/>
            </a:pPr>
            <a:r>
              <a:rPr lang="en-US" sz="1050" b="1" kern="0" dirty="0">
                <a:solidFill>
                  <a:srgbClr val="0070C0"/>
                </a:solidFill>
                <a:latin typeface="Arial" panose="020B0604020202020204" pitchFamily="34" charset="0"/>
                <a:cs typeface="Arial" panose="020B0604020202020204" pitchFamily="34" charset="0"/>
              </a:rPr>
              <a:t>Stratification factors</a:t>
            </a:r>
          </a:p>
          <a:p>
            <a:pPr marL="214313" indent="-214313" algn="l" defTabSz="1219139">
              <a:spcBef>
                <a:spcPts val="0"/>
              </a:spcBef>
              <a:buClr>
                <a:srgbClr val="4472C4"/>
              </a:buClr>
              <a:buFont typeface="Arial" panose="020B0604020202020204" pitchFamily="34" charset="0"/>
              <a:buChar char="•"/>
              <a:defRPr/>
            </a:pPr>
            <a:r>
              <a:rPr lang="en-US" sz="900" dirty="0">
                <a:solidFill>
                  <a:srgbClr val="000000"/>
                </a:solidFill>
                <a:latin typeface="Arial" panose="020B0604020202020204" pitchFamily="34" charset="0"/>
                <a:cs typeface="Arial" panose="020B0604020202020204" pitchFamily="34" charset="0"/>
              </a:rPr>
              <a:t>Hormone receptor status </a:t>
            </a:r>
          </a:p>
          <a:p>
            <a:pPr marL="214313" indent="-214313" algn="l" defTabSz="1219139">
              <a:spcBef>
                <a:spcPts val="0"/>
              </a:spcBef>
              <a:buClr>
                <a:srgbClr val="4472C4"/>
              </a:buClr>
              <a:buFont typeface="Arial" panose="020B0604020202020204" pitchFamily="34" charset="0"/>
              <a:buChar char="•"/>
              <a:defRPr/>
            </a:pPr>
            <a:r>
              <a:rPr lang="en-US" sz="900" dirty="0">
                <a:solidFill>
                  <a:srgbClr val="000000"/>
                </a:solidFill>
                <a:latin typeface="Arial" panose="020B0604020202020204" pitchFamily="34" charset="0"/>
                <a:cs typeface="Arial" panose="020B0604020202020204" pitchFamily="34" charset="0"/>
              </a:rPr>
              <a:t>Prior treatment with pertuzumab </a:t>
            </a:r>
          </a:p>
          <a:p>
            <a:pPr marL="214313" indent="-214313" algn="l" defTabSz="1219139">
              <a:spcBef>
                <a:spcPts val="0"/>
              </a:spcBef>
              <a:buClr>
                <a:srgbClr val="4472C4"/>
              </a:buClr>
              <a:buFont typeface="Arial" panose="020B0604020202020204" pitchFamily="34" charset="0"/>
              <a:buChar char="•"/>
              <a:defRPr/>
            </a:pPr>
            <a:r>
              <a:rPr lang="en-US" sz="900" dirty="0">
                <a:solidFill>
                  <a:srgbClr val="000000"/>
                </a:solidFill>
                <a:latin typeface="Arial" panose="020B0604020202020204" pitchFamily="34" charset="0"/>
                <a:cs typeface="Arial" panose="020B0604020202020204" pitchFamily="34" charset="0"/>
              </a:rPr>
              <a:t>History of visceral disease</a:t>
            </a:r>
          </a:p>
          <a:p>
            <a:pPr marL="0" indent="0" algn="l" defTabSz="1219139">
              <a:spcBef>
                <a:spcPts val="0"/>
              </a:spcBef>
              <a:buClr>
                <a:srgbClr val="4472C4"/>
              </a:buClr>
              <a:defRPr/>
            </a:pPr>
            <a:endParaRPr lang="en-US" sz="900" dirty="0">
              <a:solidFill>
                <a:srgbClr val="000000"/>
              </a:solidFill>
              <a:latin typeface="Arial" panose="020B0604020202020204" pitchFamily="34" charset="0"/>
              <a:cs typeface="Arial" panose="020B0604020202020204" pitchFamily="34" charset="0"/>
            </a:endParaRPr>
          </a:p>
          <a:p>
            <a:pPr marL="0" indent="0" algn="l" defTabSz="1219139">
              <a:spcBef>
                <a:spcPts val="0"/>
              </a:spcBef>
              <a:buClr>
                <a:srgbClr val="4472C4"/>
              </a:buClr>
              <a:defRPr/>
            </a:pPr>
            <a:endParaRPr lang="en-US" sz="900" dirty="0">
              <a:solidFill>
                <a:srgbClr val="000000"/>
              </a:solidFill>
              <a:latin typeface="Arial" panose="020B0604020202020204" pitchFamily="34" charset="0"/>
              <a:cs typeface="Arial" panose="020B0604020202020204" pitchFamily="34" charset="0"/>
            </a:endParaRPr>
          </a:p>
          <a:p>
            <a:pPr marL="0" indent="0" algn="l" defTabSz="1219139">
              <a:spcBef>
                <a:spcPts val="0"/>
              </a:spcBef>
              <a:buClr>
                <a:srgbClr val="4472C4"/>
              </a:buClr>
              <a:defRPr/>
            </a:pPr>
            <a:endParaRPr lang="en-US" sz="900" dirty="0">
              <a:solidFill>
                <a:srgbClr val="000000"/>
              </a:solidFill>
              <a:latin typeface="Arial" panose="020B0604020202020204" pitchFamily="34" charset="0"/>
              <a:cs typeface="Arial" panose="020B0604020202020204" pitchFamily="34" charset="0"/>
            </a:endParaRPr>
          </a:p>
          <a:p>
            <a:pPr marL="0" indent="0" algn="l" defTabSz="1219139">
              <a:spcBef>
                <a:spcPts val="0"/>
              </a:spcBef>
              <a:buClr>
                <a:srgbClr val="4472C4"/>
              </a:buClr>
              <a:defRPr/>
            </a:pPr>
            <a:endParaRPr lang="en-US" sz="900" dirty="0">
              <a:solidFill>
                <a:srgbClr val="00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91350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Lst>
  </p:timing>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F5B241-8624-4E79-B312-68A91401A93D}"/>
              </a:ext>
            </a:extLst>
          </p:cNvPr>
          <p:cNvSpPr>
            <a:spLocks noGrp="1"/>
          </p:cNvSpPr>
          <p:nvPr>
            <p:ph type="ctrTitle"/>
          </p:nvPr>
        </p:nvSpPr>
        <p:spPr>
          <a:xfrm>
            <a:off x="359999" y="451546"/>
            <a:ext cx="8409765" cy="432000"/>
          </a:xfrm>
        </p:spPr>
        <p:txBody>
          <a:bodyPr/>
          <a:lstStyle/>
          <a:p>
            <a:r>
              <a:rPr lang="en-US" sz="2100" dirty="0">
                <a:solidFill>
                  <a:schemeClr val="tx1"/>
                </a:solidFill>
              </a:rPr>
              <a:t>Baseline Characteristics</a:t>
            </a:r>
          </a:p>
        </p:txBody>
      </p:sp>
      <p:graphicFrame>
        <p:nvGraphicFramePr>
          <p:cNvPr id="6" name="Table 5">
            <a:extLst>
              <a:ext uri="{FF2B5EF4-FFF2-40B4-BE49-F238E27FC236}">
                <a16:creationId xmlns:a16="http://schemas.microsoft.com/office/drawing/2014/main" id="{F39E7C25-3508-42F1-84C4-14F7F47232A4}"/>
              </a:ext>
            </a:extLst>
          </p:cNvPr>
          <p:cNvGraphicFramePr>
            <a:graphicFrameLocks noGrp="1"/>
          </p:cNvGraphicFramePr>
          <p:nvPr>
            <p:extLst>
              <p:ext uri="{D42A27DB-BD31-4B8C-83A1-F6EECF244321}">
                <p14:modId xmlns:p14="http://schemas.microsoft.com/office/powerpoint/2010/main" val="645393096"/>
              </p:ext>
            </p:extLst>
          </p:nvPr>
        </p:nvGraphicFramePr>
        <p:xfrm>
          <a:off x="1200150" y="667546"/>
          <a:ext cx="6755280" cy="3750885"/>
        </p:xfrm>
        <a:graphic>
          <a:graphicData uri="http://schemas.openxmlformats.org/drawingml/2006/table">
            <a:tbl>
              <a:tblPr firstRow="1" bandRow="1"/>
              <a:tblGrid>
                <a:gridCol w="2599182">
                  <a:extLst>
                    <a:ext uri="{9D8B030D-6E8A-4147-A177-3AD203B41FA5}">
                      <a16:colId xmlns:a16="http://schemas.microsoft.com/office/drawing/2014/main" val="3624223050"/>
                    </a:ext>
                  </a:extLst>
                </a:gridCol>
                <a:gridCol w="2078124">
                  <a:extLst>
                    <a:ext uri="{9D8B030D-6E8A-4147-A177-3AD203B41FA5}">
                      <a16:colId xmlns:a16="http://schemas.microsoft.com/office/drawing/2014/main" val="2753886849"/>
                    </a:ext>
                  </a:extLst>
                </a:gridCol>
                <a:gridCol w="2077974">
                  <a:extLst>
                    <a:ext uri="{9D8B030D-6E8A-4147-A177-3AD203B41FA5}">
                      <a16:colId xmlns:a16="http://schemas.microsoft.com/office/drawing/2014/main" val="3825376851"/>
                    </a:ext>
                  </a:extLst>
                </a:gridCol>
              </a:tblGrid>
              <a:tr h="384048">
                <a:tc>
                  <a:txBody>
                    <a:bodyPr/>
                    <a:lstStyle>
                      <a:lvl1pPr marL="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1pPr>
                      <a:lvl2pPr marL="4572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2pPr>
                      <a:lvl3pPr marL="9144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3pPr>
                      <a:lvl4pPr marL="13716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4pPr>
                      <a:lvl5pPr marL="18288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5pPr>
                      <a:lvl6pPr marL="22860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6pPr>
                      <a:lvl7pPr marL="27432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7pPr>
                      <a:lvl8pPr marL="32004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8pPr>
                      <a:lvl9pPr marL="36576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9pPr>
                    </a:lstStyle>
                    <a:p>
                      <a:pPr marL="0" marR="0">
                        <a:lnSpc>
                          <a:spcPct val="100000"/>
                        </a:lnSpc>
                        <a:spcBef>
                          <a:spcPts val="0"/>
                        </a:spcBef>
                        <a:spcAft>
                          <a:spcPts val="0"/>
                        </a:spcAft>
                      </a:pPr>
                      <a:r>
                        <a:rPr lang="en-US" sz="900" b="1" i="0" u="none" strike="noStrike" kern="1200" cap="none" dirty="0">
                          <a:solidFill>
                            <a:schemeClr val="tx1"/>
                          </a:solidFill>
                          <a:effectLst/>
                          <a:latin typeface="Arial" panose="020B0604020202020204" pitchFamily="34" charset="0"/>
                          <a:ea typeface="+mn-ea"/>
                          <a:cs typeface="Arial" panose="020B0604020202020204" pitchFamily="34" charset="0"/>
                          <a:sym typeface="Arial"/>
                        </a:rPr>
                        <a:t>Baseline Characteristics</a:t>
                      </a:r>
                    </a:p>
                  </a:txBody>
                  <a:tcPr marL="68580" marR="68580" marT="0" marB="0" anchor="b">
                    <a:lnL>
                      <a:noFill/>
                    </a:lnL>
                    <a:lnR>
                      <a:noFill/>
                    </a:lnR>
                    <a:lnT>
                      <a:noFill/>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1pPr>
                      <a:lvl2pPr marL="4572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2pPr>
                      <a:lvl3pPr marL="9144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3pPr>
                      <a:lvl4pPr marL="13716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4pPr>
                      <a:lvl5pPr marL="18288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5pPr>
                      <a:lvl6pPr marL="22860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6pPr>
                      <a:lvl7pPr marL="27432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7pPr>
                      <a:lvl8pPr marL="32004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8pPr>
                      <a:lvl9pPr marL="36576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9pPr>
                    </a:lstStyle>
                    <a:p>
                      <a:pPr marL="0" marR="0" algn="ctr">
                        <a:lnSpc>
                          <a:spcPct val="100000"/>
                        </a:lnSpc>
                        <a:spcBef>
                          <a:spcPts val="0"/>
                        </a:spcBef>
                        <a:spcAft>
                          <a:spcPts val="0"/>
                        </a:spcAft>
                      </a:pPr>
                      <a:r>
                        <a:rPr lang="en-US" sz="1200" b="1" i="0" dirty="0">
                          <a:solidFill>
                            <a:schemeClr val="bg1"/>
                          </a:solidFill>
                          <a:effectLst/>
                          <a:latin typeface="Arial" panose="020B0604020202020204" pitchFamily="34" charset="0"/>
                          <a:ea typeface="MS Mincho" panose="02020609040205080304" pitchFamily="49" charset="-128"/>
                          <a:cs typeface="Arial" panose="020B0604020202020204" pitchFamily="34" charset="0"/>
                        </a:rPr>
                        <a:t>T-DXd</a:t>
                      </a:r>
                      <a:r>
                        <a:rPr lang="en-NZ" sz="1200" b="1" i="0" dirty="0">
                          <a:solidFill>
                            <a:schemeClr val="bg1"/>
                          </a:solidFill>
                          <a:effectLst/>
                          <a:latin typeface="Arial" panose="020B0604020202020204" pitchFamily="34" charset="0"/>
                          <a:ea typeface="MS Mincho" panose="02020609040205080304" pitchFamily="49" charset="-128"/>
                          <a:cs typeface="Arial" panose="020B0604020202020204" pitchFamily="34" charset="0"/>
                        </a:rPr>
                        <a:t> </a:t>
                      </a:r>
                    </a:p>
                    <a:p>
                      <a:pPr marL="0" marR="0" algn="ctr">
                        <a:lnSpc>
                          <a:spcPct val="100000"/>
                        </a:lnSpc>
                        <a:spcBef>
                          <a:spcPts val="0"/>
                        </a:spcBef>
                        <a:spcAft>
                          <a:spcPts val="0"/>
                        </a:spcAft>
                      </a:pPr>
                      <a:r>
                        <a:rPr lang="en-NZ" sz="1200" b="1" i="0" dirty="0">
                          <a:solidFill>
                            <a:schemeClr val="bg1"/>
                          </a:solidFill>
                          <a:effectLst/>
                          <a:latin typeface="Arial" panose="020B0604020202020204" pitchFamily="34" charset="0"/>
                          <a:ea typeface="MS Mincho" panose="02020609040205080304" pitchFamily="49" charset="-128"/>
                          <a:cs typeface="Arial" panose="020B0604020202020204" pitchFamily="34" charset="0"/>
                        </a:rPr>
                        <a:t>n = 406</a:t>
                      </a:r>
                      <a:endParaRPr lang="en-US" sz="1200" b="1" i="0" dirty="0">
                        <a:solidFill>
                          <a:schemeClr val="bg1"/>
                        </a:solidFill>
                        <a:effectLst/>
                        <a:latin typeface="Arial" panose="020B0604020202020204" pitchFamily="34" charset="0"/>
                        <a:ea typeface="MS Mincho" panose="02020609040205080304" pitchFamily="49" charset="-128"/>
                        <a:cs typeface="Arial" panose="020B0604020202020204" pitchFamily="34" charset="0"/>
                      </a:endParaRPr>
                    </a:p>
                  </a:txBody>
                  <a:tcPr marL="68580" marR="68580" marT="0" marB="0" anchor="ctr">
                    <a:lnL>
                      <a:noFill/>
                    </a:lnL>
                    <a:lnR>
                      <a:noFill/>
                    </a:lnR>
                    <a:lnT>
                      <a:noFill/>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002985"/>
                    </a:solidFill>
                  </a:tcPr>
                </a:tc>
                <a:tc>
                  <a:txBody>
                    <a:bodyPr/>
                    <a:lstStyle>
                      <a:lvl1pPr marL="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1pPr>
                      <a:lvl2pPr marL="4572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2pPr>
                      <a:lvl3pPr marL="9144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3pPr>
                      <a:lvl4pPr marL="13716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4pPr>
                      <a:lvl5pPr marL="18288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5pPr>
                      <a:lvl6pPr marL="22860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6pPr>
                      <a:lvl7pPr marL="27432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7pPr>
                      <a:lvl8pPr marL="32004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8pPr>
                      <a:lvl9pPr marL="36576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9pPr>
                    </a:lstStyle>
                    <a:p>
                      <a:pPr marL="0" marR="0" algn="ctr">
                        <a:lnSpc>
                          <a:spcPct val="100000"/>
                        </a:lnSpc>
                        <a:spcBef>
                          <a:spcPts val="0"/>
                        </a:spcBef>
                        <a:spcAft>
                          <a:spcPts val="0"/>
                        </a:spcAft>
                      </a:pPr>
                      <a:r>
                        <a:rPr lang="en-NZ" sz="1200" b="1" i="0" dirty="0">
                          <a:solidFill>
                            <a:schemeClr val="bg1"/>
                          </a:solidFill>
                          <a:effectLst/>
                          <a:latin typeface="Arial" panose="020B0604020202020204" pitchFamily="34" charset="0"/>
                          <a:ea typeface="MS Mincho" panose="02020609040205080304" pitchFamily="49" charset="-128"/>
                          <a:cs typeface="Arial" panose="020B0604020202020204" pitchFamily="34" charset="0"/>
                        </a:rPr>
                        <a:t>TPC</a:t>
                      </a:r>
                    </a:p>
                    <a:p>
                      <a:pPr marL="0" marR="0" algn="ctr">
                        <a:lnSpc>
                          <a:spcPct val="100000"/>
                        </a:lnSpc>
                        <a:spcBef>
                          <a:spcPts val="0"/>
                        </a:spcBef>
                        <a:spcAft>
                          <a:spcPts val="0"/>
                        </a:spcAft>
                      </a:pPr>
                      <a:r>
                        <a:rPr lang="en-NZ" sz="1200" b="1" i="0" dirty="0">
                          <a:solidFill>
                            <a:schemeClr val="bg1"/>
                          </a:solidFill>
                          <a:effectLst/>
                          <a:latin typeface="Arial" panose="020B0604020202020204" pitchFamily="34" charset="0"/>
                          <a:ea typeface="MS Mincho" panose="02020609040205080304" pitchFamily="49" charset="-128"/>
                          <a:cs typeface="Arial" panose="020B0604020202020204" pitchFamily="34" charset="0"/>
                        </a:rPr>
                        <a:t>n = 202</a:t>
                      </a:r>
                      <a:endParaRPr lang="en-US" sz="1200" b="1" i="0" dirty="0">
                        <a:solidFill>
                          <a:schemeClr val="bg1"/>
                        </a:solidFill>
                        <a:effectLst/>
                        <a:latin typeface="Arial" panose="020B0604020202020204" pitchFamily="34" charset="0"/>
                        <a:ea typeface="MS Mincho" panose="02020609040205080304" pitchFamily="49" charset="-128"/>
                        <a:cs typeface="Arial" panose="020B0604020202020204" pitchFamily="34" charset="0"/>
                      </a:endParaRPr>
                    </a:p>
                  </a:txBody>
                  <a:tcPr marL="68580" marR="68580" marT="0" marB="0" anchor="ctr">
                    <a:lnL>
                      <a:noFill/>
                    </a:lnL>
                    <a:lnR>
                      <a:noFill/>
                    </a:lnR>
                    <a:lnT>
                      <a:noFill/>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929294"/>
                    </a:solidFill>
                  </a:tcPr>
                </a:tc>
                <a:extLst>
                  <a:ext uri="{0D108BD9-81ED-4DB2-BD59-A6C34878D82A}">
                    <a16:rowId xmlns:a16="http://schemas.microsoft.com/office/drawing/2014/main" val="2304189290"/>
                  </a:ext>
                </a:extLst>
              </a:tr>
              <a:tr h="142875">
                <a:tc>
                  <a:txBody>
                    <a:bodyPr/>
                    <a:lstStyle>
                      <a:lvl1pPr marL="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1pPr>
                      <a:lvl2pPr marL="4572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2pPr>
                      <a:lvl3pPr marL="9144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3pPr>
                      <a:lvl4pPr marL="13716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4pPr>
                      <a:lvl5pPr marL="18288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5pPr>
                      <a:lvl6pPr marL="22860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6pPr>
                      <a:lvl7pPr marL="27432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7pPr>
                      <a:lvl8pPr marL="32004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8pPr>
                      <a:lvl9pPr marL="36576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9pPr>
                    </a:lstStyle>
                    <a:p>
                      <a:pPr marL="0" marR="0">
                        <a:lnSpc>
                          <a:spcPct val="100000"/>
                        </a:lnSpc>
                        <a:spcBef>
                          <a:spcPts val="0"/>
                        </a:spcBef>
                        <a:spcAft>
                          <a:spcPts val="0"/>
                        </a:spcAft>
                      </a:pPr>
                      <a:r>
                        <a:rPr lang="en-NZ" sz="900" b="1" i="0" dirty="0">
                          <a:effectLst/>
                          <a:latin typeface="Arial" panose="020B0604020202020204" pitchFamily="34" charset="0"/>
                          <a:cs typeface="Arial" panose="020B0604020202020204" pitchFamily="34" charset="0"/>
                        </a:rPr>
                        <a:t>Age, median (range), years</a:t>
                      </a:r>
                      <a:endParaRPr lang="en-US" sz="900" b="1" i="0" dirty="0">
                        <a:effectLst/>
                        <a:latin typeface="Arial" panose="020B0604020202020204" pitchFamily="34" charset="0"/>
                        <a:ea typeface="MS Mincho" panose="02020609040205080304" pitchFamily="49" charset="-128"/>
                        <a:cs typeface="Arial" panose="020B0604020202020204" pitchFamily="34" charset="0"/>
                      </a:endParaRPr>
                    </a:p>
                  </a:txBody>
                  <a:tcPr marL="68580" marR="68580" marT="0" marB="0" anchor="ctr">
                    <a:lnL>
                      <a:noFill/>
                    </a:lnL>
                    <a:lnR>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1pPr>
                      <a:lvl2pPr marL="4572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2pPr>
                      <a:lvl3pPr marL="9144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3pPr>
                      <a:lvl4pPr marL="13716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4pPr>
                      <a:lvl5pPr marL="18288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5pPr>
                      <a:lvl6pPr marL="22860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6pPr>
                      <a:lvl7pPr marL="27432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7pPr>
                      <a:lvl8pPr marL="32004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8pPr>
                      <a:lvl9pPr marL="36576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9pPr>
                    </a:lstStyle>
                    <a:p>
                      <a:pPr marL="0" marR="0" algn="ctr">
                        <a:lnSpc>
                          <a:spcPct val="100000"/>
                        </a:lnSpc>
                        <a:spcBef>
                          <a:spcPts val="0"/>
                        </a:spcBef>
                        <a:spcAft>
                          <a:spcPts val="0"/>
                        </a:spcAft>
                      </a:pPr>
                      <a:r>
                        <a:rPr lang="en-NZ" sz="900" kern="1200" dirty="0">
                          <a:effectLst/>
                          <a:latin typeface="Arial" panose="020B0604020202020204" pitchFamily="34" charset="0"/>
                          <a:cs typeface="Arial" panose="020B0604020202020204" pitchFamily="34" charset="0"/>
                        </a:rPr>
                        <a:t>54.2 (22.4-88.5)</a:t>
                      </a:r>
                      <a:endParaRPr lang="en-US" sz="900" dirty="0">
                        <a:effectLst/>
                        <a:latin typeface="Arial" panose="020B0604020202020204" pitchFamily="34" charset="0"/>
                        <a:ea typeface="MS Mincho" panose="02020609040205080304" pitchFamily="49" charset="-128"/>
                        <a:cs typeface="Arial" panose="020B0604020202020204" pitchFamily="34" charset="0"/>
                      </a:endParaRPr>
                    </a:p>
                  </a:txBody>
                  <a:tcPr marL="51435" marR="51435" marT="0" marB="0" anchor="ctr">
                    <a:lnL>
                      <a:noFill/>
                    </a:lnL>
                    <a:lnR>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E6ECF9">
                        <a:alpha val="75281"/>
                      </a:srgbClr>
                    </a:solidFill>
                  </a:tcPr>
                </a:tc>
                <a:tc>
                  <a:txBody>
                    <a:bodyPr/>
                    <a:lstStyle>
                      <a:lvl1pPr marL="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1pPr>
                      <a:lvl2pPr marL="4572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2pPr>
                      <a:lvl3pPr marL="9144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3pPr>
                      <a:lvl4pPr marL="13716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4pPr>
                      <a:lvl5pPr marL="18288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5pPr>
                      <a:lvl6pPr marL="22860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6pPr>
                      <a:lvl7pPr marL="27432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7pPr>
                      <a:lvl8pPr marL="32004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8pPr>
                      <a:lvl9pPr marL="36576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9pPr>
                    </a:lstStyle>
                    <a:p>
                      <a:pPr marL="0" marR="0" algn="ctr">
                        <a:lnSpc>
                          <a:spcPct val="100000"/>
                        </a:lnSpc>
                        <a:spcBef>
                          <a:spcPts val="0"/>
                        </a:spcBef>
                        <a:spcAft>
                          <a:spcPts val="0"/>
                        </a:spcAft>
                      </a:pPr>
                      <a:r>
                        <a:rPr lang="en-NZ" sz="900" kern="1200" dirty="0">
                          <a:effectLst/>
                          <a:latin typeface="Arial" panose="020B0604020202020204" pitchFamily="34" charset="0"/>
                          <a:cs typeface="Arial" panose="020B0604020202020204" pitchFamily="34" charset="0"/>
                        </a:rPr>
                        <a:t>54.7 (24.7-86.5)</a:t>
                      </a:r>
                      <a:endParaRPr lang="en-US" sz="900" dirty="0">
                        <a:effectLst/>
                        <a:latin typeface="Arial" panose="020B0604020202020204" pitchFamily="34" charset="0"/>
                        <a:ea typeface="MS Mincho" panose="02020609040205080304" pitchFamily="49" charset="-128"/>
                        <a:cs typeface="Arial" panose="020B0604020202020204" pitchFamily="34" charset="0"/>
                      </a:endParaRPr>
                    </a:p>
                  </a:txBody>
                  <a:tcPr marL="51435" marR="51435" marT="0" marB="0" anchor="ctr">
                    <a:lnL>
                      <a:noFill/>
                    </a:lnL>
                    <a:lnR>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50035"/>
                      </a:schemeClr>
                    </a:solidFill>
                  </a:tcPr>
                </a:tc>
                <a:extLst>
                  <a:ext uri="{0D108BD9-81ED-4DB2-BD59-A6C34878D82A}">
                    <a16:rowId xmlns:a16="http://schemas.microsoft.com/office/drawing/2014/main" val="319912476"/>
                  </a:ext>
                </a:extLst>
              </a:tr>
              <a:tr h="142875">
                <a:tc>
                  <a:txBody>
                    <a:bodyPr/>
                    <a:lstStyle/>
                    <a:p>
                      <a:pPr marL="0" marR="0">
                        <a:lnSpc>
                          <a:spcPct val="100000"/>
                        </a:lnSpc>
                        <a:spcBef>
                          <a:spcPts val="0"/>
                        </a:spcBef>
                        <a:spcAft>
                          <a:spcPts val="0"/>
                        </a:spcAft>
                      </a:pPr>
                      <a:r>
                        <a:rPr lang="en-US" sz="900" b="1" i="0" dirty="0">
                          <a:effectLst/>
                          <a:latin typeface="Arial" panose="020B0604020202020204" pitchFamily="34" charset="0"/>
                          <a:ea typeface="MS Mincho" panose="02020609040205080304" pitchFamily="49" charset="-128"/>
                          <a:cs typeface="Arial" panose="020B0604020202020204" pitchFamily="34" charset="0"/>
                        </a:rPr>
                        <a:t>Age, n (%)</a:t>
                      </a:r>
                    </a:p>
                  </a:txBody>
                  <a:tcPr marL="68580" marR="68580" marT="0" marB="0" anchor="ctr">
                    <a:lnL>
                      <a:noFill/>
                    </a:lnL>
                    <a:lnR>
                      <a:noFill/>
                    </a:lnR>
                    <a:lnT w="9525"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0000"/>
                        </a:lnSpc>
                        <a:spcBef>
                          <a:spcPts val="0"/>
                        </a:spcBef>
                        <a:spcAft>
                          <a:spcPts val="0"/>
                        </a:spcAft>
                      </a:pPr>
                      <a:endParaRPr lang="en-US" sz="900" dirty="0">
                        <a:effectLst/>
                        <a:latin typeface="Arial" panose="020B0604020202020204" pitchFamily="34" charset="0"/>
                        <a:ea typeface="MS Mincho" panose="02020609040205080304" pitchFamily="49" charset="-128"/>
                        <a:cs typeface="Arial" panose="020B0604020202020204" pitchFamily="34" charset="0"/>
                      </a:endParaRPr>
                    </a:p>
                  </a:txBody>
                  <a:tcPr marL="51435" marR="51435" marT="0" marB="0" anchor="ctr">
                    <a:lnL>
                      <a:noFill/>
                    </a:lnL>
                    <a:lnR>
                      <a:noFill/>
                    </a:lnR>
                    <a:lnT w="9525"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CF9">
                        <a:alpha val="75281"/>
                      </a:srgbClr>
                    </a:solidFill>
                  </a:tcPr>
                </a:tc>
                <a:tc>
                  <a:txBody>
                    <a:bodyPr/>
                    <a:lstStyle/>
                    <a:p>
                      <a:pPr marL="0" marR="0" algn="ctr">
                        <a:lnSpc>
                          <a:spcPct val="100000"/>
                        </a:lnSpc>
                        <a:spcBef>
                          <a:spcPts val="0"/>
                        </a:spcBef>
                        <a:spcAft>
                          <a:spcPts val="0"/>
                        </a:spcAft>
                      </a:pPr>
                      <a:endParaRPr lang="en-US" sz="900" dirty="0">
                        <a:effectLst/>
                        <a:latin typeface="Arial" panose="020B0604020202020204" pitchFamily="34" charset="0"/>
                        <a:ea typeface="MS Mincho" panose="02020609040205080304" pitchFamily="49" charset="-128"/>
                        <a:cs typeface="Arial" panose="020B0604020202020204" pitchFamily="34" charset="0"/>
                      </a:endParaRPr>
                    </a:p>
                  </a:txBody>
                  <a:tcPr marL="51435" marR="51435" marT="0" marB="0" anchor="ctr">
                    <a:lnL>
                      <a:noFill/>
                    </a:lnL>
                    <a:lnR>
                      <a:noFill/>
                    </a:lnR>
                    <a:lnT w="9525"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alpha val="50035"/>
                      </a:schemeClr>
                    </a:solidFill>
                  </a:tcPr>
                </a:tc>
                <a:extLst>
                  <a:ext uri="{0D108BD9-81ED-4DB2-BD59-A6C34878D82A}">
                    <a16:rowId xmlns:a16="http://schemas.microsoft.com/office/drawing/2014/main" val="2585043801"/>
                  </a:ext>
                </a:extLst>
              </a:tr>
              <a:tr h="142875">
                <a:tc>
                  <a:txBody>
                    <a:bodyPr/>
                    <a:lstStyle/>
                    <a:p>
                      <a:pPr marL="0" marR="0">
                        <a:lnSpc>
                          <a:spcPct val="100000"/>
                        </a:lnSpc>
                        <a:spcBef>
                          <a:spcPts val="0"/>
                        </a:spcBef>
                        <a:spcAft>
                          <a:spcPts val="0"/>
                        </a:spcAft>
                      </a:pPr>
                      <a:r>
                        <a:rPr lang="en-US" sz="900" b="0" i="0" dirty="0">
                          <a:effectLst/>
                          <a:latin typeface="Arial" panose="020B0604020202020204" pitchFamily="34" charset="0"/>
                          <a:ea typeface="MS Mincho" panose="02020609040205080304" pitchFamily="49" charset="-128"/>
                          <a:cs typeface="Arial" panose="020B0604020202020204" pitchFamily="34" charset="0"/>
                        </a:rPr>
                        <a:t>      &lt;65 years  |  ≥65 years</a:t>
                      </a:r>
                    </a:p>
                  </a:txBody>
                  <a:tcPr marL="68580" marR="68580" marT="0" marB="0" anchor="ctr">
                    <a:lnL>
                      <a:noFill/>
                    </a:lnL>
                    <a:lnR>
                      <a:noFill/>
                    </a:lnR>
                    <a:lnT w="12700" cap="flat" cmpd="sng" algn="ctr">
                      <a:no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0000"/>
                        </a:lnSpc>
                        <a:spcBef>
                          <a:spcPts val="0"/>
                        </a:spcBef>
                        <a:spcAft>
                          <a:spcPts val="0"/>
                        </a:spcAft>
                      </a:pPr>
                      <a:r>
                        <a:rPr lang="en-US" sz="900" dirty="0">
                          <a:effectLst/>
                          <a:latin typeface="Arial" panose="020B0604020202020204" pitchFamily="34" charset="0"/>
                          <a:ea typeface="MS Mincho" panose="02020609040205080304" pitchFamily="49" charset="-128"/>
                          <a:cs typeface="Arial" panose="020B0604020202020204" pitchFamily="34" charset="0"/>
                        </a:rPr>
                        <a:t>321 (79.1) | 85 (20.9)</a:t>
                      </a:r>
                    </a:p>
                  </a:txBody>
                  <a:tcPr marL="51435" marR="51435" marT="0" marB="0" anchor="ctr">
                    <a:lnL>
                      <a:noFill/>
                    </a:lnL>
                    <a:lnR>
                      <a:noFill/>
                    </a:lnR>
                    <a:lnT w="12700" cap="flat" cmpd="sng" algn="ctr">
                      <a:no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E6ECF9">
                        <a:alpha val="75281"/>
                      </a:srgbClr>
                    </a:solidFill>
                  </a:tcPr>
                </a:tc>
                <a:tc>
                  <a:txBody>
                    <a:bodyPr/>
                    <a:lstStyle/>
                    <a:p>
                      <a:pPr marL="0" marR="0" algn="ctr">
                        <a:lnSpc>
                          <a:spcPct val="100000"/>
                        </a:lnSpc>
                        <a:spcBef>
                          <a:spcPts val="0"/>
                        </a:spcBef>
                        <a:spcAft>
                          <a:spcPts val="0"/>
                        </a:spcAft>
                      </a:pPr>
                      <a:r>
                        <a:rPr lang="en-US" sz="900" dirty="0">
                          <a:effectLst/>
                          <a:latin typeface="Arial" panose="020B0604020202020204" pitchFamily="34" charset="0"/>
                          <a:ea typeface="MS Mincho" panose="02020609040205080304" pitchFamily="49" charset="-128"/>
                          <a:cs typeface="Arial" panose="020B0604020202020204" pitchFamily="34" charset="0"/>
                        </a:rPr>
                        <a:t>164 (81.2) | 38 (18.8)</a:t>
                      </a:r>
                    </a:p>
                  </a:txBody>
                  <a:tcPr marL="51435" marR="51435" marT="0" marB="0" anchor="ctr">
                    <a:lnL>
                      <a:noFill/>
                    </a:lnL>
                    <a:lnR>
                      <a:noFill/>
                    </a:lnR>
                    <a:lnT w="12700" cap="flat" cmpd="sng" algn="ctr">
                      <a:no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2F2F2">
                        <a:alpha val="49804"/>
                      </a:srgbClr>
                    </a:solidFill>
                  </a:tcPr>
                </a:tc>
                <a:extLst>
                  <a:ext uri="{0D108BD9-81ED-4DB2-BD59-A6C34878D82A}">
                    <a16:rowId xmlns:a16="http://schemas.microsoft.com/office/drawing/2014/main" val="3150476457"/>
                  </a:ext>
                </a:extLst>
              </a:tr>
              <a:tr h="142875">
                <a:tc>
                  <a:txBody>
                    <a:bodyPr/>
                    <a:lstStyle>
                      <a:lvl1pPr marL="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1pPr>
                      <a:lvl2pPr marL="4572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2pPr>
                      <a:lvl3pPr marL="9144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3pPr>
                      <a:lvl4pPr marL="13716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4pPr>
                      <a:lvl5pPr marL="18288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5pPr>
                      <a:lvl6pPr marL="22860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6pPr>
                      <a:lvl7pPr marL="27432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7pPr>
                      <a:lvl8pPr marL="32004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8pPr>
                      <a:lvl9pPr marL="36576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9pPr>
                    </a:lstStyle>
                    <a:p>
                      <a:pPr marL="0" marR="0">
                        <a:lnSpc>
                          <a:spcPct val="100000"/>
                        </a:lnSpc>
                        <a:spcBef>
                          <a:spcPts val="0"/>
                        </a:spcBef>
                        <a:spcAft>
                          <a:spcPts val="0"/>
                        </a:spcAft>
                      </a:pPr>
                      <a:r>
                        <a:rPr lang="en-NZ" sz="900" b="1" i="0" dirty="0">
                          <a:effectLst/>
                          <a:latin typeface="Arial" panose="020B0604020202020204" pitchFamily="34" charset="0"/>
                          <a:cs typeface="Arial" panose="020B0604020202020204" pitchFamily="34" charset="0"/>
                        </a:rPr>
                        <a:t>Female, n (%)</a:t>
                      </a:r>
                      <a:endParaRPr lang="en-US" sz="900" b="1" i="0" dirty="0">
                        <a:effectLst/>
                        <a:latin typeface="Arial" panose="020B0604020202020204" pitchFamily="34" charset="0"/>
                        <a:ea typeface="MS Mincho" panose="02020609040205080304" pitchFamily="49" charset="-128"/>
                        <a:cs typeface="Arial" panose="020B0604020202020204" pitchFamily="34" charset="0"/>
                      </a:endParaRPr>
                    </a:p>
                  </a:txBody>
                  <a:tcPr marL="68580" marR="68580" marT="0" marB="0" anchor="ctr">
                    <a:lnL>
                      <a:noFill/>
                    </a:lnL>
                    <a:lnR>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1pPr>
                      <a:lvl2pPr marL="4572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2pPr>
                      <a:lvl3pPr marL="9144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3pPr>
                      <a:lvl4pPr marL="13716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4pPr>
                      <a:lvl5pPr marL="18288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5pPr>
                      <a:lvl6pPr marL="22860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6pPr>
                      <a:lvl7pPr marL="27432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7pPr>
                      <a:lvl8pPr marL="32004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8pPr>
                      <a:lvl9pPr marL="36576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9pPr>
                    </a:lstStyle>
                    <a:p>
                      <a:pPr marL="0" marR="0" algn="ctr">
                        <a:lnSpc>
                          <a:spcPct val="100000"/>
                        </a:lnSpc>
                        <a:spcBef>
                          <a:spcPts val="0"/>
                        </a:spcBef>
                        <a:spcAft>
                          <a:spcPts val="0"/>
                        </a:spcAft>
                      </a:pPr>
                      <a:r>
                        <a:rPr lang="en-NZ" sz="900" kern="1200" dirty="0">
                          <a:effectLst/>
                          <a:latin typeface="Arial" panose="020B0604020202020204" pitchFamily="34" charset="0"/>
                          <a:cs typeface="Arial" panose="020B0604020202020204" pitchFamily="34" charset="0"/>
                        </a:rPr>
                        <a:t>403 (99.3)</a:t>
                      </a:r>
                      <a:endParaRPr lang="en-US" sz="900" dirty="0">
                        <a:effectLst/>
                        <a:latin typeface="Arial" panose="020B0604020202020204" pitchFamily="34" charset="0"/>
                        <a:ea typeface="MS Mincho" panose="02020609040205080304" pitchFamily="49" charset="-128"/>
                        <a:cs typeface="Arial" panose="020B0604020202020204" pitchFamily="34" charset="0"/>
                      </a:endParaRPr>
                    </a:p>
                  </a:txBody>
                  <a:tcPr marL="51435" marR="51435" marT="0" marB="0" anchor="ctr">
                    <a:lnL>
                      <a:noFill/>
                    </a:lnL>
                    <a:lnR>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E6ECF9">
                        <a:alpha val="75281"/>
                      </a:srgbClr>
                    </a:solidFill>
                  </a:tcPr>
                </a:tc>
                <a:tc>
                  <a:txBody>
                    <a:bodyPr/>
                    <a:lstStyle>
                      <a:lvl1pPr marL="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1pPr>
                      <a:lvl2pPr marL="4572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2pPr>
                      <a:lvl3pPr marL="9144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3pPr>
                      <a:lvl4pPr marL="13716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4pPr>
                      <a:lvl5pPr marL="18288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5pPr>
                      <a:lvl6pPr marL="22860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6pPr>
                      <a:lvl7pPr marL="27432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7pPr>
                      <a:lvl8pPr marL="32004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8pPr>
                      <a:lvl9pPr marL="36576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9pPr>
                    </a:lstStyle>
                    <a:p>
                      <a:pPr marL="0" marR="0" algn="ctr">
                        <a:lnSpc>
                          <a:spcPct val="100000"/>
                        </a:lnSpc>
                        <a:spcBef>
                          <a:spcPts val="0"/>
                        </a:spcBef>
                        <a:spcAft>
                          <a:spcPts val="0"/>
                        </a:spcAft>
                      </a:pPr>
                      <a:r>
                        <a:rPr lang="en-NZ" sz="900" kern="1200" dirty="0">
                          <a:effectLst/>
                          <a:latin typeface="Arial" panose="020B0604020202020204" pitchFamily="34" charset="0"/>
                          <a:cs typeface="Arial" panose="020B0604020202020204" pitchFamily="34" charset="0"/>
                        </a:rPr>
                        <a:t>200 (99.0)</a:t>
                      </a:r>
                      <a:endParaRPr lang="en-US" sz="900" dirty="0">
                        <a:effectLst/>
                        <a:latin typeface="Arial" panose="020B0604020202020204" pitchFamily="34" charset="0"/>
                        <a:ea typeface="MS Mincho" panose="02020609040205080304" pitchFamily="49" charset="-128"/>
                        <a:cs typeface="Arial" panose="020B0604020202020204" pitchFamily="34" charset="0"/>
                      </a:endParaRPr>
                    </a:p>
                  </a:txBody>
                  <a:tcPr marL="51435" marR="51435" marT="0" marB="0" anchor="ctr">
                    <a:lnL>
                      <a:noFill/>
                    </a:lnL>
                    <a:lnR>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50035"/>
                      </a:schemeClr>
                    </a:solidFill>
                  </a:tcPr>
                </a:tc>
                <a:extLst>
                  <a:ext uri="{0D108BD9-81ED-4DB2-BD59-A6C34878D82A}">
                    <a16:rowId xmlns:a16="http://schemas.microsoft.com/office/drawing/2014/main" val="704863766"/>
                  </a:ext>
                </a:extLst>
              </a:tr>
              <a:tr h="142875">
                <a:tc>
                  <a:txBody>
                    <a:bodyPr/>
                    <a:lstStyle>
                      <a:lvl1pPr marL="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1pPr>
                      <a:lvl2pPr marL="4572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2pPr>
                      <a:lvl3pPr marL="9144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3pPr>
                      <a:lvl4pPr marL="13716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4pPr>
                      <a:lvl5pPr marL="18288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5pPr>
                      <a:lvl6pPr marL="22860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6pPr>
                      <a:lvl7pPr marL="27432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7pPr>
                      <a:lvl8pPr marL="32004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8pPr>
                      <a:lvl9pPr marL="36576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9pPr>
                    </a:lstStyle>
                    <a:p>
                      <a:pPr marL="0" marR="0">
                        <a:lnSpc>
                          <a:spcPct val="100000"/>
                        </a:lnSpc>
                        <a:spcBef>
                          <a:spcPts val="0"/>
                        </a:spcBef>
                        <a:spcAft>
                          <a:spcPts val="0"/>
                        </a:spcAft>
                      </a:pPr>
                      <a:r>
                        <a:rPr lang="en-NZ" sz="900" b="1" i="0" dirty="0">
                          <a:effectLst/>
                          <a:latin typeface="Arial" panose="020B0604020202020204" pitchFamily="34" charset="0"/>
                          <a:cs typeface="Arial" panose="020B0604020202020204" pitchFamily="34" charset="0"/>
                        </a:rPr>
                        <a:t>Region, n (%)</a:t>
                      </a:r>
                      <a:endParaRPr lang="en-US" sz="900" b="1" i="0" dirty="0">
                        <a:effectLst/>
                        <a:latin typeface="Arial" panose="020B0604020202020204" pitchFamily="34" charset="0"/>
                        <a:cs typeface="Arial" panose="020B0604020202020204" pitchFamily="34" charset="0"/>
                      </a:endParaRPr>
                    </a:p>
                  </a:txBody>
                  <a:tcPr marL="68580" marR="68580" marT="0" marB="0" anchor="ctr">
                    <a:lnL>
                      <a:noFill/>
                    </a:lnL>
                    <a:lnR>
                      <a:noFill/>
                    </a:lnR>
                    <a:lnT w="9525" cap="flat" cmpd="sng" algn="ctr">
                      <a:solidFill>
                        <a:schemeClr val="accent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1pPr>
                      <a:lvl2pPr marL="4572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2pPr>
                      <a:lvl3pPr marL="9144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3pPr>
                      <a:lvl4pPr marL="13716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4pPr>
                      <a:lvl5pPr marL="18288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5pPr>
                      <a:lvl6pPr marL="22860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6pPr>
                      <a:lvl7pPr marL="27432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7pPr>
                      <a:lvl8pPr marL="32004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8pPr>
                      <a:lvl9pPr marL="36576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9pPr>
                    </a:lstStyle>
                    <a:p>
                      <a:pPr marL="0" marR="0" algn="ctr">
                        <a:lnSpc>
                          <a:spcPct val="100000"/>
                        </a:lnSpc>
                        <a:spcBef>
                          <a:spcPts val="0"/>
                        </a:spcBef>
                        <a:spcAft>
                          <a:spcPts val="0"/>
                        </a:spcAft>
                      </a:pPr>
                      <a:endParaRPr lang="en-US" sz="900" b="0" i="0" dirty="0">
                        <a:effectLst/>
                        <a:latin typeface="Arial" panose="020B0604020202020204" pitchFamily="34" charset="0"/>
                        <a:cs typeface="Arial" panose="020B0604020202020204" pitchFamily="34" charset="0"/>
                      </a:endParaRPr>
                    </a:p>
                  </a:txBody>
                  <a:tcPr marL="68580" marR="68580" marT="0" marB="0" anchor="ctr">
                    <a:lnL>
                      <a:noFill/>
                    </a:lnL>
                    <a:lnR>
                      <a:noFill/>
                    </a:lnR>
                    <a:lnT w="9525" cap="flat" cmpd="sng" algn="ctr">
                      <a:solidFill>
                        <a:schemeClr val="accent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CF9">
                        <a:alpha val="75281"/>
                      </a:srgbClr>
                    </a:solidFill>
                  </a:tcPr>
                </a:tc>
                <a:tc>
                  <a:txBody>
                    <a:bodyPr/>
                    <a:lstStyle>
                      <a:lvl1pPr marL="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1pPr>
                      <a:lvl2pPr marL="4572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2pPr>
                      <a:lvl3pPr marL="9144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3pPr>
                      <a:lvl4pPr marL="13716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4pPr>
                      <a:lvl5pPr marL="18288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5pPr>
                      <a:lvl6pPr marL="22860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6pPr>
                      <a:lvl7pPr marL="27432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7pPr>
                      <a:lvl8pPr marL="32004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8pPr>
                      <a:lvl9pPr marL="36576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9pPr>
                    </a:lstStyle>
                    <a:p>
                      <a:pPr marL="0" marR="0" algn="ctr">
                        <a:lnSpc>
                          <a:spcPct val="100000"/>
                        </a:lnSpc>
                        <a:spcBef>
                          <a:spcPts val="0"/>
                        </a:spcBef>
                        <a:spcAft>
                          <a:spcPts val="0"/>
                        </a:spcAft>
                      </a:pPr>
                      <a:endParaRPr lang="en-NZ" sz="900" b="0" i="0" kern="1200" dirty="0">
                        <a:effectLst/>
                        <a:latin typeface="Arial" panose="020B0604020202020204" pitchFamily="34" charset="0"/>
                        <a:cs typeface="Arial" panose="020B0604020202020204" pitchFamily="34" charset="0"/>
                      </a:endParaRPr>
                    </a:p>
                  </a:txBody>
                  <a:tcPr marL="68580" marR="68580" marT="0" marB="0" anchor="ctr">
                    <a:lnL>
                      <a:noFill/>
                    </a:lnL>
                    <a:lnR>
                      <a:noFill/>
                    </a:lnR>
                    <a:lnT w="9525" cap="flat" cmpd="sng" algn="ctr">
                      <a:solidFill>
                        <a:schemeClr val="accent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8F8F8"/>
                    </a:solidFill>
                  </a:tcPr>
                </a:tc>
                <a:extLst>
                  <a:ext uri="{0D108BD9-81ED-4DB2-BD59-A6C34878D82A}">
                    <a16:rowId xmlns:a16="http://schemas.microsoft.com/office/drawing/2014/main" val="120476181"/>
                  </a:ext>
                </a:extLst>
              </a:tr>
              <a:tr h="150353">
                <a:tc>
                  <a:txBody>
                    <a:bodyPr/>
                    <a:lstStyle/>
                    <a:p>
                      <a:pPr marL="228600" marR="0" lvl="0" indent="0" algn="l" defTabSz="914400" rtl="0" eaLnBrk="1" fontAlgn="auto" latinLnBrk="0" hangingPunct="1">
                        <a:lnSpc>
                          <a:spcPct val="100000"/>
                        </a:lnSpc>
                        <a:spcBef>
                          <a:spcPts val="0"/>
                        </a:spcBef>
                        <a:spcAft>
                          <a:spcPts val="0"/>
                        </a:spcAft>
                        <a:buClrTx/>
                        <a:buSzTx/>
                        <a:buFontTx/>
                        <a:buNone/>
                        <a:tabLst/>
                        <a:defRPr/>
                      </a:pPr>
                      <a:r>
                        <a:rPr lang="en-NZ" sz="900" b="0" i="0" dirty="0">
                          <a:effectLst/>
                          <a:latin typeface="Arial" panose="020B0604020202020204" pitchFamily="34" charset="0"/>
                          <a:cs typeface="Arial" panose="020B0604020202020204" pitchFamily="34" charset="0"/>
                        </a:rPr>
                        <a:t>Asia</a:t>
                      </a:r>
                    </a:p>
                  </a:txBody>
                  <a:tcPr marL="68580" marR="68580" marT="0" marB="0" anchor="ctr">
                    <a:lnL>
                      <a:noFill/>
                    </a:lnL>
                    <a:lnR>
                      <a:noFill/>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5000"/>
                        </a:lnSpc>
                      </a:pPr>
                      <a:r>
                        <a:rPr lang="en-NZ" sz="900" kern="1200" dirty="0">
                          <a:solidFill>
                            <a:schemeClr val="tx1"/>
                          </a:solidFill>
                          <a:effectLst/>
                          <a:latin typeface="Arial" panose="020B0604020202020204" pitchFamily="34" charset="0"/>
                          <a:ea typeface="Yu Mincho" panose="02020400000000000000" pitchFamily="18" charset="-128"/>
                          <a:cs typeface="Times New Roman" panose="02020603050405020304" pitchFamily="18" charset="0"/>
                        </a:rPr>
                        <a:t>112 (27.6)</a:t>
                      </a:r>
                      <a:endParaRPr lang="en-ZA" sz="900" dirty="0">
                        <a:solidFill>
                          <a:schemeClr val="tx1"/>
                        </a:solidFill>
                        <a:effectLst/>
                        <a:latin typeface="Arial" panose="020B0604020202020204" pitchFamily="34" charset="0"/>
                        <a:ea typeface="MS Mincho" panose="02020609040205080304" pitchFamily="49" charset="-128"/>
                        <a:cs typeface="Times New Roman" panose="02020603050405020304" pitchFamily="18" charset="0"/>
                      </a:endParaRPr>
                    </a:p>
                  </a:txBody>
                  <a:tcPr marL="34290" marR="34290" marT="0" marB="0" anchor="b">
                    <a:lnL>
                      <a:noFill/>
                    </a:lnL>
                    <a:lnR>
                      <a:noFill/>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CF9">
                        <a:alpha val="75281"/>
                      </a:srgbClr>
                    </a:solidFill>
                  </a:tcPr>
                </a:tc>
                <a:tc>
                  <a:txBody>
                    <a:bodyPr/>
                    <a:lstStyle/>
                    <a:p>
                      <a:pPr algn="ctr">
                        <a:lnSpc>
                          <a:spcPct val="115000"/>
                        </a:lnSpc>
                      </a:pPr>
                      <a:r>
                        <a:rPr lang="en-NZ" sz="900" kern="1200" dirty="0">
                          <a:solidFill>
                            <a:schemeClr val="tx1"/>
                          </a:solidFill>
                          <a:effectLst/>
                          <a:latin typeface="Arial" panose="020B0604020202020204" pitchFamily="34" charset="0"/>
                          <a:ea typeface="Yu Mincho" panose="02020400000000000000" pitchFamily="18" charset="-128"/>
                          <a:cs typeface="Times New Roman" panose="02020603050405020304" pitchFamily="18" charset="0"/>
                        </a:rPr>
                        <a:t>52 (25.7)</a:t>
                      </a:r>
                      <a:endParaRPr lang="en-ZA" sz="900" dirty="0">
                        <a:solidFill>
                          <a:schemeClr val="tx1"/>
                        </a:solidFill>
                        <a:effectLst/>
                        <a:latin typeface="Arial" panose="020B0604020202020204" pitchFamily="34" charset="0"/>
                        <a:ea typeface="MS Mincho" panose="02020609040205080304" pitchFamily="49" charset="-128"/>
                        <a:cs typeface="Times New Roman" panose="02020603050405020304" pitchFamily="18" charset="0"/>
                      </a:endParaRPr>
                    </a:p>
                  </a:txBody>
                  <a:tcPr marL="34290" marR="34290" marT="0" marB="0" anchor="b">
                    <a:lnL>
                      <a:noFill/>
                    </a:lnL>
                    <a:lnR>
                      <a:noFill/>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50035"/>
                      </a:schemeClr>
                    </a:solidFill>
                  </a:tcPr>
                </a:tc>
                <a:extLst>
                  <a:ext uri="{0D108BD9-81ED-4DB2-BD59-A6C34878D82A}">
                    <a16:rowId xmlns:a16="http://schemas.microsoft.com/office/drawing/2014/main" val="2507855149"/>
                  </a:ext>
                </a:extLst>
              </a:tr>
              <a:tr h="150353">
                <a:tc>
                  <a:txBody>
                    <a:bodyPr/>
                    <a:lstStyle/>
                    <a:p>
                      <a:pPr marL="228600" marR="0" lvl="0" indent="0" algn="l" defTabSz="914400" rtl="0" eaLnBrk="1" fontAlgn="auto" latinLnBrk="0" hangingPunct="1">
                        <a:lnSpc>
                          <a:spcPct val="100000"/>
                        </a:lnSpc>
                        <a:spcBef>
                          <a:spcPts val="0"/>
                        </a:spcBef>
                        <a:spcAft>
                          <a:spcPts val="0"/>
                        </a:spcAft>
                        <a:buClrTx/>
                        <a:buSzTx/>
                        <a:buFontTx/>
                        <a:buNone/>
                        <a:tabLst/>
                        <a:defRPr/>
                      </a:pPr>
                      <a:r>
                        <a:rPr lang="en-NZ" sz="900" b="0" i="0" dirty="0">
                          <a:effectLst/>
                          <a:latin typeface="Arial" panose="020B0604020202020204" pitchFamily="34" charset="0"/>
                          <a:cs typeface="Arial" panose="020B0604020202020204" pitchFamily="34" charset="0"/>
                        </a:rPr>
                        <a:t>Europe</a:t>
                      </a:r>
                    </a:p>
                  </a:txBody>
                  <a:tcPr marL="68580" marR="68580" marT="0" marB="0" anchor="ctr">
                    <a:lnL>
                      <a:noFill/>
                    </a:lnL>
                    <a:lnR>
                      <a:noFill/>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5000"/>
                        </a:lnSpc>
                      </a:pPr>
                      <a:r>
                        <a:rPr lang="en-NZ" sz="900" kern="1200" dirty="0">
                          <a:solidFill>
                            <a:schemeClr val="tx1"/>
                          </a:solidFill>
                          <a:effectLst/>
                          <a:latin typeface="Arial" panose="020B0604020202020204" pitchFamily="34" charset="0"/>
                          <a:ea typeface="MS Mincho" panose="02020609040205080304" pitchFamily="49" charset="-128"/>
                          <a:cs typeface="Times New Roman" panose="02020603050405020304" pitchFamily="18" charset="0"/>
                        </a:rPr>
                        <a:t>152 (37.4)</a:t>
                      </a:r>
                      <a:endParaRPr lang="en-ZA" sz="900" dirty="0">
                        <a:solidFill>
                          <a:schemeClr val="tx1"/>
                        </a:solidFill>
                        <a:effectLst/>
                        <a:latin typeface="Arial" panose="020B0604020202020204" pitchFamily="34" charset="0"/>
                        <a:ea typeface="MS Mincho" panose="02020609040205080304" pitchFamily="49" charset="-128"/>
                        <a:cs typeface="Times New Roman" panose="02020603050405020304" pitchFamily="18" charset="0"/>
                      </a:endParaRPr>
                    </a:p>
                  </a:txBody>
                  <a:tcPr marL="34290" marR="34290" marT="0" marB="0" anchor="b">
                    <a:lnL>
                      <a:noFill/>
                    </a:lnL>
                    <a:lnR>
                      <a:noFill/>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CF9">
                        <a:alpha val="75281"/>
                      </a:srgbClr>
                    </a:solidFill>
                  </a:tcPr>
                </a:tc>
                <a:tc>
                  <a:txBody>
                    <a:bodyPr/>
                    <a:lstStyle/>
                    <a:p>
                      <a:pPr algn="ctr">
                        <a:lnSpc>
                          <a:spcPct val="115000"/>
                        </a:lnSpc>
                      </a:pPr>
                      <a:r>
                        <a:rPr lang="en-NZ" sz="900" kern="1200" dirty="0">
                          <a:solidFill>
                            <a:schemeClr val="tx1"/>
                          </a:solidFill>
                          <a:effectLst/>
                          <a:latin typeface="Arial" panose="020B0604020202020204" pitchFamily="34" charset="0"/>
                          <a:ea typeface="Yu Mincho" panose="02020400000000000000" pitchFamily="18" charset="-128"/>
                          <a:cs typeface="Times New Roman" panose="02020603050405020304" pitchFamily="18" charset="0"/>
                        </a:rPr>
                        <a:t>78 (38.6)</a:t>
                      </a:r>
                      <a:endParaRPr lang="en-ZA" sz="900" dirty="0">
                        <a:solidFill>
                          <a:schemeClr val="tx1"/>
                        </a:solidFill>
                        <a:effectLst/>
                        <a:latin typeface="Arial" panose="020B0604020202020204" pitchFamily="34" charset="0"/>
                        <a:ea typeface="MS Mincho" panose="02020609040205080304" pitchFamily="49" charset="-128"/>
                        <a:cs typeface="Times New Roman" panose="02020603050405020304" pitchFamily="18" charset="0"/>
                      </a:endParaRPr>
                    </a:p>
                  </a:txBody>
                  <a:tcPr marL="34290" marR="34290" marT="0" marB="0" anchor="b">
                    <a:lnL>
                      <a:noFill/>
                    </a:lnL>
                    <a:lnR>
                      <a:noFill/>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50035"/>
                      </a:schemeClr>
                    </a:solidFill>
                  </a:tcPr>
                </a:tc>
                <a:extLst>
                  <a:ext uri="{0D108BD9-81ED-4DB2-BD59-A6C34878D82A}">
                    <a16:rowId xmlns:a16="http://schemas.microsoft.com/office/drawing/2014/main" val="1008048178"/>
                  </a:ext>
                </a:extLst>
              </a:tr>
              <a:tr h="150353">
                <a:tc>
                  <a:txBody>
                    <a:bodyPr/>
                    <a:lstStyle/>
                    <a:p>
                      <a:pPr marL="228600" marR="0" lvl="0" indent="0" algn="l" defTabSz="914400" rtl="0" eaLnBrk="1" fontAlgn="auto" latinLnBrk="0" hangingPunct="1">
                        <a:lnSpc>
                          <a:spcPct val="100000"/>
                        </a:lnSpc>
                        <a:spcBef>
                          <a:spcPts val="0"/>
                        </a:spcBef>
                        <a:spcAft>
                          <a:spcPts val="0"/>
                        </a:spcAft>
                        <a:buClrTx/>
                        <a:buSzTx/>
                        <a:buFontTx/>
                        <a:buNone/>
                        <a:tabLst/>
                        <a:defRPr/>
                      </a:pPr>
                      <a:r>
                        <a:rPr lang="en-NZ" sz="900" b="0" i="0" dirty="0">
                          <a:effectLst/>
                          <a:latin typeface="Arial" panose="020B0604020202020204" pitchFamily="34" charset="0"/>
                          <a:cs typeface="Arial" panose="020B0604020202020204" pitchFamily="34" charset="0"/>
                        </a:rPr>
                        <a:t>North America</a:t>
                      </a:r>
                    </a:p>
                  </a:txBody>
                  <a:tcPr marL="68580" marR="68580" marT="0" marB="0" anchor="ctr">
                    <a:lnL>
                      <a:noFill/>
                    </a:lnL>
                    <a:lnR>
                      <a:noFill/>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5000"/>
                        </a:lnSpc>
                      </a:pPr>
                      <a:r>
                        <a:rPr lang="en-NZ" sz="900" kern="1200" dirty="0">
                          <a:solidFill>
                            <a:schemeClr val="tx1"/>
                          </a:solidFill>
                          <a:effectLst/>
                          <a:latin typeface="Arial" panose="020B0604020202020204" pitchFamily="34" charset="0"/>
                          <a:ea typeface="Yu Mincho" panose="02020400000000000000" pitchFamily="18" charset="-128"/>
                          <a:cs typeface="Times New Roman" panose="02020603050405020304" pitchFamily="18" charset="0"/>
                        </a:rPr>
                        <a:t>41 (10.1)</a:t>
                      </a:r>
                      <a:endParaRPr lang="en-ZA" sz="900" dirty="0">
                        <a:solidFill>
                          <a:schemeClr val="tx1"/>
                        </a:solidFill>
                        <a:effectLst/>
                        <a:latin typeface="Arial" panose="020B0604020202020204" pitchFamily="34" charset="0"/>
                        <a:ea typeface="MS Mincho" panose="02020609040205080304" pitchFamily="49" charset="-128"/>
                        <a:cs typeface="Times New Roman" panose="02020603050405020304" pitchFamily="18" charset="0"/>
                      </a:endParaRPr>
                    </a:p>
                  </a:txBody>
                  <a:tcPr marL="34290" marR="34290" marT="0" marB="0" anchor="b">
                    <a:lnL>
                      <a:noFill/>
                    </a:lnL>
                    <a:lnR>
                      <a:noFill/>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CF9">
                        <a:alpha val="75281"/>
                      </a:srgbClr>
                    </a:solidFill>
                  </a:tcPr>
                </a:tc>
                <a:tc>
                  <a:txBody>
                    <a:bodyPr/>
                    <a:lstStyle/>
                    <a:p>
                      <a:pPr algn="ctr">
                        <a:lnSpc>
                          <a:spcPct val="115000"/>
                        </a:lnSpc>
                      </a:pPr>
                      <a:r>
                        <a:rPr lang="en-NZ" sz="900" kern="1200" dirty="0">
                          <a:solidFill>
                            <a:schemeClr val="tx1"/>
                          </a:solidFill>
                          <a:effectLst/>
                          <a:latin typeface="Arial" panose="020B0604020202020204" pitchFamily="34" charset="0"/>
                          <a:ea typeface="Yu Mincho" panose="02020400000000000000" pitchFamily="18" charset="-128"/>
                          <a:cs typeface="Times New Roman" panose="02020603050405020304" pitchFamily="18" charset="0"/>
                        </a:rPr>
                        <a:t>23 (11.4)</a:t>
                      </a:r>
                      <a:endParaRPr lang="en-ZA" sz="900" dirty="0">
                        <a:solidFill>
                          <a:schemeClr val="tx1"/>
                        </a:solidFill>
                        <a:effectLst/>
                        <a:latin typeface="Arial" panose="020B0604020202020204" pitchFamily="34" charset="0"/>
                        <a:ea typeface="MS Mincho" panose="02020609040205080304" pitchFamily="49" charset="-128"/>
                        <a:cs typeface="Times New Roman" panose="02020603050405020304" pitchFamily="18" charset="0"/>
                      </a:endParaRPr>
                    </a:p>
                  </a:txBody>
                  <a:tcPr marL="34290" marR="34290" marT="0" marB="0" anchor="b">
                    <a:lnL>
                      <a:noFill/>
                    </a:lnL>
                    <a:lnR>
                      <a:noFill/>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50035"/>
                      </a:schemeClr>
                    </a:solidFill>
                  </a:tcPr>
                </a:tc>
                <a:extLst>
                  <a:ext uri="{0D108BD9-81ED-4DB2-BD59-A6C34878D82A}">
                    <a16:rowId xmlns:a16="http://schemas.microsoft.com/office/drawing/2014/main" val="3936821619"/>
                  </a:ext>
                </a:extLst>
              </a:tr>
              <a:tr h="150353">
                <a:tc>
                  <a:txBody>
                    <a:bodyPr/>
                    <a:lstStyle/>
                    <a:p>
                      <a:pPr marL="228600" marR="0" lvl="0" indent="0" algn="l" defTabSz="914400" rtl="0" eaLnBrk="1" fontAlgn="auto" latinLnBrk="0" hangingPunct="1">
                        <a:lnSpc>
                          <a:spcPct val="100000"/>
                        </a:lnSpc>
                        <a:spcBef>
                          <a:spcPts val="0"/>
                        </a:spcBef>
                        <a:spcAft>
                          <a:spcPts val="0"/>
                        </a:spcAft>
                        <a:buClrTx/>
                        <a:buSzTx/>
                        <a:buFontTx/>
                        <a:buNone/>
                        <a:tabLst/>
                        <a:defRPr/>
                      </a:pPr>
                      <a:r>
                        <a:rPr lang="en-NZ" sz="900" b="0" i="0" dirty="0">
                          <a:effectLst/>
                          <a:latin typeface="Arial" panose="020B0604020202020204" pitchFamily="34" charset="0"/>
                          <a:ea typeface="MS Mincho" panose="02020609040205080304" pitchFamily="49" charset="-128"/>
                          <a:cs typeface="Arial" panose="020B0604020202020204" pitchFamily="34" charset="0"/>
                        </a:rPr>
                        <a:t>Rest of world</a:t>
                      </a:r>
                      <a:endParaRPr lang="en-US" sz="900" b="0" i="0" dirty="0">
                        <a:effectLst/>
                        <a:latin typeface="Arial" panose="020B0604020202020204" pitchFamily="34" charset="0"/>
                        <a:ea typeface="MS Mincho" panose="02020609040205080304" pitchFamily="49" charset="-128"/>
                        <a:cs typeface="Arial" panose="020B0604020202020204" pitchFamily="34" charset="0"/>
                      </a:endParaRPr>
                    </a:p>
                  </a:txBody>
                  <a:tcPr marL="68580" marR="68580" marT="0" marB="0" anchor="ctr">
                    <a:lnL>
                      <a:noFill/>
                    </a:lnL>
                    <a:lnR>
                      <a:noFill/>
                    </a:lnR>
                    <a:lnT w="3175" cap="flat" cmpd="sng" algn="ctr">
                      <a:solidFill>
                        <a:schemeClr val="bg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5000"/>
                        </a:lnSpc>
                      </a:pPr>
                      <a:r>
                        <a:rPr lang="en-NZ" sz="900" kern="1200" dirty="0">
                          <a:solidFill>
                            <a:schemeClr val="tx1"/>
                          </a:solidFill>
                          <a:effectLst/>
                          <a:latin typeface="Arial" panose="020B0604020202020204" pitchFamily="34" charset="0"/>
                          <a:ea typeface="Yu Mincho" panose="02020400000000000000" pitchFamily="18" charset="-128"/>
                          <a:cs typeface="Times New Roman" panose="02020603050405020304" pitchFamily="18" charset="0"/>
                        </a:rPr>
                        <a:t>101 (24.9)</a:t>
                      </a:r>
                      <a:endParaRPr lang="en-ZA" sz="900" dirty="0">
                        <a:solidFill>
                          <a:schemeClr val="tx1"/>
                        </a:solidFill>
                        <a:effectLst/>
                        <a:latin typeface="Arial" panose="020B0604020202020204" pitchFamily="34" charset="0"/>
                        <a:ea typeface="MS Mincho" panose="02020609040205080304" pitchFamily="49" charset="-128"/>
                        <a:cs typeface="Times New Roman" panose="02020603050405020304" pitchFamily="18" charset="0"/>
                      </a:endParaRPr>
                    </a:p>
                  </a:txBody>
                  <a:tcPr marL="34290" marR="34290" marT="0" marB="0" anchor="b">
                    <a:lnL>
                      <a:noFill/>
                    </a:lnL>
                    <a:lnR>
                      <a:noFill/>
                    </a:lnR>
                    <a:lnT w="3175" cap="flat" cmpd="sng" algn="ctr">
                      <a:solidFill>
                        <a:schemeClr val="bg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E6ECF9">
                        <a:alpha val="75281"/>
                      </a:srgbClr>
                    </a:solidFill>
                  </a:tcPr>
                </a:tc>
                <a:tc>
                  <a:txBody>
                    <a:bodyPr/>
                    <a:lstStyle/>
                    <a:p>
                      <a:pPr algn="ctr">
                        <a:lnSpc>
                          <a:spcPct val="115000"/>
                        </a:lnSpc>
                      </a:pPr>
                      <a:r>
                        <a:rPr lang="en-NZ" sz="900" kern="1200" dirty="0">
                          <a:solidFill>
                            <a:schemeClr val="tx1"/>
                          </a:solidFill>
                          <a:effectLst/>
                          <a:latin typeface="Arial" panose="020B0604020202020204" pitchFamily="34" charset="0"/>
                          <a:ea typeface="Yu Mincho" panose="02020400000000000000" pitchFamily="18" charset="-128"/>
                          <a:cs typeface="Times New Roman" panose="02020603050405020304" pitchFamily="18" charset="0"/>
                        </a:rPr>
                        <a:t>49 (24.3)</a:t>
                      </a:r>
                      <a:endParaRPr lang="en-ZA" sz="900" dirty="0">
                        <a:solidFill>
                          <a:schemeClr val="tx1"/>
                        </a:solidFill>
                        <a:effectLst/>
                        <a:latin typeface="Arial" panose="020B0604020202020204" pitchFamily="34" charset="0"/>
                        <a:ea typeface="MS Mincho" panose="02020609040205080304" pitchFamily="49" charset="-128"/>
                        <a:cs typeface="Times New Roman" panose="02020603050405020304" pitchFamily="18" charset="0"/>
                      </a:endParaRPr>
                    </a:p>
                  </a:txBody>
                  <a:tcPr marL="34290" marR="34290" marT="0" marB="0" anchor="b">
                    <a:lnL>
                      <a:noFill/>
                    </a:lnL>
                    <a:lnR>
                      <a:noFill/>
                    </a:lnR>
                    <a:lnT w="3175" cap="flat" cmpd="sng" algn="ctr">
                      <a:solidFill>
                        <a:schemeClr val="bg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50035"/>
                      </a:schemeClr>
                    </a:solidFill>
                  </a:tcPr>
                </a:tc>
                <a:extLst>
                  <a:ext uri="{0D108BD9-81ED-4DB2-BD59-A6C34878D82A}">
                    <a16:rowId xmlns:a16="http://schemas.microsoft.com/office/drawing/2014/main" val="283837461"/>
                  </a:ext>
                </a:extLst>
              </a:tr>
              <a:tr h="142875">
                <a:tc>
                  <a:txBody>
                    <a:bodyPr/>
                    <a:lstStyle>
                      <a:lvl1pPr marL="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1pPr>
                      <a:lvl2pPr marL="4572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2pPr>
                      <a:lvl3pPr marL="9144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3pPr>
                      <a:lvl4pPr marL="13716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4pPr>
                      <a:lvl5pPr marL="18288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5pPr>
                      <a:lvl6pPr marL="22860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6pPr>
                      <a:lvl7pPr marL="27432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7pPr>
                      <a:lvl8pPr marL="32004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8pPr>
                      <a:lvl9pPr marL="36576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9pPr>
                    </a:lstStyle>
                    <a:p>
                      <a:pPr marL="0" marR="0">
                        <a:lnSpc>
                          <a:spcPct val="100000"/>
                        </a:lnSpc>
                        <a:spcBef>
                          <a:spcPts val="0"/>
                        </a:spcBef>
                        <a:spcAft>
                          <a:spcPts val="0"/>
                        </a:spcAft>
                      </a:pPr>
                      <a:r>
                        <a:rPr lang="en-NZ" sz="900" b="1" i="0" dirty="0">
                          <a:effectLst/>
                          <a:latin typeface="Arial" panose="020B0604020202020204" pitchFamily="34" charset="0"/>
                          <a:cs typeface="Arial" panose="020B0604020202020204" pitchFamily="34" charset="0"/>
                        </a:rPr>
                        <a:t>HER2 status (IHC),</a:t>
                      </a:r>
                      <a:r>
                        <a:rPr lang="en-NZ" sz="900" b="1" i="0" baseline="30000" dirty="0">
                          <a:effectLst/>
                          <a:latin typeface="Arial" panose="020B0604020202020204" pitchFamily="34" charset="0"/>
                          <a:cs typeface="Arial" panose="020B0604020202020204" pitchFamily="34" charset="0"/>
                        </a:rPr>
                        <a:t>a</a:t>
                      </a:r>
                      <a:r>
                        <a:rPr lang="en-NZ" sz="900" b="1" i="0" baseline="0" dirty="0">
                          <a:effectLst/>
                          <a:latin typeface="Arial" panose="020B0604020202020204" pitchFamily="34" charset="0"/>
                          <a:cs typeface="Arial" panose="020B0604020202020204" pitchFamily="34" charset="0"/>
                        </a:rPr>
                        <a:t> n (</a:t>
                      </a:r>
                      <a:r>
                        <a:rPr lang="en-NZ" sz="900" b="1" i="0" dirty="0">
                          <a:effectLst/>
                          <a:latin typeface="Arial" panose="020B0604020202020204" pitchFamily="34" charset="0"/>
                          <a:cs typeface="Arial" panose="020B0604020202020204" pitchFamily="34" charset="0"/>
                        </a:rPr>
                        <a:t>%)</a:t>
                      </a:r>
                      <a:endParaRPr lang="en-US" sz="900" b="1" i="0" dirty="0">
                        <a:effectLst/>
                        <a:latin typeface="Arial" panose="020B0604020202020204" pitchFamily="34" charset="0"/>
                        <a:cs typeface="Arial" panose="020B0604020202020204" pitchFamily="34" charset="0"/>
                      </a:endParaRPr>
                    </a:p>
                  </a:txBody>
                  <a:tcPr marL="68580" marR="68580" marT="0" marB="0" anchor="ctr">
                    <a:lnL>
                      <a:noFill/>
                    </a:lnL>
                    <a:lnR>
                      <a:noFill/>
                    </a:lnR>
                    <a:lnT w="9525" cap="flat" cmpd="sng" algn="ctr">
                      <a:solidFill>
                        <a:schemeClr val="accent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1pPr>
                      <a:lvl2pPr marL="4572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2pPr>
                      <a:lvl3pPr marL="9144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3pPr>
                      <a:lvl4pPr marL="13716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4pPr>
                      <a:lvl5pPr marL="18288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5pPr>
                      <a:lvl6pPr marL="22860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6pPr>
                      <a:lvl7pPr marL="27432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7pPr>
                      <a:lvl8pPr marL="32004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8pPr>
                      <a:lvl9pPr marL="36576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9pPr>
                    </a:lstStyle>
                    <a:p>
                      <a:pPr marL="0" marR="0" algn="ctr">
                        <a:lnSpc>
                          <a:spcPct val="100000"/>
                        </a:lnSpc>
                        <a:spcBef>
                          <a:spcPts val="0"/>
                        </a:spcBef>
                        <a:spcAft>
                          <a:spcPts val="0"/>
                        </a:spcAft>
                      </a:pPr>
                      <a:endParaRPr lang="en-US" sz="900" b="0" i="0" dirty="0">
                        <a:effectLst/>
                        <a:latin typeface="Arial" panose="020B0604020202020204" pitchFamily="34" charset="0"/>
                        <a:cs typeface="Arial" panose="020B0604020202020204" pitchFamily="34" charset="0"/>
                      </a:endParaRPr>
                    </a:p>
                  </a:txBody>
                  <a:tcPr marL="68580" marR="68580" marT="0" marB="0" anchor="ctr">
                    <a:lnL>
                      <a:noFill/>
                    </a:lnL>
                    <a:lnR>
                      <a:noFill/>
                    </a:lnR>
                    <a:lnT w="9525" cap="flat" cmpd="sng" algn="ctr">
                      <a:solidFill>
                        <a:schemeClr val="accent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CF9">
                        <a:alpha val="75281"/>
                      </a:srgbClr>
                    </a:solidFill>
                  </a:tcPr>
                </a:tc>
                <a:tc>
                  <a:txBody>
                    <a:bodyPr/>
                    <a:lstStyle>
                      <a:lvl1pPr marL="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1pPr>
                      <a:lvl2pPr marL="4572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2pPr>
                      <a:lvl3pPr marL="9144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3pPr>
                      <a:lvl4pPr marL="13716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4pPr>
                      <a:lvl5pPr marL="18288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5pPr>
                      <a:lvl6pPr marL="22860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6pPr>
                      <a:lvl7pPr marL="27432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7pPr>
                      <a:lvl8pPr marL="32004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8pPr>
                      <a:lvl9pPr marL="36576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9pPr>
                    </a:lstStyle>
                    <a:p>
                      <a:pPr marL="0" marR="0" algn="ctr">
                        <a:lnSpc>
                          <a:spcPct val="100000"/>
                        </a:lnSpc>
                        <a:spcBef>
                          <a:spcPts val="0"/>
                        </a:spcBef>
                        <a:spcAft>
                          <a:spcPts val="0"/>
                        </a:spcAft>
                      </a:pPr>
                      <a:endParaRPr lang="en-US" sz="900" b="0" i="0" dirty="0">
                        <a:effectLst/>
                        <a:latin typeface="Arial" panose="020B0604020202020204" pitchFamily="34" charset="0"/>
                        <a:cs typeface="Arial" panose="020B0604020202020204" pitchFamily="34" charset="0"/>
                      </a:endParaRPr>
                    </a:p>
                  </a:txBody>
                  <a:tcPr marL="68580" marR="68580" marT="0" marB="0" anchor="ctr">
                    <a:lnL>
                      <a:noFill/>
                    </a:lnL>
                    <a:lnR>
                      <a:noFill/>
                    </a:lnR>
                    <a:lnT w="9525" cap="flat" cmpd="sng" algn="ctr">
                      <a:solidFill>
                        <a:schemeClr val="accent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50035"/>
                      </a:schemeClr>
                    </a:solidFill>
                  </a:tcPr>
                </a:tc>
                <a:extLst>
                  <a:ext uri="{0D108BD9-81ED-4DB2-BD59-A6C34878D82A}">
                    <a16:rowId xmlns:a16="http://schemas.microsoft.com/office/drawing/2014/main" val="2408952507"/>
                  </a:ext>
                </a:extLst>
              </a:tr>
              <a:tr h="142875">
                <a:tc>
                  <a:txBody>
                    <a:bodyPr/>
                    <a:lstStyle/>
                    <a:p>
                      <a:pPr marL="228600" marR="0" lvl="0" indent="0" algn="l" defTabSz="914400" rtl="0" eaLnBrk="1" fontAlgn="auto" latinLnBrk="0" hangingPunct="1">
                        <a:lnSpc>
                          <a:spcPct val="100000"/>
                        </a:lnSpc>
                        <a:spcBef>
                          <a:spcPts val="0"/>
                        </a:spcBef>
                        <a:spcAft>
                          <a:spcPts val="0"/>
                        </a:spcAft>
                        <a:buClrTx/>
                        <a:buSzTx/>
                        <a:buFontTx/>
                        <a:buNone/>
                        <a:tabLst/>
                        <a:defRPr/>
                      </a:pPr>
                      <a:r>
                        <a:rPr lang="en-NZ" sz="900" b="0" i="0" dirty="0">
                          <a:effectLst/>
                          <a:latin typeface="Arial" panose="020B0604020202020204" pitchFamily="34" charset="0"/>
                          <a:cs typeface="Arial" panose="020B0604020202020204" pitchFamily="34" charset="0"/>
                        </a:rPr>
                        <a:t>3+ </a:t>
                      </a:r>
                    </a:p>
                  </a:txBody>
                  <a:tcPr marL="68580" marR="68580" marT="0" marB="0" anchor="ctr">
                    <a:lnL>
                      <a:noFill/>
                    </a:lnL>
                    <a:lnR>
                      <a:noFill/>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dirty="0">
                          <a:effectLst/>
                          <a:latin typeface="Arial" panose="020B0604020202020204" pitchFamily="34" charset="0"/>
                          <a:cs typeface="Arial" panose="020B0604020202020204" pitchFamily="34" charset="0"/>
                        </a:rPr>
                        <a:t>326 (80.3) </a:t>
                      </a:r>
                    </a:p>
                  </a:txBody>
                  <a:tcPr marL="68580" marR="68580" marT="0" marB="0" anchor="ctr">
                    <a:lnL>
                      <a:noFill/>
                    </a:lnL>
                    <a:lnR>
                      <a:noFill/>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CF9">
                        <a:alpha val="75281"/>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dirty="0">
                          <a:effectLst/>
                          <a:latin typeface="Arial" panose="020B0604020202020204" pitchFamily="34" charset="0"/>
                          <a:cs typeface="Arial" panose="020B0604020202020204" pitchFamily="34" charset="0"/>
                        </a:rPr>
                        <a:t>159 (78.7) </a:t>
                      </a:r>
                    </a:p>
                  </a:txBody>
                  <a:tcPr marL="68580" marR="68580" marT="0" marB="0" anchor="ctr">
                    <a:lnL>
                      <a:noFill/>
                    </a:lnL>
                    <a:lnR>
                      <a:noFill/>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alpha val="50035"/>
                      </a:schemeClr>
                    </a:solidFill>
                  </a:tcPr>
                </a:tc>
                <a:extLst>
                  <a:ext uri="{0D108BD9-81ED-4DB2-BD59-A6C34878D82A}">
                    <a16:rowId xmlns:a16="http://schemas.microsoft.com/office/drawing/2014/main" val="82310484"/>
                  </a:ext>
                </a:extLst>
              </a:tr>
              <a:tr h="142875">
                <a:tc>
                  <a:txBody>
                    <a:bodyPr/>
                    <a:lstStyle/>
                    <a:p>
                      <a:pPr marL="228600" marR="0" lvl="0" indent="0" algn="l" defTabSz="914400" rtl="0" eaLnBrk="1" fontAlgn="auto" latinLnBrk="0" hangingPunct="1">
                        <a:lnSpc>
                          <a:spcPct val="100000"/>
                        </a:lnSpc>
                        <a:spcBef>
                          <a:spcPts val="0"/>
                        </a:spcBef>
                        <a:spcAft>
                          <a:spcPts val="0"/>
                        </a:spcAft>
                        <a:buClrTx/>
                        <a:buSzTx/>
                        <a:buFontTx/>
                        <a:buNone/>
                        <a:tabLst/>
                        <a:defRPr/>
                      </a:pPr>
                      <a:r>
                        <a:rPr lang="en-NZ" sz="900" b="0" i="0" dirty="0">
                          <a:effectLst/>
                          <a:latin typeface="Arial" panose="020B0604020202020204" pitchFamily="34" charset="0"/>
                          <a:cs typeface="Arial" panose="020B0604020202020204" pitchFamily="34" charset="0"/>
                        </a:rPr>
                        <a:t>2+ (ISH+)</a:t>
                      </a:r>
                    </a:p>
                  </a:txBody>
                  <a:tcPr marL="68580" marR="68580" marT="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dirty="0">
                          <a:effectLst/>
                          <a:latin typeface="Arial" panose="020B0604020202020204" pitchFamily="34" charset="0"/>
                          <a:cs typeface="Arial" panose="020B0604020202020204" pitchFamily="34" charset="0"/>
                        </a:rPr>
                        <a:t>79 (19.5)</a:t>
                      </a:r>
                    </a:p>
                  </a:txBody>
                  <a:tcPr marL="68580" marR="68580" marT="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CF9">
                        <a:alpha val="75281"/>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dirty="0">
                          <a:effectLst/>
                          <a:latin typeface="Arial" panose="020B0604020202020204" pitchFamily="34" charset="0"/>
                          <a:cs typeface="Arial" panose="020B0604020202020204" pitchFamily="34" charset="0"/>
                        </a:rPr>
                        <a:t>41 (20.8)</a:t>
                      </a:r>
                    </a:p>
                  </a:txBody>
                  <a:tcPr marL="68580" marR="68580" marT="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alpha val="50035"/>
                      </a:schemeClr>
                    </a:solidFill>
                  </a:tcPr>
                </a:tc>
                <a:extLst>
                  <a:ext uri="{0D108BD9-81ED-4DB2-BD59-A6C34878D82A}">
                    <a16:rowId xmlns:a16="http://schemas.microsoft.com/office/drawing/2014/main" val="2399135136"/>
                  </a:ext>
                </a:extLst>
              </a:tr>
              <a:tr h="142875">
                <a:tc>
                  <a:txBody>
                    <a:bodyPr/>
                    <a:lstStyle/>
                    <a:p>
                      <a:pPr marL="228600" marR="0" lvl="0" indent="0" algn="l" defTabSz="914400" rtl="0" eaLnBrk="1" fontAlgn="auto" latinLnBrk="0" hangingPunct="1">
                        <a:lnSpc>
                          <a:spcPct val="100000"/>
                        </a:lnSpc>
                        <a:spcBef>
                          <a:spcPts val="0"/>
                        </a:spcBef>
                        <a:spcAft>
                          <a:spcPts val="0"/>
                        </a:spcAft>
                        <a:buClrTx/>
                        <a:buSzTx/>
                        <a:buFontTx/>
                        <a:buNone/>
                        <a:tabLst/>
                        <a:defRPr/>
                      </a:pPr>
                      <a:r>
                        <a:rPr lang="en-NZ" sz="900" b="0" i="0" dirty="0">
                          <a:effectLst/>
                          <a:latin typeface="Arial" panose="020B0604020202020204" pitchFamily="34" charset="0"/>
                          <a:cs typeface="Arial" panose="020B0604020202020204" pitchFamily="34" charset="0"/>
                        </a:rPr>
                        <a:t>2+ (ISH- or nonevaluable)</a:t>
                      </a:r>
                    </a:p>
                  </a:txBody>
                  <a:tcPr marL="68580" marR="68580" marT="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dirty="0">
                          <a:effectLst/>
                          <a:latin typeface="Arial" panose="020B0604020202020204" pitchFamily="34" charset="0"/>
                          <a:cs typeface="Arial" panose="020B0604020202020204" pitchFamily="34" charset="0"/>
                        </a:rPr>
                        <a:t>1 (0.2)</a:t>
                      </a:r>
                    </a:p>
                  </a:txBody>
                  <a:tcPr marL="68580" marR="68580" marT="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CF9">
                        <a:alpha val="75281"/>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dirty="0">
                          <a:effectLst/>
                          <a:latin typeface="Arial" panose="020B0604020202020204" pitchFamily="34" charset="0"/>
                          <a:cs typeface="Arial" panose="020B0604020202020204" pitchFamily="34" charset="0"/>
                        </a:rPr>
                        <a:t>1 (0.5)</a:t>
                      </a:r>
                    </a:p>
                  </a:txBody>
                  <a:tcPr marL="68580" marR="68580" marT="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alpha val="50035"/>
                      </a:schemeClr>
                    </a:solidFill>
                  </a:tcPr>
                </a:tc>
                <a:extLst>
                  <a:ext uri="{0D108BD9-81ED-4DB2-BD59-A6C34878D82A}">
                    <a16:rowId xmlns:a16="http://schemas.microsoft.com/office/drawing/2014/main" val="4004789692"/>
                  </a:ext>
                </a:extLst>
              </a:tr>
              <a:tr h="142875">
                <a:tc>
                  <a:txBody>
                    <a:bodyPr/>
                    <a:lstStyle/>
                    <a:p>
                      <a:pPr marL="228600" marR="0" lvl="0" indent="0" algn="l" defTabSz="914400" rtl="0" eaLnBrk="1" fontAlgn="auto" latinLnBrk="0" hangingPunct="1">
                        <a:lnSpc>
                          <a:spcPct val="100000"/>
                        </a:lnSpc>
                        <a:spcBef>
                          <a:spcPts val="0"/>
                        </a:spcBef>
                        <a:spcAft>
                          <a:spcPts val="0"/>
                        </a:spcAft>
                        <a:buClrTx/>
                        <a:buSzTx/>
                        <a:buFontTx/>
                        <a:buNone/>
                        <a:tabLst/>
                        <a:defRPr/>
                      </a:pPr>
                      <a:r>
                        <a:rPr lang="en-NZ" sz="900" b="0" i="0" dirty="0">
                          <a:effectLst/>
                          <a:latin typeface="Arial" panose="020B0604020202020204" pitchFamily="34" charset="0"/>
                          <a:cs typeface="Arial" panose="020B0604020202020204" pitchFamily="34" charset="0"/>
                        </a:rPr>
                        <a:t>1+ </a:t>
                      </a:r>
                      <a:r>
                        <a:rPr lang="en-NZ" sz="900" b="0" i="0" dirty="0">
                          <a:solidFill>
                            <a:schemeClr val="tx1"/>
                          </a:solidFill>
                          <a:effectLst/>
                          <a:latin typeface="Arial" panose="020B0604020202020204" pitchFamily="34" charset="0"/>
                          <a:cs typeface="Arial" panose="020B0604020202020204" pitchFamily="34" charset="0"/>
                        </a:rPr>
                        <a:t>(ISH+)</a:t>
                      </a:r>
                    </a:p>
                  </a:txBody>
                  <a:tcPr marL="68580" marR="68580" marT="0" marB="0" anchor="ctr">
                    <a:lnL>
                      <a:noFill/>
                    </a:lnL>
                    <a:lnR>
                      <a:noFill/>
                    </a:lnR>
                    <a:lnT w="12700" cap="flat" cmpd="sng" algn="ctr">
                      <a:noFill/>
                      <a:prstDash val="solid"/>
                      <a:round/>
                      <a:headEnd type="none" w="med" len="med"/>
                      <a:tailEnd type="none" w="med" len="med"/>
                    </a:lnT>
                    <a:lnB w="9525" cap="flat" cmpd="sng" algn="ctr">
                      <a:solidFill>
                        <a:srgbClr val="00298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dirty="0">
                          <a:effectLst/>
                          <a:latin typeface="Arial" panose="020B0604020202020204" pitchFamily="34" charset="0"/>
                          <a:cs typeface="Arial" panose="020B0604020202020204" pitchFamily="34" charset="0"/>
                        </a:rPr>
                        <a:t>0</a:t>
                      </a:r>
                    </a:p>
                  </a:txBody>
                  <a:tcPr marL="68580" marR="68580" marT="0" marB="0" anchor="ctr">
                    <a:lnL>
                      <a:noFill/>
                    </a:lnL>
                    <a:lnR>
                      <a:noFill/>
                    </a:lnR>
                    <a:lnT w="12700" cap="flat" cmpd="sng" algn="ctr">
                      <a:noFill/>
                      <a:prstDash val="solid"/>
                      <a:round/>
                      <a:headEnd type="none" w="med" len="med"/>
                      <a:tailEnd type="none" w="med" len="med"/>
                    </a:lnT>
                    <a:lnB w="9525" cap="flat" cmpd="sng" algn="ctr">
                      <a:solidFill>
                        <a:srgbClr val="002985"/>
                      </a:solidFill>
                      <a:prstDash val="solid"/>
                      <a:round/>
                      <a:headEnd type="none" w="med" len="med"/>
                      <a:tailEnd type="none" w="med" len="med"/>
                    </a:lnB>
                    <a:lnTlToBr w="12700" cmpd="sng">
                      <a:noFill/>
                      <a:prstDash val="solid"/>
                    </a:lnTlToBr>
                    <a:lnBlToTr w="12700" cmpd="sng">
                      <a:noFill/>
                      <a:prstDash val="solid"/>
                    </a:lnBlToTr>
                    <a:solidFill>
                      <a:srgbClr val="E6ECF9">
                        <a:alpha val="75281"/>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dirty="0">
                          <a:effectLst/>
                          <a:latin typeface="Arial" panose="020B0604020202020204" pitchFamily="34" charset="0"/>
                          <a:cs typeface="Arial" panose="020B0604020202020204" pitchFamily="34" charset="0"/>
                        </a:rPr>
                        <a:t>1 (0.5)</a:t>
                      </a:r>
                    </a:p>
                  </a:txBody>
                  <a:tcPr marL="68580" marR="68580" marT="0" marB="0" anchor="ctr">
                    <a:lnL>
                      <a:noFill/>
                    </a:lnL>
                    <a:lnR>
                      <a:noFill/>
                    </a:lnR>
                    <a:lnT w="12700" cap="flat" cmpd="sng" algn="ctr">
                      <a:noFill/>
                      <a:prstDash val="solid"/>
                      <a:round/>
                      <a:headEnd type="none" w="med" len="med"/>
                      <a:tailEnd type="none" w="med" len="med"/>
                    </a:lnT>
                    <a:lnB w="9525" cap="flat" cmpd="sng" algn="ctr">
                      <a:solidFill>
                        <a:srgbClr val="002985"/>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50035"/>
                      </a:schemeClr>
                    </a:solidFill>
                  </a:tcPr>
                </a:tc>
                <a:extLst>
                  <a:ext uri="{0D108BD9-81ED-4DB2-BD59-A6C34878D82A}">
                    <a16:rowId xmlns:a16="http://schemas.microsoft.com/office/drawing/2014/main" val="4111986099"/>
                  </a:ext>
                </a:extLst>
              </a:tr>
              <a:tr h="14287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i="0" dirty="0">
                          <a:effectLst/>
                          <a:latin typeface="Arial" panose="020B0604020202020204" pitchFamily="34" charset="0"/>
                          <a:ea typeface="MS Mincho" panose="02020609040205080304" pitchFamily="49" charset="-128"/>
                          <a:cs typeface="Arial" panose="020B0604020202020204" pitchFamily="34" charset="0"/>
                        </a:rPr>
                        <a:t>ECOG PS, n (%)</a:t>
                      </a:r>
                    </a:p>
                  </a:txBody>
                  <a:tcPr marL="68580" marR="68580" marT="0" marB="0" anchor="ctr">
                    <a:lnL>
                      <a:noFill/>
                    </a:lnL>
                    <a:lnR>
                      <a:noFill/>
                    </a:lnR>
                    <a:lnT w="9525" cap="flat" cmpd="sng" algn="ctr">
                      <a:solidFill>
                        <a:srgbClr val="00298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i="0" kern="1200" dirty="0">
                        <a:effectLst/>
                        <a:latin typeface="Arial" panose="020B0604020202020204" pitchFamily="34" charset="0"/>
                        <a:cs typeface="Arial" panose="020B0604020202020204" pitchFamily="34" charset="0"/>
                      </a:endParaRPr>
                    </a:p>
                  </a:txBody>
                  <a:tcPr marL="68580" marR="68580" marT="0" marB="0" anchor="ctr">
                    <a:lnL>
                      <a:noFill/>
                    </a:lnL>
                    <a:lnR>
                      <a:noFill/>
                    </a:lnR>
                    <a:lnT w="9525" cap="flat" cmpd="sng" algn="ctr">
                      <a:solidFill>
                        <a:srgbClr val="00298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CF1F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i="0" kern="1200" dirty="0">
                        <a:effectLst/>
                        <a:latin typeface="Arial" panose="020B0604020202020204" pitchFamily="34" charset="0"/>
                        <a:cs typeface="Arial" panose="020B0604020202020204" pitchFamily="34" charset="0"/>
                      </a:endParaRPr>
                    </a:p>
                  </a:txBody>
                  <a:tcPr marL="68580" marR="68580" marT="0" marB="0" anchor="ctr">
                    <a:lnL>
                      <a:noFill/>
                    </a:lnL>
                    <a:lnR>
                      <a:noFill/>
                    </a:lnR>
                    <a:lnT w="9525" cap="flat" cmpd="sng" algn="ctr">
                      <a:solidFill>
                        <a:srgbClr val="00298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alpha val="50035"/>
                      </a:schemeClr>
                    </a:solidFill>
                  </a:tcPr>
                </a:tc>
                <a:extLst>
                  <a:ext uri="{0D108BD9-81ED-4DB2-BD59-A6C34878D82A}">
                    <a16:rowId xmlns:a16="http://schemas.microsoft.com/office/drawing/2014/main" val="4102294844"/>
                  </a:ext>
                </a:extLst>
              </a:tr>
              <a:tr h="142875">
                <a:tc>
                  <a:txBody>
                    <a:bodyPr/>
                    <a:lstStyle>
                      <a:lvl1pPr marL="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1pPr>
                      <a:lvl2pPr marL="4572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2pPr>
                      <a:lvl3pPr marL="9144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3pPr>
                      <a:lvl4pPr marL="13716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4pPr>
                      <a:lvl5pPr marL="18288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5pPr>
                      <a:lvl6pPr marL="22860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6pPr>
                      <a:lvl7pPr marL="27432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7pPr>
                      <a:lvl8pPr marL="32004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8pPr>
                      <a:lvl9pPr marL="36576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9pPr>
                    </a:lstStyle>
                    <a:p>
                      <a:pPr marL="230400" marR="0" indent="0">
                        <a:lnSpc>
                          <a:spcPct val="100000"/>
                        </a:lnSpc>
                        <a:spcBef>
                          <a:spcPts val="0"/>
                        </a:spcBef>
                        <a:spcAft>
                          <a:spcPts val="0"/>
                        </a:spcAft>
                      </a:pPr>
                      <a:r>
                        <a:rPr lang="en-US" sz="900" b="0" i="0" dirty="0">
                          <a:effectLst/>
                          <a:latin typeface="Arial" panose="020B0604020202020204" pitchFamily="34" charset="0"/>
                          <a:ea typeface="MS Mincho" panose="02020609040205080304" pitchFamily="49" charset="-128"/>
                          <a:cs typeface="Arial" panose="020B0604020202020204" pitchFamily="34" charset="0"/>
                        </a:rPr>
                        <a:t>0  |  1  |  2</a:t>
                      </a:r>
                    </a:p>
                  </a:txBody>
                  <a:tcPr marL="68580" marR="68580" marT="0" marB="0" anchor="ctr">
                    <a:lnL>
                      <a:noFill/>
                    </a:lnL>
                    <a:lnR>
                      <a:noFill/>
                    </a:lnR>
                    <a:lnT w="12700" cap="flat" cmpd="sng" algn="ctr">
                      <a:no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1pPr>
                      <a:lvl2pPr marL="4572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2pPr>
                      <a:lvl3pPr marL="9144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3pPr>
                      <a:lvl4pPr marL="13716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4pPr>
                      <a:lvl5pPr marL="18288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5pPr>
                      <a:lvl6pPr marL="22860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6pPr>
                      <a:lvl7pPr marL="27432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7pPr>
                      <a:lvl8pPr marL="32004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8pPr>
                      <a:lvl9pPr marL="36576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9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900" b="0" i="0" dirty="0">
                          <a:effectLst/>
                          <a:latin typeface="Arial" panose="020B0604020202020204" pitchFamily="34" charset="0"/>
                          <a:ea typeface="MS Mincho" panose="02020609040205080304" pitchFamily="49" charset="-128"/>
                          <a:cs typeface="Arial" panose="020B0604020202020204" pitchFamily="34" charset="0"/>
                        </a:rPr>
                        <a:t>228 (56.2)  |  177 (43.6)  |  1 (0.2)</a:t>
                      </a:r>
                    </a:p>
                  </a:txBody>
                  <a:tcPr marL="68580" marR="68580" marT="0" marB="0" anchor="ctr">
                    <a:lnL>
                      <a:noFill/>
                    </a:lnL>
                    <a:lnR>
                      <a:noFill/>
                    </a:lnR>
                    <a:lnT w="12700" cap="flat" cmpd="sng" algn="ctr">
                      <a:no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E6ECF9">
                        <a:alpha val="75281"/>
                      </a:srgbClr>
                    </a:solidFill>
                  </a:tcPr>
                </a:tc>
                <a:tc>
                  <a:txBody>
                    <a:bodyPr/>
                    <a:lstStyle>
                      <a:lvl1pPr marL="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1pPr>
                      <a:lvl2pPr marL="4572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2pPr>
                      <a:lvl3pPr marL="9144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3pPr>
                      <a:lvl4pPr marL="13716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4pPr>
                      <a:lvl5pPr marL="18288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5pPr>
                      <a:lvl6pPr marL="22860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6pPr>
                      <a:lvl7pPr marL="27432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7pPr>
                      <a:lvl8pPr marL="32004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8pPr>
                      <a:lvl9pPr marL="36576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9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900" b="0" i="0" u="none" strike="noStrike" kern="1200" cap="none" dirty="0">
                          <a:solidFill>
                            <a:schemeClr val="tx1"/>
                          </a:solidFill>
                          <a:effectLst/>
                          <a:latin typeface="Arial" panose="020B0604020202020204" pitchFamily="34" charset="0"/>
                          <a:ea typeface="MS Mincho" panose="02020609040205080304" pitchFamily="49" charset="-128"/>
                          <a:cs typeface="Arial" panose="020B0604020202020204" pitchFamily="34" charset="0"/>
                          <a:sym typeface="Arial"/>
                        </a:rPr>
                        <a:t>121 (59.9)</a:t>
                      </a:r>
                      <a:r>
                        <a:rPr lang="en-US" sz="900" b="0" i="0" dirty="0">
                          <a:effectLst/>
                          <a:latin typeface="Arial" panose="020B0604020202020204" pitchFamily="34" charset="0"/>
                          <a:ea typeface="MS Mincho" panose="02020609040205080304" pitchFamily="49" charset="-128"/>
                          <a:cs typeface="Arial" panose="020B0604020202020204" pitchFamily="34" charset="0"/>
                        </a:rPr>
                        <a:t>   |  </a:t>
                      </a:r>
                      <a:r>
                        <a:rPr lang="en-NZ" sz="900" b="0" i="0" dirty="0">
                          <a:effectLst/>
                          <a:latin typeface="Arial" panose="020B0604020202020204" pitchFamily="34" charset="0"/>
                          <a:cs typeface="Arial" panose="020B0604020202020204" pitchFamily="34" charset="0"/>
                        </a:rPr>
                        <a:t>81 (40.1) </a:t>
                      </a:r>
                      <a:r>
                        <a:rPr lang="en-US" sz="900" b="0" i="0" dirty="0">
                          <a:effectLst/>
                          <a:latin typeface="Arial" panose="020B0604020202020204" pitchFamily="34" charset="0"/>
                          <a:ea typeface="MS Mincho" panose="02020609040205080304" pitchFamily="49" charset="-128"/>
                          <a:cs typeface="Arial" panose="020B0604020202020204" pitchFamily="34" charset="0"/>
                        </a:rPr>
                        <a:t>  |  0</a:t>
                      </a:r>
                      <a:r>
                        <a:rPr lang="en-NZ" sz="900" b="0" i="0" dirty="0">
                          <a:effectLst/>
                          <a:latin typeface="Arial" panose="020B0604020202020204" pitchFamily="34" charset="0"/>
                          <a:cs typeface="Arial" panose="020B0604020202020204" pitchFamily="34" charset="0"/>
                        </a:rPr>
                        <a:t>  </a:t>
                      </a:r>
                    </a:p>
                  </a:txBody>
                  <a:tcPr marL="68580" marR="68580" marT="0" marB="0" anchor="ctr">
                    <a:lnL>
                      <a:noFill/>
                    </a:lnL>
                    <a:lnR>
                      <a:noFill/>
                    </a:lnR>
                    <a:lnT w="12700" cap="flat" cmpd="sng" algn="ctr">
                      <a:no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50035"/>
                      </a:schemeClr>
                    </a:solidFill>
                  </a:tcPr>
                </a:tc>
                <a:extLst>
                  <a:ext uri="{0D108BD9-81ED-4DB2-BD59-A6C34878D82A}">
                    <a16:rowId xmlns:a16="http://schemas.microsoft.com/office/drawing/2014/main" val="2602617576"/>
                  </a:ext>
                </a:extLst>
              </a:tr>
              <a:tr h="142875">
                <a:tc>
                  <a:txBody>
                    <a:bodyPr/>
                    <a:lstStyle>
                      <a:lvl1pPr marL="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1pPr>
                      <a:lvl2pPr marL="4572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2pPr>
                      <a:lvl3pPr marL="9144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3pPr>
                      <a:lvl4pPr marL="13716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4pPr>
                      <a:lvl5pPr marL="18288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5pPr>
                      <a:lvl6pPr marL="22860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6pPr>
                      <a:lvl7pPr marL="27432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7pPr>
                      <a:lvl8pPr marL="32004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8pPr>
                      <a:lvl9pPr marL="36576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9pPr>
                    </a:lstStyle>
                    <a:p>
                      <a:pPr marL="0" marR="0" indent="0">
                        <a:lnSpc>
                          <a:spcPct val="100000"/>
                        </a:lnSpc>
                        <a:spcBef>
                          <a:spcPts val="0"/>
                        </a:spcBef>
                        <a:spcAft>
                          <a:spcPts val="0"/>
                        </a:spcAft>
                      </a:pPr>
                      <a:r>
                        <a:rPr lang="en-US" sz="900" b="1" i="0" dirty="0">
                          <a:effectLst/>
                          <a:latin typeface="Arial" panose="020B0604020202020204" pitchFamily="34" charset="0"/>
                          <a:ea typeface="MS Mincho" panose="02020609040205080304" pitchFamily="49" charset="-128"/>
                          <a:cs typeface="Arial" panose="020B0604020202020204" pitchFamily="34" charset="0"/>
                        </a:rPr>
                        <a:t>Hormone receptor, n (%)</a:t>
                      </a:r>
                    </a:p>
                  </a:txBody>
                  <a:tcPr marL="68580" marR="68580" marT="0" marB="0" anchor="ctr">
                    <a:lnL>
                      <a:noFill/>
                    </a:lnL>
                    <a:lnR>
                      <a:noFill/>
                    </a:lnR>
                    <a:lnT w="9525" cap="flat" cmpd="sng" algn="ctr">
                      <a:solidFill>
                        <a:schemeClr val="accent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1pPr>
                      <a:lvl2pPr marL="4572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2pPr>
                      <a:lvl3pPr marL="9144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3pPr>
                      <a:lvl4pPr marL="13716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4pPr>
                      <a:lvl5pPr marL="18288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5pPr>
                      <a:lvl6pPr marL="22860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6pPr>
                      <a:lvl7pPr marL="27432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7pPr>
                      <a:lvl8pPr marL="32004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8pPr>
                      <a:lvl9pPr marL="36576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9pPr>
                    </a:lstStyle>
                    <a:p>
                      <a:pPr marL="0" marR="0" algn="ctr">
                        <a:lnSpc>
                          <a:spcPct val="100000"/>
                        </a:lnSpc>
                        <a:spcBef>
                          <a:spcPts val="0"/>
                        </a:spcBef>
                        <a:spcAft>
                          <a:spcPts val="0"/>
                        </a:spcAft>
                      </a:pPr>
                      <a:endParaRPr lang="en-US" sz="900" b="0" i="0" dirty="0">
                        <a:solidFill>
                          <a:schemeClr val="tx1"/>
                        </a:solidFill>
                        <a:effectLst/>
                        <a:latin typeface="Arial" panose="020B0604020202020204" pitchFamily="34" charset="0"/>
                        <a:ea typeface="MS Mincho" panose="02020609040205080304" pitchFamily="49" charset="-128"/>
                        <a:cs typeface="Arial" panose="020B0604020202020204" pitchFamily="34" charset="0"/>
                      </a:endParaRPr>
                    </a:p>
                  </a:txBody>
                  <a:tcPr marL="68580" marR="68580" marT="0" marB="0" anchor="ctr">
                    <a:lnL>
                      <a:noFill/>
                    </a:lnL>
                    <a:lnR>
                      <a:noFill/>
                    </a:lnR>
                    <a:lnT w="9525" cap="flat" cmpd="sng" algn="ctr">
                      <a:solidFill>
                        <a:schemeClr val="accent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CF9">
                        <a:alpha val="75281"/>
                      </a:srgbClr>
                    </a:solidFill>
                  </a:tcPr>
                </a:tc>
                <a:tc>
                  <a:txBody>
                    <a:bodyPr/>
                    <a:lstStyle>
                      <a:lvl1pPr marL="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1pPr>
                      <a:lvl2pPr marL="4572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2pPr>
                      <a:lvl3pPr marL="9144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3pPr>
                      <a:lvl4pPr marL="13716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4pPr>
                      <a:lvl5pPr marL="18288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5pPr>
                      <a:lvl6pPr marL="22860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6pPr>
                      <a:lvl7pPr marL="27432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7pPr>
                      <a:lvl8pPr marL="32004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8pPr>
                      <a:lvl9pPr marL="36576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9pPr>
                    </a:lstStyle>
                    <a:p>
                      <a:pPr marL="0" marR="0" algn="ctr">
                        <a:lnSpc>
                          <a:spcPct val="100000"/>
                        </a:lnSpc>
                        <a:spcBef>
                          <a:spcPts val="0"/>
                        </a:spcBef>
                        <a:spcAft>
                          <a:spcPts val="0"/>
                        </a:spcAft>
                      </a:pPr>
                      <a:endParaRPr lang="en-US" sz="900" b="0" i="0" dirty="0">
                        <a:solidFill>
                          <a:schemeClr val="tx1"/>
                        </a:solidFill>
                        <a:effectLst/>
                        <a:latin typeface="Arial" panose="020B0604020202020204" pitchFamily="34" charset="0"/>
                        <a:ea typeface="MS Mincho" panose="02020609040205080304" pitchFamily="49" charset="-128"/>
                        <a:cs typeface="Arial" panose="020B0604020202020204" pitchFamily="34" charset="0"/>
                      </a:endParaRPr>
                    </a:p>
                  </a:txBody>
                  <a:tcPr marL="68580" marR="68580" marT="0" marB="0" anchor="ctr">
                    <a:lnL>
                      <a:noFill/>
                    </a:lnL>
                    <a:lnR>
                      <a:noFill/>
                    </a:lnR>
                    <a:lnT w="9525" cap="flat" cmpd="sng" algn="ctr">
                      <a:solidFill>
                        <a:schemeClr val="accent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50035"/>
                      </a:schemeClr>
                    </a:solidFill>
                  </a:tcPr>
                </a:tc>
                <a:extLst>
                  <a:ext uri="{0D108BD9-81ED-4DB2-BD59-A6C34878D82A}">
                    <a16:rowId xmlns:a16="http://schemas.microsoft.com/office/drawing/2014/main" val="2784405029"/>
                  </a:ext>
                </a:extLst>
              </a:tr>
              <a:tr h="142875">
                <a:tc>
                  <a:txBody>
                    <a:bodyPr/>
                    <a:lstStyle/>
                    <a:p>
                      <a:pPr marL="228600" marR="0" lvl="0" indent="0" algn="l" defTabSz="914400" rtl="0" eaLnBrk="1" fontAlgn="auto" latinLnBrk="0" hangingPunct="1">
                        <a:lnSpc>
                          <a:spcPct val="100000"/>
                        </a:lnSpc>
                        <a:spcBef>
                          <a:spcPts val="0"/>
                        </a:spcBef>
                        <a:spcAft>
                          <a:spcPts val="0"/>
                        </a:spcAft>
                        <a:buClrTx/>
                        <a:buSzTx/>
                        <a:buFontTx/>
                        <a:buNone/>
                        <a:tabLst/>
                        <a:defRPr/>
                      </a:pPr>
                      <a:r>
                        <a:rPr lang="en-US" sz="900" b="0" i="0" dirty="0">
                          <a:effectLst/>
                          <a:latin typeface="Arial" panose="020B0604020202020204" pitchFamily="34" charset="0"/>
                          <a:ea typeface="MS Mincho" panose="02020609040205080304" pitchFamily="49" charset="-128"/>
                          <a:cs typeface="Arial" panose="020B0604020202020204" pitchFamily="34" charset="0"/>
                        </a:rPr>
                        <a:t>Positive</a:t>
                      </a:r>
                    </a:p>
                  </a:txBody>
                  <a:tcPr marL="68580" marR="68580" marT="0" marB="0" anchor="ctr">
                    <a:lnL>
                      <a:noFill/>
                    </a:lnL>
                    <a:lnR>
                      <a:noFill/>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900" b="0" i="0" u="none" strike="noStrike" kern="1200" cap="none" dirty="0">
                          <a:solidFill>
                            <a:schemeClr val="tx1"/>
                          </a:solidFill>
                          <a:effectLst/>
                          <a:latin typeface="Arial" panose="020B0604020202020204" pitchFamily="34" charset="0"/>
                          <a:ea typeface="Yu Mincho" panose="02020400000000000000" pitchFamily="18" charset="-128"/>
                          <a:cs typeface="Arial" panose="020B0604020202020204" pitchFamily="34" charset="0"/>
                          <a:sym typeface="Arial"/>
                        </a:rPr>
                        <a:t>238 (58.6)</a:t>
                      </a:r>
                    </a:p>
                  </a:txBody>
                  <a:tcPr marL="68580" marR="68580" marT="0" marB="0" anchor="ctr">
                    <a:lnL>
                      <a:noFill/>
                    </a:lnL>
                    <a:lnR>
                      <a:noFill/>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CF9">
                        <a:alpha val="75281"/>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u="none" strike="noStrike" kern="1200" cap="none" dirty="0">
                          <a:solidFill>
                            <a:schemeClr val="tx1"/>
                          </a:solidFill>
                          <a:effectLst/>
                          <a:latin typeface="Arial" panose="020B0604020202020204" pitchFamily="34" charset="0"/>
                          <a:ea typeface="Yu Mincho" panose="02020400000000000000" pitchFamily="18" charset="-128"/>
                          <a:cs typeface="Arial" panose="020B0604020202020204" pitchFamily="34" charset="0"/>
                          <a:sym typeface="Arial"/>
                        </a:rPr>
                        <a:t>118 (58.4) </a:t>
                      </a:r>
                      <a:endParaRPr lang="en-US" sz="900" b="0" i="0" dirty="0">
                        <a:solidFill>
                          <a:schemeClr val="tx1"/>
                        </a:solidFill>
                        <a:effectLst/>
                        <a:latin typeface="Arial" panose="020B0604020202020204" pitchFamily="34" charset="0"/>
                        <a:ea typeface="MS Mincho" panose="02020609040205080304" pitchFamily="49" charset="-128"/>
                        <a:cs typeface="Arial" panose="020B0604020202020204" pitchFamily="34" charset="0"/>
                      </a:endParaRPr>
                    </a:p>
                  </a:txBody>
                  <a:tcPr marL="68580" marR="68580" marT="0" marB="0" anchor="ctr">
                    <a:lnL>
                      <a:noFill/>
                    </a:lnL>
                    <a:lnR>
                      <a:noFill/>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alpha val="50035"/>
                      </a:schemeClr>
                    </a:solidFill>
                  </a:tcPr>
                </a:tc>
                <a:extLst>
                  <a:ext uri="{0D108BD9-81ED-4DB2-BD59-A6C34878D82A}">
                    <a16:rowId xmlns:a16="http://schemas.microsoft.com/office/drawing/2014/main" val="4091406170"/>
                  </a:ext>
                </a:extLst>
              </a:tr>
              <a:tr h="142875">
                <a:tc>
                  <a:txBody>
                    <a:bodyPr/>
                    <a:lstStyle/>
                    <a:p>
                      <a:pPr marL="228600" marR="0" lvl="0" indent="0" algn="l" defTabSz="914400" rtl="0" eaLnBrk="1" fontAlgn="auto" latinLnBrk="0" hangingPunct="1">
                        <a:lnSpc>
                          <a:spcPct val="100000"/>
                        </a:lnSpc>
                        <a:spcBef>
                          <a:spcPts val="0"/>
                        </a:spcBef>
                        <a:spcAft>
                          <a:spcPts val="0"/>
                        </a:spcAft>
                        <a:buClrTx/>
                        <a:buSzTx/>
                        <a:buFontTx/>
                        <a:buNone/>
                        <a:tabLst/>
                        <a:defRPr/>
                      </a:pPr>
                      <a:r>
                        <a:rPr lang="en-NZ" sz="900" b="0" i="0" dirty="0">
                          <a:effectLst/>
                          <a:latin typeface="Arial" panose="020B0604020202020204" pitchFamily="34" charset="0"/>
                          <a:cs typeface="Arial" panose="020B0604020202020204" pitchFamily="34" charset="0"/>
                        </a:rPr>
                        <a:t>N</a:t>
                      </a:r>
                      <a:r>
                        <a:rPr lang="en-US" sz="900" b="0" i="0" dirty="0">
                          <a:effectLst/>
                          <a:latin typeface="Arial" panose="020B0604020202020204" pitchFamily="34" charset="0"/>
                          <a:ea typeface="MS Mincho" panose="02020609040205080304" pitchFamily="49" charset="-128"/>
                          <a:cs typeface="Arial" panose="020B0604020202020204" pitchFamily="34" charset="0"/>
                        </a:rPr>
                        <a:t>egative</a:t>
                      </a:r>
                    </a:p>
                  </a:txBody>
                  <a:tcPr marL="68580" marR="68580" marT="0" marB="0" anchor="ctr">
                    <a:lnL>
                      <a:noFill/>
                    </a:lnL>
                    <a:lnR>
                      <a:noFill/>
                    </a:lnR>
                    <a:lnT w="12700" cap="flat" cmpd="sng" algn="ctr">
                      <a:no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900" b="0" i="0" u="none" strike="noStrike" kern="1200" cap="none" dirty="0">
                          <a:solidFill>
                            <a:schemeClr val="tx1"/>
                          </a:solidFill>
                          <a:effectLst/>
                          <a:latin typeface="Arial" panose="020B0604020202020204" pitchFamily="34" charset="0"/>
                          <a:ea typeface="Yu Mincho" panose="02020400000000000000" pitchFamily="18" charset="-128"/>
                          <a:cs typeface="Arial" panose="020B0604020202020204" pitchFamily="34" charset="0"/>
                          <a:sym typeface="Arial"/>
                        </a:rPr>
                        <a:t>165 (40.6)</a:t>
                      </a:r>
                    </a:p>
                  </a:txBody>
                  <a:tcPr marL="68580" marR="68580" marT="0" marB="0" anchor="ctr">
                    <a:lnL>
                      <a:noFill/>
                    </a:lnL>
                    <a:lnR>
                      <a:noFill/>
                    </a:lnR>
                    <a:lnT w="12700" cap="flat" cmpd="sng" algn="ctr">
                      <a:no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E6ECF9">
                        <a:alpha val="75281"/>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NZ" sz="900" b="0" i="0" dirty="0">
                          <a:solidFill>
                            <a:schemeClr val="tx1"/>
                          </a:solidFill>
                          <a:effectLst/>
                          <a:latin typeface="Arial" panose="020B0604020202020204" pitchFamily="34" charset="0"/>
                          <a:cs typeface="Arial" panose="020B0604020202020204" pitchFamily="34" charset="0"/>
                        </a:rPr>
                        <a:t>83 (41.1)</a:t>
                      </a:r>
                      <a:endParaRPr lang="en-US" sz="900" b="0" i="0" dirty="0">
                        <a:solidFill>
                          <a:schemeClr val="tx1"/>
                        </a:solidFill>
                        <a:effectLst/>
                        <a:latin typeface="Arial" panose="020B0604020202020204" pitchFamily="34" charset="0"/>
                        <a:ea typeface="MS Mincho" panose="02020609040205080304" pitchFamily="49" charset="-128"/>
                        <a:cs typeface="Arial" panose="020B0604020202020204" pitchFamily="34" charset="0"/>
                      </a:endParaRPr>
                    </a:p>
                  </a:txBody>
                  <a:tcPr marL="68580" marR="68580" marT="0" marB="0" anchor="ctr">
                    <a:lnL>
                      <a:noFill/>
                    </a:lnL>
                    <a:lnR>
                      <a:noFill/>
                    </a:lnR>
                    <a:lnT w="12700" cap="flat" cmpd="sng" algn="ctr">
                      <a:no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50035"/>
                      </a:schemeClr>
                    </a:solidFill>
                  </a:tcPr>
                </a:tc>
                <a:extLst>
                  <a:ext uri="{0D108BD9-81ED-4DB2-BD59-A6C34878D82A}">
                    <a16:rowId xmlns:a16="http://schemas.microsoft.com/office/drawing/2014/main" val="1279687086"/>
                  </a:ext>
                </a:extLst>
              </a:tr>
              <a:tr h="142875">
                <a:tc>
                  <a:txBody>
                    <a:bodyPr/>
                    <a:lstStyle/>
                    <a:p>
                      <a:pPr marL="9525"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900" b="1" i="0" dirty="0">
                          <a:solidFill>
                            <a:schemeClr val="tx1"/>
                          </a:solidFill>
                          <a:effectLst/>
                          <a:latin typeface="Arial" panose="020B0604020202020204" pitchFamily="34" charset="0"/>
                          <a:cs typeface="Arial" panose="020B0604020202020204" pitchFamily="34" charset="0"/>
                        </a:rPr>
                        <a:t>Brain metastases at baseline, n (%)</a:t>
                      </a:r>
                    </a:p>
                  </a:txBody>
                  <a:tcPr marL="68580" marR="68580" marT="0" marB="0" anchor="ctr">
                    <a:lnL>
                      <a:noFill/>
                    </a:lnL>
                    <a:lnR>
                      <a:noFill/>
                    </a:lnR>
                    <a:lnT w="9525"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i="0" kern="1200" dirty="0">
                        <a:effectLst/>
                        <a:latin typeface="Arial" panose="020B0604020202020204" pitchFamily="34" charset="0"/>
                        <a:cs typeface="Arial" panose="020B0604020202020204" pitchFamily="34" charset="0"/>
                      </a:endParaRPr>
                    </a:p>
                  </a:txBody>
                  <a:tcPr marL="68580" marR="68580" marT="0" marB="0" anchor="ctr">
                    <a:lnL>
                      <a:noFill/>
                    </a:lnL>
                    <a:lnR>
                      <a:noFill/>
                    </a:lnR>
                    <a:lnT w="9525" cap="flat" cmpd="sng" algn="ctr">
                      <a:solidFill>
                        <a:schemeClr val="accent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CF9">
                        <a:alpha val="75281"/>
                      </a:srgbClr>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i="0" kern="1200" dirty="0">
                        <a:effectLst/>
                        <a:latin typeface="Arial" panose="020B0604020202020204" pitchFamily="34" charset="0"/>
                        <a:cs typeface="Arial" panose="020B0604020202020204" pitchFamily="34" charset="0"/>
                      </a:endParaRPr>
                    </a:p>
                  </a:txBody>
                  <a:tcPr marL="68580" marR="68580" marT="0" marB="0" anchor="ctr">
                    <a:lnL>
                      <a:noFill/>
                    </a:lnL>
                    <a:lnR>
                      <a:noFill/>
                    </a:lnR>
                    <a:lnT w="9525" cap="flat" cmpd="sng" algn="ctr">
                      <a:solidFill>
                        <a:schemeClr val="accent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50035"/>
                      </a:schemeClr>
                    </a:solidFill>
                  </a:tcPr>
                </a:tc>
                <a:extLst>
                  <a:ext uri="{0D108BD9-81ED-4DB2-BD59-A6C34878D82A}">
                    <a16:rowId xmlns:a16="http://schemas.microsoft.com/office/drawing/2014/main" val="4051796080"/>
                  </a:ext>
                </a:extLst>
              </a:tr>
              <a:tr h="0">
                <a:tc rowSpan="2">
                  <a:txBody>
                    <a:bodyPr/>
                    <a:lstStyle/>
                    <a:p>
                      <a:pPr marL="228600" marR="0" lvl="0" indent="0" algn="l" defTabSz="914400" rtl="0" eaLnBrk="1" fontAlgn="auto" latinLnBrk="0" hangingPunct="1">
                        <a:lnSpc>
                          <a:spcPct val="100000"/>
                        </a:lnSpc>
                        <a:spcBef>
                          <a:spcPts val="0"/>
                        </a:spcBef>
                        <a:spcAft>
                          <a:spcPts val="0"/>
                        </a:spcAft>
                        <a:buClrTx/>
                        <a:buSzTx/>
                        <a:buFontTx/>
                        <a:buNone/>
                        <a:tabLst/>
                        <a:defRPr/>
                      </a:pPr>
                      <a:r>
                        <a:rPr lang="en-NZ" sz="900" b="0" i="0" dirty="0">
                          <a:solidFill>
                            <a:schemeClr val="tx1"/>
                          </a:solidFill>
                          <a:effectLst/>
                          <a:latin typeface="Arial" panose="020B0604020202020204" pitchFamily="34" charset="0"/>
                          <a:cs typeface="Arial" panose="020B0604020202020204" pitchFamily="34" charset="0"/>
                        </a:rPr>
                        <a:t>Yes  |  No</a:t>
                      </a:r>
                    </a:p>
                  </a:txBody>
                  <a:tcPr marL="68580" marR="68580" marT="0" marB="0" anchor="ctr">
                    <a:lnL>
                      <a:noFill/>
                    </a:lnL>
                    <a:lnR>
                      <a:noFill/>
                    </a:lnR>
                    <a:lnT w="12700" cap="flat" cmpd="sng" algn="ctr">
                      <a:no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en-ZA"/>
                    </a:p>
                  </a:txBody>
                  <a:tcPr/>
                </a:tc>
                <a:tc vMerge="1">
                  <a:txBody>
                    <a:bodyPr/>
                    <a:lstStyle/>
                    <a:p>
                      <a:endParaRPr lang="en-ZA"/>
                    </a:p>
                  </a:txBody>
                  <a:tcPr/>
                </a:tc>
                <a:extLst>
                  <a:ext uri="{0D108BD9-81ED-4DB2-BD59-A6C34878D82A}">
                    <a16:rowId xmlns:a16="http://schemas.microsoft.com/office/drawing/2014/main" val="507944162"/>
                  </a:ext>
                </a:extLst>
              </a:tr>
              <a:tr h="142875">
                <a:tc vMerge="1">
                  <a:txBody>
                    <a:bodyPr/>
                    <a:lstStyle/>
                    <a:p>
                      <a:pPr marL="228600" marR="0" lvl="0" indent="0" algn="l" defTabSz="914400" rtl="0" eaLnBrk="1" fontAlgn="auto" latinLnBrk="0" hangingPunct="1">
                        <a:lnSpc>
                          <a:spcPct val="100000"/>
                        </a:lnSpc>
                        <a:spcBef>
                          <a:spcPts val="0"/>
                        </a:spcBef>
                        <a:spcAft>
                          <a:spcPts val="0"/>
                        </a:spcAft>
                        <a:buClrTx/>
                        <a:buSzTx/>
                        <a:buFontTx/>
                        <a:buNone/>
                        <a:tabLst/>
                        <a:defRPr/>
                      </a:pPr>
                      <a:r>
                        <a:rPr lang="en-NZ" sz="1050" b="0" i="0" dirty="0">
                          <a:effectLst/>
                          <a:latin typeface="Arial" panose="020B0604020202020204" pitchFamily="34" charset="0"/>
                          <a:cs typeface="Arial" panose="020B0604020202020204" pitchFamily="34" charset="0"/>
                        </a:rPr>
                        <a:t>Yes  |  No</a:t>
                      </a:r>
                    </a:p>
                  </a:txBody>
                  <a:tcPr marT="0" marB="0" anchor="ctr">
                    <a:lnL>
                      <a:noFill/>
                    </a:lnL>
                    <a:lnR>
                      <a:noFill/>
                    </a:lnR>
                    <a:lnT w="3175" cap="flat" cmpd="sng" algn="ctr">
                      <a:solidFill>
                        <a:schemeClr val="bg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rgbClr val="000000"/>
                          </a:solidFill>
                          <a:effectLst/>
                          <a:latin typeface="Arial" panose="020B0604020202020204" pitchFamily="34" charset="0"/>
                          <a:ea typeface="Yu Mincho" panose="02020400000000000000" pitchFamily="18" charset="-128"/>
                          <a:cs typeface="Arial" panose="020B0604020202020204" pitchFamily="34" charset="0"/>
                        </a:rPr>
                        <a:t>74 (18.2)</a:t>
                      </a:r>
                      <a:r>
                        <a:rPr lang="en-US" sz="900" b="0" i="0" kern="1200" dirty="0">
                          <a:effectLst/>
                          <a:latin typeface="Arial" panose="020B0604020202020204" pitchFamily="34" charset="0"/>
                          <a:cs typeface="Arial" panose="020B0604020202020204" pitchFamily="34" charset="0"/>
                        </a:rPr>
                        <a:t> </a:t>
                      </a:r>
                      <a:r>
                        <a:rPr lang="en-NZ" sz="900" b="0" i="0" dirty="0">
                          <a:effectLst/>
                          <a:latin typeface="Arial" panose="020B0604020202020204" pitchFamily="34" charset="0"/>
                          <a:cs typeface="Arial" panose="020B0604020202020204" pitchFamily="34" charset="0"/>
                        </a:rPr>
                        <a:t> |  </a:t>
                      </a:r>
                      <a:r>
                        <a:rPr lang="en-US" sz="900" dirty="0">
                          <a:solidFill>
                            <a:srgbClr val="000000"/>
                          </a:solidFill>
                          <a:effectLst/>
                          <a:latin typeface="Arial" panose="020B0604020202020204" pitchFamily="34" charset="0"/>
                          <a:ea typeface="Yu Mincho" panose="02020400000000000000" pitchFamily="18" charset="-128"/>
                          <a:cs typeface="Arial" panose="020B0604020202020204" pitchFamily="34" charset="0"/>
                        </a:rPr>
                        <a:t>332 (81.8)</a:t>
                      </a:r>
                      <a:endParaRPr lang="en-US" sz="900" dirty="0">
                        <a:effectLst/>
                        <a:latin typeface="Arial" panose="020B0604020202020204" pitchFamily="34" charset="0"/>
                        <a:ea typeface="Yu Mincho" panose="02020400000000000000" pitchFamily="18" charset="-128"/>
                        <a:cs typeface="Arial" panose="020B0604020202020204" pitchFamily="34" charset="0"/>
                      </a:endParaRPr>
                    </a:p>
                  </a:txBody>
                  <a:tcPr marL="68580" marR="68580" marT="0" marB="0" anchor="ctr">
                    <a:lnL>
                      <a:noFill/>
                    </a:lnL>
                    <a:lnR>
                      <a:noFill/>
                    </a:lnR>
                    <a:lnT w="3175" cap="flat" cmpd="sng" algn="ctr">
                      <a:solidFill>
                        <a:schemeClr val="bg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E6ECF9">
                        <a:alpha val="75281"/>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rgbClr val="000000"/>
                          </a:solidFill>
                          <a:effectLst/>
                          <a:latin typeface="Arial" panose="020B0604020202020204" pitchFamily="34" charset="0"/>
                          <a:ea typeface="Yu Mincho" panose="02020400000000000000" pitchFamily="18" charset="-128"/>
                          <a:cs typeface="Arial" panose="020B0604020202020204" pitchFamily="34" charset="0"/>
                        </a:rPr>
                        <a:t>36 (17.8)  </a:t>
                      </a:r>
                      <a:r>
                        <a:rPr lang="en-NZ" sz="900" b="0" i="0" dirty="0">
                          <a:effectLst/>
                          <a:latin typeface="Arial" panose="020B0604020202020204" pitchFamily="34" charset="0"/>
                          <a:cs typeface="Arial" panose="020B0604020202020204" pitchFamily="34" charset="0"/>
                        </a:rPr>
                        <a:t>|  </a:t>
                      </a:r>
                      <a:r>
                        <a:rPr lang="en-US" sz="900" dirty="0">
                          <a:solidFill>
                            <a:srgbClr val="000000"/>
                          </a:solidFill>
                          <a:effectLst/>
                          <a:latin typeface="Arial" panose="020B0604020202020204" pitchFamily="34" charset="0"/>
                          <a:ea typeface="Yu Mincho" panose="02020400000000000000" pitchFamily="18" charset="-128"/>
                          <a:cs typeface="Arial" panose="020B0604020202020204" pitchFamily="34" charset="0"/>
                        </a:rPr>
                        <a:t>166 (82.2)</a:t>
                      </a:r>
                      <a:endParaRPr lang="en-US" sz="900" b="0" i="0" dirty="0">
                        <a:effectLst/>
                        <a:latin typeface="Arial" panose="020B0604020202020204" pitchFamily="34" charset="0"/>
                        <a:ea typeface="MS Mincho" panose="02020609040205080304" pitchFamily="49" charset="-128"/>
                        <a:cs typeface="Arial" panose="020B0604020202020204" pitchFamily="34" charset="0"/>
                      </a:endParaRPr>
                    </a:p>
                  </a:txBody>
                  <a:tcPr marL="68580" marR="68580" marT="0" marB="0" anchor="ctr">
                    <a:lnL>
                      <a:noFill/>
                    </a:lnL>
                    <a:lnR>
                      <a:noFill/>
                    </a:lnR>
                    <a:lnT w="3175" cap="flat" cmpd="sng" algn="ctr">
                      <a:solidFill>
                        <a:schemeClr val="bg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50035"/>
                      </a:schemeClr>
                    </a:solidFill>
                  </a:tcPr>
                </a:tc>
                <a:extLst>
                  <a:ext uri="{0D108BD9-81ED-4DB2-BD59-A6C34878D82A}">
                    <a16:rowId xmlns:a16="http://schemas.microsoft.com/office/drawing/2014/main" val="1347134179"/>
                  </a:ext>
                </a:extLst>
              </a:tr>
              <a:tr h="142875">
                <a:tc rowSpan="2">
                  <a:txBody>
                    <a:bodyPr/>
                    <a:lstStyle>
                      <a:lvl1pPr marL="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1pPr>
                      <a:lvl2pPr marL="4572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2pPr>
                      <a:lvl3pPr marL="9144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3pPr>
                      <a:lvl4pPr marL="13716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4pPr>
                      <a:lvl5pPr marL="18288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5pPr>
                      <a:lvl6pPr marL="22860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6pPr>
                      <a:lvl7pPr marL="27432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7pPr>
                      <a:lvl8pPr marL="32004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8pPr>
                      <a:lvl9pPr marL="36576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9pPr>
                    </a:lstStyle>
                    <a:p>
                      <a:pPr marL="0" marR="0" indent="0">
                        <a:lnSpc>
                          <a:spcPct val="100000"/>
                        </a:lnSpc>
                        <a:spcBef>
                          <a:spcPts val="0"/>
                        </a:spcBef>
                        <a:spcAft>
                          <a:spcPts val="0"/>
                        </a:spcAft>
                      </a:pPr>
                      <a:r>
                        <a:rPr lang="en-NZ" sz="900" b="1" i="0" dirty="0">
                          <a:solidFill>
                            <a:schemeClr val="tx1"/>
                          </a:solidFill>
                          <a:effectLst/>
                          <a:latin typeface="Arial" panose="020B0604020202020204" pitchFamily="34" charset="0"/>
                          <a:cs typeface="Arial" panose="020B0604020202020204" pitchFamily="34" charset="0"/>
                        </a:rPr>
                        <a:t>Visceral disease, n (%)</a:t>
                      </a:r>
                    </a:p>
                  </a:txBody>
                  <a:tcPr marL="68580" marR="68580" marT="0" marB="0" anchor="ctr">
                    <a:lnL>
                      <a:noFill/>
                    </a:lnL>
                    <a:lnR>
                      <a:noFill/>
                    </a:lnR>
                    <a:lnT w="9525"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1pPr>
                      <a:lvl2pPr marL="4572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2pPr>
                      <a:lvl3pPr marL="9144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3pPr>
                      <a:lvl4pPr marL="13716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4pPr>
                      <a:lvl5pPr marL="18288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5pPr>
                      <a:lvl6pPr marL="22860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6pPr>
                      <a:lvl7pPr marL="27432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7pPr>
                      <a:lvl8pPr marL="32004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8pPr>
                      <a:lvl9pPr marL="36576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9pPr>
                    </a:lstStyle>
                    <a:p>
                      <a:pPr marL="0" marR="0" algn="ctr">
                        <a:lnSpc>
                          <a:spcPct val="100000"/>
                        </a:lnSpc>
                        <a:spcBef>
                          <a:spcPts val="0"/>
                        </a:spcBef>
                        <a:spcAft>
                          <a:spcPts val="0"/>
                        </a:spcAft>
                      </a:pPr>
                      <a:r>
                        <a:rPr lang="en-NZ" sz="900" b="0" i="0" kern="1200" dirty="0">
                          <a:effectLst/>
                          <a:latin typeface="Arial" panose="020B0604020202020204" pitchFamily="34" charset="0"/>
                          <a:cs typeface="Arial" panose="020B0604020202020204" pitchFamily="34" charset="0"/>
                        </a:rPr>
                        <a:t> </a:t>
                      </a:r>
                      <a:endParaRPr lang="en-US" sz="900" b="0" i="0" dirty="0">
                        <a:effectLst/>
                        <a:latin typeface="Arial" panose="020B0604020202020204" pitchFamily="34" charset="0"/>
                        <a:cs typeface="Arial" panose="020B0604020202020204" pitchFamily="34" charset="0"/>
                      </a:endParaRPr>
                    </a:p>
                  </a:txBody>
                  <a:tcPr marL="68580" marR="68580" marT="0" marB="0" anchor="ctr">
                    <a:lnL>
                      <a:noFill/>
                    </a:lnL>
                    <a:lnR>
                      <a:noFill/>
                    </a:lnR>
                    <a:lnT w="9525" cap="flat" cmpd="sng" algn="ctr">
                      <a:solidFill>
                        <a:schemeClr val="accent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CF9">
                        <a:alpha val="75281"/>
                      </a:srgbClr>
                    </a:solidFill>
                  </a:tcPr>
                </a:tc>
                <a:tc>
                  <a:txBody>
                    <a:bodyPr/>
                    <a:lstStyle>
                      <a:lvl1pPr marL="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1pPr>
                      <a:lvl2pPr marL="4572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2pPr>
                      <a:lvl3pPr marL="9144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3pPr>
                      <a:lvl4pPr marL="13716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4pPr>
                      <a:lvl5pPr marL="18288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5pPr>
                      <a:lvl6pPr marL="22860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6pPr>
                      <a:lvl7pPr marL="27432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7pPr>
                      <a:lvl8pPr marL="32004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8pPr>
                      <a:lvl9pPr marL="36576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9pPr>
                    </a:lstStyle>
                    <a:p>
                      <a:pPr marL="0" marR="0" algn="ctr">
                        <a:lnSpc>
                          <a:spcPct val="100000"/>
                        </a:lnSpc>
                        <a:spcBef>
                          <a:spcPts val="0"/>
                        </a:spcBef>
                        <a:spcAft>
                          <a:spcPts val="0"/>
                        </a:spcAft>
                      </a:pPr>
                      <a:r>
                        <a:rPr lang="en-NZ" sz="900" b="0" i="0" kern="1200" dirty="0">
                          <a:effectLst/>
                          <a:latin typeface="Arial" panose="020B0604020202020204" pitchFamily="34" charset="0"/>
                          <a:cs typeface="Arial" panose="020B0604020202020204" pitchFamily="34" charset="0"/>
                        </a:rPr>
                        <a:t> </a:t>
                      </a:r>
                      <a:endParaRPr lang="en-US" sz="900" b="0" i="0" dirty="0">
                        <a:effectLst/>
                        <a:latin typeface="Arial" panose="020B0604020202020204" pitchFamily="34" charset="0"/>
                        <a:cs typeface="Arial" panose="020B0604020202020204" pitchFamily="34" charset="0"/>
                      </a:endParaRPr>
                    </a:p>
                  </a:txBody>
                  <a:tcPr marL="68580" marR="68580" marT="0" marB="0" anchor="ctr">
                    <a:lnL>
                      <a:noFill/>
                    </a:lnL>
                    <a:lnR>
                      <a:noFill/>
                    </a:lnR>
                    <a:lnT w="9525" cap="flat" cmpd="sng" algn="ctr">
                      <a:solidFill>
                        <a:schemeClr val="accent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50035"/>
                      </a:schemeClr>
                    </a:solidFill>
                  </a:tcPr>
                </a:tc>
                <a:extLst>
                  <a:ext uri="{0D108BD9-81ED-4DB2-BD59-A6C34878D82A}">
                    <a16:rowId xmlns:a16="http://schemas.microsoft.com/office/drawing/2014/main" val="849628007"/>
                  </a:ext>
                </a:extLst>
              </a:tr>
              <a:tr h="0">
                <a:tc vMerge="1">
                  <a:txBody>
                    <a:bodyPr/>
                    <a:lstStyle/>
                    <a:p>
                      <a:pPr marL="228600" marR="0" lvl="0" indent="0" algn="l" defTabSz="914400" rtl="0" eaLnBrk="1" fontAlgn="auto" latinLnBrk="0" hangingPunct="1">
                        <a:lnSpc>
                          <a:spcPct val="100000"/>
                        </a:lnSpc>
                        <a:spcBef>
                          <a:spcPts val="0"/>
                        </a:spcBef>
                        <a:spcAft>
                          <a:spcPts val="0"/>
                        </a:spcAft>
                        <a:buClrTx/>
                        <a:buSzTx/>
                        <a:buFontTx/>
                        <a:buNone/>
                        <a:tabLst/>
                        <a:defRPr/>
                      </a:pPr>
                      <a:r>
                        <a:rPr lang="en-NZ" sz="1050" b="0" i="0" dirty="0">
                          <a:effectLst/>
                          <a:latin typeface="Arial" panose="020B0604020202020204" pitchFamily="34" charset="0"/>
                          <a:cs typeface="Arial" panose="020B0604020202020204" pitchFamily="34" charset="0"/>
                        </a:rPr>
                        <a:t>Yes  |  No</a:t>
                      </a:r>
                    </a:p>
                  </a:txBody>
                  <a:tcPr marT="0" marB="0" anchor="ctr">
                    <a:lnL>
                      <a:noFill/>
                    </a:lnL>
                    <a:lnR>
                      <a:noFill/>
                    </a:lnR>
                    <a:lnT w="3175" cap="flat" cmpd="sng" algn="ctr">
                      <a:solidFill>
                        <a:schemeClr val="bg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NZ" sz="900" b="0" i="0" kern="1200" dirty="0">
                          <a:effectLst/>
                          <a:latin typeface="Arial" panose="020B0604020202020204" pitchFamily="34" charset="0"/>
                          <a:cs typeface="Arial" panose="020B0604020202020204" pitchFamily="34" charset="0"/>
                        </a:rPr>
                        <a:t>316 (77.8) </a:t>
                      </a:r>
                      <a:r>
                        <a:rPr lang="en-NZ" sz="900" b="0" i="0" dirty="0">
                          <a:effectLst/>
                          <a:latin typeface="Arial" panose="020B0604020202020204" pitchFamily="34" charset="0"/>
                          <a:cs typeface="Arial" panose="020B0604020202020204" pitchFamily="34" charset="0"/>
                        </a:rPr>
                        <a:t> |  </a:t>
                      </a:r>
                      <a:r>
                        <a:rPr lang="en-US" sz="900" b="0" i="0" dirty="0">
                          <a:solidFill>
                            <a:srgbClr val="000000"/>
                          </a:solidFill>
                          <a:effectLst/>
                          <a:latin typeface="Arial" panose="020B0604020202020204" pitchFamily="34" charset="0"/>
                          <a:ea typeface="Yu Mincho" panose="02020400000000000000" pitchFamily="18" charset="-128"/>
                          <a:cs typeface="Arial" panose="020B0604020202020204" pitchFamily="34" charset="0"/>
                        </a:rPr>
                        <a:t>90</a:t>
                      </a:r>
                      <a:r>
                        <a:rPr lang="en-US" sz="900" dirty="0">
                          <a:solidFill>
                            <a:srgbClr val="000000"/>
                          </a:solidFill>
                          <a:effectLst/>
                          <a:latin typeface="Arial" panose="020B0604020202020204" pitchFamily="34" charset="0"/>
                          <a:ea typeface="Yu Mincho" panose="02020400000000000000" pitchFamily="18" charset="-128"/>
                          <a:cs typeface="Arial" panose="020B0604020202020204" pitchFamily="34" charset="0"/>
                        </a:rPr>
                        <a:t> (22.2)</a:t>
                      </a:r>
                      <a:endParaRPr lang="en-US" sz="900" dirty="0">
                        <a:effectLst/>
                        <a:latin typeface="Arial" panose="020B0604020202020204" pitchFamily="34" charset="0"/>
                        <a:ea typeface="Yu Mincho" panose="02020400000000000000" pitchFamily="18" charset="-128"/>
                        <a:cs typeface="Arial" panose="020B0604020202020204" pitchFamily="34" charset="0"/>
                      </a:endParaRPr>
                    </a:p>
                  </a:txBody>
                  <a:tcPr marL="68580" marR="68580" marT="0" marB="0" anchor="ctr">
                    <a:lnL>
                      <a:noFill/>
                    </a:lnL>
                    <a:lnR>
                      <a:noFill/>
                    </a:lnR>
                    <a:lnT w="3175" cap="flat" cmpd="sng" algn="ctr">
                      <a:solidFill>
                        <a:schemeClr val="bg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E6ECF9">
                        <a:alpha val="75281"/>
                      </a:srgbClr>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rgbClr val="000000"/>
                          </a:solidFill>
                          <a:effectLst/>
                          <a:latin typeface="Arial" panose="020B0604020202020204" pitchFamily="34" charset="0"/>
                          <a:ea typeface="Yu Mincho" panose="02020400000000000000" pitchFamily="18" charset="-128"/>
                          <a:cs typeface="Arial" panose="020B0604020202020204" pitchFamily="34" charset="0"/>
                        </a:rPr>
                        <a:t>160 (79.2)</a:t>
                      </a:r>
                      <a:r>
                        <a:rPr lang="en-NZ" sz="900" b="0" i="0" kern="1200" dirty="0">
                          <a:effectLst/>
                          <a:latin typeface="Arial" panose="020B0604020202020204" pitchFamily="34" charset="0"/>
                          <a:cs typeface="Arial" panose="020B0604020202020204" pitchFamily="34" charset="0"/>
                        </a:rPr>
                        <a:t>  </a:t>
                      </a:r>
                      <a:r>
                        <a:rPr lang="en-NZ" sz="900" b="0" i="0" dirty="0">
                          <a:effectLst/>
                          <a:latin typeface="Arial" panose="020B0604020202020204" pitchFamily="34" charset="0"/>
                          <a:cs typeface="Arial" panose="020B0604020202020204" pitchFamily="34" charset="0"/>
                        </a:rPr>
                        <a:t>|  </a:t>
                      </a:r>
                      <a:r>
                        <a:rPr lang="en-US" sz="900" b="0" i="0" dirty="0">
                          <a:solidFill>
                            <a:srgbClr val="000000"/>
                          </a:solidFill>
                          <a:effectLst/>
                          <a:latin typeface="Arial" panose="020B0604020202020204" pitchFamily="34" charset="0"/>
                          <a:ea typeface="Yu Mincho" panose="02020400000000000000" pitchFamily="18" charset="-128"/>
                          <a:cs typeface="Arial" panose="020B0604020202020204" pitchFamily="34" charset="0"/>
                        </a:rPr>
                        <a:t>42</a:t>
                      </a:r>
                      <a:r>
                        <a:rPr lang="en-US" sz="900" dirty="0">
                          <a:solidFill>
                            <a:srgbClr val="000000"/>
                          </a:solidFill>
                          <a:effectLst/>
                          <a:latin typeface="Arial" panose="020B0604020202020204" pitchFamily="34" charset="0"/>
                          <a:ea typeface="Yu Mincho" panose="02020400000000000000" pitchFamily="18" charset="-128"/>
                          <a:cs typeface="Arial" panose="020B0604020202020204" pitchFamily="34" charset="0"/>
                        </a:rPr>
                        <a:t> (20.8)</a:t>
                      </a:r>
                      <a:endParaRPr lang="en-US" sz="900" b="0" i="0" dirty="0">
                        <a:effectLst/>
                        <a:latin typeface="Arial" panose="020B0604020202020204" pitchFamily="34" charset="0"/>
                        <a:ea typeface="MS Mincho" panose="02020609040205080304" pitchFamily="49" charset="-128"/>
                        <a:cs typeface="Arial" panose="020B0604020202020204" pitchFamily="34" charset="0"/>
                      </a:endParaRPr>
                    </a:p>
                  </a:txBody>
                  <a:tcPr marL="68580" marR="68580" marT="0" marB="0" anchor="ctr">
                    <a:lnL>
                      <a:noFill/>
                    </a:lnL>
                    <a:lnR>
                      <a:noFill/>
                    </a:lnR>
                    <a:lnT w="3175" cap="flat" cmpd="sng" algn="ctr">
                      <a:solidFill>
                        <a:schemeClr val="bg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50035"/>
                      </a:schemeClr>
                    </a:solidFill>
                  </a:tcPr>
                </a:tc>
                <a:extLst>
                  <a:ext uri="{0D108BD9-81ED-4DB2-BD59-A6C34878D82A}">
                    <a16:rowId xmlns:a16="http://schemas.microsoft.com/office/drawing/2014/main" val="2818496478"/>
                  </a:ext>
                </a:extLst>
              </a:tr>
              <a:tr h="142875">
                <a:tc>
                  <a:txBody>
                    <a:bodyPr/>
                    <a:lstStyle/>
                    <a:p>
                      <a:pPr marL="228600" marR="0" lvl="0" indent="0" algn="l" defTabSz="914400" rtl="0" eaLnBrk="1" fontAlgn="auto" latinLnBrk="0" hangingPunct="1">
                        <a:lnSpc>
                          <a:spcPct val="100000"/>
                        </a:lnSpc>
                        <a:spcBef>
                          <a:spcPts val="0"/>
                        </a:spcBef>
                        <a:spcAft>
                          <a:spcPts val="0"/>
                        </a:spcAft>
                        <a:buClrTx/>
                        <a:buSzTx/>
                        <a:buFontTx/>
                        <a:buNone/>
                        <a:tabLst/>
                        <a:defRPr/>
                      </a:pPr>
                      <a:r>
                        <a:rPr lang="en-NZ" sz="900" b="0" i="0" dirty="0">
                          <a:solidFill>
                            <a:schemeClr val="tx1"/>
                          </a:solidFill>
                          <a:effectLst/>
                          <a:latin typeface="Arial" panose="020B0604020202020204" pitchFamily="34" charset="0"/>
                          <a:cs typeface="Arial" panose="020B0604020202020204" pitchFamily="34" charset="0"/>
                        </a:rPr>
                        <a:t>Yes  |  No</a:t>
                      </a:r>
                    </a:p>
                  </a:txBody>
                  <a:tcPr marL="68580" marR="68580" marT="0" marB="0" anchor="ctr">
                    <a:lnL>
                      <a:noFill/>
                    </a:lnL>
                    <a:lnR>
                      <a:noFill/>
                    </a:lnR>
                    <a:lnT w="12700" cap="flat" cmpd="sng" algn="ctr">
                      <a:no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en-ZA"/>
                    </a:p>
                  </a:txBody>
                  <a:tcPr/>
                </a:tc>
                <a:tc vMerge="1">
                  <a:txBody>
                    <a:bodyPr/>
                    <a:lstStyle/>
                    <a:p>
                      <a:endParaRPr lang="en-ZA"/>
                    </a:p>
                  </a:txBody>
                  <a:tcPr/>
                </a:tc>
                <a:extLst>
                  <a:ext uri="{0D108BD9-81ED-4DB2-BD59-A6C34878D82A}">
                    <a16:rowId xmlns:a16="http://schemas.microsoft.com/office/drawing/2014/main" val="3015852604"/>
                  </a:ext>
                </a:extLst>
              </a:tr>
            </a:tbl>
          </a:graphicData>
        </a:graphic>
      </p:graphicFrame>
    </p:spTree>
    <p:extLst>
      <p:ext uri="{BB962C8B-B14F-4D97-AF65-F5344CB8AC3E}">
        <p14:creationId xmlns:p14="http://schemas.microsoft.com/office/powerpoint/2010/main" val="3603517023"/>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F5B241-8624-4E79-B312-68A91401A93D}"/>
              </a:ext>
            </a:extLst>
          </p:cNvPr>
          <p:cNvSpPr>
            <a:spLocks noGrp="1"/>
          </p:cNvSpPr>
          <p:nvPr>
            <p:ph type="ctrTitle"/>
          </p:nvPr>
        </p:nvSpPr>
        <p:spPr>
          <a:xfrm>
            <a:off x="359999" y="454896"/>
            <a:ext cx="8409765" cy="432000"/>
          </a:xfrm>
        </p:spPr>
        <p:txBody>
          <a:bodyPr/>
          <a:lstStyle/>
          <a:p>
            <a:r>
              <a:rPr lang="en-US" sz="2100" dirty="0">
                <a:solidFill>
                  <a:schemeClr val="tx1"/>
                </a:solidFill>
              </a:rPr>
              <a:t>Prior Therapies</a:t>
            </a:r>
          </a:p>
        </p:txBody>
      </p:sp>
      <p:graphicFrame>
        <p:nvGraphicFramePr>
          <p:cNvPr id="3" name="Table 2">
            <a:extLst>
              <a:ext uri="{FF2B5EF4-FFF2-40B4-BE49-F238E27FC236}">
                <a16:creationId xmlns:a16="http://schemas.microsoft.com/office/drawing/2014/main" id="{95C7A12A-D08F-E0AC-D59A-9DD9DEE9AD4C}"/>
              </a:ext>
            </a:extLst>
          </p:cNvPr>
          <p:cNvGraphicFramePr>
            <a:graphicFrameLocks noGrp="1"/>
          </p:cNvGraphicFramePr>
          <p:nvPr>
            <p:extLst>
              <p:ext uri="{D42A27DB-BD31-4B8C-83A1-F6EECF244321}">
                <p14:modId xmlns:p14="http://schemas.microsoft.com/office/powerpoint/2010/main" val="3478175231"/>
              </p:ext>
            </p:extLst>
          </p:nvPr>
        </p:nvGraphicFramePr>
        <p:xfrm>
          <a:off x="1201783" y="716757"/>
          <a:ext cx="6752274" cy="3390044"/>
        </p:xfrm>
        <a:graphic>
          <a:graphicData uri="http://schemas.openxmlformats.org/drawingml/2006/table">
            <a:tbl>
              <a:tblPr firstRow="1" bandRow="1"/>
              <a:tblGrid>
                <a:gridCol w="2596326">
                  <a:extLst>
                    <a:ext uri="{9D8B030D-6E8A-4147-A177-3AD203B41FA5}">
                      <a16:colId xmlns:a16="http://schemas.microsoft.com/office/drawing/2014/main" val="258530699"/>
                    </a:ext>
                  </a:extLst>
                </a:gridCol>
                <a:gridCol w="2077974">
                  <a:extLst>
                    <a:ext uri="{9D8B030D-6E8A-4147-A177-3AD203B41FA5}">
                      <a16:colId xmlns:a16="http://schemas.microsoft.com/office/drawing/2014/main" val="786063551"/>
                    </a:ext>
                  </a:extLst>
                </a:gridCol>
                <a:gridCol w="2077974">
                  <a:extLst>
                    <a:ext uri="{9D8B030D-6E8A-4147-A177-3AD203B41FA5}">
                      <a16:colId xmlns:a16="http://schemas.microsoft.com/office/drawing/2014/main" val="1217117894"/>
                    </a:ext>
                  </a:extLst>
                </a:gridCol>
              </a:tblGrid>
              <a:tr h="384048">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NZ" sz="900" b="1" i="0" u="none" strike="noStrike" kern="1200" cap="none" dirty="0">
                          <a:solidFill>
                            <a:schemeClr val="tx1"/>
                          </a:solidFill>
                          <a:effectLst/>
                          <a:latin typeface="Arial" panose="020B0604020202020204" pitchFamily="34" charset="0"/>
                          <a:ea typeface="+mn-ea"/>
                          <a:cs typeface="Arial" panose="020B0604020202020204" pitchFamily="34" charset="0"/>
                          <a:sym typeface="Arial"/>
                        </a:rPr>
                        <a:t>Prior Treatment</a:t>
                      </a:r>
                    </a:p>
                  </a:txBody>
                  <a:tcPr marL="68580" marR="68580" marT="0" marB="0" anchor="b">
                    <a:lnL>
                      <a:noFill/>
                    </a:lnL>
                    <a:lnR>
                      <a:noFill/>
                    </a:lnR>
                    <a:lnT w="12700" cap="flat" cmpd="sng" algn="ctr">
                      <a:noFill/>
                      <a:prstDash val="solid"/>
                      <a:round/>
                      <a:headEnd type="none" w="med" len="med"/>
                      <a:tailEnd type="none" w="med" len="med"/>
                    </a:lnT>
                    <a:lnB w="12700" cap="flat" cmpd="sng" algn="ctr">
                      <a:solidFill>
                        <a:srgbClr val="00447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1pPr>
                      <a:lvl2pPr marL="4572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2pPr>
                      <a:lvl3pPr marL="9144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3pPr>
                      <a:lvl4pPr marL="13716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4pPr>
                      <a:lvl5pPr marL="18288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5pPr>
                      <a:lvl6pPr marL="22860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6pPr>
                      <a:lvl7pPr marL="27432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7pPr>
                      <a:lvl8pPr marL="32004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8pPr>
                      <a:lvl9pPr marL="36576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9pPr>
                    </a:lstStyle>
                    <a:p>
                      <a:pPr marL="0" marR="0" algn="ctr">
                        <a:lnSpc>
                          <a:spcPct val="100000"/>
                        </a:lnSpc>
                        <a:spcBef>
                          <a:spcPts val="0"/>
                        </a:spcBef>
                        <a:spcAft>
                          <a:spcPts val="0"/>
                        </a:spcAft>
                      </a:pPr>
                      <a:r>
                        <a:rPr lang="en-US" sz="1200" b="1" i="0" dirty="0">
                          <a:solidFill>
                            <a:schemeClr val="bg1"/>
                          </a:solidFill>
                          <a:effectLst/>
                          <a:latin typeface="Arial" panose="020B0604020202020204" pitchFamily="34" charset="0"/>
                          <a:ea typeface="MS Mincho" panose="02020609040205080304" pitchFamily="49" charset="-128"/>
                          <a:cs typeface="Arial" panose="020B0604020202020204" pitchFamily="34" charset="0"/>
                        </a:rPr>
                        <a:t>T-DXd</a:t>
                      </a:r>
                      <a:r>
                        <a:rPr lang="en-NZ" sz="1200" b="1" i="0" dirty="0">
                          <a:solidFill>
                            <a:schemeClr val="bg1"/>
                          </a:solidFill>
                          <a:effectLst/>
                          <a:latin typeface="Arial" panose="020B0604020202020204" pitchFamily="34" charset="0"/>
                          <a:ea typeface="MS Mincho" panose="02020609040205080304" pitchFamily="49" charset="-128"/>
                          <a:cs typeface="Arial" panose="020B0604020202020204" pitchFamily="34" charset="0"/>
                        </a:rPr>
                        <a:t> </a:t>
                      </a:r>
                    </a:p>
                    <a:p>
                      <a:pPr marL="0" marR="0" algn="ctr">
                        <a:lnSpc>
                          <a:spcPct val="100000"/>
                        </a:lnSpc>
                        <a:spcBef>
                          <a:spcPts val="0"/>
                        </a:spcBef>
                        <a:spcAft>
                          <a:spcPts val="0"/>
                        </a:spcAft>
                      </a:pPr>
                      <a:r>
                        <a:rPr lang="en-NZ" sz="1200" b="1" i="0" dirty="0">
                          <a:solidFill>
                            <a:schemeClr val="bg1"/>
                          </a:solidFill>
                          <a:effectLst/>
                          <a:latin typeface="Arial" panose="020B0604020202020204" pitchFamily="34" charset="0"/>
                          <a:ea typeface="MS Mincho" panose="02020609040205080304" pitchFamily="49" charset="-128"/>
                          <a:cs typeface="Arial" panose="020B0604020202020204" pitchFamily="34" charset="0"/>
                        </a:rPr>
                        <a:t>n = 406</a:t>
                      </a:r>
                      <a:endParaRPr lang="en-US" sz="1200" b="1" i="0" dirty="0">
                        <a:solidFill>
                          <a:schemeClr val="bg1"/>
                        </a:solidFill>
                        <a:effectLst/>
                        <a:latin typeface="Arial" panose="020B0604020202020204" pitchFamily="34" charset="0"/>
                        <a:ea typeface="MS Mincho" panose="02020609040205080304" pitchFamily="49" charset="-128"/>
                        <a:cs typeface="Arial" panose="020B0604020202020204" pitchFamily="34" charset="0"/>
                      </a:endParaRPr>
                    </a:p>
                  </a:txBody>
                  <a:tcPr marL="68580" marR="68580" marT="0" marB="0" anchor="ctr">
                    <a:lnL>
                      <a:noFill/>
                    </a:lnL>
                    <a:lnR>
                      <a:noFill/>
                    </a:lnR>
                    <a:lnT w="12700" cap="flat" cmpd="sng" algn="ctr">
                      <a:noFill/>
                      <a:prstDash val="solid"/>
                      <a:round/>
                      <a:headEnd type="none" w="med" len="med"/>
                      <a:tailEnd type="none" w="med" len="med"/>
                    </a:lnT>
                    <a:lnB w="12700" cap="flat" cmpd="sng" algn="ctr">
                      <a:solidFill>
                        <a:srgbClr val="00447C"/>
                      </a:solidFill>
                      <a:prstDash val="solid"/>
                      <a:round/>
                      <a:headEnd type="none" w="med" len="med"/>
                      <a:tailEnd type="none" w="med" len="med"/>
                    </a:lnB>
                    <a:lnTlToBr w="12700" cmpd="sng">
                      <a:noFill/>
                      <a:prstDash val="solid"/>
                    </a:lnTlToBr>
                    <a:lnBlToTr w="12700" cmpd="sng">
                      <a:noFill/>
                      <a:prstDash val="solid"/>
                    </a:lnBlToTr>
                    <a:solidFill>
                      <a:srgbClr val="002985"/>
                    </a:solidFill>
                  </a:tcPr>
                </a:tc>
                <a:tc>
                  <a:txBody>
                    <a:bodyPr/>
                    <a:lstStyle>
                      <a:lvl1pPr marL="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1pPr>
                      <a:lvl2pPr marL="4572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2pPr>
                      <a:lvl3pPr marL="9144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3pPr>
                      <a:lvl4pPr marL="13716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4pPr>
                      <a:lvl5pPr marL="18288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5pPr>
                      <a:lvl6pPr marL="22860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6pPr>
                      <a:lvl7pPr marL="27432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7pPr>
                      <a:lvl8pPr marL="32004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8pPr>
                      <a:lvl9pPr marL="36576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9pPr>
                    </a:lstStyle>
                    <a:p>
                      <a:pPr marL="0" marR="0" algn="ctr">
                        <a:lnSpc>
                          <a:spcPct val="100000"/>
                        </a:lnSpc>
                        <a:spcBef>
                          <a:spcPts val="0"/>
                        </a:spcBef>
                        <a:spcAft>
                          <a:spcPts val="0"/>
                        </a:spcAft>
                      </a:pPr>
                      <a:r>
                        <a:rPr lang="en-NZ" sz="1200" b="1" i="0" dirty="0">
                          <a:solidFill>
                            <a:schemeClr val="bg1"/>
                          </a:solidFill>
                          <a:effectLst/>
                          <a:latin typeface="Arial" panose="020B0604020202020204" pitchFamily="34" charset="0"/>
                          <a:ea typeface="MS Mincho" panose="02020609040205080304" pitchFamily="49" charset="-128"/>
                          <a:cs typeface="Arial" panose="020B0604020202020204" pitchFamily="34" charset="0"/>
                        </a:rPr>
                        <a:t>TPC</a:t>
                      </a:r>
                    </a:p>
                    <a:p>
                      <a:pPr marL="0" marR="0" algn="ctr">
                        <a:lnSpc>
                          <a:spcPct val="100000"/>
                        </a:lnSpc>
                        <a:spcBef>
                          <a:spcPts val="0"/>
                        </a:spcBef>
                        <a:spcAft>
                          <a:spcPts val="0"/>
                        </a:spcAft>
                      </a:pPr>
                      <a:r>
                        <a:rPr lang="en-NZ" sz="1200" b="1" i="0" dirty="0">
                          <a:solidFill>
                            <a:schemeClr val="bg1"/>
                          </a:solidFill>
                          <a:effectLst/>
                          <a:latin typeface="Arial" panose="020B0604020202020204" pitchFamily="34" charset="0"/>
                          <a:ea typeface="MS Mincho" panose="02020609040205080304" pitchFamily="49" charset="-128"/>
                          <a:cs typeface="Arial" panose="020B0604020202020204" pitchFamily="34" charset="0"/>
                        </a:rPr>
                        <a:t>n = 202</a:t>
                      </a:r>
                      <a:endParaRPr lang="en-US" sz="1200" b="1" i="0" dirty="0">
                        <a:solidFill>
                          <a:schemeClr val="bg1"/>
                        </a:solidFill>
                        <a:effectLst/>
                        <a:latin typeface="Arial" panose="020B0604020202020204" pitchFamily="34" charset="0"/>
                        <a:ea typeface="MS Mincho" panose="02020609040205080304" pitchFamily="49" charset="-128"/>
                        <a:cs typeface="Arial" panose="020B0604020202020204" pitchFamily="34" charset="0"/>
                      </a:endParaRPr>
                    </a:p>
                  </a:txBody>
                  <a:tcPr marL="68580" marR="68580" marT="0" marB="0" anchor="ctr">
                    <a:lnL>
                      <a:noFill/>
                    </a:lnL>
                    <a:lnR>
                      <a:noFill/>
                    </a:lnR>
                    <a:lnT w="12700" cap="flat" cmpd="sng" algn="ctr">
                      <a:noFill/>
                      <a:prstDash val="solid"/>
                      <a:round/>
                      <a:headEnd type="none" w="med" len="med"/>
                      <a:tailEnd type="none" w="med" len="med"/>
                    </a:lnT>
                    <a:lnB w="12700" cap="flat" cmpd="sng" algn="ctr">
                      <a:solidFill>
                        <a:srgbClr val="00447C"/>
                      </a:solidFill>
                      <a:prstDash val="solid"/>
                      <a:round/>
                      <a:headEnd type="none" w="med" len="med"/>
                      <a:tailEnd type="none" w="med" len="med"/>
                    </a:lnB>
                    <a:lnTlToBr w="12700" cmpd="sng">
                      <a:noFill/>
                      <a:prstDash val="solid"/>
                    </a:lnTlToBr>
                    <a:lnBlToTr w="12700" cmpd="sng">
                      <a:noFill/>
                      <a:prstDash val="solid"/>
                    </a:lnBlToTr>
                    <a:solidFill>
                      <a:srgbClr val="929294"/>
                    </a:solidFill>
                  </a:tcPr>
                </a:tc>
                <a:extLst>
                  <a:ext uri="{0D108BD9-81ED-4DB2-BD59-A6C34878D82A}">
                    <a16:rowId xmlns:a16="http://schemas.microsoft.com/office/drawing/2014/main" val="3662686453"/>
                  </a:ext>
                </a:extLst>
              </a:tr>
              <a:tr h="142875">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NZ" sz="900" b="1" i="0" dirty="0">
                          <a:effectLst/>
                          <a:latin typeface="Arial" panose="020B0604020202020204" pitchFamily="34" charset="0"/>
                          <a:cs typeface="Arial" panose="020B0604020202020204" pitchFamily="34" charset="0"/>
                        </a:rPr>
                        <a:t>Prior treatment for BC, n (%)</a:t>
                      </a:r>
                      <a:endParaRPr lang="en-NZ" sz="900" b="0" i="0" dirty="0">
                        <a:effectLst/>
                        <a:latin typeface="Arial" panose="020B0604020202020204" pitchFamily="34" charset="0"/>
                        <a:cs typeface="Arial" panose="020B0604020202020204" pitchFamily="34" charset="0"/>
                      </a:endParaRPr>
                    </a:p>
                  </a:txBody>
                  <a:tcPr marL="68580" marR="68580" marT="0" marB="0" anchor="ctr">
                    <a:lnL>
                      <a:noFill/>
                    </a:lnL>
                    <a:lnR>
                      <a:noFill/>
                    </a:lnR>
                    <a:lnT w="12700" cap="flat" cmpd="sng" algn="ctr">
                      <a:solidFill>
                        <a:srgbClr val="00447C"/>
                      </a:solidFill>
                      <a:prstDash val="solid"/>
                      <a:round/>
                      <a:headEnd type="none" w="med" len="med"/>
                      <a:tailEnd type="none" w="med" len="med"/>
                    </a:lnT>
                    <a:lnB w="12700" cap="flat" cmpd="sng" algn="ctr">
                      <a:solidFill>
                        <a:srgbClr val="00447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7000"/>
                        </a:lnSpc>
                        <a:spcBef>
                          <a:spcPts val="0"/>
                        </a:spcBef>
                        <a:spcAft>
                          <a:spcPts val="0"/>
                        </a:spcAft>
                      </a:pPr>
                      <a:r>
                        <a:rPr lang="en-US" sz="900" dirty="0">
                          <a:solidFill>
                            <a:srgbClr val="000000"/>
                          </a:solidFill>
                          <a:effectLst/>
                          <a:latin typeface="Arial" panose="020B0604020202020204" pitchFamily="34" charset="0"/>
                          <a:ea typeface="Yu Mincho" panose="02020400000000000000" pitchFamily="18" charset="-128"/>
                          <a:cs typeface="Arial" panose="020B0604020202020204" pitchFamily="34" charset="0"/>
                        </a:rPr>
                        <a:t>406 (100)</a:t>
                      </a:r>
                      <a:endParaRPr lang="en-US" sz="900" dirty="0">
                        <a:effectLst/>
                        <a:latin typeface="Arial" panose="020B0604020202020204" pitchFamily="34" charset="0"/>
                        <a:ea typeface="Yu Mincho" panose="02020400000000000000" pitchFamily="18" charset="-128"/>
                        <a:cs typeface="Arial" panose="020B0604020202020204" pitchFamily="34" charset="0"/>
                      </a:endParaRPr>
                    </a:p>
                  </a:txBody>
                  <a:tcPr marL="0" marR="0" marT="0" marB="0" anchor="ctr">
                    <a:lnL>
                      <a:noFill/>
                    </a:lnL>
                    <a:lnR>
                      <a:noFill/>
                    </a:lnR>
                    <a:lnT w="12700" cap="flat" cmpd="sng" algn="ctr">
                      <a:solidFill>
                        <a:srgbClr val="00447C"/>
                      </a:solidFill>
                      <a:prstDash val="solid"/>
                      <a:round/>
                      <a:headEnd type="none" w="med" len="med"/>
                      <a:tailEnd type="none" w="med" len="med"/>
                    </a:lnT>
                    <a:lnB w="12700" cap="flat" cmpd="sng" algn="ctr">
                      <a:solidFill>
                        <a:srgbClr val="00447C"/>
                      </a:solidFill>
                      <a:prstDash val="solid"/>
                      <a:round/>
                      <a:headEnd type="none" w="med" len="med"/>
                      <a:tailEnd type="none" w="med" len="med"/>
                    </a:lnB>
                    <a:lnTlToBr w="12700" cmpd="sng">
                      <a:noFill/>
                      <a:prstDash val="solid"/>
                    </a:lnTlToBr>
                    <a:lnBlToTr w="12700" cmpd="sng">
                      <a:noFill/>
                      <a:prstDash val="solid"/>
                    </a:lnBlToTr>
                    <a:solidFill>
                      <a:srgbClr val="E6ECF9">
                        <a:alpha val="75281"/>
                      </a:srgbClr>
                    </a:solidFill>
                  </a:tcPr>
                </a:tc>
                <a:tc>
                  <a:txBody>
                    <a:bodyPr/>
                    <a:lstStyle/>
                    <a:p>
                      <a:pPr marL="0" marR="0" algn="ctr">
                        <a:lnSpc>
                          <a:spcPct val="107000"/>
                        </a:lnSpc>
                        <a:spcBef>
                          <a:spcPts val="0"/>
                        </a:spcBef>
                        <a:spcAft>
                          <a:spcPts val="0"/>
                        </a:spcAft>
                      </a:pPr>
                      <a:r>
                        <a:rPr lang="en-US" sz="900" dirty="0">
                          <a:solidFill>
                            <a:srgbClr val="000000"/>
                          </a:solidFill>
                          <a:effectLst/>
                          <a:latin typeface="Arial" panose="020B0604020202020204" pitchFamily="34" charset="0"/>
                          <a:ea typeface="Yu Mincho" panose="02020400000000000000" pitchFamily="18" charset="-128"/>
                          <a:cs typeface="Arial" panose="020B0604020202020204" pitchFamily="34" charset="0"/>
                        </a:rPr>
                        <a:t>202 (100)</a:t>
                      </a:r>
                      <a:endParaRPr lang="en-US" sz="900" dirty="0">
                        <a:effectLst/>
                        <a:latin typeface="Arial" panose="020B0604020202020204" pitchFamily="34" charset="0"/>
                        <a:ea typeface="Yu Mincho" panose="02020400000000000000" pitchFamily="18" charset="-128"/>
                        <a:cs typeface="Arial" panose="020B0604020202020204" pitchFamily="34" charset="0"/>
                      </a:endParaRPr>
                    </a:p>
                  </a:txBody>
                  <a:tcPr marL="0" marR="0" marT="0" marB="0" anchor="ctr">
                    <a:lnL>
                      <a:noFill/>
                    </a:lnL>
                    <a:lnR>
                      <a:noFill/>
                    </a:lnR>
                    <a:lnT w="12700" cap="flat" cmpd="sng" algn="ctr">
                      <a:solidFill>
                        <a:srgbClr val="00447C"/>
                      </a:solidFill>
                      <a:prstDash val="solid"/>
                      <a:round/>
                      <a:headEnd type="none" w="med" len="med"/>
                      <a:tailEnd type="none" w="med" len="med"/>
                    </a:lnT>
                    <a:lnB w="12700" cap="flat" cmpd="sng" algn="ctr">
                      <a:solidFill>
                        <a:srgbClr val="00447C"/>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50035"/>
                      </a:schemeClr>
                    </a:solidFill>
                  </a:tcPr>
                </a:tc>
                <a:extLst>
                  <a:ext uri="{0D108BD9-81ED-4DB2-BD59-A6C34878D82A}">
                    <a16:rowId xmlns:a16="http://schemas.microsoft.com/office/drawing/2014/main" val="1200643455"/>
                  </a:ext>
                </a:extLst>
              </a:tr>
              <a:tr h="285750">
                <a:tc>
                  <a:txBody>
                    <a:bodyPr/>
                    <a:lstStyle/>
                    <a:p>
                      <a:pPr marL="7938" marR="0" indent="0">
                        <a:lnSpc>
                          <a:spcPct val="100000"/>
                        </a:lnSpc>
                        <a:spcBef>
                          <a:spcPts val="0"/>
                        </a:spcBef>
                        <a:spcAft>
                          <a:spcPts val="0"/>
                        </a:spcAft>
                        <a:tabLst/>
                      </a:pPr>
                      <a:r>
                        <a:rPr lang="en-NZ" sz="900" b="1" i="0" dirty="0">
                          <a:effectLst/>
                          <a:latin typeface="Arial" panose="020B0604020202020204" pitchFamily="34" charset="0"/>
                          <a:cs typeface="Arial" panose="020B0604020202020204" pitchFamily="34" charset="0"/>
                        </a:rPr>
                        <a:t>Prior lines of therapy in the metastatic setting,</a:t>
                      </a:r>
                      <a:r>
                        <a:rPr lang="en-NZ" sz="900" b="1" i="0" baseline="0" dirty="0">
                          <a:effectLst/>
                          <a:latin typeface="Arial" panose="020B0604020202020204" pitchFamily="34" charset="0"/>
                          <a:cs typeface="Arial" panose="020B0604020202020204" pitchFamily="34" charset="0"/>
                        </a:rPr>
                        <a:t> n (%)</a:t>
                      </a:r>
                      <a:endParaRPr lang="en-NZ" sz="900" b="0" i="0" baseline="0" dirty="0">
                        <a:effectLst/>
                        <a:latin typeface="Arial" panose="020B0604020202020204" pitchFamily="34" charset="0"/>
                        <a:cs typeface="Arial" panose="020B0604020202020204" pitchFamily="34" charset="0"/>
                      </a:endParaRPr>
                    </a:p>
                  </a:txBody>
                  <a:tcPr marL="68580" marR="68580" marT="0" marB="0" anchor="ctr">
                    <a:lnL>
                      <a:noFill/>
                    </a:lnL>
                    <a:lnR>
                      <a:noFill/>
                    </a:lnR>
                    <a:lnT w="12700" cap="flat" cmpd="sng" algn="ctr">
                      <a:solidFill>
                        <a:srgbClr val="00447C"/>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0000"/>
                        </a:lnSpc>
                        <a:spcBef>
                          <a:spcPts val="0"/>
                        </a:spcBef>
                        <a:spcAft>
                          <a:spcPts val="0"/>
                        </a:spcAft>
                      </a:pPr>
                      <a:endParaRPr lang="en-NZ" sz="900" b="0" i="0" kern="1200" dirty="0">
                        <a:effectLst/>
                        <a:latin typeface="Arial" panose="020B0604020202020204" pitchFamily="34" charset="0"/>
                        <a:cs typeface="Arial" panose="020B0604020202020204" pitchFamily="34" charset="0"/>
                      </a:endParaRPr>
                    </a:p>
                  </a:txBody>
                  <a:tcPr marL="68580" marR="68580" marT="0" marB="0" anchor="ctr">
                    <a:lnL>
                      <a:noFill/>
                    </a:lnL>
                    <a:lnR>
                      <a:noFill/>
                    </a:lnR>
                    <a:lnT w="12700" cap="flat" cmpd="sng" algn="ctr">
                      <a:solidFill>
                        <a:srgbClr val="00447C"/>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CF9">
                        <a:alpha val="75281"/>
                      </a:srgbClr>
                    </a:solidFill>
                  </a:tcPr>
                </a:tc>
                <a:tc>
                  <a:txBody>
                    <a:bodyPr/>
                    <a:lstStyle/>
                    <a:p>
                      <a:pPr marL="0" marR="0" algn="ctr">
                        <a:lnSpc>
                          <a:spcPct val="100000"/>
                        </a:lnSpc>
                        <a:spcBef>
                          <a:spcPts val="0"/>
                        </a:spcBef>
                        <a:spcAft>
                          <a:spcPts val="0"/>
                        </a:spcAft>
                      </a:pPr>
                      <a:endParaRPr lang="en-NZ" sz="900" b="0" i="0" kern="1200" dirty="0">
                        <a:effectLst/>
                        <a:latin typeface="Arial" panose="020B0604020202020204" pitchFamily="34" charset="0"/>
                        <a:cs typeface="Arial" panose="020B0604020202020204" pitchFamily="34" charset="0"/>
                      </a:endParaRPr>
                    </a:p>
                  </a:txBody>
                  <a:tcPr marL="68580" marR="68580" marT="0" marB="0" anchor="ctr">
                    <a:lnL>
                      <a:noFill/>
                    </a:lnL>
                    <a:lnR>
                      <a:noFill/>
                    </a:lnR>
                    <a:lnT w="12700" cap="flat" cmpd="sng" algn="ctr">
                      <a:solidFill>
                        <a:srgbClr val="00447C"/>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50035"/>
                      </a:schemeClr>
                    </a:solidFill>
                  </a:tcPr>
                </a:tc>
                <a:extLst>
                  <a:ext uri="{0D108BD9-81ED-4DB2-BD59-A6C34878D82A}">
                    <a16:rowId xmlns:a16="http://schemas.microsoft.com/office/drawing/2014/main" val="2798927438"/>
                  </a:ext>
                </a:extLst>
              </a:tr>
              <a:tr h="142875">
                <a:tc>
                  <a:txBody>
                    <a:bodyPr/>
                    <a:lstStyle/>
                    <a:p>
                      <a:pPr marL="228600" marR="0" lvl="0" indent="0" algn="l" defTabSz="914400" rtl="0" eaLnBrk="1" fontAlgn="auto" latinLnBrk="0" hangingPunct="1">
                        <a:lnSpc>
                          <a:spcPct val="100000"/>
                        </a:lnSpc>
                        <a:spcBef>
                          <a:spcPts val="0"/>
                        </a:spcBef>
                        <a:spcAft>
                          <a:spcPts val="0"/>
                        </a:spcAft>
                        <a:buClrTx/>
                        <a:buSzTx/>
                        <a:buFontTx/>
                        <a:buNone/>
                        <a:tabLst/>
                        <a:defRPr/>
                      </a:pPr>
                      <a:r>
                        <a:rPr lang="en-NZ" sz="900" b="0" i="0" baseline="0" dirty="0">
                          <a:effectLst/>
                          <a:latin typeface="Arial" panose="020B0604020202020204" pitchFamily="34" charset="0"/>
                          <a:cs typeface="Arial" panose="020B0604020202020204" pitchFamily="34" charset="0"/>
                        </a:rPr>
                        <a:t>0</a:t>
                      </a:r>
                    </a:p>
                  </a:txBody>
                  <a:tcPr marL="68580" marR="68580" marT="0" marB="0" anchor="ctr">
                    <a:lnL>
                      <a:noFill/>
                    </a:lnL>
                    <a:lnR>
                      <a:noFill/>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7000"/>
                        </a:lnSpc>
                        <a:spcBef>
                          <a:spcPts val="0"/>
                        </a:spcBef>
                        <a:spcAft>
                          <a:spcPts val="0"/>
                        </a:spcAft>
                      </a:pPr>
                      <a:r>
                        <a:rPr lang="en-US" sz="900" dirty="0">
                          <a:solidFill>
                            <a:srgbClr val="000000"/>
                          </a:solidFill>
                          <a:effectLst/>
                          <a:latin typeface="Arial" panose="020B0604020202020204" pitchFamily="34" charset="0"/>
                          <a:ea typeface="Yu Mincho" panose="02020400000000000000" pitchFamily="18" charset="-128"/>
                          <a:cs typeface="Arial" panose="020B0604020202020204" pitchFamily="34" charset="0"/>
                        </a:rPr>
                        <a:t>  2 (0.5)</a:t>
                      </a:r>
                      <a:endParaRPr lang="en-US" sz="900" dirty="0">
                        <a:effectLst/>
                        <a:latin typeface="Arial" panose="020B0604020202020204" pitchFamily="34" charset="0"/>
                        <a:ea typeface="Yu Mincho" panose="02020400000000000000" pitchFamily="18" charset="-128"/>
                        <a:cs typeface="Arial" panose="020B0604020202020204" pitchFamily="34" charset="0"/>
                      </a:endParaRPr>
                    </a:p>
                  </a:txBody>
                  <a:tcPr marL="0" marR="0" marT="0" marB="0">
                    <a:lnL>
                      <a:noFill/>
                    </a:lnL>
                    <a:lnR>
                      <a:noFill/>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CF9">
                        <a:alpha val="75281"/>
                      </a:srgbClr>
                    </a:solidFill>
                  </a:tcPr>
                </a:tc>
                <a:tc>
                  <a:txBody>
                    <a:bodyPr/>
                    <a:lstStyle/>
                    <a:p>
                      <a:pPr marL="0" marR="0" algn="ctr">
                        <a:lnSpc>
                          <a:spcPct val="107000"/>
                        </a:lnSpc>
                        <a:spcBef>
                          <a:spcPts val="0"/>
                        </a:spcBef>
                        <a:spcAft>
                          <a:spcPts val="0"/>
                        </a:spcAft>
                      </a:pPr>
                      <a:r>
                        <a:rPr lang="en-US" sz="900" dirty="0">
                          <a:solidFill>
                            <a:srgbClr val="000000"/>
                          </a:solidFill>
                          <a:effectLst/>
                          <a:latin typeface="Arial" panose="020B0604020202020204" pitchFamily="34" charset="0"/>
                          <a:ea typeface="Yu Mincho" panose="02020400000000000000" pitchFamily="18" charset="-128"/>
                          <a:cs typeface="Arial" panose="020B0604020202020204" pitchFamily="34" charset="0"/>
                        </a:rPr>
                        <a:t>0</a:t>
                      </a:r>
                      <a:endParaRPr lang="en-US" sz="900" dirty="0">
                        <a:effectLst/>
                        <a:latin typeface="Arial" panose="020B0604020202020204" pitchFamily="34" charset="0"/>
                        <a:ea typeface="Yu Mincho" panose="02020400000000000000" pitchFamily="18" charset="-128"/>
                        <a:cs typeface="Arial" panose="020B0604020202020204" pitchFamily="34" charset="0"/>
                      </a:endParaRPr>
                    </a:p>
                  </a:txBody>
                  <a:tcPr marL="0" marR="0" marT="0" marB="0">
                    <a:lnL>
                      <a:noFill/>
                    </a:lnL>
                    <a:lnR>
                      <a:noFill/>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50035"/>
                      </a:schemeClr>
                    </a:solidFill>
                  </a:tcPr>
                </a:tc>
                <a:extLst>
                  <a:ext uri="{0D108BD9-81ED-4DB2-BD59-A6C34878D82A}">
                    <a16:rowId xmlns:a16="http://schemas.microsoft.com/office/drawing/2014/main" val="3338146123"/>
                  </a:ext>
                </a:extLst>
              </a:tr>
              <a:tr h="142875">
                <a:tc>
                  <a:txBody>
                    <a:bodyPr/>
                    <a:lstStyle/>
                    <a:p>
                      <a:pPr marL="228600" marR="0" lvl="0" indent="0" algn="l" defTabSz="914400" rtl="0" eaLnBrk="1" fontAlgn="auto" latinLnBrk="0" hangingPunct="1">
                        <a:lnSpc>
                          <a:spcPct val="100000"/>
                        </a:lnSpc>
                        <a:spcBef>
                          <a:spcPts val="0"/>
                        </a:spcBef>
                        <a:spcAft>
                          <a:spcPts val="0"/>
                        </a:spcAft>
                        <a:buClrTx/>
                        <a:buSzTx/>
                        <a:buFontTx/>
                        <a:buNone/>
                        <a:tabLst/>
                        <a:defRPr/>
                      </a:pPr>
                      <a:r>
                        <a:rPr lang="en-NZ" sz="900" b="0" i="0" baseline="0" dirty="0">
                          <a:effectLst/>
                          <a:latin typeface="Arial" panose="020B0604020202020204" pitchFamily="34" charset="0"/>
                          <a:cs typeface="Arial" panose="020B0604020202020204" pitchFamily="34" charset="0"/>
                        </a:rPr>
                        <a:t>1</a:t>
                      </a:r>
                    </a:p>
                  </a:txBody>
                  <a:tcPr marL="68580" marR="68580" marT="0" marB="0" anchor="ctr">
                    <a:lnL>
                      <a:noFill/>
                    </a:lnL>
                    <a:lnR>
                      <a:noFill/>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7000"/>
                        </a:lnSpc>
                        <a:spcBef>
                          <a:spcPts val="0"/>
                        </a:spcBef>
                        <a:spcAft>
                          <a:spcPts val="0"/>
                        </a:spcAft>
                      </a:pPr>
                      <a:r>
                        <a:rPr lang="en-US" sz="900" dirty="0">
                          <a:solidFill>
                            <a:srgbClr val="000000"/>
                          </a:solidFill>
                          <a:effectLst/>
                          <a:latin typeface="Arial" panose="020B0604020202020204" pitchFamily="34" charset="0"/>
                          <a:ea typeface="Yu Mincho" panose="02020400000000000000" pitchFamily="18" charset="-128"/>
                          <a:cs typeface="Arial" panose="020B0604020202020204" pitchFamily="34" charset="0"/>
                        </a:rPr>
                        <a:t> 18 (4.4)</a:t>
                      </a:r>
                      <a:endParaRPr lang="en-US" sz="900" dirty="0">
                        <a:effectLst/>
                        <a:latin typeface="Arial" panose="020B0604020202020204" pitchFamily="34" charset="0"/>
                        <a:ea typeface="Yu Mincho" panose="02020400000000000000" pitchFamily="18" charset="-128"/>
                        <a:cs typeface="Arial" panose="020B0604020202020204" pitchFamily="34" charset="0"/>
                      </a:endParaRPr>
                    </a:p>
                  </a:txBody>
                  <a:tcPr marL="0" marR="0" marT="0" marB="0">
                    <a:lnL>
                      <a:noFill/>
                    </a:lnL>
                    <a:lnR>
                      <a:noFill/>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CF9">
                        <a:alpha val="75281"/>
                      </a:srgbClr>
                    </a:solidFill>
                  </a:tcPr>
                </a:tc>
                <a:tc>
                  <a:txBody>
                    <a:bodyPr/>
                    <a:lstStyle/>
                    <a:p>
                      <a:pPr marL="0" marR="0" algn="ctr">
                        <a:lnSpc>
                          <a:spcPct val="107000"/>
                        </a:lnSpc>
                        <a:spcBef>
                          <a:spcPts val="0"/>
                        </a:spcBef>
                        <a:spcAft>
                          <a:spcPts val="0"/>
                        </a:spcAft>
                      </a:pPr>
                      <a:r>
                        <a:rPr lang="en-US" sz="900" dirty="0">
                          <a:solidFill>
                            <a:srgbClr val="000000"/>
                          </a:solidFill>
                          <a:effectLst/>
                          <a:latin typeface="Arial" panose="020B0604020202020204" pitchFamily="34" charset="0"/>
                          <a:ea typeface="Yu Mincho" panose="02020400000000000000" pitchFamily="18" charset="-128"/>
                          <a:cs typeface="Arial" panose="020B0604020202020204" pitchFamily="34" charset="0"/>
                        </a:rPr>
                        <a:t> 12 (5.9)</a:t>
                      </a:r>
                      <a:endParaRPr lang="en-US" sz="900" dirty="0">
                        <a:effectLst/>
                        <a:latin typeface="Arial" panose="020B0604020202020204" pitchFamily="34" charset="0"/>
                        <a:ea typeface="Yu Mincho" panose="02020400000000000000" pitchFamily="18" charset="-128"/>
                        <a:cs typeface="Arial" panose="020B0604020202020204" pitchFamily="34" charset="0"/>
                      </a:endParaRPr>
                    </a:p>
                  </a:txBody>
                  <a:tcPr marL="0" marR="0" marT="0" marB="0">
                    <a:lnL>
                      <a:noFill/>
                    </a:lnL>
                    <a:lnR>
                      <a:noFill/>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50035"/>
                      </a:schemeClr>
                    </a:solidFill>
                  </a:tcPr>
                </a:tc>
                <a:extLst>
                  <a:ext uri="{0D108BD9-81ED-4DB2-BD59-A6C34878D82A}">
                    <a16:rowId xmlns:a16="http://schemas.microsoft.com/office/drawing/2014/main" val="2524729556"/>
                  </a:ext>
                </a:extLst>
              </a:tr>
              <a:tr h="142875">
                <a:tc>
                  <a:txBody>
                    <a:bodyPr/>
                    <a:lstStyle/>
                    <a:p>
                      <a:pPr marL="228600" marR="0" lvl="0" indent="0" algn="l" defTabSz="914400" rtl="0" eaLnBrk="1" fontAlgn="auto" latinLnBrk="0" hangingPunct="1">
                        <a:lnSpc>
                          <a:spcPct val="100000"/>
                        </a:lnSpc>
                        <a:spcBef>
                          <a:spcPts val="0"/>
                        </a:spcBef>
                        <a:spcAft>
                          <a:spcPts val="0"/>
                        </a:spcAft>
                        <a:buClrTx/>
                        <a:buSzTx/>
                        <a:buFontTx/>
                        <a:buNone/>
                        <a:tabLst/>
                        <a:defRPr/>
                      </a:pPr>
                      <a:r>
                        <a:rPr lang="en-NZ" sz="900" b="0" i="0" baseline="0" dirty="0">
                          <a:effectLst/>
                          <a:latin typeface="Arial" panose="020B0604020202020204" pitchFamily="34" charset="0"/>
                          <a:cs typeface="Arial" panose="020B0604020202020204" pitchFamily="34" charset="0"/>
                        </a:rPr>
                        <a:t>2</a:t>
                      </a:r>
                    </a:p>
                  </a:txBody>
                  <a:tcPr marL="68580" marR="68580" marT="0" marB="0" anchor="ctr">
                    <a:lnL>
                      <a:noFill/>
                    </a:lnL>
                    <a:lnR>
                      <a:noFill/>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7000"/>
                        </a:lnSpc>
                        <a:spcBef>
                          <a:spcPts val="0"/>
                        </a:spcBef>
                        <a:spcAft>
                          <a:spcPts val="0"/>
                        </a:spcAft>
                      </a:pPr>
                      <a:r>
                        <a:rPr lang="en-US" sz="900" dirty="0">
                          <a:solidFill>
                            <a:srgbClr val="000000"/>
                          </a:solidFill>
                          <a:effectLst/>
                          <a:latin typeface="Arial" panose="020B0604020202020204" pitchFamily="34" charset="0"/>
                          <a:ea typeface="Yu Mincho" panose="02020400000000000000" pitchFamily="18" charset="-128"/>
                          <a:cs typeface="Arial" panose="020B0604020202020204" pitchFamily="34" charset="0"/>
                        </a:rPr>
                        <a:t>192 (47.3)</a:t>
                      </a:r>
                      <a:endParaRPr lang="en-US" sz="900" dirty="0">
                        <a:effectLst/>
                        <a:latin typeface="Arial" panose="020B0604020202020204" pitchFamily="34" charset="0"/>
                        <a:ea typeface="Yu Mincho" panose="02020400000000000000" pitchFamily="18" charset="-128"/>
                        <a:cs typeface="Arial" panose="020B0604020202020204" pitchFamily="34" charset="0"/>
                      </a:endParaRPr>
                    </a:p>
                  </a:txBody>
                  <a:tcPr marL="0" marR="0" marT="0" marB="0">
                    <a:lnL>
                      <a:noFill/>
                    </a:lnL>
                    <a:lnR>
                      <a:noFill/>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CF9">
                        <a:alpha val="75281"/>
                      </a:srgbClr>
                    </a:solidFill>
                  </a:tcPr>
                </a:tc>
                <a:tc>
                  <a:txBody>
                    <a:bodyPr/>
                    <a:lstStyle/>
                    <a:p>
                      <a:pPr marL="0" marR="0" algn="ctr">
                        <a:lnSpc>
                          <a:spcPct val="107000"/>
                        </a:lnSpc>
                        <a:spcBef>
                          <a:spcPts val="0"/>
                        </a:spcBef>
                        <a:spcAft>
                          <a:spcPts val="0"/>
                        </a:spcAft>
                      </a:pPr>
                      <a:r>
                        <a:rPr lang="en-US" sz="900" dirty="0">
                          <a:solidFill>
                            <a:srgbClr val="000000"/>
                          </a:solidFill>
                          <a:effectLst/>
                          <a:latin typeface="Arial" panose="020B0604020202020204" pitchFamily="34" charset="0"/>
                          <a:ea typeface="Yu Mincho" panose="02020400000000000000" pitchFamily="18" charset="-128"/>
                          <a:cs typeface="Arial" panose="020B0604020202020204" pitchFamily="34" charset="0"/>
                        </a:rPr>
                        <a:t> 92 (45.5)</a:t>
                      </a:r>
                      <a:endParaRPr lang="en-US" sz="900" dirty="0">
                        <a:effectLst/>
                        <a:latin typeface="Arial" panose="020B0604020202020204" pitchFamily="34" charset="0"/>
                        <a:ea typeface="Yu Mincho" panose="02020400000000000000" pitchFamily="18" charset="-128"/>
                        <a:cs typeface="Arial" panose="020B0604020202020204" pitchFamily="34" charset="0"/>
                      </a:endParaRPr>
                    </a:p>
                  </a:txBody>
                  <a:tcPr marL="0" marR="0" marT="0" marB="0">
                    <a:lnL>
                      <a:noFill/>
                    </a:lnL>
                    <a:lnR>
                      <a:noFill/>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50035"/>
                      </a:schemeClr>
                    </a:solidFill>
                  </a:tcPr>
                </a:tc>
                <a:extLst>
                  <a:ext uri="{0D108BD9-81ED-4DB2-BD59-A6C34878D82A}">
                    <a16:rowId xmlns:a16="http://schemas.microsoft.com/office/drawing/2014/main" val="3519122499"/>
                  </a:ext>
                </a:extLst>
              </a:tr>
              <a:tr h="142875">
                <a:tc>
                  <a:txBody>
                    <a:bodyPr/>
                    <a:lstStyle/>
                    <a:p>
                      <a:pPr marL="228600" marR="0" lvl="0" indent="0" algn="l" defTabSz="914400" rtl="0" eaLnBrk="1" fontAlgn="auto" latinLnBrk="0" hangingPunct="1">
                        <a:lnSpc>
                          <a:spcPct val="100000"/>
                        </a:lnSpc>
                        <a:spcBef>
                          <a:spcPts val="0"/>
                        </a:spcBef>
                        <a:spcAft>
                          <a:spcPts val="0"/>
                        </a:spcAft>
                        <a:buClrTx/>
                        <a:buSzTx/>
                        <a:buFontTx/>
                        <a:buNone/>
                        <a:tabLst/>
                        <a:defRPr/>
                      </a:pPr>
                      <a:r>
                        <a:rPr lang="en-NZ" sz="900" b="0" i="0" baseline="0" dirty="0">
                          <a:effectLst/>
                          <a:latin typeface="Arial" panose="020B0604020202020204" pitchFamily="34" charset="0"/>
                          <a:cs typeface="Arial" panose="020B0604020202020204" pitchFamily="34" charset="0"/>
                        </a:rPr>
                        <a:t>3</a:t>
                      </a:r>
                    </a:p>
                  </a:txBody>
                  <a:tcPr marL="68580" marR="68580" marT="0" marB="0" anchor="ctr">
                    <a:lnL>
                      <a:noFill/>
                    </a:lnL>
                    <a:lnR>
                      <a:noFill/>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7000"/>
                        </a:lnSpc>
                        <a:spcBef>
                          <a:spcPts val="0"/>
                        </a:spcBef>
                        <a:spcAft>
                          <a:spcPts val="0"/>
                        </a:spcAft>
                      </a:pPr>
                      <a:r>
                        <a:rPr lang="en-US" sz="900" dirty="0">
                          <a:solidFill>
                            <a:srgbClr val="000000"/>
                          </a:solidFill>
                          <a:effectLst/>
                          <a:latin typeface="Arial" panose="020B0604020202020204" pitchFamily="34" charset="0"/>
                          <a:ea typeface="Yu Mincho" panose="02020400000000000000" pitchFamily="18" charset="-128"/>
                          <a:cs typeface="Arial" panose="020B0604020202020204" pitchFamily="34" charset="0"/>
                        </a:rPr>
                        <a:t>123 (30.3)</a:t>
                      </a:r>
                      <a:endParaRPr lang="en-US" sz="900" dirty="0">
                        <a:effectLst/>
                        <a:latin typeface="Arial" panose="020B0604020202020204" pitchFamily="34" charset="0"/>
                        <a:ea typeface="Yu Mincho" panose="02020400000000000000" pitchFamily="18" charset="-128"/>
                        <a:cs typeface="Arial" panose="020B0604020202020204" pitchFamily="34" charset="0"/>
                      </a:endParaRPr>
                    </a:p>
                  </a:txBody>
                  <a:tcPr marL="0" marR="0" marT="0" marB="0">
                    <a:lnL>
                      <a:noFill/>
                    </a:lnL>
                    <a:lnR>
                      <a:noFill/>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CF9">
                        <a:alpha val="75281"/>
                      </a:srgbClr>
                    </a:solidFill>
                  </a:tcPr>
                </a:tc>
                <a:tc>
                  <a:txBody>
                    <a:bodyPr/>
                    <a:lstStyle/>
                    <a:p>
                      <a:pPr marL="0" marR="0" algn="ctr">
                        <a:lnSpc>
                          <a:spcPct val="107000"/>
                        </a:lnSpc>
                        <a:spcBef>
                          <a:spcPts val="0"/>
                        </a:spcBef>
                        <a:spcAft>
                          <a:spcPts val="0"/>
                        </a:spcAft>
                      </a:pPr>
                      <a:r>
                        <a:rPr lang="en-US" sz="900" dirty="0">
                          <a:solidFill>
                            <a:srgbClr val="000000"/>
                          </a:solidFill>
                          <a:effectLst/>
                          <a:latin typeface="Arial" panose="020B0604020202020204" pitchFamily="34" charset="0"/>
                          <a:ea typeface="Yu Mincho" panose="02020400000000000000" pitchFamily="18" charset="-128"/>
                          <a:cs typeface="Arial" panose="020B0604020202020204" pitchFamily="34" charset="0"/>
                        </a:rPr>
                        <a:t> 63 (31.2)</a:t>
                      </a:r>
                      <a:endParaRPr lang="en-US" sz="900" dirty="0">
                        <a:effectLst/>
                        <a:latin typeface="Arial" panose="020B0604020202020204" pitchFamily="34" charset="0"/>
                        <a:ea typeface="Yu Mincho" panose="02020400000000000000" pitchFamily="18" charset="-128"/>
                        <a:cs typeface="Arial" panose="020B0604020202020204" pitchFamily="34" charset="0"/>
                      </a:endParaRPr>
                    </a:p>
                  </a:txBody>
                  <a:tcPr marL="0" marR="0" marT="0" marB="0">
                    <a:lnL>
                      <a:noFill/>
                    </a:lnL>
                    <a:lnR>
                      <a:noFill/>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50035"/>
                      </a:schemeClr>
                    </a:solidFill>
                  </a:tcPr>
                </a:tc>
                <a:extLst>
                  <a:ext uri="{0D108BD9-81ED-4DB2-BD59-A6C34878D82A}">
                    <a16:rowId xmlns:a16="http://schemas.microsoft.com/office/drawing/2014/main" val="845832990"/>
                  </a:ext>
                </a:extLst>
              </a:tr>
              <a:tr h="142875">
                <a:tc>
                  <a:txBody>
                    <a:bodyPr/>
                    <a:lstStyle/>
                    <a:p>
                      <a:pPr marL="228600" marR="0" lvl="0" indent="0" algn="l" defTabSz="914400" rtl="0" eaLnBrk="1" fontAlgn="auto" latinLnBrk="0" hangingPunct="1">
                        <a:lnSpc>
                          <a:spcPct val="100000"/>
                        </a:lnSpc>
                        <a:spcBef>
                          <a:spcPts val="0"/>
                        </a:spcBef>
                        <a:spcAft>
                          <a:spcPts val="0"/>
                        </a:spcAft>
                        <a:buClrTx/>
                        <a:buSzTx/>
                        <a:buFontTx/>
                        <a:buNone/>
                        <a:tabLst/>
                        <a:defRPr/>
                      </a:pPr>
                      <a:r>
                        <a:rPr lang="en-NZ" sz="900" b="0" i="0" baseline="0" dirty="0">
                          <a:effectLst/>
                          <a:latin typeface="Arial" panose="020B0604020202020204" pitchFamily="34" charset="0"/>
                          <a:cs typeface="Arial" panose="020B0604020202020204" pitchFamily="34" charset="0"/>
                        </a:rPr>
                        <a:t>4</a:t>
                      </a:r>
                    </a:p>
                  </a:txBody>
                  <a:tcPr marL="68580" marR="68580" marT="0" marB="0" anchor="ctr">
                    <a:lnL>
                      <a:noFill/>
                    </a:lnL>
                    <a:lnR>
                      <a:noFill/>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7000"/>
                        </a:lnSpc>
                        <a:spcBef>
                          <a:spcPts val="0"/>
                        </a:spcBef>
                        <a:spcAft>
                          <a:spcPts val="0"/>
                        </a:spcAft>
                      </a:pPr>
                      <a:r>
                        <a:rPr lang="en-US" sz="900" dirty="0">
                          <a:solidFill>
                            <a:srgbClr val="000000"/>
                          </a:solidFill>
                          <a:effectLst/>
                          <a:latin typeface="Arial" panose="020B0604020202020204" pitchFamily="34" charset="0"/>
                          <a:ea typeface="Yu Mincho" panose="02020400000000000000" pitchFamily="18" charset="-128"/>
                          <a:cs typeface="Arial" panose="020B0604020202020204" pitchFamily="34" charset="0"/>
                        </a:rPr>
                        <a:t> 42 (10.3)</a:t>
                      </a:r>
                      <a:endParaRPr lang="en-US" sz="900" dirty="0">
                        <a:effectLst/>
                        <a:latin typeface="Arial" panose="020B0604020202020204" pitchFamily="34" charset="0"/>
                        <a:ea typeface="Yu Mincho" panose="02020400000000000000" pitchFamily="18" charset="-128"/>
                        <a:cs typeface="Arial" panose="020B0604020202020204" pitchFamily="34" charset="0"/>
                      </a:endParaRPr>
                    </a:p>
                  </a:txBody>
                  <a:tcPr marL="0" marR="0" marT="0" marB="0">
                    <a:lnL>
                      <a:noFill/>
                    </a:lnL>
                    <a:lnR>
                      <a:noFill/>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CF9">
                        <a:alpha val="75281"/>
                      </a:srgbClr>
                    </a:solidFill>
                  </a:tcPr>
                </a:tc>
                <a:tc>
                  <a:txBody>
                    <a:bodyPr/>
                    <a:lstStyle/>
                    <a:p>
                      <a:pPr marL="0" marR="0" algn="ctr">
                        <a:lnSpc>
                          <a:spcPct val="107000"/>
                        </a:lnSpc>
                        <a:spcBef>
                          <a:spcPts val="0"/>
                        </a:spcBef>
                        <a:spcAft>
                          <a:spcPts val="0"/>
                        </a:spcAft>
                      </a:pPr>
                      <a:r>
                        <a:rPr lang="en-US" sz="900" dirty="0">
                          <a:solidFill>
                            <a:srgbClr val="000000"/>
                          </a:solidFill>
                          <a:effectLst/>
                          <a:latin typeface="Arial" panose="020B0604020202020204" pitchFamily="34" charset="0"/>
                          <a:ea typeface="Yu Mincho" panose="02020400000000000000" pitchFamily="18" charset="-128"/>
                          <a:cs typeface="Arial" panose="020B0604020202020204" pitchFamily="34" charset="0"/>
                        </a:rPr>
                        <a:t> 13 (6.4)</a:t>
                      </a:r>
                      <a:endParaRPr lang="en-US" sz="900" dirty="0">
                        <a:effectLst/>
                        <a:latin typeface="Arial" panose="020B0604020202020204" pitchFamily="34" charset="0"/>
                        <a:ea typeface="Yu Mincho" panose="02020400000000000000" pitchFamily="18" charset="-128"/>
                        <a:cs typeface="Arial" panose="020B0604020202020204" pitchFamily="34" charset="0"/>
                      </a:endParaRPr>
                    </a:p>
                  </a:txBody>
                  <a:tcPr marL="0" marR="0" marT="0" marB="0">
                    <a:lnL>
                      <a:noFill/>
                    </a:lnL>
                    <a:lnR>
                      <a:noFill/>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50035"/>
                      </a:schemeClr>
                    </a:solidFill>
                  </a:tcPr>
                </a:tc>
                <a:extLst>
                  <a:ext uri="{0D108BD9-81ED-4DB2-BD59-A6C34878D82A}">
                    <a16:rowId xmlns:a16="http://schemas.microsoft.com/office/drawing/2014/main" val="3980585980"/>
                  </a:ext>
                </a:extLst>
              </a:tr>
              <a:tr h="142875">
                <a:tc>
                  <a:txBody>
                    <a:bodyPr/>
                    <a:lstStyle/>
                    <a:p>
                      <a:pPr marL="228600" marR="0" lvl="0" indent="0" algn="l" defTabSz="914400" rtl="0" eaLnBrk="1" fontAlgn="auto" latinLnBrk="0" hangingPunct="1">
                        <a:lnSpc>
                          <a:spcPct val="100000"/>
                        </a:lnSpc>
                        <a:spcBef>
                          <a:spcPts val="0"/>
                        </a:spcBef>
                        <a:spcAft>
                          <a:spcPts val="0"/>
                        </a:spcAft>
                        <a:buClrTx/>
                        <a:buSzTx/>
                        <a:buFontTx/>
                        <a:buNone/>
                        <a:tabLst/>
                        <a:defRPr/>
                      </a:pPr>
                      <a:r>
                        <a:rPr lang="en-NZ" sz="900" b="0" i="0" baseline="0" dirty="0">
                          <a:effectLst/>
                          <a:latin typeface="Arial" panose="020B0604020202020204" pitchFamily="34" charset="0"/>
                          <a:cs typeface="Arial" panose="020B0604020202020204" pitchFamily="34" charset="0"/>
                        </a:rPr>
                        <a:t>≥5</a:t>
                      </a:r>
                    </a:p>
                  </a:txBody>
                  <a:tcPr marL="68580" marR="68580" marT="0" marB="0" anchor="ctr">
                    <a:lnL>
                      <a:noFill/>
                    </a:lnL>
                    <a:lnR>
                      <a:noFill/>
                    </a:lnR>
                    <a:lnT w="3175" cap="flat" cmpd="sng" algn="ctr">
                      <a:solidFill>
                        <a:schemeClr val="bg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7000"/>
                        </a:lnSpc>
                        <a:spcBef>
                          <a:spcPts val="0"/>
                        </a:spcBef>
                        <a:spcAft>
                          <a:spcPts val="0"/>
                        </a:spcAft>
                      </a:pPr>
                      <a:r>
                        <a:rPr lang="en-US" sz="900" dirty="0">
                          <a:solidFill>
                            <a:srgbClr val="000000"/>
                          </a:solidFill>
                          <a:effectLst/>
                          <a:latin typeface="Arial" panose="020B0604020202020204" pitchFamily="34" charset="0"/>
                          <a:ea typeface="Yu Mincho" panose="02020400000000000000" pitchFamily="18" charset="-128"/>
                          <a:cs typeface="Arial" panose="020B0604020202020204" pitchFamily="34" charset="0"/>
                        </a:rPr>
                        <a:t> 29 (7.1)</a:t>
                      </a:r>
                      <a:endParaRPr lang="en-US" sz="900" dirty="0">
                        <a:effectLst/>
                        <a:latin typeface="Arial" panose="020B0604020202020204" pitchFamily="34" charset="0"/>
                        <a:ea typeface="Yu Mincho" panose="02020400000000000000" pitchFamily="18" charset="-128"/>
                        <a:cs typeface="Arial" panose="020B0604020202020204" pitchFamily="34" charset="0"/>
                      </a:endParaRPr>
                    </a:p>
                  </a:txBody>
                  <a:tcPr marL="0" marR="0" marT="0" marB="0">
                    <a:lnL>
                      <a:noFill/>
                    </a:lnL>
                    <a:lnR>
                      <a:noFill/>
                    </a:lnR>
                    <a:lnT w="3175" cap="flat" cmpd="sng" algn="ctr">
                      <a:solidFill>
                        <a:schemeClr val="bg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E6ECF9">
                        <a:alpha val="75281"/>
                      </a:srgbClr>
                    </a:solidFill>
                  </a:tcPr>
                </a:tc>
                <a:tc>
                  <a:txBody>
                    <a:bodyPr/>
                    <a:lstStyle/>
                    <a:p>
                      <a:pPr marL="0" marR="0" algn="ctr">
                        <a:lnSpc>
                          <a:spcPct val="107000"/>
                        </a:lnSpc>
                        <a:spcBef>
                          <a:spcPts val="0"/>
                        </a:spcBef>
                        <a:spcAft>
                          <a:spcPts val="0"/>
                        </a:spcAft>
                      </a:pPr>
                      <a:r>
                        <a:rPr lang="en-US" sz="900" dirty="0">
                          <a:solidFill>
                            <a:srgbClr val="000000"/>
                          </a:solidFill>
                          <a:effectLst/>
                          <a:latin typeface="Arial" panose="020B0604020202020204" pitchFamily="34" charset="0"/>
                          <a:ea typeface="Yu Mincho" panose="02020400000000000000" pitchFamily="18" charset="-128"/>
                          <a:cs typeface="Arial" panose="020B0604020202020204" pitchFamily="34" charset="0"/>
                        </a:rPr>
                        <a:t> 22 (10.9)</a:t>
                      </a:r>
                      <a:endParaRPr lang="en-US" sz="900" dirty="0">
                        <a:effectLst/>
                        <a:latin typeface="Arial" panose="020B0604020202020204" pitchFamily="34" charset="0"/>
                        <a:ea typeface="Yu Mincho" panose="02020400000000000000" pitchFamily="18" charset="-128"/>
                        <a:cs typeface="Arial" panose="020B0604020202020204" pitchFamily="34" charset="0"/>
                      </a:endParaRPr>
                    </a:p>
                  </a:txBody>
                  <a:tcPr marL="0" marR="0" marT="0" marB="0">
                    <a:lnL>
                      <a:noFill/>
                    </a:lnL>
                    <a:lnR>
                      <a:noFill/>
                    </a:lnR>
                    <a:lnT w="3175" cap="flat" cmpd="sng" algn="ctr">
                      <a:solidFill>
                        <a:schemeClr val="bg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50035"/>
                      </a:schemeClr>
                    </a:solidFill>
                  </a:tcPr>
                </a:tc>
                <a:extLst>
                  <a:ext uri="{0D108BD9-81ED-4DB2-BD59-A6C34878D82A}">
                    <a16:rowId xmlns:a16="http://schemas.microsoft.com/office/drawing/2014/main" val="3541338845"/>
                  </a:ext>
                </a:extLst>
              </a:tr>
              <a:tr h="28575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NZ" sz="900" b="1" i="0" baseline="0" dirty="0">
                          <a:solidFill>
                            <a:schemeClr val="tx1"/>
                          </a:solidFill>
                          <a:effectLst/>
                          <a:latin typeface="Arial" panose="020B0604020202020204" pitchFamily="34" charset="0"/>
                          <a:cs typeface="Arial" panose="020B0604020202020204" pitchFamily="34" charset="0"/>
                        </a:rPr>
                        <a:t>Median number of prior lines of systemic therapy in the metastatic setting, (range)</a:t>
                      </a:r>
                    </a:p>
                  </a:txBody>
                  <a:tcPr marL="68580" marR="68580" marT="0" marB="0" anchor="ctr">
                    <a:lnL>
                      <a:noFill/>
                    </a:lnL>
                    <a:lnR>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0000"/>
                        </a:lnSpc>
                        <a:spcBef>
                          <a:spcPts val="0"/>
                        </a:spcBef>
                        <a:spcAft>
                          <a:spcPts val="0"/>
                        </a:spcAft>
                      </a:pPr>
                      <a:r>
                        <a:rPr lang="en-US" sz="900" dirty="0">
                          <a:solidFill>
                            <a:schemeClr val="tx1"/>
                          </a:solidFill>
                          <a:effectLst/>
                          <a:latin typeface="Arial" panose="020B0604020202020204" pitchFamily="34" charset="0"/>
                          <a:ea typeface="MS Mincho" panose="02020609040205080304" pitchFamily="49" charset="-128"/>
                          <a:cs typeface="Arial" panose="020B0604020202020204" pitchFamily="34" charset="0"/>
                        </a:rPr>
                        <a:t>2 (0-10)</a:t>
                      </a:r>
                    </a:p>
                  </a:txBody>
                  <a:tcPr marL="51435" marR="51435" marT="0" marB="0" anchor="b">
                    <a:lnL>
                      <a:noFill/>
                    </a:lnL>
                    <a:lnR>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E6ECF9">
                        <a:alpha val="75281"/>
                      </a:srgbClr>
                    </a:solidFill>
                  </a:tcPr>
                </a:tc>
                <a:tc>
                  <a:txBody>
                    <a:bodyPr/>
                    <a:lstStyle/>
                    <a:p>
                      <a:pPr marL="0" marR="0" algn="ctr">
                        <a:lnSpc>
                          <a:spcPct val="100000"/>
                        </a:lnSpc>
                        <a:spcBef>
                          <a:spcPts val="0"/>
                        </a:spcBef>
                        <a:spcAft>
                          <a:spcPts val="0"/>
                        </a:spcAft>
                      </a:pPr>
                      <a:r>
                        <a:rPr lang="en-US" sz="900" dirty="0">
                          <a:solidFill>
                            <a:schemeClr val="tx1"/>
                          </a:solidFill>
                          <a:effectLst/>
                          <a:latin typeface="Arial" panose="020B0604020202020204" pitchFamily="34" charset="0"/>
                          <a:ea typeface="MS Mincho" panose="02020609040205080304" pitchFamily="49" charset="-128"/>
                          <a:cs typeface="Arial" panose="020B0604020202020204" pitchFamily="34" charset="0"/>
                        </a:rPr>
                        <a:t>2 (1-8)</a:t>
                      </a:r>
                    </a:p>
                  </a:txBody>
                  <a:tcPr marL="51435" marR="51435" marT="0" marB="0" anchor="b">
                    <a:lnL>
                      <a:noFill/>
                    </a:lnL>
                    <a:lnR>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50035"/>
                      </a:schemeClr>
                    </a:solidFill>
                  </a:tcPr>
                </a:tc>
                <a:extLst>
                  <a:ext uri="{0D108BD9-81ED-4DB2-BD59-A6C34878D82A}">
                    <a16:rowId xmlns:a16="http://schemas.microsoft.com/office/drawing/2014/main" val="2600574723"/>
                  </a:ext>
                </a:extLst>
              </a:tr>
              <a:tr h="142875">
                <a:tc>
                  <a:txBody>
                    <a:bodyPr/>
                    <a:lstStyle>
                      <a:lvl1pPr marL="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1pPr>
                      <a:lvl2pPr marL="4572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2pPr>
                      <a:lvl3pPr marL="9144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3pPr>
                      <a:lvl4pPr marL="13716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4pPr>
                      <a:lvl5pPr marL="18288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5pPr>
                      <a:lvl6pPr marL="22860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6pPr>
                      <a:lvl7pPr marL="27432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7pPr>
                      <a:lvl8pPr marL="32004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8pPr>
                      <a:lvl9pPr marL="36576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9pPr>
                    </a:lstStyle>
                    <a:p>
                      <a:pPr marL="0" marR="0">
                        <a:lnSpc>
                          <a:spcPct val="100000"/>
                        </a:lnSpc>
                        <a:spcBef>
                          <a:spcPts val="0"/>
                        </a:spcBef>
                        <a:spcAft>
                          <a:spcPts val="0"/>
                        </a:spcAft>
                      </a:pPr>
                      <a:r>
                        <a:rPr lang="en-US" sz="900" b="1" i="0" dirty="0">
                          <a:effectLst/>
                          <a:latin typeface="Arial" panose="020B0604020202020204" pitchFamily="34" charset="0"/>
                          <a:cs typeface="Arial" panose="020B0604020202020204" pitchFamily="34" charset="0"/>
                        </a:rPr>
                        <a:t>Prior systemic cancer therapy, n (%)</a:t>
                      </a:r>
                      <a:endParaRPr lang="en-NZ" sz="900" b="1" i="0" dirty="0">
                        <a:effectLst/>
                        <a:latin typeface="Arial" panose="020B0604020202020204" pitchFamily="34" charset="0"/>
                        <a:cs typeface="Arial" panose="020B0604020202020204" pitchFamily="34" charset="0"/>
                      </a:endParaRPr>
                    </a:p>
                  </a:txBody>
                  <a:tcPr marL="68580" marR="68580" marT="0" marB="0" anchor="ctr">
                    <a:lnL>
                      <a:noFill/>
                    </a:lnL>
                    <a:lnR>
                      <a:noFill/>
                    </a:lnR>
                    <a:lnT w="9525" cap="flat" cmpd="sng" algn="ctr">
                      <a:solidFill>
                        <a:schemeClr val="accent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0000"/>
                        </a:lnSpc>
                        <a:spcBef>
                          <a:spcPts val="0"/>
                        </a:spcBef>
                        <a:spcAft>
                          <a:spcPts val="0"/>
                        </a:spcAft>
                      </a:pPr>
                      <a:endParaRPr lang="en-NZ" sz="900" b="0" i="0" kern="1200" dirty="0">
                        <a:effectLst/>
                        <a:latin typeface="Arial" panose="020B0604020202020204" pitchFamily="34" charset="0"/>
                        <a:cs typeface="Arial" panose="020B0604020202020204" pitchFamily="34" charset="0"/>
                      </a:endParaRPr>
                    </a:p>
                  </a:txBody>
                  <a:tcPr marL="68580" marR="68580" marT="0" marB="0" anchor="ctr">
                    <a:lnL>
                      <a:noFill/>
                    </a:lnL>
                    <a:lnR>
                      <a:noFill/>
                    </a:lnR>
                    <a:lnT w="9525" cap="flat" cmpd="sng" algn="ctr">
                      <a:solidFill>
                        <a:schemeClr val="accent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CF9">
                        <a:alpha val="75281"/>
                      </a:srgbClr>
                    </a:solidFill>
                  </a:tcPr>
                </a:tc>
                <a:tc>
                  <a:txBody>
                    <a:bodyPr/>
                    <a:lstStyle>
                      <a:lvl1pPr marL="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1pPr>
                      <a:lvl2pPr marL="4572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2pPr>
                      <a:lvl3pPr marL="9144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3pPr>
                      <a:lvl4pPr marL="13716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4pPr>
                      <a:lvl5pPr marL="18288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5pPr>
                      <a:lvl6pPr marL="22860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6pPr>
                      <a:lvl7pPr marL="27432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7pPr>
                      <a:lvl8pPr marL="32004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8pPr>
                      <a:lvl9pPr marL="36576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9pPr>
                    </a:lstStyle>
                    <a:p>
                      <a:pPr marL="0" marR="0" algn="ctr">
                        <a:lnSpc>
                          <a:spcPct val="100000"/>
                        </a:lnSpc>
                        <a:spcBef>
                          <a:spcPts val="0"/>
                        </a:spcBef>
                        <a:spcAft>
                          <a:spcPts val="0"/>
                        </a:spcAft>
                      </a:pPr>
                      <a:endParaRPr lang="en-NZ" sz="900" b="0" i="0" kern="1200" dirty="0">
                        <a:effectLst/>
                        <a:latin typeface="Arial" panose="020B0604020202020204" pitchFamily="34" charset="0"/>
                        <a:cs typeface="Arial" panose="020B0604020202020204" pitchFamily="34" charset="0"/>
                      </a:endParaRPr>
                    </a:p>
                  </a:txBody>
                  <a:tcPr marL="68580" marR="68580" marT="0" marB="0" anchor="ctr">
                    <a:lnL>
                      <a:noFill/>
                    </a:lnL>
                    <a:lnR>
                      <a:noFill/>
                    </a:lnR>
                    <a:lnT w="9525" cap="flat" cmpd="sng" algn="ctr">
                      <a:solidFill>
                        <a:schemeClr val="accent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50035"/>
                      </a:schemeClr>
                    </a:solidFill>
                  </a:tcPr>
                </a:tc>
                <a:extLst>
                  <a:ext uri="{0D108BD9-81ED-4DB2-BD59-A6C34878D82A}">
                    <a16:rowId xmlns:a16="http://schemas.microsoft.com/office/drawing/2014/main" val="3106563633"/>
                  </a:ext>
                </a:extLst>
              </a:tr>
              <a:tr h="142875">
                <a:tc>
                  <a:txBody>
                    <a:bodyPr/>
                    <a:lstStyle/>
                    <a:p>
                      <a:pPr marL="228600" marR="0" lvl="0" indent="0" algn="l" defTabSz="914400" rtl="0" eaLnBrk="1" fontAlgn="auto" latinLnBrk="0" hangingPunct="1">
                        <a:lnSpc>
                          <a:spcPct val="100000"/>
                        </a:lnSpc>
                        <a:spcBef>
                          <a:spcPts val="0"/>
                        </a:spcBef>
                        <a:spcAft>
                          <a:spcPts val="0"/>
                        </a:spcAft>
                        <a:buClrTx/>
                        <a:buSzTx/>
                        <a:buFontTx/>
                        <a:buNone/>
                        <a:tabLst/>
                        <a:defRPr/>
                      </a:pPr>
                      <a:r>
                        <a:rPr lang="en-NZ" sz="900" b="0" i="0" dirty="0">
                          <a:effectLst/>
                          <a:latin typeface="Arial" panose="020B0604020202020204" pitchFamily="34" charset="0"/>
                          <a:cs typeface="Arial" panose="020B0604020202020204" pitchFamily="34" charset="0"/>
                        </a:rPr>
                        <a:t>Trastuzumab</a:t>
                      </a:r>
                    </a:p>
                  </a:txBody>
                  <a:tcPr marL="68580" marR="68580" marT="0" marB="0" anchor="ctr">
                    <a:lnL>
                      <a:noFill/>
                    </a:lnL>
                    <a:lnR>
                      <a:noFill/>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7000"/>
                        </a:lnSpc>
                        <a:spcBef>
                          <a:spcPts val="0"/>
                        </a:spcBef>
                        <a:spcAft>
                          <a:spcPts val="0"/>
                        </a:spcAft>
                      </a:pPr>
                      <a:r>
                        <a:rPr lang="en-US" sz="900" dirty="0">
                          <a:solidFill>
                            <a:srgbClr val="000000"/>
                          </a:solidFill>
                          <a:effectLst/>
                          <a:latin typeface="Arial" panose="020B0604020202020204" pitchFamily="34" charset="0"/>
                          <a:ea typeface="Yu Mincho" panose="02020400000000000000" pitchFamily="18" charset="-128"/>
                          <a:cs typeface="Arial" panose="020B0604020202020204" pitchFamily="34" charset="0"/>
                        </a:rPr>
                        <a:t>404 (99.5)</a:t>
                      </a:r>
                      <a:endParaRPr lang="en-US" sz="900" dirty="0">
                        <a:effectLst/>
                        <a:latin typeface="Arial" panose="020B0604020202020204" pitchFamily="34" charset="0"/>
                        <a:ea typeface="Yu Mincho" panose="02020400000000000000" pitchFamily="18" charset="-128"/>
                        <a:cs typeface="Arial" panose="020B0604020202020204" pitchFamily="34" charset="0"/>
                      </a:endParaRPr>
                    </a:p>
                  </a:txBody>
                  <a:tcPr marL="0" marR="0" marT="0" marB="0">
                    <a:lnL>
                      <a:noFill/>
                    </a:lnL>
                    <a:lnR>
                      <a:noFill/>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CF9">
                        <a:alpha val="75281"/>
                      </a:srgbClr>
                    </a:solidFill>
                  </a:tcPr>
                </a:tc>
                <a:tc>
                  <a:txBody>
                    <a:bodyPr/>
                    <a:lstStyle/>
                    <a:p>
                      <a:pPr marL="0" marR="0" algn="ctr">
                        <a:lnSpc>
                          <a:spcPct val="107000"/>
                        </a:lnSpc>
                        <a:spcBef>
                          <a:spcPts val="0"/>
                        </a:spcBef>
                        <a:spcAft>
                          <a:spcPts val="0"/>
                        </a:spcAft>
                      </a:pPr>
                      <a:r>
                        <a:rPr lang="en-US" sz="900" dirty="0">
                          <a:solidFill>
                            <a:srgbClr val="000000"/>
                          </a:solidFill>
                          <a:effectLst/>
                          <a:latin typeface="Arial" panose="020B0604020202020204" pitchFamily="34" charset="0"/>
                          <a:ea typeface="Yu Mincho" panose="02020400000000000000" pitchFamily="18" charset="-128"/>
                          <a:cs typeface="Arial" panose="020B0604020202020204" pitchFamily="34" charset="0"/>
                        </a:rPr>
                        <a:t>202 (100)</a:t>
                      </a:r>
                      <a:endParaRPr lang="en-US" sz="900" dirty="0">
                        <a:effectLst/>
                        <a:latin typeface="Arial" panose="020B0604020202020204" pitchFamily="34" charset="0"/>
                        <a:ea typeface="Yu Mincho" panose="02020400000000000000" pitchFamily="18" charset="-128"/>
                        <a:cs typeface="Arial" panose="020B0604020202020204" pitchFamily="34" charset="0"/>
                      </a:endParaRPr>
                    </a:p>
                  </a:txBody>
                  <a:tcPr marL="0" marR="0" marT="0" marB="0">
                    <a:lnL>
                      <a:noFill/>
                    </a:lnL>
                    <a:lnR>
                      <a:noFill/>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50035"/>
                      </a:schemeClr>
                    </a:solidFill>
                  </a:tcPr>
                </a:tc>
                <a:extLst>
                  <a:ext uri="{0D108BD9-81ED-4DB2-BD59-A6C34878D82A}">
                    <a16:rowId xmlns:a16="http://schemas.microsoft.com/office/drawing/2014/main" val="1720804379"/>
                  </a:ext>
                </a:extLst>
              </a:tr>
              <a:tr h="142875">
                <a:tc>
                  <a:txBody>
                    <a:bodyPr/>
                    <a:lstStyle/>
                    <a:p>
                      <a:pPr marL="228600" marR="0" lvl="0" indent="0" algn="l" defTabSz="914400" rtl="0" eaLnBrk="1" fontAlgn="auto" latinLnBrk="0" hangingPunct="1">
                        <a:lnSpc>
                          <a:spcPct val="100000"/>
                        </a:lnSpc>
                        <a:spcBef>
                          <a:spcPts val="0"/>
                        </a:spcBef>
                        <a:spcAft>
                          <a:spcPts val="0"/>
                        </a:spcAft>
                        <a:buClrTx/>
                        <a:buSzTx/>
                        <a:buFontTx/>
                        <a:buNone/>
                        <a:tabLst/>
                        <a:defRPr/>
                      </a:pPr>
                      <a:r>
                        <a:rPr lang="en-NZ" sz="900" b="0" i="0" dirty="0">
                          <a:effectLst/>
                          <a:latin typeface="Arial" panose="020B0604020202020204" pitchFamily="34" charset="0"/>
                          <a:cs typeface="Arial" panose="020B0604020202020204" pitchFamily="34" charset="0"/>
                        </a:rPr>
                        <a:t>T-DM1</a:t>
                      </a:r>
                    </a:p>
                  </a:txBody>
                  <a:tcPr marL="68580" marR="68580" marT="0" marB="0" anchor="ctr">
                    <a:lnL>
                      <a:noFill/>
                    </a:lnL>
                    <a:lnR>
                      <a:noFill/>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7000"/>
                        </a:lnSpc>
                        <a:spcBef>
                          <a:spcPts val="0"/>
                        </a:spcBef>
                        <a:spcAft>
                          <a:spcPts val="0"/>
                        </a:spcAft>
                      </a:pPr>
                      <a:r>
                        <a:rPr lang="en-US" sz="900" dirty="0">
                          <a:solidFill>
                            <a:srgbClr val="000000"/>
                          </a:solidFill>
                          <a:effectLst/>
                          <a:latin typeface="Arial" panose="020B0604020202020204" pitchFamily="34" charset="0"/>
                          <a:ea typeface="Yu Mincho" panose="02020400000000000000" pitchFamily="18" charset="-128"/>
                          <a:cs typeface="Arial" panose="020B0604020202020204" pitchFamily="34" charset="0"/>
                        </a:rPr>
                        <a:t>404 (99.5)</a:t>
                      </a:r>
                      <a:endParaRPr lang="en-US" sz="900" dirty="0">
                        <a:effectLst/>
                        <a:latin typeface="Arial" panose="020B0604020202020204" pitchFamily="34" charset="0"/>
                        <a:ea typeface="Yu Mincho" panose="02020400000000000000" pitchFamily="18" charset="-128"/>
                        <a:cs typeface="Arial" panose="020B0604020202020204" pitchFamily="34" charset="0"/>
                      </a:endParaRPr>
                    </a:p>
                  </a:txBody>
                  <a:tcPr marL="0" marR="0" marT="0" marB="0">
                    <a:lnL>
                      <a:noFill/>
                    </a:lnL>
                    <a:lnR>
                      <a:noFill/>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CF9">
                        <a:alpha val="75281"/>
                      </a:srgbClr>
                    </a:solidFill>
                  </a:tcPr>
                </a:tc>
                <a:tc>
                  <a:txBody>
                    <a:bodyPr/>
                    <a:lstStyle/>
                    <a:p>
                      <a:pPr marL="0" marR="0" algn="ctr">
                        <a:lnSpc>
                          <a:spcPct val="107000"/>
                        </a:lnSpc>
                        <a:spcBef>
                          <a:spcPts val="0"/>
                        </a:spcBef>
                        <a:spcAft>
                          <a:spcPts val="0"/>
                        </a:spcAft>
                      </a:pPr>
                      <a:r>
                        <a:rPr lang="en-US" sz="900" dirty="0">
                          <a:solidFill>
                            <a:srgbClr val="000000"/>
                          </a:solidFill>
                          <a:effectLst/>
                          <a:latin typeface="Arial" panose="020B0604020202020204" pitchFamily="34" charset="0"/>
                          <a:ea typeface="Yu Mincho" panose="02020400000000000000" pitchFamily="18" charset="-128"/>
                          <a:cs typeface="Arial" panose="020B0604020202020204" pitchFamily="34" charset="0"/>
                        </a:rPr>
                        <a:t>202 (100)</a:t>
                      </a:r>
                      <a:endParaRPr lang="en-US" sz="900" dirty="0">
                        <a:effectLst/>
                        <a:latin typeface="Arial" panose="020B0604020202020204" pitchFamily="34" charset="0"/>
                        <a:ea typeface="Yu Mincho" panose="02020400000000000000" pitchFamily="18" charset="-128"/>
                        <a:cs typeface="Arial" panose="020B0604020202020204" pitchFamily="34" charset="0"/>
                      </a:endParaRPr>
                    </a:p>
                  </a:txBody>
                  <a:tcPr marL="0" marR="0" marT="0" marB="0">
                    <a:lnL>
                      <a:noFill/>
                    </a:lnL>
                    <a:lnR>
                      <a:noFill/>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50035"/>
                      </a:schemeClr>
                    </a:solidFill>
                  </a:tcPr>
                </a:tc>
                <a:extLst>
                  <a:ext uri="{0D108BD9-81ED-4DB2-BD59-A6C34878D82A}">
                    <a16:rowId xmlns:a16="http://schemas.microsoft.com/office/drawing/2014/main" val="1762780404"/>
                  </a:ext>
                </a:extLst>
              </a:tr>
              <a:tr h="142875">
                <a:tc>
                  <a:txBody>
                    <a:bodyPr/>
                    <a:lstStyle/>
                    <a:p>
                      <a:pPr marL="228600" marR="0" lvl="0" indent="0" algn="l" defTabSz="914400" rtl="0" eaLnBrk="1" fontAlgn="auto" latinLnBrk="0" hangingPunct="1">
                        <a:lnSpc>
                          <a:spcPct val="100000"/>
                        </a:lnSpc>
                        <a:spcBef>
                          <a:spcPts val="0"/>
                        </a:spcBef>
                        <a:spcAft>
                          <a:spcPts val="0"/>
                        </a:spcAft>
                        <a:buClrTx/>
                        <a:buSzTx/>
                        <a:buFontTx/>
                        <a:buNone/>
                        <a:tabLst/>
                        <a:defRPr/>
                      </a:pPr>
                      <a:r>
                        <a:rPr lang="en-NZ" sz="900" b="0" i="0" dirty="0">
                          <a:effectLst/>
                          <a:latin typeface="Arial" panose="020B0604020202020204" pitchFamily="34" charset="0"/>
                          <a:cs typeface="Arial" panose="020B0604020202020204" pitchFamily="34" charset="0"/>
                        </a:rPr>
                        <a:t>Taxane</a:t>
                      </a:r>
                    </a:p>
                  </a:txBody>
                  <a:tcPr marL="68580" marR="68580" marT="0" marB="0" anchor="ctr">
                    <a:lnL>
                      <a:noFill/>
                    </a:lnL>
                    <a:lnR>
                      <a:noFill/>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7000"/>
                        </a:lnSpc>
                        <a:spcBef>
                          <a:spcPts val="0"/>
                        </a:spcBef>
                        <a:spcAft>
                          <a:spcPts val="0"/>
                        </a:spcAft>
                      </a:pPr>
                      <a:r>
                        <a:rPr lang="en-US" sz="900" dirty="0">
                          <a:solidFill>
                            <a:srgbClr val="000000"/>
                          </a:solidFill>
                          <a:effectLst/>
                          <a:latin typeface="Arial" panose="020B0604020202020204" pitchFamily="34" charset="0"/>
                          <a:ea typeface="Yu Mincho" panose="02020400000000000000" pitchFamily="18" charset="-128"/>
                          <a:cs typeface="Arial" panose="020B0604020202020204" pitchFamily="34" charset="0"/>
                        </a:rPr>
                        <a:t>386 (95.1)</a:t>
                      </a:r>
                      <a:endParaRPr lang="en-US" sz="900" dirty="0">
                        <a:effectLst/>
                        <a:latin typeface="Arial" panose="020B0604020202020204" pitchFamily="34" charset="0"/>
                        <a:ea typeface="Yu Mincho" panose="02020400000000000000" pitchFamily="18" charset="-128"/>
                        <a:cs typeface="Arial" panose="020B0604020202020204" pitchFamily="34" charset="0"/>
                      </a:endParaRPr>
                    </a:p>
                  </a:txBody>
                  <a:tcPr marL="0" marR="0" marT="0" marB="0">
                    <a:lnL>
                      <a:noFill/>
                    </a:lnL>
                    <a:lnR>
                      <a:noFill/>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CF9">
                        <a:alpha val="75281"/>
                      </a:srgbClr>
                    </a:solidFill>
                  </a:tcPr>
                </a:tc>
                <a:tc>
                  <a:txBody>
                    <a:bodyPr/>
                    <a:lstStyle/>
                    <a:p>
                      <a:pPr marL="0" marR="0" algn="ctr">
                        <a:lnSpc>
                          <a:spcPct val="107000"/>
                        </a:lnSpc>
                        <a:spcBef>
                          <a:spcPts val="0"/>
                        </a:spcBef>
                        <a:spcAft>
                          <a:spcPts val="0"/>
                        </a:spcAft>
                      </a:pPr>
                      <a:r>
                        <a:rPr lang="en-US" sz="900" dirty="0">
                          <a:solidFill>
                            <a:srgbClr val="000000"/>
                          </a:solidFill>
                          <a:effectLst/>
                          <a:latin typeface="Arial" panose="020B0604020202020204" pitchFamily="34" charset="0"/>
                          <a:ea typeface="Yu Mincho" panose="02020400000000000000" pitchFamily="18" charset="-128"/>
                          <a:cs typeface="Arial" panose="020B0604020202020204" pitchFamily="34" charset="0"/>
                        </a:rPr>
                        <a:t>197 (97.5)</a:t>
                      </a:r>
                      <a:endParaRPr lang="en-US" sz="900" dirty="0">
                        <a:effectLst/>
                        <a:latin typeface="Arial" panose="020B0604020202020204" pitchFamily="34" charset="0"/>
                        <a:ea typeface="Yu Mincho" panose="02020400000000000000" pitchFamily="18" charset="-128"/>
                        <a:cs typeface="Arial" panose="020B0604020202020204" pitchFamily="34" charset="0"/>
                      </a:endParaRPr>
                    </a:p>
                  </a:txBody>
                  <a:tcPr marL="0" marR="0" marT="0" marB="0">
                    <a:lnL>
                      <a:noFill/>
                    </a:lnL>
                    <a:lnR>
                      <a:noFill/>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50035"/>
                      </a:schemeClr>
                    </a:solidFill>
                  </a:tcPr>
                </a:tc>
                <a:extLst>
                  <a:ext uri="{0D108BD9-81ED-4DB2-BD59-A6C34878D82A}">
                    <a16:rowId xmlns:a16="http://schemas.microsoft.com/office/drawing/2014/main" val="936568987"/>
                  </a:ext>
                </a:extLst>
              </a:tr>
              <a:tr h="142875">
                <a:tc>
                  <a:txBody>
                    <a:bodyPr/>
                    <a:lstStyle/>
                    <a:p>
                      <a:pPr marL="228600" marR="0" indent="0">
                        <a:lnSpc>
                          <a:spcPct val="100000"/>
                        </a:lnSpc>
                        <a:spcBef>
                          <a:spcPts val="0"/>
                        </a:spcBef>
                        <a:spcAft>
                          <a:spcPts val="0"/>
                        </a:spcAft>
                        <a:tabLst/>
                      </a:pPr>
                      <a:r>
                        <a:rPr lang="en-NZ" sz="900" b="0" i="0" dirty="0">
                          <a:effectLst/>
                          <a:latin typeface="Arial" panose="020B0604020202020204" pitchFamily="34" charset="0"/>
                          <a:cs typeface="Arial" panose="020B0604020202020204" pitchFamily="34" charset="0"/>
                        </a:rPr>
                        <a:t>Pertuzumab</a:t>
                      </a:r>
                    </a:p>
                  </a:txBody>
                  <a:tcPr marL="68580" marR="68580" marT="0" marB="0" anchor="ctr">
                    <a:lnL>
                      <a:noFill/>
                    </a:lnL>
                    <a:lnR>
                      <a:noFill/>
                    </a:lnR>
                    <a:lnT w="3175"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7000"/>
                        </a:lnSpc>
                        <a:spcBef>
                          <a:spcPts val="0"/>
                        </a:spcBef>
                        <a:spcAft>
                          <a:spcPts val="0"/>
                        </a:spcAft>
                      </a:pPr>
                      <a:r>
                        <a:rPr lang="en-US" sz="900" dirty="0">
                          <a:solidFill>
                            <a:srgbClr val="000000"/>
                          </a:solidFill>
                          <a:effectLst/>
                          <a:latin typeface="Arial" panose="020B0604020202020204" pitchFamily="34" charset="0"/>
                          <a:ea typeface="Yu Mincho" panose="02020400000000000000" pitchFamily="18" charset="-128"/>
                          <a:cs typeface="Arial" panose="020B0604020202020204" pitchFamily="34" charset="0"/>
                        </a:rPr>
                        <a:t>318 (78.3)</a:t>
                      </a:r>
                      <a:endParaRPr lang="en-US" sz="900" dirty="0">
                        <a:effectLst/>
                        <a:latin typeface="Arial" panose="020B0604020202020204" pitchFamily="34" charset="0"/>
                        <a:ea typeface="Yu Mincho" panose="02020400000000000000" pitchFamily="18" charset="-128"/>
                        <a:cs typeface="Arial" panose="020B0604020202020204" pitchFamily="34" charset="0"/>
                      </a:endParaRPr>
                    </a:p>
                  </a:txBody>
                  <a:tcPr marL="0" marR="0" marT="0" marB="0">
                    <a:lnL>
                      <a:noFill/>
                    </a:lnL>
                    <a:lnR>
                      <a:noFill/>
                    </a:lnR>
                    <a:lnT w="3175"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E6ECF9">
                        <a:alpha val="75281"/>
                      </a:srgbClr>
                    </a:solidFill>
                  </a:tcPr>
                </a:tc>
                <a:tc>
                  <a:txBody>
                    <a:bodyPr/>
                    <a:lstStyle/>
                    <a:p>
                      <a:pPr marL="0" marR="0" algn="ctr">
                        <a:lnSpc>
                          <a:spcPct val="107000"/>
                        </a:lnSpc>
                        <a:spcBef>
                          <a:spcPts val="0"/>
                        </a:spcBef>
                        <a:spcAft>
                          <a:spcPts val="0"/>
                        </a:spcAft>
                      </a:pPr>
                      <a:r>
                        <a:rPr lang="en-US" sz="900" dirty="0">
                          <a:solidFill>
                            <a:srgbClr val="000000"/>
                          </a:solidFill>
                          <a:effectLst/>
                          <a:latin typeface="Arial" panose="020B0604020202020204" pitchFamily="34" charset="0"/>
                          <a:ea typeface="Yu Mincho" panose="02020400000000000000" pitchFamily="18" charset="-128"/>
                          <a:cs typeface="Arial" panose="020B0604020202020204" pitchFamily="34" charset="0"/>
                        </a:rPr>
                        <a:t>156 (77.2)</a:t>
                      </a:r>
                      <a:endParaRPr lang="en-US" sz="900" dirty="0">
                        <a:effectLst/>
                        <a:latin typeface="Arial" panose="020B0604020202020204" pitchFamily="34" charset="0"/>
                        <a:ea typeface="Yu Mincho" panose="02020400000000000000" pitchFamily="18" charset="-128"/>
                        <a:cs typeface="Arial" panose="020B0604020202020204" pitchFamily="34" charset="0"/>
                      </a:endParaRPr>
                    </a:p>
                  </a:txBody>
                  <a:tcPr marL="0" marR="0" marT="0" marB="0">
                    <a:lnL>
                      <a:noFill/>
                    </a:lnL>
                    <a:lnR>
                      <a:noFill/>
                    </a:lnR>
                    <a:lnT w="3175"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alpha val="50035"/>
                      </a:schemeClr>
                    </a:solidFill>
                  </a:tcPr>
                </a:tc>
                <a:extLst>
                  <a:ext uri="{0D108BD9-81ED-4DB2-BD59-A6C34878D82A}">
                    <a16:rowId xmlns:a16="http://schemas.microsoft.com/office/drawing/2014/main" val="4290745837"/>
                  </a:ext>
                </a:extLst>
              </a:tr>
              <a:tr h="141780">
                <a:tc>
                  <a:txBody>
                    <a:bodyPr/>
                    <a:lstStyle/>
                    <a:p>
                      <a:pPr marL="230400">
                        <a:lnSpc>
                          <a:spcPct val="107000"/>
                        </a:lnSpc>
                        <a:spcAft>
                          <a:spcPts val="800"/>
                        </a:spcAft>
                      </a:pPr>
                      <a:r>
                        <a:rPr lang="en-ZA" sz="900" dirty="0">
                          <a:solidFill>
                            <a:schemeClr val="tx1"/>
                          </a:solidFill>
                          <a:effectLst/>
                          <a:latin typeface="Arial" panose="020B0604020202020204" pitchFamily="34" charset="0"/>
                          <a:ea typeface="Calibri" panose="020F0502020204030204" pitchFamily="34" charset="0"/>
                          <a:cs typeface="Arial" panose="020B0604020202020204" pitchFamily="34" charset="0"/>
                        </a:rPr>
                        <a:t>Other systemic therapy</a:t>
                      </a:r>
                    </a:p>
                  </a:txBody>
                  <a:tcPr marL="51435" marR="51435" marT="0" marB="0" anchor="ctr">
                    <a:lnL>
                      <a:noFill/>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800"/>
                        </a:spcAft>
                      </a:pPr>
                      <a:r>
                        <a:rPr lang="en-ZA" sz="900" dirty="0">
                          <a:solidFill>
                            <a:schemeClr val="tx1"/>
                          </a:solidFill>
                          <a:effectLst/>
                          <a:latin typeface="Arial" panose="020B0604020202020204" pitchFamily="34" charset="0"/>
                          <a:ea typeface="Calibri" panose="020F0502020204030204" pitchFamily="34" charset="0"/>
                          <a:cs typeface="Arial" panose="020B0604020202020204" pitchFamily="34" charset="0"/>
                        </a:rPr>
                        <a:t>289 (71.2)</a:t>
                      </a:r>
                    </a:p>
                  </a:txBody>
                  <a:tcPr marL="51435" marR="51435" marT="0" marB="0" anchor="ctr">
                    <a:lnL>
                      <a:noFill/>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E6ECF9">
                        <a:alpha val="75281"/>
                      </a:srgbClr>
                    </a:solidFill>
                  </a:tcPr>
                </a:tc>
                <a:tc>
                  <a:txBody>
                    <a:bodyPr/>
                    <a:lstStyle/>
                    <a:p>
                      <a:pPr algn="ctr">
                        <a:lnSpc>
                          <a:spcPct val="107000"/>
                        </a:lnSpc>
                        <a:spcAft>
                          <a:spcPts val="800"/>
                        </a:spcAft>
                      </a:pPr>
                      <a:r>
                        <a:rPr lang="en-ZA" sz="900" dirty="0">
                          <a:solidFill>
                            <a:schemeClr val="tx1"/>
                          </a:solidFill>
                          <a:effectLst/>
                          <a:latin typeface="Arial" panose="020B0604020202020204" pitchFamily="34" charset="0"/>
                          <a:ea typeface="Calibri" panose="020F0502020204030204" pitchFamily="34" charset="0"/>
                          <a:cs typeface="Arial" panose="020B0604020202020204" pitchFamily="34" charset="0"/>
                        </a:rPr>
                        <a:t>157 (77.7)</a:t>
                      </a:r>
                    </a:p>
                  </a:txBody>
                  <a:tcPr marL="51435" marR="51435" marT="0" marB="0" anchor="ctr">
                    <a:lnL>
                      <a:noFill/>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alpha val="50035"/>
                      </a:schemeClr>
                    </a:solidFill>
                  </a:tcPr>
                </a:tc>
                <a:extLst>
                  <a:ext uri="{0D108BD9-81ED-4DB2-BD59-A6C34878D82A}">
                    <a16:rowId xmlns:a16="http://schemas.microsoft.com/office/drawing/2014/main" val="2629570910"/>
                  </a:ext>
                </a:extLst>
              </a:tr>
              <a:tr h="141780">
                <a:tc>
                  <a:txBody>
                    <a:bodyPr/>
                    <a:lstStyle/>
                    <a:p>
                      <a:pPr marL="230400">
                        <a:lnSpc>
                          <a:spcPct val="107000"/>
                        </a:lnSpc>
                        <a:spcAft>
                          <a:spcPts val="800"/>
                        </a:spcAft>
                      </a:pPr>
                      <a:r>
                        <a:rPr lang="en-ZA" sz="900" dirty="0">
                          <a:solidFill>
                            <a:schemeClr val="tx1"/>
                          </a:solidFill>
                          <a:effectLst/>
                          <a:latin typeface="Arial" panose="020B0604020202020204" pitchFamily="34" charset="0"/>
                          <a:ea typeface="Calibri" panose="020F0502020204030204" pitchFamily="34" charset="0"/>
                          <a:cs typeface="Arial" panose="020B0604020202020204" pitchFamily="34" charset="0"/>
                        </a:rPr>
                        <a:t>Hormone therapy</a:t>
                      </a:r>
                    </a:p>
                  </a:txBody>
                  <a:tcPr marL="51435" marR="51435" marT="0" marB="0" anchor="ctr">
                    <a:lnL>
                      <a:noFill/>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800"/>
                        </a:spcAft>
                      </a:pPr>
                      <a:r>
                        <a:rPr lang="en-ZA" sz="900" dirty="0">
                          <a:solidFill>
                            <a:schemeClr val="tx1"/>
                          </a:solidFill>
                          <a:effectLst/>
                          <a:latin typeface="Arial" panose="020B0604020202020204" pitchFamily="34" charset="0"/>
                          <a:ea typeface="Calibri" panose="020F0502020204030204" pitchFamily="34" charset="0"/>
                          <a:cs typeface="Arial" panose="020B0604020202020204" pitchFamily="34" charset="0"/>
                        </a:rPr>
                        <a:t>164 (40.4)</a:t>
                      </a:r>
                    </a:p>
                  </a:txBody>
                  <a:tcPr marL="51435" marR="51435" marT="0" marB="0" anchor="ctr">
                    <a:lnL>
                      <a:noFill/>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E6ECF9">
                        <a:alpha val="75281"/>
                      </a:srgbClr>
                    </a:solidFill>
                  </a:tcPr>
                </a:tc>
                <a:tc>
                  <a:txBody>
                    <a:bodyPr/>
                    <a:lstStyle/>
                    <a:p>
                      <a:pPr algn="ctr">
                        <a:lnSpc>
                          <a:spcPct val="107000"/>
                        </a:lnSpc>
                        <a:spcAft>
                          <a:spcPts val="800"/>
                        </a:spcAft>
                      </a:pPr>
                      <a:r>
                        <a:rPr lang="en-ZA" sz="900" dirty="0">
                          <a:solidFill>
                            <a:schemeClr val="tx1"/>
                          </a:solidFill>
                          <a:effectLst/>
                          <a:latin typeface="Arial" panose="020B0604020202020204" pitchFamily="34" charset="0"/>
                          <a:ea typeface="Calibri" panose="020F0502020204030204" pitchFamily="34" charset="0"/>
                          <a:cs typeface="Arial" panose="020B0604020202020204" pitchFamily="34" charset="0"/>
                        </a:rPr>
                        <a:t>87 (43.1)</a:t>
                      </a:r>
                    </a:p>
                  </a:txBody>
                  <a:tcPr marL="51435" marR="51435" marT="0" marB="0" anchor="ctr">
                    <a:lnL>
                      <a:noFill/>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alpha val="50035"/>
                      </a:schemeClr>
                    </a:solidFill>
                  </a:tcPr>
                </a:tc>
                <a:extLst>
                  <a:ext uri="{0D108BD9-81ED-4DB2-BD59-A6C34878D82A}">
                    <a16:rowId xmlns:a16="http://schemas.microsoft.com/office/drawing/2014/main" val="1014727749"/>
                  </a:ext>
                </a:extLst>
              </a:tr>
              <a:tr h="141780">
                <a:tc>
                  <a:txBody>
                    <a:bodyPr/>
                    <a:lstStyle/>
                    <a:p>
                      <a:pPr marL="230400">
                        <a:lnSpc>
                          <a:spcPct val="107000"/>
                        </a:lnSpc>
                        <a:spcAft>
                          <a:spcPts val="800"/>
                        </a:spcAft>
                      </a:pPr>
                      <a:r>
                        <a:rPr lang="en-ZA" sz="900" dirty="0">
                          <a:solidFill>
                            <a:schemeClr val="tx1"/>
                          </a:solidFill>
                          <a:effectLst/>
                          <a:latin typeface="Arial" panose="020B0604020202020204" pitchFamily="34" charset="0"/>
                          <a:ea typeface="Calibri" panose="020F0502020204030204" pitchFamily="34" charset="0"/>
                          <a:cs typeface="Arial" panose="020B0604020202020204" pitchFamily="34" charset="0"/>
                        </a:rPr>
                        <a:t>Anti-HER2 TKI</a:t>
                      </a:r>
                    </a:p>
                  </a:txBody>
                  <a:tcPr marL="51435" marR="51435" marT="0" marB="0" anchor="ctr">
                    <a:lnL>
                      <a:noFill/>
                    </a:lnL>
                    <a:lnR>
                      <a:noFill/>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800"/>
                        </a:spcAft>
                      </a:pPr>
                      <a:r>
                        <a:rPr lang="en-ZA" sz="900" dirty="0">
                          <a:solidFill>
                            <a:schemeClr val="tx1"/>
                          </a:solidFill>
                          <a:effectLst/>
                          <a:latin typeface="Arial" panose="020B0604020202020204" pitchFamily="34" charset="0"/>
                          <a:ea typeface="Calibri" panose="020F0502020204030204" pitchFamily="34" charset="0"/>
                          <a:cs typeface="Arial" panose="020B0604020202020204" pitchFamily="34" charset="0"/>
                        </a:rPr>
                        <a:t>26 (6.4)</a:t>
                      </a:r>
                    </a:p>
                  </a:txBody>
                  <a:tcPr marL="51435" marR="51435" marT="0" marB="0" anchor="ctr">
                    <a:lnL>
                      <a:noFill/>
                    </a:lnL>
                    <a:lnR>
                      <a:noFill/>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CF9">
                        <a:alpha val="75281"/>
                      </a:srgbClr>
                    </a:solidFill>
                  </a:tcPr>
                </a:tc>
                <a:tc>
                  <a:txBody>
                    <a:bodyPr/>
                    <a:lstStyle/>
                    <a:p>
                      <a:pPr algn="ctr">
                        <a:lnSpc>
                          <a:spcPct val="107000"/>
                        </a:lnSpc>
                        <a:spcAft>
                          <a:spcPts val="800"/>
                        </a:spcAft>
                      </a:pPr>
                      <a:r>
                        <a:rPr lang="en-ZA" sz="900" dirty="0">
                          <a:solidFill>
                            <a:schemeClr val="tx1"/>
                          </a:solidFill>
                          <a:effectLst/>
                          <a:latin typeface="Arial" panose="020B0604020202020204" pitchFamily="34" charset="0"/>
                          <a:ea typeface="Calibri" panose="020F0502020204030204" pitchFamily="34" charset="0"/>
                          <a:cs typeface="Arial" panose="020B0604020202020204" pitchFamily="34" charset="0"/>
                        </a:rPr>
                        <a:t>17 (8.4)</a:t>
                      </a:r>
                    </a:p>
                  </a:txBody>
                  <a:tcPr marL="51435" marR="51435" marT="0" marB="0" anchor="ctr">
                    <a:lnL>
                      <a:noFill/>
                    </a:lnL>
                    <a:lnR>
                      <a:noFill/>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alpha val="50035"/>
                      </a:schemeClr>
                    </a:solidFill>
                  </a:tcPr>
                </a:tc>
                <a:extLst>
                  <a:ext uri="{0D108BD9-81ED-4DB2-BD59-A6C34878D82A}">
                    <a16:rowId xmlns:a16="http://schemas.microsoft.com/office/drawing/2014/main" val="3205942639"/>
                  </a:ext>
                </a:extLst>
              </a:tr>
              <a:tr h="294656">
                <a:tc>
                  <a:txBody>
                    <a:bodyPr/>
                    <a:lstStyle/>
                    <a:p>
                      <a:pPr marL="230400">
                        <a:lnSpc>
                          <a:spcPct val="107000"/>
                        </a:lnSpc>
                        <a:spcAft>
                          <a:spcPts val="800"/>
                        </a:spcAft>
                      </a:pPr>
                      <a:r>
                        <a:rPr lang="en-ZA" sz="900" dirty="0">
                          <a:solidFill>
                            <a:schemeClr val="tx1"/>
                          </a:solidFill>
                          <a:effectLst/>
                          <a:latin typeface="Arial" panose="020B0604020202020204" pitchFamily="34" charset="0"/>
                          <a:ea typeface="Calibri" panose="020F0502020204030204" pitchFamily="34" charset="0"/>
                          <a:cs typeface="Arial" panose="020B0604020202020204" pitchFamily="34" charset="0"/>
                        </a:rPr>
                        <a:t>Other anti-HER2 therapy (except HER2 TKI)</a:t>
                      </a:r>
                    </a:p>
                  </a:txBody>
                  <a:tcPr marL="51435" marR="51435" marT="0" marB="0" anchor="ctr">
                    <a:lnL>
                      <a:noFill/>
                    </a:lnL>
                    <a:lnR>
                      <a:noFill/>
                    </a:lnR>
                    <a:lnT w="12700" cap="flat" cmpd="sng" algn="ctr">
                      <a:noFill/>
                      <a:prstDash val="solid"/>
                      <a:round/>
                      <a:headEnd type="none" w="med" len="med"/>
                      <a:tailEnd type="none" w="med" len="med"/>
                    </a:lnT>
                    <a:lnB w="12700" cap="flat" cmpd="sng" algn="ctr">
                      <a:solidFill>
                        <a:srgbClr val="00447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800"/>
                        </a:spcAft>
                      </a:pPr>
                      <a:r>
                        <a:rPr lang="en-ZA" sz="900" dirty="0">
                          <a:solidFill>
                            <a:schemeClr val="tx1"/>
                          </a:solidFill>
                          <a:effectLst/>
                          <a:latin typeface="Arial" panose="020B0604020202020204" pitchFamily="34" charset="0"/>
                          <a:ea typeface="Calibri" panose="020F0502020204030204" pitchFamily="34" charset="0"/>
                          <a:cs typeface="Arial" panose="020B0604020202020204" pitchFamily="34" charset="0"/>
                        </a:rPr>
                        <a:t>11 (2.7)</a:t>
                      </a:r>
                    </a:p>
                  </a:txBody>
                  <a:tcPr marL="51435" marR="51435" marT="0" marB="0" anchor="ctr">
                    <a:lnL>
                      <a:noFill/>
                    </a:lnL>
                    <a:lnR>
                      <a:noFill/>
                    </a:lnR>
                    <a:lnT w="12700" cap="flat" cmpd="sng" algn="ctr">
                      <a:noFill/>
                      <a:prstDash val="solid"/>
                      <a:round/>
                      <a:headEnd type="none" w="med" len="med"/>
                      <a:tailEnd type="none" w="med" len="med"/>
                    </a:lnT>
                    <a:lnB w="12700" cap="flat" cmpd="sng" algn="ctr">
                      <a:solidFill>
                        <a:srgbClr val="00447C"/>
                      </a:solidFill>
                      <a:prstDash val="solid"/>
                      <a:round/>
                      <a:headEnd type="none" w="med" len="med"/>
                      <a:tailEnd type="none" w="med" len="med"/>
                    </a:lnB>
                    <a:lnTlToBr w="12700" cmpd="sng">
                      <a:noFill/>
                      <a:prstDash val="solid"/>
                    </a:lnTlToBr>
                    <a:lnBlToTr w="12700" cmpd="sng">
                      <a:noFill/>
                      <a:prstDash val="solid"/>
                    </a:lnBlToTr>
                    <a:solidFill>
                      <a:srgbClr val="E6ECF9">
                        <a:alpha val="75281"/>
                      </a:srgbClr>
                    </a:solidFill>
                  </a:tcPr>
                </a:tc>
                <a:tc>
                  <a:txBody>
                    <a:bodyPr/>
                    <a:lstStyle/>
                    <a:p>
                      <a:pPr algn="ctr">
                        <a:lnSpc>
                          <a:spcPct val="107000"/>
                        </a:lnSpc>
                        <a:spcAft>
                          <a:spcPts val="800"/>
                        </a:spcAft>
                      </a:pPr>
                      <a:r>
                        <a:rPr lang="en-ZA" sz="900" dirty="0">
                          <a:solidFill>
                            <a:schemeClr val="tx1"/>
                          </a:solidFill>
                          <a:effectLst/>
                          <a:latin typeface="Arial" panose="020B0604020202020204" pitchFamily="34" charset="0"/>
                          <a:ea typeface="Calibri" panose="020F0502020204030204" pitchFamily="34" charset="0"/>
                          <a:cs typeface="Arial" panose="020B0604020202020204" pitchFamily="34" charset="0"/>
                        </a:rPr>
                        <a:t>6 (3.0)</a:t>
                      </a:r>
                    </a:p>
                  </a:txBody>
                  <a:tcPr marL="51435" marR="51435" marT="0" marB="0" anchor="ctr">
                    <a:lnL>
                      <a:noFill/>
                    </a:lnL>
                    <a:lnR>
                      <a:noFill/>
                    </a:lnR>
                    <a:lnT w="12700" cap="flat" cmpd="sng" algn="ctr">
                      <a:noFill/>
                      <a:prstDash val="solid"/>
                      <a:round/>
                      <a:headEnd type="none" w="med" len="med"/>
                      <a:tailEnd type="none" w="med" len="med"/>
                    </a:lnT>
                    <a:lnB w="12700" cap="flat" cmpd="sng" algn="ctr">
                      <a:solidFill>
                        <a:srgbClr val="00447C"/>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50035"/>
                      </a:schemeClr>
                    </a:solidFill>
                  </a:tcPr>
                </a:tc>
                <a:extLst>
                  <a:ext uri="{0D108BD9-81ED-4DB2-BD59-A6C34878D82A}">
                    <a16:rowId xmlns:a16="http://schemas.microsoft.com/office/drawing/2014/main" val="1648252656"/>
                  </a:ext>
                </a:extLst>
              </a:tr>
            </a:tbl>
          </a:graphicData>
        </a:graphic>
      </p:graphicFrame>
      <p:sp>
        <p:nvSpPr>
          <p:cNvPr id="6" name="Rectangle 5">
            <a:extLst>
              <a:ext uri="{FF2B5EF4-FFF2-40B4-BE49-F238E27FC236}">
                <a16:creationId xmlns:a16="http://schemas.microsoft.com/office/drawing/2014/main" id="{19C1487C-48A2-264D-B1ED-D305C536FB9F}"/>
              </a:ext>
            </a:extLst>
          </p:cNvPr>
          <p:cNvSpPr/>
          <p:nvPr/>
        </p:nvSpPr>
        <p:spPr>
          <a:xfrm>
            <a:off x="1311964" y="1798879"/>
            <a:ext cx="6455465" cy="305628"/>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33406193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4D58C1-2463-42D7-99E4-0465364458E2}"/>
              </a:ext>
            </a:extLst>
          </p:cNvPr>
          <p:cNvSpPr>
            <a:spLocks noGrp="1"/>
          </p:cNvSpPr>
          <p:nvPr>
            <p:ph type="ctrTitle"/>
          </p:nvPr>
        </p:nvSpPr>
        <p:spPr>
          <a:xfrm>
            <a:off x="359999" y="454894"/>
            <a:ext cx="8409765" cy="432000"/>
          </a:xfrm>
        </p:spPr>
        <p:txBody>
          <a:bodyPr/>
          <a:lstStyle/>
          <a:p>
            <a:r>
              <a:rPr lang="en-US" sz="2100" dirty="0">
                <a:solidFill>
                  <a:schemeClr val="tx1"/>
                </a:solidFill>
              </a:rPr>
              <a:t>Primary Endpoint: PFS by BICR</a:t>
            </a:r>
          </a:p>
        </p:txBody>
      </p:sp>
      <p:sp>
        <p:nvSpPr>
          <p:cNvPr id="6" name="TextBox 5">
            <a:extLst>
              <a:ext uri="{FF2B5EF4-FFF2-40B4-BE49-F238E27FC236}">
                <a16:creationId xmlns:a16="http://schemas.microsoft.com/office/drawing/2014/main" id="{DB625FC5-982E-4A0B-9354-782D1B9E3A3C}"/>
              </a:ext>
            </a:extLst>
          </p:cNvPr>
          <p:cNvSpPr txBox="1"/>
          <p:nvPr/>
        </p:nvSpPr>
        <p:spPr>
          <a:xfrm>
            <a:off x="-177459" y="4424120"/>
            <a:ext cx="8823832" cy="184666"/>
          </a:xfrm>
          <a:prstGeom prst="rect">
            <a:avLst/>
          </a:prstGeom>
          <a:noFill/>
        </p:spPr>
        <p:txBody>
          <a:bodyPr wrap="square" rtlCol="0" anchor="b">
            <a:spAutoFit/>
          </a:bodyPr>
          <a:lstStyle/>
          <a:p>
            <a:r>
              <a:rPr lang="en-US" sz="600" dirty="0">
                <a:latin typeface="Arial" panose="020B0604020202020204" pitchFamily="34" charset="0"/>
                <a:cs typeface="Arial" panose="020B0604020202020204" pitchFamily="34" charset="0"/>
              </a:rPr>
              <a:t>BICR, blinded independent central review; HR, hazard ratio; mo, month; PFS, progression-free survival; T-DXd, </a:t>
            </a:r>
            <a:r>
              <a:rPr lang="en-US" sz="600" dirty="0">
                <a:latin typeface="Arial" panose="020B0604020202020204" pitchFamily="34" charset="0"/>
                <a:cs typeface="Arial" panose="020B0604020202020204" pitchFamily="34" charset="0"/>
                <a:sym typeface="Arial Narrow"/>
              </a:rPr>
              <a:t>trastuzumab deruxtecan; TPC, treatment of physician’s choice.</a:t>
            </a:r>
          </a:p>
        </p:txBody>
      </p:sp>
      <p:grpSp>
        <p:nvGrpSpPr>
          <p:cNvPr id="4" name="Group 3">
            <a:extLst>
              <a:ext uri="{FF2B5EF4-FFF2-40B4-BE49-F238E27FC236}">
                <a16:creationId xmlns:a16="http://schemas.microsoft.com/office/drawing/2014/main" id="{ECCBC318-1629-79B7-071D-568D57E1C34E}"/>
              </a:ext>
            </a:extLst>
          </p:cNvPr>
          <p:cNvGrpSpPr/>
          <p:nvPr/>
        </p:nvGrpSpPr>
        <p:grpSpPr>
          <a:xfrm>
            <a:off x="1131604" y="784710"/>
            <a:ext cx="7016084" cy="3618289"/>
            <a:chOff x="1508805" y="1128034"/>
            <a:chExt cx="9354777" cy="4824385"/>
          </a:xfrm>
        </p:grpSpPr>
        <p:sp>
          <p:nvSpPr>
            <p:cNvPr id="9" name="Rectangle 8">
              <a:extLst>
                <a:ext uri="{FF2B5EF4-FFF2-40B4-BE49-F238E27FC236}">
                  <a16:creationId xmlns:a16="http://schemas.microsoft.com/office/drawing/2014/main" id="{D52991E0-CC89-8E14-5AF3-8D9B8223BAB4}"/>
                </a:ext>
              </a:extLst>
            </p:cNvPr>
            <p:cNvSpPr/>
            <p:nvPr/>
          </p:nvSpPr>
          <p:spPr>
            <a:xfrm>
              <a:off x="3619861" y="1753464"/>
              <a:ext cx="1241714" cy="49356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800" dirty="0"/>
            </a:p>
          </p:txBody>
        </p:sp>
        <p:grpSp>
          <p:nvGrpSpPr>
            <p:cNvPr id="2152" name="Graphic 4">
              <a:extLst>
                <a:ext uri="{FF2B5EF4-FFF2-40B4-BE49-F238E27FC236}">
                  <a16:creationId xmlns:a16="http://schemas.microsoft.com/office/drawing/2014/main" id="{AD48DAB1-7BC1-316E-1FCA-150F6EE76D40}"/>
                </a:ext>
              </a:extLst>
            </p:cNvPr>
            <p:cNvGrpSpPr/>
            <p:nvPr/>
          </p:nvGrpSpPr>
          <p:grpSpPr>
            <a:xfrm>
              <a:off x="2184177" y="1184214"/>
              <a:ext cx="8605202" cy="3655529"/>
              <a:chOff x="2184177" y="1112019"/>
              <a:chExt cx="8605202" cy="3655529"/>
            </a:xfrm>
            <a:noFill/>
          </p:grpSpPr>
          <p:sp>
            <p:nvSpPr>
              <p:cNvPr id="2153" name="Freeform 7">
                <a:extLst>
                  <a:ext uri="{FF2B5EF4-FFF2-40B4-BE49-F238E27FC236}">
                    <a16:creationId xmlns:a16="http://schemas.microsoft.com/office/drawing/2014/main" id="{6B7755B1-1FA0-31CF-B8AB-15D77D8D2192}"/>
                  </a:ext>
                </a:extLst>
              </p:cNvPr>
              <p:cNvSpPr/>
              <p:nvPr/>
            </p:nvSpPr>
            <p:spPr>
              <a:xfrm>
                <a:off x="2247018" y="4707054"/>
                <a:ext cx="8542361" cy="17647"/>
              </a:xfrm>
              <a:custGeom>
                <a:avLst/>
                <a:gdLst>
                  <a:gd name="connsiteX0" fmla="*/ 0 w 8542361"/>
                  <a:gd name="connsiteY0" fmla="*/ 0 h 17647"/>
                  <a:gd name="connsiteX1" fmla="*/ 8542361 w 8542361"/>
                  <a:gd name="connsiteY1" fmla="*/ 0 h 17647"/>
                </a:gdLst>
                <a:ahLst/>
                <a:cxnLst>
                  <a:cxn ang="0">
                    <a:pos x="connsiteX0" y="connsiteY0"/>
                  </a:cxn>
                  <a:cxn ang="0">
                    <a:pos x="connsiteX1" y="connsiteY1"/>
                  </a:cxn>
                </a:cxnLst>
                <a:rect l="l" t="t" r="r" b="b"/>
                <a:pathLst>
                  <a:path w="8542361" h="17647">
                    <a:moveTo>
                      <a:pt x="0" y="0"/>
                    </a:moveTo>
                    <a:lnTo>
                      <a:pt x="8542361" y="0"/>
                    </a:lnTo>
                  </a:path>
                </a:pathLst>
              </a:custGeom>
              <a:ln w="9624" cap="flat">
                <a:solidFill>
                  <a:srgbClr val="000000"/>
                </a:solidFill>
                <a:prstDash val="solid"/>
                <a:miter/>
              </a:ln>
            </p:spPr>
            <p:txBody>
              <a:bodyPr rtlCol="0" anchor="ctr"/>
              <a:lstStyle/>
              <a:p>
                <a:endParaRPr lang="en-US" sz="1800" dirty="0"/>
              </a:p>
            </p:txBody>
          </p:sp>
          <p:sp>
            <p:nvSpPr>
              <p:cNvPr id="2154" name="Freeform 8">
                <a:extLst>
                  <a:ext uri="{FF2B5EF4-FFF2-40B4-BE49-F238E27FC236}">
                    <a16:creationId xmlns:a16="http://schemas.microsoft.com/office/drawing/2014/main" id="{00EEF985-6490-BA49-E483-16771B646499}"/>
                  </a:ext>
                </a:extLst>
              </p:cNvPr>
              <p:cNvSpPr/>
              <p:nvPr/>
            </p:nvSpPr>
            <p:spPr>
              <a:xfrm>
                <a:off x="2247018" y="1112019"/>
                <a:ext cx="17647" cy="3595034"/>
              </a:xfrm>
              <a:custGeom>
                <a:avLst/>
                <a:gdLst>
                  <a:gd name="connsiteX0" fmla="*/ 0 w 17647"/>
                  <a:gd name="connsiteY0" fmla="*/ 3595035 h 3595034"/>
                  <a:gd name="connsiteX1" fmla="*/ 0 w 17647"/>
                  <a:gd name="connsiteY1" fmla="*/ 0 h 3595034"/>
                </a:gdLst>
                <a:ahLst/>
                <a:cxnLst>
                  <a:cxn ang="0">
                    <a:pos x="connsiteX0" y="connsiteY0"/>
                  </a:cxn>
                  <a:cxn ang="0">
                    <a:pos x="connsiteX1" y="connsiteY1"/>
                  </a:cxn>
                </a:cxnLst>
                <a:rect l="l" t="t" r="r" b="b"/>
                <a:pathLst>
                  <a:path w="17647" h="3595034">
                    <a:moveTo>
                      <a:pt x="0" y="3595035"/>
                    </a:moveTo>
                    <a:lnTo>
                      <a:pt x="0" y="0"/>
                    </a:lnTo>
                  </a:path>
                </a:pathLst>
              </a:custGeom>
              <a:ln w="9624" cap="flat">
                <a:solidFill>
                  <a:srgbClr val="000000"/>
                </a:solidFill>
                <a:prstDash val="solid"/>
                <a:miter/>
              </a:ln>
            </p:spPr>
            <p:txBody>
              <a:bodyPr rtlCol="0" anchor="ctr"/>
              <a:lstStyle/>
              <a:p>
                <a:endParaRPr lang="en-US" sz="1800" dirty="0"/>
              </a:p>
            </p:txBody>
          </p:sp>
          <p:sp>
            <p:nvSpPr>
              <p:cNvPr id="2155" name="Freeform 9">
                <a:extLst>
                  <a:ext uri="{FF2B5EF4-FFF2-40B4-BE49-F238E27FC236}">
                    <a16:creationId xmlns:a16="http://schemas.microsoft.com/office/drawing/2014/main" id="{9C024069-019F-E42E-AF62-3AFE13455A08}"/>
                  </a:ext>
                </a:extLst>
              </p:cNvPr>
              <p:cNvSpPr/>
              <p:nvPr/>
            </p:nvSpPr>
            <p:spPr>
              <a:xfrm>
                <a:off x="2393964" y="470705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endParaRPr lang="en-US" sz="1800" dirty="0"/>
              </a:p>
            </p:txBody>
          </p:sp>
          <p:sp>
            <p:nvSpPr>
              <p:cNvPr id="2156" name="Freeform 10">
                <a:extLst>
                  <a:ext uri="{FF2B5EF4-FFF2-40B4-BE49-F238E27FC236}">
                    <a16:creationId xmlns:a16="http://schemas.microsoft.com/office/drawing/2014/main" id="{282B927C-4A35-340D-EEF3-FD787E387257}"/>
                  </a:ext>
                </a:extLst>
              </p:cNvPr>
              <p:cNvSpPr/>
              <p:nvPr/>
            </p:nvSpPr>
            <p:spPr>
              <a:xfrm>
                <a:off x="2573276" y="470705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endParaRPr lang="en-US" sz="1800" dirty="0"/>
              </a:p>
            </p:txBody>
          </p:sp>
          <p:sp>
            <p:nvSpPr>
              <p:cNvPr id="2157" name="Freeform 11">
                <a:extLst>
                  <a:ext uri="{FF2B5EF4-FFF2-40B4-BE49-F238E27FC236}">
                    <a16:creationId xmlns:a16="http://schemas.microsoft.com/office/drawing/2014/main" id="{72866263-BE5F-5F5C-9E53-614AD0333DC8}"/>
                  </a:ext>
                </a:extLst>
              </p:cNvPr>
              <p:cNvSpPr/>
              <p:nvPr/>
            </p:nvSpPr>
            <p:spPr>
              <a:xfrm>
                <a:off x="2752587" y="470705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endParaRPr lang="en-US" sz="1800" dirty="0"/>
              </a:p>
            </p:txBody>
          </p:sp>
          <p:sp>
            <p:nvSpPr>
              <p:cNvPr id="2158" name="Freeform 12">
                <a:extLst>
                  <a:ext uri="{FF2B5EF4-FFF2-40B4-BE49-F238E27FC236}">
                    <a16:creationId xmlns:a16="http://schemas.microsoft.com/office/drawing/2014/main" id="{4E7AC017-F933-F6B6-D072-B4FDE02AC18E}"/>
                  </a:ext>
                </a:extLst>
              </p:cNvPr>
              <p:cNvSpPr/>
              <p:nvPr/>
            </p:nvSpPr>
            <p:spPr>
              <a:xfrm>
                <a:off x="2931828" y="470705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endParaRPr lang="en-US" sz="1800" dirty="0"/>
              </a:p>
            </p:txBody>
          </p:sp>
          <p:sp>
            <p:nvSpPr>
              <p:cNvPr id="2159" name="Freeform 13">
                <a:extLst>
                  <a:ext uri="{FF2B5EF4-FFF2-40B4-BE49-F238E27FC236}">
                    <a16:creationId xmlns:a16="http://schemas.microsoft.com/office/drawing/2014/main" id="{B8AEAD7B-B85F-B793-563A-B6645FA9E3AA}"/>
                  </a:ext>
                </a:extLst>
              </p:cNvPr>
              <p:cNvSpPr/>
              <p:nvPr/>
            </p:nvSpPr>
            <p:spPr>
              <a:xfrm>
                <a:off x="3111228" y="470705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endParaRPr lang="en-US" sz="1800" dirty="0"/>
              </a:p>
            </p:txBody>
          </p:sp>
          <p:sp>
            <p:nvSpPr>
              <p:cNvPr id="2160" name="Freeform 14">
                <a:extLst>
                  <a:ext uri="{FF2B5EF4-FFF2-40B4-BE49-F238E27FC236}">
                    <a16:creationId xmlns:a16="http://schemas.microsoft.com/office/drawing/2014/main" id="{5A2CB37C-CAA3-60D4-15A3-4526E22116F8}"/>
                  </a:ext>
                </a:extLst>
              </p:cNvPr>
              <p:cNvSpPr/>
              <p:nvPr/>
            </p:nvSpPr>
            <p:spPr>
              <a:xfrm>
                <a:off x="3290504" y="470705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endParaRPr lang="en-US" sz="1800" dirty="0"/>
              </a:p>
            </p:txBody>
          </p:sp>
          <p:sp>
            <p:nvSpPr>
              <p:cNvPr id="2161" name="Freeform 15">
                <a:extLst>
                  <a:ext uri="{FF2B5EF4-FFF2-40B4-BE49-F238E27FC236}">
                    <a16:creationId xmlns:a16="http://schemas.microsoft.com/office/drawing/2014/main" id="{C68AB858-1B86-A161-3048-3F718DD988F3}"/>
                  </a:ext>
                </a:extLst>
              </p:cNvPr>
              <p:cNvSpPr/>
              <p:nvPr/>
            </p:nvSpPr>
            <p:spPr>
              <a:xfrm>
                <a:off x="3469904" y="470705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endParaRPr lang="en-US" sz="1800" dirty="0"/>
              </a:p>
            </p:txBody>
          </p:sp>
          <p:sp>
            <p:nvSpPr>
              <p:cNvPr id="2162" name="Freeform 16">
                <a:extLst>
                  <a:ext uri="{FF2B5EF4-FFF2-40B4-BE49-F238E27FC236}">
                    <a16:creationId xmlns:a16="http://schemas.microsoft.com/office/drawing/2014/main" id="{AE4479E2-2D61-3335-F2B6-B30C65DE50A8}"/>
                  </a:ext>
                </a:extLst>
              </p:cNvPr>
              <p:cNvSpPr/>
              <p:nvPr/>
            </p:nvSpPr>
            <p:spPr>
              <a:xfrm>
                <a:off x="3649162" y="470705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endParaRPr lang="en-US" sz="1800" dirty="0"/>
              </a:p>
            </p:txBody>
          </p:sp>
          <p:sp>
            <p:nvSpPr>
              <p:cNvPr id="2163" name="Freeform 17">
                <a:extLst>
                  <a:ext uri="{FF2B5EF4-FFF2-40B4-BE49-F238E27FC236}">
                    <a16:creationId xmlns:a16="http://schemas.microsoft.com/office/drawing/2014/main" id="{D71A0D72-67DD-CE0B-3B17-4D03A2D8E40E}"/>
                  </a:ext>
                </a:extLst>
              </p:cNvPr>
              <p:cNvSpPr/>
              <p:nvPr/>
            </p:nvSpPr>
            <p:spPr>
              <a:xfrm>
                <a:off x="3828438" y="470705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endParaRPr lang="en-US" sz="1800" dirty="0"/>
              </a:p>
            </p:txBody>
          </p:sp>
          <p:sp>
            <p:nvSpPr>
              <p:cNvPr id="2164" name="Freeform 18">
                <a:extLst>
                  <a:ext uri="{FF2B5EF4-FFF2-40B4-BE49-F238E27FC236}">
                    <a16:creationId xmlns:a16="http://schemas.microsoft.com/office/drawing/2014/main" id="{38708A77-5F85-A53F-7FC2-900CA06393F2}"/>
                  </a:ext>
                </a:extLst>
              </p:cNvPr>
              <p:cNvSpPr/>
              <p:nvPr/>
            </p:nvSpPr>
            <p:spPr>
              <a:xfrm>
                <a:off x="4007820" y="470705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endParaRPr lang="en-US" sz="1800" dirty="0"/>
              </a:p>
            </p:txBody>
          </p:sp>
          <p:sp>
            <p:nvSpPr>
              <p:cNvPr id="2165" name="Freeform 19">
                <a:extLst>
                  <a:ext uri="{FF2B5EF4-FFF2-40B4-BE49-F238E27FC236}">
                    <a16:creationId xmlns:a16="http://schemas.microsoft.com/office/drawing/2014/main" id="{B8144340-0D39-261A-99B2-7A4465BEED49}"/>
                  </a:ext>
                </a:extLst>
              </p:cNvPr>
              <p:cNvSpPr/>
              <p:nvPr/>
            </p:nvSpPr>
            <p:spPr>
              <a:xfrm>
                <a:off x="4187097" y="470705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endParaRPr lang="en-US" sz="1800" dirty="0"/>
              </a:p>
            </p:txBody>
          </p:sp>
          <p:sp>
            <p:nvSpPr>
              <p:cNvPr id="2166" name="Freeform 20">
                <a:extLst>
                  <a:ext uri="{FF2B5EF4-FFF2-40B4-BE49-F238E27FC236}">
                    <a16:creationId xmlns:a16="http://schemas.microsoft.com/office/drawing/2014/main" id="{DD802013-429B-792E-64AF-E4E6236D2A78}"/>
                  </a:ext>
                </a:extLst>
              </p:cNvPr>
              <p:cNvSpPr/>
              <p:nvPr/>
            </p:nvSpPr>
            <p:spPr>
              <a:xfrm>
                <a:off x="4366355" y="470705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endParaRPr lang="en-US" sz="1800" dirty="0"/>
              </a:p>
            </p:txBody>
          </p:sp>
          <p:sp>
            <p:nvSpPr>
              <p:cNvPr id="2167" name="Freeform 21">
                <a:extLst>
                  <a:ext uri="{FF2B5EF4-FFF2-40B4-BE49-F238E27FC236}">
                    <a16:creationId xmlns:a16="http://schemas.microsoft.com/office/drawing/2014/main" id="{179297B0-BC36-C754-8B97-2D5C408B9398}"/>
                  </a:ext>
                </a:extLst>
              </p:cNvPr>
              <p:cNvSpPr/>
              <p:nvPr/>
            </p:nvSpPr>
            <p:spPr>
              <a:xfrm>
                <a:off x="4545755" y="470705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endParaRPr lang="en-US" sz="1800" dirty="0"/>
              </a:p>
            </p:txBody>
          </p:sp>
          <p:sp>
            <p:nvSpPr>
              <p:cNvPr id="2168" name="Freeform 22">
                <a:extLst>
                  <a:ext uri="{FF2B5EF4-FFF2-40B4-BE49-F238E27FC236}">
                    <a16:creationId xmlns:a16="http://schemas.microsoft.com/office/drawing/2014/main" id="{6F1486D2-D324-ABD5-443A-D911E9036631}"/>
                  </a:ext>
                </a:extLst>
              </p:cNvPr>
              <p:cNvSpPr/>
              <p:nvPr/>
            </p:nvSpPr>
            <p:spPr>
              <a:xfrm>
                <a:off x="4725031" y="470705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endParaRPr lang="en-US" sz="1800" dirty="0"/>
              </a:p>
            </p:txBody>
          </p:sp>
          <p:sp>
            <p:nvSpPr>
              <p:cNvPr id="2169" name="Freeform 23">
                <a:extLst>
                  <a:ext uri="{FF2B5EF4-FFF2-40B4-BE49-F238E27FC236}">
                    <a16:creationId xmlns:a16="http://schemas.microsoft.com/office/drawing/2014/main" id="{66568394-CE7A-44D8-90BD-3E62EE2A84FC}"/>
                  </a:ext>
                </a:extLst>
              </p:cNvPr>
              <p:cNvSpPr/>
              <p:nvPr/>
            </p:nvSpPr>
            <p:spPr>
              <a:xfrm>
                <a:off x="4904431" y="470705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endParaRPr lang="en-US" sz="1800" dirty="0"/>
              </a:p>
            </p:txBody>
          </p:sp>
          <p:sp>
            <p:nvSpPr>
              <p:cNvPr id="2170" name="Freeform 24">
                <a:extLst>
                  <a:ext uri="{FF2B5EF4-FFF2-40B4-BE49-F238E27FC236}">
                    <a16:creationId xmlns:a16="http://schemas.microsoft.com/office/drawing/2014/main" id="{DB82A79D-501E-3489-B83C-069372C74824}"/>
                  </a:ext>
                </a:extLst>
              </p:cNvPr>
              <p:cNvSpPr/>
              <p:nvPr/>
            </p:nvSpPr>
            <p:spPr>
              <a:xfrm>
                <a:off x="5083689" y="470705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endParaRPr lang="en-US" sz="1800" dirty="0"/>
              </a:p>
            </p:txBody>
          </p:sp>
          <p:sp>
            <p:nvSpPr>
              <p:cNvPr id="2171" name="Freeform 25">
                <a:extLst>
                  <a:ext uri="{FF2B5EF4-FFF2-40B4-BE49-F238E27FC236}">
                    <a16:creationId xmlns:a16="http://schemas.microsoft.com/office/drawing/2014/main" id="{6A7BE6D5-E30E-76C4-A287-B614BD71F52A}"/>
                  </a:ext>
                </a:extLst>
              </p:cNvPr>
              <p:cNvSpPr/>
              <p:nvPr/>
            </p:nvSpPr>
            <p:spPr>
              <a:xfrm>
                <a:off x="5262965" y="470705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endParaRPr lang="en-US" sz="1800" dirty="0"/>
              </a:p>
            </p:txBody>
          </p:sp>
          <p:sp>
            <p:nvSpPr>
              <p:cNvPr id="2172" name="Freeform 26">
                <a:extLst>
                  <a:ext uri="{FF2B5EF4-FFF2-40B4-BE49-F238E27FC236}">
                    <a16:creationId xmlns:a16="http://schemas.microsoft.com/office/drawing/2014/main" id="{D79746E8-6C9E-DFCC-FD9E-EC04AC1FA56B}"/>
                  </a:ext>
                </a:extLst>
              </p:cNvPr>
              <p:cNvSpPr/>
              <p:nvPr/>
            </p:nvSpPr>
            <p:spPr>
              <a:xfrm>
                <a:off x="5442365" y="470705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endParaRPr lang="en-US" sz="1800" dirty="0"/>
              </a:p>
            </p:txBody>
          </p:sp>
          <p:sp>
            <p:nvSpPr>
              <p:cNvPr id="2173" name="Freeform 27">
                <a:extLst>
                  <a:ext uri="{FF2B5EF4-FFF2-40B4-BE49-F238E27FC236}">
                    <a16:creationId xmlns:a16="http://schemas.microsoft.com/office/drawing/2014/main" id="{5DD601FF-D32C-03E7-6148-68AFA26CBC44}"/>
                  </a:ext>
                </a:extLst>
              </p:cNvPr>
              <p:cNvSpPr/>
              <p:nvPr/>
            </p:nvSpPr>
            <p:spPr>
              <a:xfrm>
                <a:off x="5621623" y="470705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endParaRPr lang="en-US" sz="1800" dirty="0"/>
              </a:p>
            </p:txBody>
          </p:sp>
          <p:sp>
            <p:nvSpPr>
              <p:cNvPr id="2174" name="Freeform 28">
                <a:extLst>
                  <a:ext uri="{FF2B5EF4-FFF2-40B4-BE49-F238E27FC236}">
                    <a16:creationId xmlns:a16="http://schemas.microsoft.com/office/drawing/2014/main" id="{90AA2183-3A06-A3EE-57E0-B2B5E458C96C}"/>
                  </a:ext>
                </a:extLst>
              </p:cNvPr>
              <p:cNvSpPr/>
              <p:nvPr/>
            </p:nvSpPr>
            <p:spPr>
              <a:xfrm>
                <a:off x="5800882" y="470705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endParaRPr lang="en-US" sz="1800" dirty="0"/>
              </a:p>
            </p:txBody>
          </p:sp>
          <p:sp>
            <p:nvSpPr>
              <p:cNvPr id="2175" name="Freeform 29">
                <a:extLst>
                  <a:ext uri="{FF2B5EF4-FFF2-40B4-BE49-F238E27FC236}">
                    <a16:creationId xmlns:a16="http://schemas.microsoft.com/office/drawing/2014/main" id="{97B1A2D8-6B86-0027-ACF1-6EB580EB80A4}"/>
                  </a:ext>
                </a:extLst>
              </p:cNvPr>
              <p:cNvSpPr/>
              <p:nvPr/>
            </p:nvSpPr>
            <p:spPr>
              <a:xfrm>
                <a:off x="5980282" y="470705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endParaRPr lang="en-US" sz="1800" dirty="0"/>
              </a:p>
            </p:txBody>
          </p:sp>
          <p:sp>
            <p:nvSpPr>
              <p:cNvPr id="2176" name="Freeform 30">
                <a:extLst>
                  <a:ext uri="{FF2B5EF4-FFF2-40B4-BE49-F238E27FC236}">
                    <a16:creationId xmlns:a16="http://schemas.microsoft.com/office/drawing/2014/main" id="{45713B8D-BCD2-F1E7-3A30-20444C82CB3B}"/>
                  </a:ext>
                </a:extLst>
              </p:cNvPr>
              <p:cNvSpPr/>
              <p:nvPr/>
            </p:nvSpPr>
            <p:spPr>
              <a:xfrm>
                <a:off x="6159558" y="470705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endParaRPr lang="en-US" sz="1800" dirty="0"/>
              </a:p>
            </p:txBody>
          </p:sp>
          <p:sp>
            <p:nvSpPr>
              <p:cNvPr id="2177" name="Freeform 31">
                <a:extLst>
                  <a:ext uri="{FF2B5EF4-FFF2-40B4-BE49-F238E27FC236}">
                    <a16:creationId xmlns:a16="http://schemas.microsoft.com/office/drawing/2014/main" id="{B7292B65-4020-E5FE-CB12-A0E98577E075}"/>
                  </a:ext>
                </a:extLst>
              </p:cNvPr>
              <p:cNvSpPr/>
              <p:nvPr/>
            </p:nvSpPr>
            <p:spPr>
              <a:xfrm>
                <a:off x="6338816" y="470705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endParaRPr lang="en-US" sz="1800" dirty="0"/>
              </a:p>
            </p:txBody>
          </p:sp>
          <p:sp>
            <p:nvSpPr>
              <p:cNvPr id="2178" name="Freeform 32">
                <a:extLst>
                  <a:ext uri="{FF2B5EF4-FFF2-40B4-BE49-F238E27FC236}">
                    <a16:creationId xmlns:a16="http://schemas.microsoft.com/office/drawing/2014/main" id="{7C2E2A4E-B2FC-B01E-6CA3-9D2A136C9FB4}"/>
                  </a:ext>
                </a:extLst>
              </p:cNvPr>
              <p:cNvSpPr/>
              <p:nvPr/>
            </p:nvSpPr>
            <p:spPr>
              <a:xfrm>
                <a:off x="6518216" y="470705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endParaRPr lang="en-US" sz="1800" dirty="0"/>
              </a:p>
            </p:txBody>
          </p:sp>
          <p:sp>
            <p:nvSpPr>
              <p:cNvPr id="2179" name="Freeform 33">
                <a:extLst>
                  <a:ext uri="{FF2B5EF4-FFF2-40B4-BE49-F238E27FC236}">
                    <a16:creationId xmlns:a16="http://schemas.microsoft.com/office/drawing/2014/main" id="{4E2957A4-8DAB-05D5-AD3C-EF9B93C954F4}"/>
                  </a:ext>
                </a:extLst>
              </p:cNvPr>
              <p:cNvSpPr/>
              <p:nvPr/>
            </p:nvSpPr>
            <p:spPr>
              <a:xfrm>
                <a:off x="6697492" y="470705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endParaRPr lang="en-US" sz="1800" dirty="0"/>
              </a:p>
            </p:txBody>
          </p:sp>
          <p:sp>
            <p:nvSpPr>
              <p:cNvPr id="2180" name="Freeform 34">
                <a:extLst>
                  <a:ext uri="{FF2B5EF4-FFF2-40B4-BE49-F238E27FC236}">
                    <a16:creationId xmlns:a16="http://schemas.microsoft.com/office/drawing/2014/main" id="{2902665F-4899-BFBC-A644-D8855B57CC81}"/>
                  </a:ext>
                </a:extLst>
              </p:cNvPr>
              <p:cNvSpPr/>
              <p:nvPr/>
            </p:nvSpPr>
            <p:spPr>
              <a:xfrm>
                <a:off x="6876892" y="470705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endParaRPr lang="en-US" sz="1800" dirty="0"/>
              </a:p>
            </p:txBody>
          </p:sp>
          <p:sp>
            <p:nvSpPr>
              <p:cNvPr id="2181" name="Freeform 35">
                <a:extLst>
                  <a:ext uri="{FF2B5EF4-FFF2-40B4-BE49-F238E27FC236}">
                    <a16:creationId xmlns:a16="http://schemas.microsoft.com/office/drawing/2014/main" id="{78BECEB7-2DAB-2DE5-CF90-2B10AC1A1584}"/>
                  </a:ext>
                </a:extLst>
              </p:cNvPr>
              <p:cNvSpPr/>
              <p:nvPr/>
            </p:nvSpPr>
            <p:spPr>
              <a:xfrm>
                <a:off x="7056150" y="470705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endParaRPr lang="en-US" sz="1800" dirty="0"/>
              </a:p>
            </p:txBody>
          </p:sp>
          <p:sp>
            <p:nvSpPr>
              <p:cNvPr id="2182" name="Freeform 36">
                <a:extLst>
                  <a:ext uri="{FF2B5EF4-FFF2-40B4-BE49-F238E27FC236}">
                    <a16:creationId xmlns:a16="http://schemas.microsoft.com/office/drawing/2014/main" id="{E0316DF8-4513-CFFB-C824-D69F21927F24}"/>
                  </a:ext>
                </a:extLst>
              </p:cNvPr>
              <p:cNvSpPr/>
              <p:nvPr/>
            </p:nvSpPr>
            <p:spPr>
              <a:xfrm>
                <a:off x="7235427" y="470705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endParaRPr lang="en-US" sz="1800" dirty="0"/>
              </a:p>
            </p:txBody>
          </p:sp>
          <p:sp>
            <p:nvSpPr>
              <p:cNvPr id="2183" name="Freeform 37">
                <a:extLst>
                  <a:ext uri="{FF2B5EF4-FFF2-40B4-BE49-F238E27FC236}">
                    <a16:creationId xmlns:a16="http://schemas.microsoft.com/office/drawing/2014/main" id="{3CE3AD50-8053-ED6A-F646-D87BAB729338}"/>
                  </a:ext>
                </a:extLst>
              </p:cNvPr>
              <p:cNvSpPr/>
              <p:nvPr/>
            </p:nvSpPr>
            <p:spPr>
              <a:xfrm>
                <a:off x="7414809" y="470705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endParaRPr lang="en-US" sz="1800" dirty="0"/>
              </a:p>
            </p:txBody>
          </p:sp>
          <p:sp>
            <p:nvSpPr>
              <p:cNvPr id="2184" name="Freeform 38">
                <a:extLst>
                  <a:ext uri="{FF2B5EF4-FFF2-40B4-BE49-F238E27FC236}">
                    <a16:creationId xmlns:a16="http://schemas.microsoft.com/office/drawing/2014/main" id="{7124BED9-A070-56B0-B402-9ACCD69FA5C9}"/>
                  </a:ext>
                </a:extLst>
              </p:cNvPr>
              <p:cNvSpPr/>
              <p:nvPr/>
            </p:nvSpPr>
            <p:spPr>
              <a:xfrm>
                <a:off x="7594085" y="470705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endParaRPr lang="en-US" sz="1800" dirty="0"/>
              </a:p>
            </p:txBody>
          </p:sp>
          <p:sp>
            <p:nvSpPr>
              <p:cNvPr id="2185" name="Freeform 39">
                <a:extLst>
                  <a:ext uri="{FF2B5EF4-FFF2-40B4-BE49-F238E27FC236}">
                    <a16:creationId xmlns:a16="http://schemas.microsoft.com/office/drawing/2014/main" id="{85D2DBF1-D9A5-2479-C8E6-25D7E4B254EB}"/>
                  </a:ext>
                </a:extLst>
              </p:cNvPr>
              <p:cNvSpPr/>
              <p:nvPr/>
            </p:nvSpPr>
            <p:spPr>
              <a:xfrm>
                <a:off x="7773343" y="470705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endParaRPr lang="en-US" sz="1800" dirty="0"/>
              </a:p>
            </p:txBody>
          </p:sp>
          <p:sp>
            <p:nvSpPr>
              <p:cNvPr id="2186" name="Freeform 40">
                <a:extLst>
                  <a:ext uri="{FF2B5EF4-FFF2-40B4-BE49-F238E27FC236}">
                    <a16:creationId xmlns:a16="http://schemas.microsoft.com/office/drawing/2014/main" id="{33C593B0-423F-26C8-BB5E-0687D6069ACC}"/>
                  </a:ext>
                </a:extLst>
              </p:cNvPr>
              <p:cNvSpPr/>
              <p:nvPr/>
            </p:nvSpPr>
            <p:spPr>
              <a:xfrm>
                <a:off x="7952743" y="470705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endParaRPr lang="en-US" sz="1800" dirty="0"/>
              </a:p>
            </p:txBody>
          </p:sp>
          <p:sp>
            <p:nvSpPr>
              <p:cNvPr id="2187" name="Freeform 41">
                <a:extLst>
                  <a:ext uri="{FF2B5EF4-FFF2-40B4-BE49-F238E27FC236}">
                    <a16:creationId xmlns:a16="http://schemas.microsoft.com/office/drawing/2014/main" id="{757D54E1-1369-BCB7-F570-E30C17B4A534}"/>
                  </a:ext>
                </a:extLst>
              </p:cNvPr>
              <p:cNvSpPr/>
              <p:nvPr/>
            </p:nvSpPr>
            <p:spPr>
              <a:xfrm>
                <a:off x="8132019" y="470705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endParaRPr lang="en-US" sz="1800" dirty="0"/>
              </a:p>
            </p:txBody>
          </p:sp>
          <p:sp>
            <p:nvSpPr>
              <p:cNvPr id="2188" name="Freeform 42">
                <a:extLst>
                  <a:ext uri="{FF2B5EF4-FFF2-40B4-BE49-F238E27FC236}">
                    <a16:creationId xmlns:a16="http://schemas.microsoft.com/office/drawing/2014/main" id="{1C4D0AE8-D6BF-8621-794B-162EBC580DB3}"/>
                  </a:ext>
                </a:extLst>
              </p:cNvPr>
              <p:cNvSpPr/>
              <p:nvPr/>
            </p:nvSpPr>
            <p:spPr>
              <a:xfrm>
                <a:off x="8311278" y="470705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endParaRPr lang="en-US" sz="1800" dirty="0"/>
              </a:p>
            </p:txBody>
          </p:sp>
          <p:sp>
            <p:nvSpPr>
              <p:cNvPr id="2189" name="Freeform 43">
                <a:extLst>
                  <a:ext uri="{FF2B5EF4-FFF2-40B4-BE49-F238E27FC236}">
                    <a16:creationId xmlns:a16="http://schemas.microsoft.com/office/drawing/2014/main" id="{AAA18BAD-014D-2883-621F-47360FB9CD6B}"/>
                  </a:ext>
                </a:extLst>
              </p:cNvPr>
              <p:cNvSpPr/>
              <p:nvPr/>
            </p:nvSpPr>
            <p:spPr>
              <a:xfrm>
                <a:off x="8490677" y="470705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endParaRPr lang="en-US" sz="1800" dirty="0"/>
              </a:p>
            </p:txBody>
          </p:sp>
          <p:sp>
            <p:nvSpPr>
              <p:cNvPr id="2190" name="Freeform 44">
                <a:extLst>
                  <a:ext uri="{FF2B5EF4-FFF2-40B4-BE49-F238E27FC236}">
                    <a16:creationId xmlns:a16="http://schemas.microsoft.com/office/drawing/2014/main" id="{CECC8D51-EC26-73FC-60D0-855D0A190B82}"/>
                  </a:ext>
                </a:extLst>
              </p:cNvPr>
              <p:cNvSpPr/>
              <p:nvPr/>
            </p:nvSpPr>
            <p:spPr>
              <a:xfrm>
                <a:off x="8669953" y="470705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endParaRPr lang="en-US" sz="1800" dirty="0"/>
              </a:p>
            </p:txBody>
          </p:sp>
          <p:sp>
            <p:nvSpPr>
              <p:cNvPr id="2191" name="Freeform 45">
                <a:extLst>
                  <a:ext uri="{FF2B5EF4-FFF2-40B4-BE49-F238E27FC236}">
                    <a16:creationId xmlns:a16="http://schemas.microsoft.com/office/drawing/2014/main" id="{AC0E98C2-D084-544E-5CA8-30BFBEAB242E}"/>
                  </a:ext>
                </a:extLst>
              </p:cNvPr>
              <p:cNvSpPr/>
              <p:nvPr/>
            </p:nvSpPr>
            <p:spPr>
              <a:xfrm>
                <a:off x="8849335" y="470705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endParaRPr lang="en-US" sz="1800" dirty="0"/>
              </a:p>
            </p:txBody>
          </p:sp>
          <p:sp>
            <p:nvSpPr>
              <p:cNvPr id="2192" name="Freeform 46">
                <a:extLst>
                  <a:ext uri="{FF2B5EF4-FFF2-40B4-BE49-F238E27FC236}">
                    <a16:creationId xmlns:a16="http://schemas.microsoft.com/office/drawing/2014/main" id="{E28F06FF-EDAB-2C1E-77F5-46B8C108A671}"/>
                  </a:ext>
                </a:extLst>
              </p:cNvPr>
              <p:cNvSpPr/>
              <p:nvPr/>
            </p:nvSpPr>
            <p:spPr>
              <a:xfrm>
                <a:off x="9028612" y="470705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endParaRPr lang="en-US" sz="1800" dirty="0"/>
              </a:p>
            </p:txBody>
          </p:sp>
          <p:sp>
            <p:nvSpPr>
              <p:cNvPr id="2193" name="Freeform 47">
                <a:extLst>
                  <a:ext uri="{FF2B5EF4-FFF2-40B4-BE49-F238E27FC236}">
                    <a16:creationId xmlns:a16="http://schemas.microsoft.com/office/drawing/2014/main" id="{2AB5D442-1D95-115C-95A7-31D7C29A8A81}"/>
                  </a:ext>
                </a:extLst>
              </p:cNvPr>
              <p:cNvSpPr/>
              <p:nvPr/>
            </p:nvSpPr>
            <p:spPr>
              <a:xfrm>
                <a:off x="9207870" y="470705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endParaRPr lang="en-US" sz="1800" dirty="0"/>
              </a:p>
            </p:txBody>
          </p:sp>
          <p:sp>
            <p:nvSpPr>
              <p:cNvPr id="2194" name="Freeform 48">
                <a:extLst>
                  <a:ext uri="{FF2B5EF4-FFF2-40B4-BE49-F238E27FC236}">
                    <a16:creationId xmlns:a16="http://schemas.microsoft.com/office/drawing/2014/main" id="{6C9076BA-A25A-40A1-BC6E-FD8F6A6415C9}"/>
                  </a:ext>
                </a:extLst>
              </p:cNvPr>
              <p:cNvSpPr/>
              <p:nvPr/>
            </p:nvSpPr>
            <p:spPr>
              <a:xfrm>
                <a:off x="9387270" y="470705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endParaRPr lang="en-US" sz="1800" dirty="0"/>
              </a:p>
            </p:txBody>
          </p:sp>
          <p:sp>
            <p:nvSpPr>
              <p:cNvPr id="2195" name="Freeform 49">
                <a:extLst>
                  <a:ext uri="{FF2B5EF4-FFF2-40B4-BE49-F238E27FC236}">
                    <a16:creationId xmlns:a16="http://schemas.microsoft.com/office/drawing/2014/main" id="{979A558F-71F3-E907-C350-74C11415C89D}"/>
                  </a:ext>
                </a:extLst>
              </p:cNvPr>
              <p:cNvSpPr/>
              <p:nvPr/>
            </p:nvSpPr>
            <p:spPr>
              <a:xfrm>
                <a:off x="9566546" y="470705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endParaRPr lang="en-US" sz="1800" dirty="0"/>
              </a:p>
            </p:txBody>
          </p:sp>
          <p:sp>
            <p:nvSpPr>
              <p:cNvPr id="2196" name="Freeform 50">
                <a:extLst>
                  <a:ext uri="{FF2B5EF4-FFF2-40B4-BE49-F238E27FC236}">
                    <a16:creationId xmlns:a16="http://schemas.microsoft.com/office/drawing/2014/main" id="{D5F31062-3F3B-2A8B-06E3-15EC220FDC05}"/>
                  </a:ext>
                </a:extLst>
              </p:cNvPr>
              <p:cNvSpPr/>
              <p:nvPr/>
            </p:nvSpPr>
            <p:spPr>
              <a:xfrm>
                <a:off x="9745804" y="470705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endParaRPr lang="en-US" sz="1800" dirty="0"/>
              </a:p>
            </p:txBody>
          </p:sp>
          <p:sp>
            <p:nvSpPr>
              <p:cNvPr id="2197" name="Freeform 51">
                <a:extLst>
                  <a:ext uri="{FF2B5EF4-FFF2-40B4-BE49-F238E27FC236}">
                    <a16:creationId xmlns:a16="http://schemas.microsoft.com/office/drawing/2014/main" id="{13D1C7DC-427B-5569-53D2-2FB3BF65E8E1}"/>
                  </a:ext>
                </a:extLst>
              </p:cNvPr>
              <p:cNvSpPr/>
              <p:nvPr/>
            </p:nvSpPr>
            <p:spPr>
              <a:xfrm>
                <a:off x="9925204" y="470705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endParaRPr lang="en-US" sz="1800" dirty="0"/>
              </a:p>
            </p:txBody>
          </p:sp>
          <p:sp>
            <p:nvSpPr>
              <p:cNvPr id="2198" name="Freeform 52">
                <a:extLst>
                  <a:ext uri="{FF2B5EF4-FFF2-40B4-BE49-F238E27FC236}">
                    <a16:creationId xmlns:a16="http://schemas.microsoft.com/office/drawing/2014/main" id="{AB51EFF2-F77D-CE79-4A28-8369F0A07549}"/>
                  </a:ext>
                </a:extLst>
              </p:cNvPr>
              <p:cNvSpPr/>
              <p:nvPr/>
            </p:nvSpPr>
            <p:spPr>
              <a:xfrm>
                <a:off x="10104480" y="470705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endParaRPr lang="en-US" sz="1800" dirty="0"/>
              </a:p>
            </p:txBody>
          </p:sp>
          <p:sp>
            <p:nvSpPr>
              <p:cNvPr id="2199" name="Freeform 53">
                <a:extLst>
                  <a:ext uri="{FF2B5EF4-FFF2-40B4-BE49-F238E27FC236}">
                    <a16:creationId xmlns:a16="http://schemas.microsoft.com/office/drawing/2014/main" id="{9008D078-A2B3-2D3E-B922-688601BB84F4}"/>
                  </a:ext>
                </a:extLst>
              </p:cNvPr>
              <p:cNvSpPr/>
              <p:nvPr/>
            </p:nvSpPr>
            <p:spPr>
              <a:xfrm>
                <a:off x="10283862" y="470705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endParaRPr lang="en-US" sz="1800" dirty="0"/>
              </a:p>
            </p:txBody>
          </p:sp>
          <p:sp>
            <p:nvSpPr>
              <p:cNvPr id="2200" name="Freeform 54">
                <a:extLst>
                  <a:ext uri="{FF2B5EF4-FFF2-40B4-BE49-F238E27FC236}">
                    <a16:creationId xmlns:a16="http://schemas.microsoft.com/office/drawing/2014/main" id="{B97A466C-ED3C-3591-2CC4-94BE5BDFBCC9}"/>
                  </a:ext>
                </a:extLst>
              </p:cNvPr>
              <p:cNvSpPr/>
              <p:nvPr/>
            </p:nvSpPr>
            <p:spPr>
              <a:xfrm>
                <a:off x="10463139" y="470705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endParaRPr lang="en-US" sz="1800" dirty="0"/>
              </a:p>
            </p:txBody>
          </p:sp>
          <p:sp>
            <p:nvSpPr>
              <p:cNvPr id="2201" name="Freeform 55">
                <a:extLst>
                  <a:ext uri="{FF2B5EF4-FFF2-40B4-BE49-F238E27FC236}">
                    <a16:creationId xmlns:a16="http://schemas.microsoft.com/office/drawing/2014/main" id="{2A996340-E87A-E89A-49E1-8C94F3A06FF6}"/>
                  </a:ext>
                </a:extLst>
              </p:cNvPr>
              <p:cNvSpPr/>
              <p:nvPr/>
            </p:nvSpPr>
            <p:spPr>
              <a:xfrm>
                <a:off x="10642397" y="470705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endParaRPr lang="en-US" sz="1800" dirty="0"/>
              </a:p>
            </p:txBody>
          </p:sp>
          <p:sp>
            <p:nvSpPr>
              <p:cNvPr id="2203" name="Freeform 57">
                <a:extLst>
                  <a:ext uri="{FF2B5EF4-FFF2-40B4-BE49-F238E27FC236}">
                    <a16:creationId xmlns:a16="http://schemas.microsoft.com/office/drawing/2014/main" id="{F2D33966-B898-9E48-74F7-5CF224603B45}"/>
                  </a:ext>
                </a:extLst>
              </p:cNvPr>
              <p:cNvSpPr/>
              <p:nvPr/>
            </p:nvSpPr>
            <p:spPr>
              <a:xfrm>
                <a:off x="2215588" y="4287125"/>
                <a:ext cx="31429" cy="17647"/>
              </a:xfrm>
              <a:custGeom>
                <a:avLst/>
                <a:gdLst>
                  <a:gd name="connsiteX0" fmla="*/ 31429 w 31429"/>
                  <a:gd name="connsiteY0" fmla="*/ 0 h 17647"/>
                  <a:gd name="connsiteX1" fmla="*/ 0 w 31429"/>
                  <a:gd name="connsiteY1" fmla="*/ 0 h 17647"/>
                </a:gdLst>
                <a:ahLst/>
                <a:cxnLst>
                  <a:cxn ang="0">
                    <a:pos x="connsiteX0" y="connsiteY0"/>
                  </a:cxn>
                  <a:cxn ang="0">
                    <a:pos x="connsiteX1" y="connsiteY1"/>
                  </a:cxn>
                </a:cxnLst>
                <a:rect l="l" t="t" r="r" b="b"/>
                <a:pathLst>
                  <a:path w="31429" h="17647">
                    <a:moveTo>
                      <a:pt x="31429" y="0"/>
                    </a:moveTo>
                    <a:lnTo>
                      <a:pt x="0" y="0"/>
                    </a:lnTo>
                  </a:path>
                </a:pathLst>
              </a:custGeom>
              <a:ln w="9624" cap="flat">
                <a:solidFill>
                  <a:srgbClr val="000000"/>
                </a:solidFill>
                <a:prstDash val="solid"/>
                <a:miter/>
              </a:ln>
            </p:spPr>
            <p:txBody>
              <a:bodyPr rtlCol="0" anchor="ctr"/>
              <a:lstStyle/>
              <a:p>
                <a:endParaRPr lang="en-US" sz="1800" dirty="0"/>
              </a:p>
            </p:txBody>
          </p:sp>
          <p:sp>
            <p:nvSpPr>
              <p:cNvPr id="2204" name="Freeform 58">
                <a:extLst>
                  <a:ext uri="{FF2B5EF4-FFF2-40B4-BE49-F238E27FC236}">
                    <a16:creationId xmlns:a16="http://schemas.microsoft.com/office/drawing/2014/main" id="{87FFD5AB-A363-AAB6-9590-E68781843F0D}"/>
                  </a:ext>
                </a:extLst>
              </p:cNvPr>
              <p:cNvSpPr/>
              <p:nvPr/>
            </p:nvSpPr>
            <p:spPr>
              <a:xfrm>
                <a:off x="2215588" y="3598362"/>
                <a:ext cx="31429" cy="17647"/>
              </a:xfrm>
              <a:custGeom>
                <a:avLst/>
                <a:gdLst>
                  <a:gd name="connsiteX0" fmla="*/ 31429 w 31429"/>
                  <a:gd name="connsiteY0" fmla="*/ 0 h 17647"/>
                  <a:gd name="connsiteX1" fmla="*/ 0 w 31429"/>
                  <a:gd name="connsiteY1" fmla="*/ 0 h 17647"/>
                </a:gdLst>
                <a:ahLst/>
                <a:cxnLst>
                  <a:cxn ang="0">
                    <a:pos x="connsiteX0" y="connsiteY0"/>
                  </a:cxn>
                  <a:cxn ang="0">
                    <a:pos x="connsiteX1" y="connsiteY1"/>
                  </a:cxn>
                </a:cxnLst>
                <a:rect l="l" t="t" r="r" b="b"/>
                <a:pathLst>
                  <a:path w="31429" h="17647">
                    <a:moveTo>
                      <a:pt x="31429" y="0"/>
                    </a:moveTo>
                    <a:lnTo>
                      <a:pt x="0" y="0"/>
                    </a:lnTo>
                  </a:path>
                </a:pathLst>
              </a:custGeom>
              <a:ln w="9624" cap="flat">
                <a:solidFill>
                  <a:srgbClr val="000000"/>
                </a:solidFill>
                <a:prstDash val="solid"/>
                <a:miter/>
              </a:ln>
            </p:spPr>
            <p:txBody>
              <a:bodyPr rtlCol="0" anchor="ctr"/>
              <a:lstStyle/>
              <a:p>
                <a:endParaRPr lang="en-US" sz="1800" dirty="0"/>
              </a:p>
            </p:txBody>
          </p:sp>
          <p:sp>
            <p:nvSpPr>
              <p:cNvPr id="2205" name="Freeform 59">
                <a:extLst>
                  <a:ext uri="{FF2B5EF4-FFF2-40B4-BE49-F238E27FC236}">
                    <a16:creationId xmlns:a16="http://schemas.microsoft.com/office/drawing/2014/main" id="{37CA66AC-4F8E-D408-9B21-2227CB3D5CA0}"/>
                  </a:ext>
                </a:extLst>
              </p:cNvPr>
              <p:cNvSpPr/>
              <p:nvPr/>
            </p:nvSpPr>
            <p:spPr>
              <a:xfrm>
                <a:off x="2215588" y="2909475"/>
                <a:ext cx="31429" cy="17647"/>
              </a:xfrm>
              <a:custGeom>
                <a:avLst/>
                <a:gdLst>
                  <a:gd name="connsiteX0" fmla="*/ 31429 w 31429"/>
                  <a:gd name="connsiteY0" fmla="*/ 0 h 17647"/>
                  <a:gd name="connsiteX1" fmla="*/ 0 w 31429"/>
                  <a:gd name="connsiteY1" fmla="*/ 0 h 17647"/>
                </a:gdLst>
                <a:ahLst/>
                <a:cxnLst>
                  <a:cxn ang="0">
                    <a:pos x="connsiteX0" y="connsiteY0"/>
                  </a:cxn>
                  <a:cxn ang="0">
                    <a:pos x="connsiteX1" y="connsiteY1"/>
                  </a:cxn>
                </a:cxnLst>
                <a:rect l="l" t="t" r="r" b="b"/>
                <a:pathLst>
                  <a:path w="31429" h="17647">
                    <a:moveTo>
                      <a:pt x="31429" y="0"/>
                    </a:moveTo>
                    <a:lnTo>
                      <a:pt x="0" y="0"/>
                    </a:lnTo>
                  </a:path>
                </a:pathLst>
              </a:custGeom>
              <a:ln w="9624" cap="flat">
                <a:solidFill>
                  <a:srgbClr val="000000"/>
                </a:solidFill>
                <a:prstDash val="solid"/>
                <a:miter/>
              </a:ln>
            </p:spPr>
            <p:txBody>
              <a:bodyPr rtlCol="0" anchor="ctr"/>
              <a:lstStyle/>
              <a:p>
                <a:endParaRPr lang="en-US" sz="1800" dirty="0"/>
              </a:p>
            </p:txBody>
          </p:sp>
          <p:sp>
            <p:nvSpPr>
              <p:cNvPr id="2206" name="Freeform 60">
                <a:extLst>
                  <a:ext uri="{FF2B5EF4-FFF2-40B4-BE49-F238E27FC236}">
                    <a16:creationId xmlns:a16="http://schemas.microsoft.com/office/drawing/2014/main" id="{DDC69830-F8F5-73F7-3B3F-752FEE7818F5}"/>
                  </a:ext>
                </a:extLst>
              </p:cNvPr>
              <p:cNvSpPr/>
              <p:nvPr/>
            </p:nvSpPr>
            <p:spPr>
              <a:xfrm>
                <a:off x="2215588" y="2220694"/>
                <a:ext cx="31429" cy="17647"/>
              </a:xfrm>
              <a:custGeom>
                <a:avLst/>
                <a:gdLst>
                  <a:gd name="connsiteX0" fmla="*/ 31429 w 31429"/>
                  <a:gd name="connsiteY0" fmla="*/ 0 h 17647"/>
                  <a:gd name="connsiteX1" fmla="*/ 0 w 31429"/>
                  <a:gd name="connsiteY1" fmla="*/ 0 h 17647"/>
                </a:gdLst>
                <a:ahLst/>
                <a:cxnLst>
                  <a:cxn ang="0">
                    <a:pos x="connsiteX0" y="connsiteY0"/>
                  </a:cxn>
                  <a:cxn ang="0">
                    <a:pos x="connsiteX1" y="connsiteY1"/>
                  </a:cxn>
                </a:cxnLst>
                <a:rect l="l" t="t" r="r" b="b"/>
                <a:pathLst>
                  <a:path w="31429" h="17647">
                    <a:moveTo>
                      <a:pt x="31429" y="0"/>
                    </a:moveTo>
                    <a:lnTo>
                      <a:pt x="0" y="0"/>
                    </a:lnTo>
                  </a:path>
                </a:pathLst>
              </a:custGeom>
              <a:ln w="9624" cap="flat">
                <a:solidFill>
                  <a:srgbClr val="000000"/>
                </a:solidFill>
                <a:prstDash val="solid"/>
                <a:miter/>
              </a:ln>
            </p:spPr>
            <p:txBody>
              <a:bodyPr rtlCol="0" anchor="ctr"/>
              <a:lstStyle/>
              <a:p>
                <a:endParaRPr lang="en-US" sz="1800" dirty="0"/>
              </a:p>
            </p:txBody>
          </p:sp>
          <p:sp>
            <p:nvSpPr>
              <p:cNvPr id="2207" name="Freeform 61">
                <a:extLst>
                  <a:ext uri="{FF2B5EF4-FFF2-40B4-BE49-F238E27FC236}">
                    <a16:creationId xmlns:a16="http://schemas.microsoft.com/office/drawing/2014/main" id="{0F8CF164-8475-1B42-73E9-BE405E1FBBA5}"/>
                  </a:ext>
                </a:extLst>
              </p:cNvPr>
              <p:cNvSpPr/>
              <p:nvPr/>
            </p:nvSpPr>
            <p:spPr>
              <a:xfrm>
                <a:off x="2215588" y="1531930"/>
                <a:ext cx="31429" cy="17647"/>
              </a:xfrm>
              <a:custGeom>
                <a:avLst/>
                <a:gdLst>
                  <a:gd name="connsiteX0" fmla="*/ 31429 w 31429"/>
                  <a:gd name="connsiteY0" fmla="*/ 0 h 17647"/>
                  <a:gd name="connsiteX1" fmla="*/ 0 w 31429"/>
                  <a:gd name="connsiteY1" fmla="*/ 0 h 17647"/>
                </a:gdLst>
                <a:ahLst/>
                <a:cxnLst>
                  <a:cxn ang="0">
                    <a:pos x="connsiteX0" y="connsiteY0"/>
                  </a:cxn>
                  <a:cxn ang="0">
                    <a:pos x="connsiteX1" y="connsiteY1"/>
                  </a:cxn>
                </a:cxnLst>
                <a:rect l="l" t="t" r="r" b="b"/>
                <a:pathLst>
                  <a:path w="31429" h="17647">
                    <a:moveTo>
                      <a:pt x="31429" y="0"/>
                    </a:moveTo>
                    <a:lnTo>
                      <a:pt x="0" y="0"/>
                    </a:lnTo>
                  </a:path>
                </a:pathLst>
              </a:custGeom>
              <a:ln w="9624" cap="flat">
                <a:solidFill>
                  <a:srgbClr val="000000"/>
                </a:solidFill>
                <a:prstDash val="solid"/>
                <a:miter/>
              </a:ln>
            </p:spPr>
            <p:txBody>
              <a:bodyPr rtlCol="0" anchor="ctr"/>
              <a:lstStyle/>
              <a:p>
                <a:endParaRPr lang="en-US" sz="1800" dirty="0"/>
              </a:p>
            </p:txBody>
          </p:sp>
          <p:sp>
            <p:nvSpPr>
              <p:cNvPr id="2208" name="Freeform 62">
                <a:extLst>
                  <a:ext uri="{FF2B5EF4-FFF2-40B4-BE49-F238E27FC236}">
                    <a16:creationId xmlns:a16="http://schemas.microsoft.com/office/drawing/2014/main" id="{D8D823B8-0ED8-7684-BA4B-B2425C33B847}"/>
                  </a:ext>
                </a:extLst>
              </p:cNvPr>
              <p:cNvSpPr/>
              <p:nvPr/>
            </p:nvSpPr>
            <p:spPr>
              <a:xfrm>
                <a:off x="2184177" y="4631507"/>
                <a:ext cx="62841" cy="17647"/>
              </a:xfrm>
              <a:custGeom>
                <a:avLst/>
                <a:gdLst>
                  <a:gd name="connsiteX0" fmla="*/ 62841 w 62841"/>
                  <a:gd name="connsiteY0" fmla="*/ 0 h 17647"/>
                  <a:gd name="connsiteX1" fmla="*/ 0 w 62841"/>
                  <a:gd name="connsiteY1" fmla="*/ 0 h 17647"/>
                </a:gdLst>
                <a:ahLst/>
                <a:cxnLst>
                  <a:cxn ang="0">
                    <a:pos x="connsiteX0" y="connsiteY0"/>
                  </a:cxn>
                  <a:cxn ang="0">
                    <a:pos x="connsiteX1" y="connsiteY1"/>
                  </a:cxn>
                </a:cxnLst>
                <a:rect l="l" t="t" r="r" b="b"/>
                <a:pathLst>
                  <a:path w="62841" h="17647">
                    <a:moveTo>
                      <a:pt x="62841" y="0"/>
                    </a:moveTo>
                    <a:lnTo>
                      <a:pt x="0" y="0"/>
                    </a:lnTo>
                  </a:path>
                </a:pathLst>
              </a:custGeom>
              <a:ln w="9624" cap="flat">
                <a:solidFill>
                  <a:srgbClr val="000000"/>
                </a:solidFill>
                <a:prstDash val="solid"/>
                <a:miter/>
              </a:ln>
            </p:spPr>
            <p:txBody>
              <a:bodyPr rtlCol="0" anchor="ctr"/>
              <a:lstStyle/>
              <a:p>
                <a:endParaRPr lang="en-US" sz="1800" dirty="0"/>
              </a:p>
            </p:txBody>
          </p:sp>
          <p:sp>
            <p:nvSpPr>
              <p:cNvPr id="2209" name="Freeform 63">
                <a:extLst>
                  <a:ext uri="{FF2B5EF4-FFF2-40B4-BE49-F238E27FC236}">
                    <a16:creationId xmlns:a16="http://schemas.microsoft.com/office/drawing/2014/main" id="{5FB501C8-61E8-7995-4A42-3A03F5FB2357}"/>
                  </a:ext>
                </a:extLst>
              </p:cNvPr>
              <p:cNvSpPr/>
              <p:nvPr/>
            </p:nvSpPr>
            <p:spPr>
              <a:xfrm>
                <a:off x="2184177" y="3942744"/>
                <a:ext cx="62841" cy="17647"/>
              </a:xfrm>
              <a:custGeom>
                <a:avLst/>
                <a:gdLst>
                  <a:gd name="connsiteX0" fmla="*/ 62841 w 62841"/>
                  <a:gd name="connsiteY0" fmla="*/ 0 h 17647"/>
                  <a:gd name="connsiteX1" fmla="*/ 0 w 62841"/>
                  <a:gd name="connsiteY1" fmla="*/ 0 h 17647"/>
                </a:gdLst>
                <a:ahLst/>
                <a:cxnLst>
                  <a:cxn ang="0">
                    <a:pos x="connsiteX0" y="connsiteY0"/>
                  </a:cxn>
                  <a:cxn ang="0">
                    <a:pos x="connsiteX1" y="connsiteY1"/>
                  </a:cxn>
                </a:cxnLst>
                <a:rect l="l" t="t" r="r" b="b"/>
                <a:pathLst>
                  <a:path w="62841" h="17647">
                    <a:moveTo>
                      <a:pt x="62841" y="0"/>
                    </a:moveTo>
                    <a:lnTo>
                      <a:pt x="0" y="0"/>
                    </a:lnTo>
                  </a:path>
                </a:pathLst>
              </a:custGeom>
              <a:ln w="9624" cap="flat">
                <a:solidFill>
                  <a:srgbClr val="000000"/>
                </a:solidFill>
                <a:prstDash val="solid"/>
                <a:miter/>
              </a:ln>
            </p:spPr>
            <p:txBody>
              <a:bodyPr rtlCol="0" anchor="ctr"/>
              <a:lstStyle/>
              <a:p>
                <a:endParaRPr lang="en-US" sz="1800" dirty="0"/>
              </a:p>
            </p:txBody>
          </p:sp>
          <p:sp>
            <p:nvSpPr>
              <p:cNvPr id="2210" name="Freeform 64">
                <a:extLst>
                  <a:ext uri="{FF2B5EF4-FFF2-40B4-BE49-F238E27FC236}">
                    <a16:creationId xmlns:a16="http://schemas.microsoft.com/office/drawing/2014/main" id="{180C6CDE-947C-1EBA-5526-D15E2A084F6B}"/>
                  </a:ext>
                </a:extLst>
              </p:cNvPr>
              <p:cNvSpPr/>
              <p:nvPr/>
            </p:nvSpPr>
            <p:spPr>
              <a:xfrm>
                <a:off x="2184177" y="3253857"/>
                <a:ext cx="62841" cy="17647"/>
              </a:xfrm>
              <a:custGeom>
                <a:avLst/>
                <a:gdLst>
                  <a:gd name="connsiteX0" fmla="*/ 62841 w 62841"/>
                  <a:gd name="connsiteY0" fmla="*/ 0 h 17647"/>
                  <a:gd name="connsiteX1" fmla="*/ 0 w 62841"/>
                  <a:gd name="connsiteY1" fmla="*/ 0 h 17647"/>
                </a:gdLst>
                <a:ahLst/>
                <a:cxnLst>
                  <a:cxn ang="0">
                    <a:pos x="connsiteX0" y="connsiteY0"/>
                  </a:cxn>
                  <a:cxn ang="0">
                    <a:pos x="connsiteX1" y="connsiteY1"/>
                  </a:cxn>
                </a:cxnLst>
                <a:rect l="l" t="t" r="r" b="b"/>
                <a:pathLst>
                  <a:path w="62841" h="17647">
                    <a:moveTo>
                      <a:pt x="62841" y="0"/>
                    </a:moveTo>
                    <a:lnTo>
                      <a:pt x="0" y="0"/>
                    </a:lnTo>
                  </a:path>
                </a:pathLst>
              </a:custGeom>
              <a:ln w="9624" cap="flat">
                <a:solidFill>
                  <a:srgbClr val="000000"/>
                </a:solidFill>
                <a:prstDash val="solid"/>
                <a:miter/>
              </a:ln>
            </p:spPr>
            <p:txBody>
              <a:bodyPr rtlCol="0" anchor="ctr"/>
              <a:lstStyle/>
              <a:p>
                <a:endParaRPr lang="en-US" sz="1800" dirty="0"/>
              </a:p>
            </p:txBody>
          </p:sp>
          <p:sp>
            <p:nvSpPr>
              <p:cNvPr id="2211" name="Freeform 65">
                <a:extLst>
                  <a:ext uri="{FF2B5EF4-FFF2-40B4-BE49-F238E27FC236}">
                    <a16:creationId xmlns:a16="http://schemas.microsoft.com/office/drawing/2014/main" id="{F97DE2B5-79F1-67BD-6C36-3980C7FAC557}"/>
                  </a:ext>
                </a:extLst>
              </p:cNvPr>
              <p:cNvSpPr/>
              <p:nvPr/>
            </p:nvSpPr>
            <p:spPr>
              <a:xfrm>
                <a:off x="2184177" y="2565093"/>
                <a:ext cx="62841" cy="17647"/>
              </a:xfrm>
              <a:custGeom>
                <a:avLst/>
                <a:gdLst>
                  <a:gd name="connsiteX0" fmla="*/ 62841 w 62841"/>
                  <a:gd name="connsiteY0" fmla="*/ 0 h 17647"/>
                  <a:gd name="connsiteX1" fmla="*/ 0 w 62841"/>
                  <a:gd name="connsiteY1" fmla="*/ 0 h 17647"/>
                </a:gdLst>
                <a:ahLst/>
                <a:cxnLst>
                  <a:cxn ang="0">
                    <a:pos x="connsiteX0" y="connsiteY0"/>
                  </a:cxn>
                  <a:cxn ang="0">
                    <a:pos x="connsiteX1" y="connsiteY1"/>
                  </a:cxn>
                </a:cxnLst>
                <a:rect l="l" t="t" r="r" b="b"/>
                <a:pathLst>
                  <a:path w="62841" h="17647">
                    <a:moveTo>
                      <a:pt x="62841" y="0"/>
                    </a:moveTo>
                    <a:lnTo>
                      <a:pt x="0" y="0"/>
                    </a:lnTo>
                  </a:path>
                </a:pathLst>
              </a:custGeom>
              <a:ln w="9624" cap="flat">
                <a:solidFill>
                  <a:srgbClr val="000000"/>
                </a:solidFill>
                <a:prstDash val="solid"/>
                <a:miter/>
              </a:ln>
            </p:spPr>
            <p:txBody>
              <a:bodyPr rtlCol="0" anchor="ctr"/>
              <a:lstStyle/>
              <a:p>
                <a:endParaRPr lang="en-US" sz="1800" dirty="0"/>
              </a:p>
            </p:txBody>
          </p:sp>
          <p:sp>
            <p:nvSpPr>
              <p:cNvPr id="2212" name="Freeform 66">
                <a:extLst>
                  <a:ext uri="{FF2B5EF4-FFF2-40B4-BE49-F238E27FC236}">
                    <a16:creationId xmlns:a16="http://schemas.microsoft.com/office/drawing/2014/main" id="{40FE21D6-4630-8C76-D829-A63E4140AF20}"/>
                  </a:ext>
                </a:extLst>
              </p:cNvPr>
              <p:cNvSpPr/>
              <p:nvPr/>
            </p:nvSpPr>
            <p:spPr>
              <a:xfrm>
                <a:off x="2184177" y="1876312"/>
                <a:ext cx="62841" cy="17647"/>
              </a:xfrm>
              <a:custGeom>
                <a:avLst/>
                <a:gdLst>
                  <a:gd name="connsiteX0" fmla="*/ 62841 w 62841"/>
                  <a:gd name="connsiteY0" fmla="*/ 0 h 17647"/>
                  <a:gd name="connsiteX1" fmla="*/ 0 w 62841"/>
                  <a:gd name="connsiteY1" fmla="*/ 0 h 17647"/>
                </a:gdLst>
                <a:ahLst/>
                <a:cxnLst>
                  <a:cxn ang="0">
                    <a:pos x="connsiteX0" y="connsiteY0"/>
                  </a:cxn>
                  <a:cxn ang="0">
                    <a:pos x="connsiteX1" y="connsiteY1"/>
                  </a:cxn>
                </a:cxnLst>
                <a:rect l="l" t="t" r="r" b="b"/>
                <a:pathLst>
                  <a:path w="62841" h="17647">
                    <a:moveTo>
                      <a:pt x="62841" y="0"/>
                    </a:moveTo>
                    <a:lnTo>
                      <a:pt x="0" y="0"/>
                    </a:lnTo>
                  </a:path>
                </a:pathLst>
              </a:custGeom>
              <a:ln w="9624" cap="flat">
                <a:solidFill>
                  <a:srgbClr val="000000"/>
                </a:solidFill>
                <a:prstDash val="solid"/>
                <a:miter/>
              </a:ln>
            </p:spPr>
            <p:txBody>
              <a:bodyPr rtlCol="0" anchor="ctr"/>
              <a:lstStyle/>
              <a:p>
                <a:endParaRPr lang="en-US" sz="1800" dirty="0"/>
              </a:p>
            </p:txBody>
          </p:sp>
          <p:sp>
            <p:nvSpPr>
              <p:cNvPr id="2213" name="Freeform 67">
                <a:extLst>
                  <a:ext uri="{FF2B5EF4-FFF2-40B4-BE49-F238E27FC236}">
                    <a16:creationId xmlns:a16="http://schemas.microsoft.com/office/drawing/2014/main" id="{0CA5C314-9ED1-A318-726D-82841BF1779B}"/>
                  </a:ext>
                </a:extLst>
              </p:cNvPr>
              <p:cNvSpPr/>
              <p:nvPr/>
            </p:nvSpPr>
            <p:spPr>
              <a:xfrm>
                <a:off x="2184177" y="1187548"/>
                <a:ext cx="62841" cy="17647"/>
              </a:xfrm>
              <a:custGeom>
                <a:avLst/>
                <a:gdLst>
                  <a:gd name="connsiteX0" fmla="*/ 62841 w 62841"/>
                  <a:gd name="connsiteY0" fmla="*/ 0 h 17647"/>
                  <a:gd name="connsiteX1" fmla="*/ 0 w 62841"/>
                  <a:gd name="connsiteY1" fmla="*/ 0 h 17647"/>
                </a:gdLst>
                <a:ahLst/>
                <a:cxnLst>
                  <a:cxn ang="0">
                    <a:pos x="connsiteX0" y="connsiteY0"/>
                  </a:cxn>
                  <a:cxn ang="0">
                    <a:pos x="connsiteX1" y="connsiteY1"/>
                  </a:cxn>
                </a:cxnLst>
                <a:rect l="l" t="t" r="r" b="b"/>
                <a:pathLst>
                  <a:path w="62841" h="17647">
                    <a:moveTo>
                      <a:pt x="62841" y="0"/>
                    </a:moveTo>
                    <a:lnTo>
                      <a:pt x="0" y="0"/>
                    </a:lnTo>
                  </a:path>
                </a:pathLst>
              </a:custGeom>
              <a:ln w="9624" cap="flat">
                <a:solidFill>
                  <a:srgbClr val="000000"/>
                </a:solidFill>
                <a:prstDash val="solid"/>
                <a:miter/>
              </a:ln>
            </p:spPr>
            <p:txBody>
              <a:bodyPr rtlCol="0" anchor="ctr"/>
              <a:lstStyle/>
              <a:p>
                <a:endParaRPr lang="en-US" sz="1800" dirty="0"/>
              </a:p>
            </p:txBody>
          </p:sp>
        </p:grpSp>
        <p:grpSp>
          <p:nvGrpSpPr>
            <p:cNvPr id="2214" name="Graphic 4">
              <a:extLst>
                <a:ext uri="{FF2B5EF4-FFF2-40B4-BE49-F238E27FC236}">
                  <a16:creationId xmlns:a16="http://schemas.microsoft.com/office/drawing/2014/main" id="{BA34766F-BC1E-832F-A03A-ADE01C3E74F4}"/>
                </a:ext>
              </a:extLst>
            </p:cNvPr>
            <p:cNvGrpSpPr/>
            <p:nvPr/>
          </p:nvGrpSpPr>
          <p:grpSpPr>
            <a:xfrm>
              <a:off x="1511078" y="1130306"/>
              <a:ext cx="9352504" cy="4822113"/>
              <a:chOff x="1511078" y="1058111"/>
              <a:chExt cx="9352504" cy="4822113"/>
            </a:xfrm>
            <a:solidFill>
              <a:srgbClr val="000000"/>
            </a:solidFill>
          </p:grpSpPr>
          <p:sp>
            <p:nvSpPr>
              <p:cNvPr id="2215" name="TextBox 2214">
                <a:extLst>
                  <a:ext uri="{FF2B5EF4-FFF2-40B4-BE49-F238E27FC236}">
                    <a16:creationId xmlns:a16="http://schemas.microsoft.com/office/drawing/2014/main" id="{FDAE643D-2D24-A34C-2513-55A18E5BD08A}"/>
                  </a:ext>
                </a:extLst>
              </p:cNvPr>
              <p:cNvSpPr txBox="1"/>
              <p:nvPr/>
            </p:nvSpPr>
            <p:spPr>
              <a:xfrm rot="16200000">
                <a:off x="-16338" y="2669012"/>
                <a:ext cx="3447952" cy="337101"/>
              </a:xfrm>
              <a:prstGeom prst="rect">
                <a:avLst/>
              </a:prstGeom>
              <a:noFill/>
            </p:spPr>
            <p:txBody>
              <a:bodyPr wrap="none" rtlCol="0">
                <a:spAutoFit/>
              </a:bodyPr>
              <a:lstStyle/>
              <a:p>
                <a:pPr algn="l"/>
                <a:r>
                  <a:rPr lang="en-US" sz="1043" dirty="0">
                    <a:ln/>
                    <a:solidFill>
                      <a:srgbClr val="000000"/>
                    </a:solidFill>
                    <a:latin typeface="HelveticaNeueLTStd-Bd"/>
                    <a:sym typeface="HelveticaNeueLTStd-Bd"/>
                    <a:rtl val="0"/>
                  </a:rPr>
                  <a:t>Progression-Free Survival Probability, %</a:t>
                </a:r>
              </a:p>
            </p:txBody>
          </p:sp>
          <p:sp>
            <p:nvSpPr>
              <p:cNvPr id="2216" name="TextBox 2215">
                <a:extLst>
                  <a:ext uri="{FF2B5EF4-FFF2-40B4-BE49-F238E27FC236}">
                    <a16:creationId xmlns:a16="http://schemas.microsoft.com/office/drawing/2014/main" id="{4BFAD995-F504-E861-6DA9-06620A574D49}"/>
                  </a:ext>
                </a:extLst>
              </p:cNvPr>
              <p:cNvSpPr txBox="1"/>
              <p:nvPr/>
            </p:nvSpPr>
            <p:spPr>
              <a:xfrm>
                <a:off x="5823212" y="5101697"/>
                <a:ext cx="1325577" cy="337101"/>
              </a:xfrm>
              <a:prstGeom prst="rect">
                <a:avLst/>
              </a:prstGeom>
              <a:noFill/>
            </p:spPr>
            <p:txBody>
              <a:bodyPr wrap="none" rtlCol="0">
                <a:spAutoFit/>
              </a:bodyPr>
              <a:lstStyle/>
              <a:p>
                <a:pPr algn="l"/>
                <a:r>
                  <a:rPr lang="en-US" sz="1043" dirty="0">
                    <a:ln/>
                    <a:solidFill>
                      <a:srgbClr val="000000"/>
                    </a:solidFill>
                    <a:latin typeface="HelveticaNeueLTStd-Bd"/>
                    <a:sym typeface="HelveticaNeueLTStd-Bd"/>
                    <a:rtl val="0"/>
                  </a:rPr>
                  <a:t>Time, months</a:t>
                </a:r>
              </a:p>
            </p:txBody>
          </p:sp>
          <p:sp>
            <p:nvSpPr>
              <p:cNvPr id="2217" name="TextBox 2216">
                <a:extLst>
                  <a:ext uri="{FF2B5EF4-FFF2-40B4-BE49-F238E27FC236}">
                    <a16:creationId xmlns:a16="http://schemas.microsoft.com/office/drawing/2014/main" id="{29DF6F6A-DEFB-645C-EE87-D1395D283CC9}"/>
                  </a:ext>
                </a:extLst>
              </p:cNvPr>
              <p:cNvSpPr txBox="1"/>
              <p:nvPr/>
            </p:nvSpPr>
            <p:spPr>
              <a:xfrm>
                <a:off x="1523318" y="5173892"/>
                <a:ext cx="1432444" cy="294268"/>
              </a:xfrm>
              <a:prstGeom prst="rect">
                <a:avLst/>
              </a:prstGeom>
              <a:noFill/>
            </p:spPr>
            <p:txBody>
              <a:bodyPr wrap="none" rtlCol="0">
                <a:spAutoFit/>
              </a:bodyPr>
              <a:lstStyle/>
              <a:p>
                <a:pPr algn="l"/>
                <a:r>
                  <a:rPr lang="en-US" sz="834" dirty="0">
                    <a:ln/>
                    <a:solidFill>
                      <a:srgbClr val="000000"/>
                    </a:solidFill>
                    <a:latin typeface="HelveticaNeueLTStd-Bd"/>
                    <a:sym typeface="HelveticaNeueLTStd-Bd"/>
                    <a:rtl val="0"/>
                  </a:rPr>
                  <a:t>Patients still at risk</a:t>
                </a:r>
              </a:p>
            </p:txBody>
          </p:sp>
          <p:sp>
            <p:nvSpPr>
              <p:cNvPr id="2218" name="TextBox 2217">
                <a:extLst>
                  <a:ext uri="{FF2B5EF4-FFF2-40B4-BE49-F238E27FC236}">
                    <a16:creationId xmlns:a16="http://schemas.microsoft.com/office/drawing/2014/main" id="{EB7695E2-94C7-7D22-3891-971F6739BC47}"/>
                  </a:ext>
                </a:extLst>
              </p:cNvPr>
              <p:cNvSpPr txBox="1"/>
              <p:nvPr/>
            </p:nvSpPr>
            <p:spPr>
              <a:xfrm rot="5636">
                <a:off x="1614479" y="5624171"/>
                <a:ext cx="757045" cy="256053"/>
              </a:xfrm>
              <a:prstGeom prst="rect">
                <a:avLst/>
              </a:prstGeom>
              <a:noFill/>
            </p:spPr>
            <p:txBody>
              <a:bodyPr wrap="none" rtlCol="0">
                <a:spAutoFit/>
              </a:bodyPr>
              <a:lstStyle/>
              <a:p>
                <a:pPr algn="l"/>
                <a:r>
                  <a:rPr lang="en-US" sz="648" dirty="0">
                    <a:ln/>
                    <a:solidFill>
                      <a:srgbClr val="000000"/>
                    </a:solidFill>
                    <a:latin typeface="HelveticaNeue"/>
                    <a:ea typeface="HelveticaNeue"/>
                    <a:cs typeface="HelveticaNeue"/>
                    <a:sym typeface="HelveticaNeue"/>
                    <a:rtl val="0"/>
                  </a:rPr>
                  <a:t>TPC (202)</a:t>
                </a:r>
              </a:p>
            </p:txBody>
          </p:sp>
          <p:sp>
            <p:nvSpPr>
              <p:cNvPr id="2219" name="TextBox 2218">
                <a:extLst>
                  <a:ext uri="{FF2B5EF4-FFF2-40B4-BE49-F238E27FC236}">
                    <a16:creationId xmlns:a16="http://schemas.microsoft.com/office/drawing/2014/main" id="{5947DCD8-28C3-81E8-360A-02F5F98ADB33}"/>
                  </a:ext>
                </a:extLst>
              </p:cNvPr>
              <p:cNvSpPr txBox="1"/>
              <p:nvPr/>
            </p:nvSpPr>
            <p:spPr>
              <a:xfrm rot="5636">
                <a:off x="2196931" y="5644696"/>
                <a:ext cx="400109"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202</a:t>
                </a:r>
              </a:p>
            </p:txBody>
          </p:sp>
          <p:sp>
            <p:nvSpPr>
              <p:cNvPr id="2220" name="TextBox 2219">
                <a:extLst>
                  <a:ext uri="{FF2B5EF4-FFF2-40B4-BE49-F238E27FC236}">
                    <a16:creationId xmlns:a16="http://schemas.microsoft.com/office/drawing/2014/main" id="{982F25AB-3F67-D562-C8D2-614001D70034}"/>
                  </a:ext>
                </a:extLst>
              </p:cNvPr>
              <p:cNvSpPr txBox="1"/>
              <p:nvPr/>
            </p:nvSpPr>
            <p:spPr>
              <a:xfrm rot="5636">
                <a:off x="2196931" y="5460249"/>
                <a:ext cx="400109"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406</a:t>
                </a:r>
              </a:p>
            </p:txBody>
          </p:sp>
          <p:sp>
            <p:nvSpPr>
              <p:cNvPr id="2221" name="TextBox 2220">
                <a:extLst>
                  <a:ext uri="{FF2B5EF4-FFF2-40B4-BE49-F238E27FC236}">
                    <a16:creationId xmlns:a16="http://schemas.microsoft.com/office/drawing/2014/main" id="{4FA27B91-27AB-0D22-8D3F-685B8D6F4B04}"/>
                  </a:ext>
                </a:extLst>
              </p:cNvPr>
              <p:cNvSpPr txBox="1"/>
              <p:nvPr/>
            </p:nvSpPr>
            <p:spPr>
              <a:xfrm rot="5636">
                <a:off x="2376297" y="5644696"/>
                <a:ext cx="400109"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180</a:t>
                </a:r>
              </a:p>
            </p:txBody>
          </p:sp>
          <p:sp>
            <p:nvSpPr>
              <p:cNvPr id="2222" name="TextBox 2221">
                <a:extLst>
                  <a:ext uri="{FF2B5EF4-FFF2-40B4-BE49-F238E27FC236}">
                    <a16:creationId xmlns:a16="http://schemas.microsoft.com/office/drawing/2014/main" id="{A9AAD30D-5A80-D796-9152-17CA2BD5EEE3}"/>
                  </a:ext>
                </a:extLst>
              </p:cNvPr>
              <p:cNvSpPr txBox="1"/>
              <p:nvPr/>
            </p:nvSpPr>
            <p:spPr>
              <a:xfrm rot="5636">
                <a:off x="2555661" y="5644696"/>
                <a:ext cx="400109"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148</a:t>
                </a:r>
              </a:p>
            </p:txBody>
          </p:sp>
          <p:sp>
            <p:nvSpPr>
              <p:cNvPr id="2223" name="TextBox 2222">
                <a:extLst>
                  <a:ext uri="{FF2B5EF4-FFF2-40B4-BE49-F238E27FC236}">
                    <a16:creationId xmlns:a16="http://schemas.microsoft.com/office/drawing/2014/main" id="{04140734-DAA5-4651-D5CD-19C7097F0070}"/>
                  </a:ext>
                </a:extLst>
              </p:cNvPr>
              <p:cNvSpPr txBox="1"/>
              <p:nvPr/>
            </p:nvSpPr>
            <p:spPr>
              <a:xfrm rot="5636">
                <a:off x="2735027" y="5644696"/>
                <a:ext cx="400109"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126</a:t>
                </a:r>
              </a:p>
            </p:txBody>
          </p:sp>
          <p:sp>
            <p:nvSpPr>
              <p:cNvPr id="2224" name="TextBox 2223">
                <a:extLst>
                  <a:ext uri="{FF2B5EF4-FFF2-40B4-BE49-F238E27FC236}">
                    <a16:creationId xmlns:a16="http://schemas.microsoft.com/office/drawing/2014/main" id="{267ACBCF-5792-D321-ED87-CE376D3E75B5}"/>
                  </a:ext>
                </a:extLst>
              </p:cNvPr>
              <p:cNvSpPr txBox="1"/>
              <p:nvPr/>
            </p:nvSpPr>
            <p:spPr>
              <a:xfrm rot="5636">
                <a:off x="2914375" y="5644696"/>
                <a:ext cx="400109"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118</a:t>
                </a:r>
              </a:p>
            </p:txBody>
          </p:sp>
          <p:sp>
            <p:nvSpPr>
              <p:cNvPr id="2225" name="TextBox 2224">
                <a:extLst>
                  <a:ext uri="{FF2B5EF4-FFF2-40B4-BE49-F238E27FC236}">
                    <a16:creationId xmlns:a16="http://schemas.microsoft.com/office/drawing/2014/main" id="{3ECE537B-3896-DB91-91E1-B3C0E7217558}"/>
                  </a:ext>
                </a:extLst>
              </p:cNvPr>
              <p:cNvSpPr txBox="1"/>
              <p:nvPr/>
            </p:nvSpPr>
            <p:spPr>
              <a:xfrm rot="5636">
                <a:off x="3119201" y="5644651"/>
                <a:ext cx="348813"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95</a:t>
                </a:r>
              </a:p>
            </p:txBody>
          </p:sp>
          <p:sp>
            <p:nvSpPr>
              <p:cNvPr id="2226" name="TextBox 2225">
                <a:extLst>
                  <a:ext uri="{FF2B5EF4-FFF2-40B4-BE49-F238E27FC236}">
                    <a16:creationId xmlns:a16="http://schemas.microsoft.com/office/drawing/2014/main" id="{1997B0D4-B184-78D5-2C3A-2623525BCA00}"/>
                  </a:ext>
                </a:extLst>
              </p:cNvPr>
              <p:cNvSpPr txBox="1"/>
              <p:nvPr/>
            </p:nvSpPr>
            <p:spPr>
              <a:xfrm rot="5636">
                <a:off x="3298566" y="5644651"/>
                <a:ext cx="348813"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78</a:t>
                </a:r>
              </a:p>
            </p:txBody>
          </p:sp>
          <p:sp>
            <p:nvSpPr>
              <p:cNvPr id="2227" name="TextBox 2226">
                <a:extLst>
                  <a:ext uri="{FF2B5EF4-FFF2-40B4-BE49-F238E27FC236}">
                    <a16:creationId xmlns:a16="http://schemas.microsoft.com/office/drawing/2014/main" id="{674EDB15-7FD5-4D52-FDED-117BD6BE9DEE}"/>
                  </a:ext>
                </a:extLst>
              </p:cNvPr>
              <p:cNvSpPr txBox="1"/>
              <p:nvPr/>
            </p:nvSpPr>
            <p:spPr>
              <a:xfrm rot="5636">
                <a:off x="3477930" y="5644651"/>
                <a:ext cx="348813"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72</a:t>
                </a:r>
              </a:p>
            </p:txBody>
          </p:sp>
          <p:sp>
            <p:nvSpPr>
              <p:cNvPr id="2228" name="TextBox 2227">
                <a:extLst>
                  <a:ext uri="{FF2B5EF4-FFF2-40B4-BE49-F238E27FC236}">
                    <a16:creationId xmlns:a16="http://schemas.microsoft.com/office/drawing/2014/main" id="{FA466474-A0A7-19F8-9D0D-677877FD7F9C}"/>
                  </a:ext>
                </a:extLst>
              </p:cNvPr>
              <p:cNvSpPr txBox="1"/>
              <p:nvPr/>
            </p:nvSpPr>
            <p:spPr>
              <a:xfrm rot="5636">
                <a:off x="3657295" y="5644651"/>
                <a:ext cx="348813"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64</a:t>
                </a:r>
              </a:p>
            </p:txBody>
          </p:sp>
          <p:sp>
            <p:nvSpPr>
              <p:cNvPr id="2229" name="TextBox 2228">
                <a:extLst>
                  <a:ext uri="{FF2B5EF4-FFF2-40B4-BE49-F238E27FC236}">
                    <a16:creationId xmlns:a16="http://schemas.microsoft.com/office/drawing/2014/main" id="{2E9CD28E-864E-ACF8-CDE7-06EF7C655CE5}"/>
                  </a:ext>
                </a:extLst>
              </p:cNvPr>
              <p:cNvSpPr txBox="1"/>
              <p:nvPr/>
            </p:nvSpPr>
            <p:spPr>
              <a:xfrm rot="5636">
                <a:off x="3836659" y="5644651"/>
                <a:ext cx="348813"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48</a:t>
                </a:r>
              </a:p>
            </p:txBody>
          </p:sp>
          <p:sp>
            <p:nvSpPr>
              <p:cNvPr id="2230" name="TextBox 2229">
                <a:extLst>
                  <a:ext uri="{FF2B5EF4-FFF2-40B4-BE49-F238E27FC236}">
                    <a16:creationId xmlns:a16="http://schemas.microsoft.com/office/drawing/2014/main" id="{8FEBFD8F-8A20-DD76-973A-483518AE7CBA}"/>
                  </a:ext>
                </a:extLst>
              </p:cNvPr>
              <p:cNvSpPr txBox="1"/>
              <p:nvPr/>
            </p:nvSpPr>
            <p:spPr>
              <a:xfrm rot="5636">
                <a:off x="4016023" y="5644651"/>
                <a:ext cx="348813"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39</a:t>
                </a:r>
              </a:p>
            </p:txBody>
          </p:sp>
          <p:sp>
            <p:nvSpPr>
              <p:cNvPr id="2231" name="TextBox 2230">
                <a:extLst>
                  <a:ext uri="{FF2B5EF4-FFF2-40B4-BE49-F238E27FC236}">
                    <a16:creationId xmlns:a16="http://schemas.microsoft.com/office/drawing/2014/main" id="{AD4B395E-2391-2901-E449-4BF9DAEEB0C2}"/>
                  </a:ext>
                </a:extLst>
              </p:cNvPr>
              <p:cNvSpPr txBox="1"/>
              <p:nvPr/>
            </p:nvSpPr>
            <p:spPr>
              <a:xfrm rot="5636">
                <a:off x="4195387" y="5644651"/>
                <a:ext cx="348813"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37</a:t>
                </a:r>
              </a:p>
            </p:txBody>
          </p:sp>
          <p:sp>
            <p:nvSpPr>
              <p:cNvPr id="2232" name="TextBox 2231">
                <a:extLst>
                  <a:ext uri="{FF2B5EF4-FFF2-40B4-BE49-F238E27FC236}">
                    <a16:creationId xmlns:a16="http://schemas.microsoft.com/office/drawing/2014/main" id="{7A33753D-01F7-D203-62BA-1D5D2E5BCB61}"/>
                  </a:ext>
                </a:extLst>
              </p:cNvPr>
              <p:cNvSpPr txBox="1"/>
              <p:nvPr/>
            </p:nvSpPr>
            <p:spPr>
              <a:xfrm rot="5636">
                <a:off x="4374751" y="5644651"/>
                <a:ext cx="348813"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32</a:t>
                </a:r>
              </a:p>
            </p:txBody>
          </p:sp>
          <p:sp>
            <p:nvSpPr>
              <p:cNvPr id="2233" name="TextBox 2232">
                <a:extLst>
                  <a:ext uri="{FF2B5EF4-FFF2-40B4-BE49-F238E27FC236}">
                    <a16:creationId xmlns:a16="http://schemas.microsoft.com/office/drawing/2014/main" id="{7D14B381-1CD2-FF10-D33E-75ECED7812B8}"/>
                  </a:ext>
                </a:extLst>
              </p:cNvPr>
              <p:cNvSpPr txBox="1"/>
              <p:nvPr/>
            </p:nvSpPr>
            <p:spPr>
              <a:xfrm rot="5636">
                <a:off x="4554116" y="5644651"/>
                <a:ext cx="348813"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28</a:t>
                </a:r>
              </a:p>
            </p:txBody>
          </p:sp>
          <p:sp>
            <p:nvSpPr>
              <p:cNvPr id="2234" name="TextBox 2233">
                <a:extLst>
                  <a:ext uri="{FF2B5EF4-FFF2-40B4-BE49-F238E27FC236}">
                    <a16:creationId xmlns:a16="http://schemas.microsoft.com/office/drawing/2014/main" id="{87EF2E12-8B47-1F40-F965-E35BE52B555C}"/>
                  </a:ext>
                </a:extLst>
              </p:cNvPr>
              <p:cNvSpPr txBox="1"/>
              <p:nvPr/>
            </p:nvSpPr>
            <p:spPr>
              <a:xfrm rot="5636">
                <a:off x="4733480" y="5644651"/>
                <a:ext cx="348813"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24</a:t>
                </a:r>
              </a:p>
            </p:txBody>
          </p:sp>
          <p:sp>
            <p:nvSpPr>
              <p:cNvPr id="2235" name="TextBox 2234">
                <a:extLst>
                  <a:ext uri="{FF2B5EF4-FFF2-40B4-BE49-F238E27FC236}">
                    <a16:creationId xmlns:a16="http://schemas.microsoft.com/office/drawing/2014/main" id="{54BB6E56-9BE7-F74F-8298-20EFDE6CAE16}"/>
                  </a:ext>
                </a:extLst>
              </p:cNvPr>
              <p:cNvSpPr txBox="1"/>
              <p:nvPr/>
            </p:nvSpPr>
            <p:spPr>
              <a:xfrm rot="5636">
                <a:off x="4912844" y="5644651"/>
                <a:ext cx="348813"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20</a:t>
                </a:r>
              </a:p>
            </p:txBody>
          </p:sp>
          <p:sp>
            <p:nvSpPr>
              <p:cNvPr id="2236" name="TextBox 2235">
                <a:extLst>
                  <a:ext uri="{FF2B5EF4-FFF2-40B4-BE49-F238E27FC236}">
                    <a16:creationId xmlns:a16="http://schemas.microsoft.com/office/drawing/2014/main" id="{A10CFD5A-729E-D3B0-A969-A8CC9D4DCC30}"/>
                  </a:ext>
                </a:extLst>
              </p:cNvPr>
              <p:cNvSpPr txBox="1"/>
              <p:nvPr/>
            </p:nvSpPr>
            <p:spPr>
              <a:xfrm rot="5636">
                <a:off x="5092210" y="5644651"/>
                <a:ext cx="348813"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17</a:t>
                </a:r>
              </a:p>
            </p:txBody>
          </p:sp>
          <p:sp>
            <p:nvSpPr>
              <p:cNvPr id="2237" name="TextBox 2236">
                <a:extLst>
                  <a:ext uri="{FF2B5EF4-FFF2-40B4-BE49-F238E27FC236}">
                    <a16:creationId xmlns:a16="http://schemas.microsoft.com/office/drawing/2014/main" id="{57CFE68E-8974-379E-6001-415274B6A067}"/>
                  </a:ext>
                </a:extLst>
              </p:cNvPr>
              <p:cNvSpPr txBox="1"/>
              <p:nvPr/>
            </p:nvSpPr>
            <p:spPr>
              <a:xfrm rot="5636">
                <a:off x="5271574" y="5644651"/>
                <a:ext cx="348813"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13</a:t>
                </a:r>
              </a:p>
            </p:txBody>
          </p:sp>
          <p:sp>
            <p:nvSpPr>
              <p:cNvPr id="2238" name="TextBox 2237">
                <a:extLst>
                  <a:ext uri="{FF2B5EF4-FFF2-40B4-BE49-F238E27FC236}">
                    <a16:creationId xmlns:a16="http://schemas.microsoft.com/office/drawing/2014/main" id="{FA6E3BA0-5716-8852-4905-9CA08CE9D856}"/>
                  </a:ext>
                </a:extLst>
              </p:cNvPr>
              <p:cNvSpPr txBox="1"/>
              <p:nvPr/>
            </p:nvSpPr>
            <p:spPr>
              <a:xfrm rot="5636">
                <a:off x="5450939" y="5644651"/>
                <a:ext cx="348813"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11</a:t>
                </a:r>
              </a:p>
            </p:txBody>
          </p:sp>
          <p:sp>
            <p:nvSpPr>
              <p:cNvPr id="2239" name="TextBox 2238">
                <a:extLst>
                  <a:ext uri="{FF2B5EF4-FFF2-40B4-BE49-F238E27FC236}">
                    <a16:creationId xmlns:a16="http://schemas.microsoft.com/office/drawing/2014/main" id="{5E6DB806-BC1A-3B05-AC04-C1C2C33BDCE5}"/>
                  </a:ext>
                </a:extLst>
              </p:cNvPr>
              <p:cNvSpPr txBox="1"/>
              <p:nvPr/>
            </p:nvSpPr>
            <p:spPr>
              <a:xfrm rot="5636">
                <a:off x="5655732" y="5644607"/>
                <a:ext cx="297517"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9</a:t>
                </a:r>
              </a:p>
            </p:txBody>
          </p:sp>
          <p:sp>
            <p:nvSpPr>
              <p:cNvPr id="2240" name="TextBox 2239">
                <a:extLst>
                  <a:ext uri="{FF2B5EF4-FFF2-40B4-BE49-F238E27FC236}">
                    <a16:creationId xmlns:a16="http://schemas.microsoft.com/office/drawing/2014/main" id="{F219D129-060D-787A-03CB-5B16A3A18785}"/>
                  </a:ext>
                </a:extLst>
              </p:cNvPr>
              <p:cNvSpPr txBox="1"/>
              <p:nvPr/>
            </p:nvSpPr>
            <p:spPr>
              <a:xfrm rot="5636">
                <a:off x="5835098" y="5644607"/>
                <a:ext cx="297517"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9</a:t>
                </a:r>
              </a:p>
            </p:txBody>
          </p:sp>
          <p:sp>
            <p:nvSpPr>
              <p:cNvPr id="2241" name="TextBox 2240">
                <a:extLst>
                  <a:ext uri="{FF2B5EF4-FFF2-40B4-BE49-F238E27FC236}">
                    <a16:creationId xmlns:a16="http://schemas.microsoft.com/office/drawing/2014/main" id="{8602BFAD-C7ED-2EFD-E12C-5833AA28F78A}"/>
                  </a:ext>
                </a:extLst>
              </p:cNvPr>
              <p:cNvSpPr txBox="1"/>
              <p:nvPr/>
            </p:nvSpPr>
            <p:spPr>
              <a:xfrm rot="5636">
                <a:off x="6014462" y="5644607"/>
                <a:ext cx="297517"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8</a:t>
                </a:r>
              </a:p>
            </p:txBody>
          </p:sp>
          <p:sp>
            <p:nvSpPr>
              <p:cNvPr id="2242" name="TextBox 2241">
                <a:extLst>
                  <a:ext uri="{FF2B5EF4-FFF2-40B4-BE49-F238E27FC236}">
                    <a16:creationId xmlns:a16="http://schemas.microsoft.com/office/drawing/2014/main" id="{5790142F-A54D-41F9-8ACD-59FAC13D361B}"/>
                  </a:ext>
                </a:extLst>
              </p:cNvPr>
              <p:cNvSpPr txBox="1"/>
              <p:nvPr/>
            </p:nvSpPr>
            <p:spPr>
              <a:xfrm rot="5636">
                <a:off x="6193827" y="5644607"/>
                <a:ext cx="297517"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8</a:t>
                </a:r>
              </a:p>
            </p:txBody>
          </p:sp>
          <p:sp>
            <p:nvSpPr>
              <p:cNvPr id="2243" name="TextBox 2242">
                <a:extLst>
                  <a:ext uri="{FF2B5EF4-FFF2-40B4-BE49-F238E27FC236}">
                    <a16:creationId xmlns:a16="http://schemas.microsoft.com/office/drawing/2014/main" id="{A4A84F25-BA63-FE59-158D-76BD6D8B391D}"/>
                  </a:ext>
                </a:extLst>
              </p:cNvPr>
              <p:cNvSpPr txBox="1"/>
              <p:nvPr/>
            </p:nvSpPr>
            <p:spPr>
              <a:xfrm rot="5636">
                <a:off x="6373191" y="5644607"/>
                <a:ext cx="297517"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6</a:t>
                </a:r>
              </a:p>
            </p:txBody>
          </p:sp>
          <p:sp>
            <p:nvSpPr>
              <p:cNvPr id="2244" name="TextBox 2243">
                <a:extLst>
                  <a:ext uri="{FF2B5EF4-FFF2-40B4-BE49-F238E27FC236}">
                    <a16:creationId xmlns:a16="http://schemas.microsoft.com/office/drawing/2014/main" id="{9D2D30F5-47F2-DAC8-3CCD-3461602779BD}"/>
                  </a:ext>
                </a:extLst>
              </p:cNvPr>
              <p:cNvSpPr txBox="1"/>
              <p:nvPr/>
            </p:nvSpPr>
            <p:spPr>
              <a:xfrm rot="5636">
                <a:off x="6552555" y="5644607"/>
                <a:ext cx="297517"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3</a:t>
                </a:r>
              </a:p>
            </p:txBody>
          </p:sp>
          <p:sp>
            <p:nvSpPr>
              <p:cNvPr id="2245" name="TextBox 2244">
                <a:extLst>
                  <a:ext uri="{FF2B5EF4-FFF2-40B4-BE49-F238E27FC236}">
                    <a16:creationId xmlns:a16="http://schemas.microsoft.com/office/drawing/2014/main" id="{76BF11E0-F283-FCBA-B54A-A42F3B39CE39}"/>
                  </a:ext>
                </a:extLst>
              </p:cNvPr>
              <p:cNvSpPr txBox="1"/>
              <p:nvPr/>
            </p:nvSpPr>
            <p:spPr>
              <a:xfrm rot="5636">
                <a:off x="6731920" y="5644607"/>
                <a:ext cx="297517"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3</a:t>
                </a:r>
              </a:p>
            </p:txBody>
          </p:sp>
          <p:sp>
            <p:nvSpPr>
              <p:cNvPr id="2246" name="TextBox 2245">
                <a:extLst>
                  <a:ext uri="{FF2B5EF4-FFF2-40B4-BE49-F238E27FC236}">
                    <a16:creationId xmlns:a16="http://schemas.microsoft.com/office/drawing/2014/main" id="{7143C53C-4463-9FE8-1165-9F48352E5B8E}"/>
                  </a:ext>
                </a:extLst>
              </p:cNvPr>
              <p:cNvSpPr txBox="1"/>
              <p:nvPr/>
            </p:nvSpPr>
            <p:spPr>
              <a:xfrm rot="5636">
                <a:off x="6911302" y="5644607"/>
                <a:ext cx="297517"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3</a:t>
                </a:r>
              </a:p>
            </p:txBody>
          </p:sp>
          <p:sp>
            <p:nvSpPr>
              <p:cNvPr id="2247" name="TextBox 2246">
                <a:extLst>
                  <a:ext uri="{FF2B5EF4-FFF2-40B4-BE49-F238E27FC236}">
                    <a16:creationId xmlns:a16="http://schemas.microsoft.com/office/drawing/2014/main" id="{9A46B364-BE2F-342E-0DD1-BCFE74B77EEB}"/>
                  </a:ext>
                </a:extLst>
              </p:cNvPr>
              <p:cNvSpPr txBox="1"/>
              <p:nvPr/>
            </p:nvSpPr>
            <p:spPr>
              <a:xfrm rot="5636">
                <a:off x="7090666" y="5644607"/>
                <a:ext cx="297517"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2</a:t>
                </a:r>
              </a:p>
            </p:txBody>
          </p:sp>
          <p:sp>
            <p:nvSpPr>
              <p:cNvPr id="2248" name="TextBox 2247">
                <a:extLst>
                  <a:ext uri="{FF2B5EF4-FFF2-40B4-BE49-F238E27FC236}">
                    <a16:creationId xmlns:a16="http://schemas.microsoft.com/office/drawing/2014/main" id="{8380D672-353B-9B20-B9E8-6F04CF8B3453}"/>
                  </a:ext>
                </a:extLst>
              </p:cNvPr>
              <p:cNvSpPr txBox="1"/>
              <p:nvPr/>
            </p:nvSpPr>
            <p:spPr>
              <a:xfrm rot="5636">
                <a:off x="7270031" y="5644607"/>
                <a:ext cx="297517"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2</a:t>
                </a:r>
              </a:p>
            </p:txBody>
          </p:sp>
          <p:sp>
            <p:nvSpPr>
              <p:cNvPr id="2249" name="TextBox 2248">
                <a:extLst>
                  <a:ext uri="{FF2B5EF4-FFF2-40B4-BE49-F238E27FC236}">
                    <a16:creationId xmlns:a16="http://schemas.microsoft.com/office/drawing/2014/main" id="{D1CA76CC-C4AB-DAC3-371E-5E2FA339A928}"/>
                  </a:ext>
                </a:extLst>
              </p:cNvPr>
              <p:cNvSpPr txBox="1"/>
              <p:nvPr/>
            </p:nvSpPr>
            <p:spPr>
              <a:xfrm rot="5636">
                <a:off x="7449395" y="5644607"/>
                <a:ext cx="297517"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2</a:t>
                </a:r>
              </a:p>
            </p:txBody>
          </p:sp>
          <p:sp>
            <p:nvSpPr>
              <p:cNvPr id="2250" name="TextBox 2249">
                <a:extLst>
                  <a:ext uri="{FF2B5EF4-FFF2-40B4-BE49-F238E27FC236}">
                    <a16:creationId xmlns:a16="http://schemas.microsoft.com/office/drawing/2014/main" id="{89B2CDE7-2650-53BE-2496-DE8305C496F1}"/>
                  </a:ext>
                </a:extLst>
              </p:cNvPr>
              <p:cNvSpPr txBox="1"/>
              <p:nvPr/>
            </p:nvSpPr>
            <p:spPr>
              <a:xfrm rot="5636">
                <a:off x="7628759" y="5644607"/>
                <a:ext cx="297517"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2</a:t>
                </a:r>
              </a:p>
            </p:txBody>
          </p:sp>
          <p:sp>
            <p:nvSpPr>
              <p:cNvPr id="2251" name="TextBox 2250">
                <a:extLst>
                  <a:ext uri="{FF2B5EF4-FFF2-40B4-BE49-F238E27FC236}">
                    <a16:creationId xmlns:a16="http://schemas.microsoft.com/office/drawing/2014/main" id="{7A2AB90A-37A1-46D2-775D-5249DABD54E2}"/>
                  </a:ext>
                </a:extLst>
              </p:cNvPr>
              <p:cNvSpPr txBox="1"/>
              <p:nvPr/>
            </p:nvSpPr>
            <p:spPr>
              <a:xfrm rot="5636">
                <a:off x="7808088" y="5644607"/>
                <a:ext cx="297517"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2</a:t>
                </a:r>
              </a:p>
            </p:txBody>
          </p:sp>
          <p:sp>
            <p:nvSpPr>
              <p:cNvPr id="2252" name="TextBox 2251">
                <a:extLst>
                  <a:ext uri="{FF2B5EF4-FFF2-40B4-BE49-F238E27FC236}">
                    <a16:creationId xmlns:a16="http://schemas.microsoft.com/office/drawing/2014/main" id="{9B6C0A61-B235-7B70-0A3E-997819FE5753}"/>
                  </a:ext>
                </a:extLst>
              </p:cNvPr>
              <p:cNvSpPr txBox="1"/>
              <p:nvPr/>
            </p:nvSpPr>
            <p:spPr>
              <a:xfrm rot="5636">
                <a:off x="7987452" y="5644607"/>
                <a:ext cx="297517"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1</a:t>
                </a:r>
              </a:p>
            </p:txBody>
          </p:sp>
          <p:sp>
            <p:nvSpPr>
              <p:cNvPr id="2253" name="TextBox 2252">
                <a:extLst>
                  <a:ext uri="{FF2B5EF4-FFF2-40B4-BE49-F238E27FC236}">
                    <a16:creationId xmlns:a16="http://schemas.microsoft.com/office/drawing/2014/main" id="{75214515-5870-C13A-AA2E-DD58DBFA0C4E}"/>
                  </a:ext>
                </a:extLst>
              </p:cNvPr>
              <p:cNvSpPr txBox="1"/>
              <p:nvPr/>
            </p:nvSpPr>
            <p:spPr>
              <a:xfrm rot="5636">
                <a:off x="8166816" y="5644607"/>
                <a:ext cx="297517"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1</a:t>
                </a:r>
              </a:p>
            </p:txBody>
          </p:sp>
          <p:sp>
            <p:nvSpPr>
              <p:cNvPr id="2254" name="TextBox 2253">
                <a:extLst>
                  <a:ext uri="{FF2B5EF4-FFF2-40B4-BE49-F238E27FC236}">
                    <a16:creationId xmlns:a16="http://schemas.microsoft.com/office/drawing/2014/main" id="{4A1659FC-5317-D527-4FE7-9B7825643C7E}"/>
                  </a:ext>
                </a:extLst>
              </p:cNvPr>
              <p:cNvSpPr txBox="1"/>
              <p:nvPr/>
            </p:nvSpPr>
            <p:spPr>
              <a:xfrm rot="5636">
                <a:off x="8346182" y="5644607"/>
                <a:ext cx="297517"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1</a:t>
                </a:r>
              </a:p>
            </p:txBody>
          </p:sp>
          <p:sp>
            <p:nvSpPr>
              <p:cNvPr id="2255" name="TextBox 2254">
                <a:extLst>
                  <a:ext uri="{FF2B5EF4-FFF2-40B4-BE49-F238E27FC236}">
                    <a16:creationId xmlns:a16="http://schemas.microsoft.com/office/drawing/2014/main" id="{87F1E178-31EA-C1B7-1CDE-F869E20A3AC8}"/>
                  </a:ext>
                </a:extLst>
              </p:cNvPr>
              <p:cNvSpPr txBox="1"/>
              <p:nvPr/>
            </p:nvSpPr>
            <p:spPr>
              <a:xfrm rot="5636">
                <a:off x="8525545" y="5644607"/>
                <a:ext cx="297517"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1</a:t>
                </a:r>
              </a:p>
            </p:txBody>
          </p:sp>
          <p:sp>
            <p:nvSpPr>
              <p:cNvPr id="2256" name="TextBox 2255">
                <a:extLst>
                  <a:ext uri="{FF2B5EF4-FFF2-40B4-BE49-F238E27FC236}">
                    <a16:creationId xmlns:a16="http://schemas.microsoft.com/office/drawing/2014/main" id="{5A660B3D-9C03-1DF9-0EC6-C5BDDF7C1CFB}"/>
                  </a:ext>
                </a:extLst>
              </p:cNvPr>
              <p:cNvSpPr txBox="1"/>
              <p:nvPr/>
            </p:nvSpPr>
            <p:spPr>
              <a:xfrm rot="5636">
                <a:off x="8704909" y="5644607"/>
                <a:ext cx="297517"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1</a:t>
                </a:r>
              </a:p>
            </p:txBody>
          </p:sp>
          <p:sp>
            <p:nvSpPr>
              <p:cNvPr id="2257" name="TextBox 2256">
                <a:extLst>
                  <a:ext uri="{FF2B5EF4-FFF2-40B4-BE49-F238E27FC236}">
                    <a16:creationId xmlns:a16="http://schemas.microsoft.com/office/drawing/2014/main" id="{F75358AC-AE8C-4293-1044-807BFE06A250}"/>
                  </a:ext>
                </a:extLst>
              </p:cNvPr>
              <p:cNvSpPr txBox="1"/>
              <p:nvPr/>
            </p:nvSpPr>
            <p:spPr>
              <a:xfrm rot="5636">
                <a:off x="8884275" y="5644607"/>
                <a:ext cx="297517"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0</a:t>
                </a:r>
              </a:p>
            </p:txBody>
          </p:sp>
          <p:sp>
            <p:nvSpPr>
              <p:cNvPr id="2258" name="TextBox 2257">
                <a:extLst>
                  <a:ext uri="{FF2B5EF4-FFF2-40B4-BE49-F238E27FC236}">
                    <a16:creationId xmlns:a16="http://schemas.microsoft.com/office/drawing/2014/main" id="{73A254CF-B720-54A3-C3CC-59F881607E29}"/>
                  </a:ext>
                </a:extLst>
              </p:cNvPr>
              <p:cNvSpPr txBox="1"/>
              <p:nvPr/>
            </p:nvSpPr>
            <p:spPr>
              <a:xfrm rot="5636">
                <a:off x="1511078" y="5439623"/>
                <a:ext cx="855363" cy="256053"/>
              </a:xfrm>
              <a:prstGeom prst="rect">
                <a:avLst/>
              </a:prstGeom>
              <a:noFill/>
            </p:spPr>
            <p:txBody>
              <a:bodyPr wrap="none" rtlCol="0">
                <a:spAutoFit/>
              </a:bodyPr>
              <a:lstStyle/>
              <a:p>
                <a:pPr algn="l"/>
                <a:r>
                  <a:rPr lang="en-US" sz="648" dirty="0">
                    <a:ln/>
                    <a:solidFill>
                      <a:srgbClr val="000000"/>
                    </a:solidFill>
                    <a:latin typeface="HelveticaNeue"/>
                    <a:ea typeface="HelveticaNeue"/>
                    <a:cs typeface="HelveticaNeue"/>
                    <a:sym typeface="HelveticaNeue"/>
                    <a:rtl val="0"/>
                  </a:rPr>
                  <a:t>T-DXd (406)</a:t>
                </a:r>
              </a:p>
            </p:txBody>
          </p:sp>
          <p:sp>
            <p:nvSpPr>
              <p:cNvPr id="2259" name="TextBox 2258">
                <a:extLst>
                  <a:ext uri="{FF2B5EF4-FFF2-40B4-BE49-F238E27FC236}">
                    <a16:creationId xmlns:a16="http://schemas.microsoft.com/office/drawing/2014/main" id="{DBEE558B-85F6-1CEC-AD92-3D7C7A2123C7}"/>
                  </a:ext>
                </a:extLst>
              </p:cNvPr>
              <p:cNvSpPr txBox="1"/>
              <p:nvPr/>
            </p:nvSpPr>
            <p:spPr>
              <a:xfrm rot="5636">
                <a:off x="2376297" y="5460249"/>
                <a:ext cx="400109"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400</a:t>
                </a:r>
              </a:p>
            </p:txBody>
          </p:sp>
          <p:sp>
            <p:nvSpPr>
              <p:cNvPr id="2260" name="TextBox 2259">
                <a:extLst>
                  <a:ext uri="{FF2B5EF4-FFF2-40B4-BE49-F238E27FC236}">
                    <a16:creationId xmlns:a16="http://schemas.microsoft.com/office/drawing/2014/main" id="{5BC27FF3-D693-8929-AD75-695C41E7A546}"/>
                  </a:ext>
                </a:extLst>
              </p:cNvPr>
              <p:cNvSpPr txBox="1"/>
              <p:nvPr/>
            </p:nvSpPr>
            <p:spPr>
              <a:xfrm rot="5636">
                <a:off x="2555559" y="5460249"/>
                <a:ext cx="400109"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374</a:t>
                </a:r>
              </a:p>
            </p:txBody>
          </p:sp>
          <p:sp>
            <p:nvSpPr>
              <p:cNvPr id="2261" name="TextBox 2260">
                <a:extLst>
                  <a:ext uri="{FF2B5EF4-FFF2-40B4-BE49-F238E27FC236}">
                    <a16:creationId xmlns:a16="http://schemas.microsoft.com/office/drawing/2014/main" id="{F5E4EDC1-4436-A354-437C-78C297E909E9}"/>
                  </a:ext>
                </a:extLst>
              </p:cNvPr>
              <p:cNvSpPr txBox="1"/>
              <p:nvPr/>
            </p:nvSpPr>
            <p:spPr>
              <a:xfrm rot="5636">
                <a:off x="2734803" y="5460249"/>
                <a:ext cx="400109"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359</a:t>
                </a:r>
              </a:p>
            </p:txBody>
          </p:sp>
          <p:sp>
            <p:nvSpPr>
              <p:cNvPr id="2262" name="TextBox 2261">
                <a:extLst>
                  <a:ext uri="{FF2B5EF4-FFF2-40B4-BE49-F238E27FC236}">
                    <a16:creationId xmlns:a16="http://schemas.microsoft.com/office/drawing/2014/main" id="{A816DDD0-A23C-0967-6682-6C8AACDCA9AA}"/>
                  </a:ext>
                </a:extLst>
              </p:cNvPr>
              <p:cNvSpPr txBox="1"/>
              <p:nvPr/>
            </p:nvSpPr>
            <p:spPr>
              <a:xfrm rot="5636">
                <a:off x="2914065" y="5460249"/>
                <a:ext cx="400109"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355</a:t>
                </a:r>
              </a:p>
            </p:txBody>
          </p:sp>
          <p:sp>
            <p:nvSpPr>
              <p:cNvPr id="2263" name="TextBox 2262">
                <a:extLst>
                  <a:ext uri="{FF2B5EF4-FFF2-40B4-BE49-F238E27FC236}">
                    <a16:creationId xmlns:a16="http://schemas.microsoft.com/office/drawing/2014/main" id="{5C752130-7FD4-D3F4-907D-36E09BF46D13}"/>
                  </a:ext>
                </a:extLst>
              </p:cNvPr>
              <p:cNvSpPr txBox="1"/>
              <p:nvPr/>
            </p:nvSpPr>
            <p:spPr>
              <a:xfrm rot="5636">
                <a:off x="3093331" y="5460249"/>
                <a:ext cx="400109"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330</a:t>
                </a:r>
              </a:p>
            </p:txBody>
          </p:sp>
          <p:sp>
            <p:nvSpPr>
              <p:cNvPr id="2264" name="TextBox 2263">
                <a:extLst>
                  <a:ext uri="{FF2B5EF4-FFF2-40B4-BE49-F238E27FC236}">
                    <a16:creationId xmlns:a16="http://schemas.microsoft.com/office/drawing/2014/main" id="{C155C972-836C-E0A8-E53C-26EDBEF39423}"/>
                  </a:ext>
                </a:extLst>
              </p:cNvPr>
              <p:cNvSpPr txBox="1"/>
              <p:nvPr/>
            </p:nvSpPr>
            <p:spPr>
              <a:xfrm rot="5636">
                <a:off x="3272571" y="5460249"/>
                <a:ext cx="400109"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296</a:t>
                </a:r>
              </a:p>
            </p:txBody>
          </p:sp>
          <p:sp>
            <p:nvSpPr>
              <p:cNvPr id="2265" name="TextBox 2264">
                <a:extLst>
                  <a:ext uri="{FF2B5EF4-FFF2-40B4-BE49-F238E27FC236}">
                    <a16:creationId xmlns:a16="http://schemas.microsoft.com/office/drawing/2014/main" id="{F543E7BB-93EA-9F8A-02C7-DED593C4512F}"/>
                  </a:ext>
                </a:extLst>
              </p:cNvPr>
              <p:cNvSpPr txBox="1"/>
              <p:nvPr/>
            </p:nvSpPr>
            <p:spPr>
              <a:xfrm rot="5636">
                <a:off x="3451830" y="5460249"/>
                <a:ext cx="400109"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278</a:t>
                </a:r>
              </a:p>
            </p:txBody>
          </p:sp>
          <p:sp>
            <p:nvSpPr>
              <p:cNvPr id="2266" name="TextBox 2265">
                <a:extLst>
                  <a:ext uri="{FF2B5EF4-FFF2-40B4-BE49-F238E27FC236}">
                    <a16:creationId xmlns:a16="http://schemas.microsoft.com/office/drawing/2014/main" id="{D312252F-BB3F-16B3-4454-45E71AA5BE82}"/>
                  </a:ext>
                </a:extLst>
              </p:cNvPr>
              <p:cNvSpPr txBox="1"/>
              <p:nvPr/>
            </p:nvSpPr>
            <p:spPr>
              <a:xfrm rot="5636">
                <a:off x="3631089" y="5460249"/>
                <a:ext cx="400109"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260</a:t>
                </a:r>
              </a:p>
            </p:txBody>
          </p:sp>
          <p:sp>
            <p:nvSpPr>
              <p:cNvPr id="2267" name="TextBox 2266">
                <a:extLst>
                  <a:ext uri="{FF2B5EF4-FFF2-40B4-BE49-F238E27FC236}">
                    <a16:creationId xmlns:a16="http://schemas.microsoft.com/office/drawing/2014/main" id="{C4E59B62-BB9B-97F4-661B-9F62AEFCA4FC}"/>
                  </a:ext>
                </a:extLst>
              </p:cNvPr>
              <p:cNvSpPr txBox="1"/>
              <p:nvPr/>
            </p:nvSpPr>
            <p:spPr>
              <a:xfrm rot="5636">
                <a:off x="3810347" y="5460249"/>
                <a:ext cx="400109"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239</a:t>
                </a:r>
              </a:p>
            </p:txBody>
          </p:sp>
          <p:sp>
            <p:nvSpPr>
              <p:cNvPr id="2268" name="TextBox 2267">
                <a:extLst>
                  <a:ext uri="{FF2B5EF4-FFF2-40B4-BE49-F238E27FC236}">
                    <a16:creationId xmlns:a16="http://schemas.microsoft.com/office/drawing/2014/main" id="{C9DD11C7-E063-8EA4-890C-1ED36E5B2B5D}"/>
                  </a:ext>
                </a:extLst>
              </p:cNvPr>
              <p:cNvSpPr txBox="1"/>
              <p:nvPr/>
            </p:nvSpPr>
            <p:spPr>
              <a:xfrm rot="5636">
                <a:off x="3989606" y="5460249"/>
                <a:ext cx="400109"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213</a:t>
                </a:r>
              </a:p>
            </p:txBody>
          </p:sp>
          <p:sp>
            <p:nvSpPr>
              <p:cNvPr id="2269" name="TextBox 2268">
                <a:extLst>
                  <a:ext uri="{FF2B5EF4-FFF2-40B4-BE49-F238E27FC236}">
                    <a16:creationId xmlns:a16="http://schemas.microsoft.com/office/drawing/2014/main" id="{5A1D8632-C5E8-EBC9-86B8-9A203A724AA6}"/>
                  </a:ext>
                </a:extLst>
              </p:cNvPr>
              <p:cNvSpPr txBox="1"/>
              <p:nvPr/>
            </p:nvSpPr>
            <p:spPr>
              <a:xfrm rot="5636">
                <a:off x="4168847" y="5460249"/>
                <a:ext cx="400109"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203</a:t>
                </a:r>
              </a:p>
            </p:txBody>
          </p:sp>
          <p:sp>
            <p:nvSpPr>
              <p:cNvPr id="2270" name="TextBox 2269">
                <a:extLst>
                  <a:ext uri="{FF2B5EF4-FFF2-40B4-BE49-F238E27FC236}">
                    <a16:creationId xmlns:a16="http://schemas.microsoft.com/office/drawing/2014/main" id="{D2F59957-6779-0AFB-9BC9-1A3B9624D650}"/>
                  </a:ext>
                </a:extLst>
              </p:cNvPr>
              <p:cNvSpPr txBox="1"/>
              <p:nvPr/>
            </p:nvSpPr>
            <p:spPr>
              <a:xfrm rot="5636">
                <a:off x="4348104" y="5460249"/>
                <a:ext cx="400109"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194</a:t>
                </a:r>
              </a:p>
            </p:txBody>
          </p:sp>
          <p:sp>
            <p:nvSpPr>
              <p:cNvPr id="2271" name="TextBox 2270">
                <a:extLst>
                  <a:ext uri="{FF2B5EF4-FFF2-40B4-BE49-F238E27FC236}">
                    <a16:creationId xmlns:a16="http://schemas.microsoft.com/office/drawing/2014/main" id="{1F14F11A-8F2D-AE1B-F733-B4E706272E5A}"/>
                  </a:ext>
                </a:extLst>
              </p:cNvPr>
              <p:cNvSpPr txBox="1"/>
              <p:nvPr/>
            </p:nvSpPr>
            <p:spPr>
              <a:xfrm rot="5636">
                <a:off x="4527380" y="5460249"/>
                <a:ext cx="400109"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179</a:t>
                </a:r>
              </a:p>
            </p:txBody>
          </p:sp>
          <p:sp>
            <p:nvSpPr>
              <p:cNvPr id="2272" name="TextBox 2271">
                <a:extLst>
                  <a:ext uri="{FF2B5EF4-FFF2-40B4-BE49-F238E27FC236}">
                    <a16:creationId xmlns:a16="http://schemas.microsoft.com/office/drawing/2014/main" id="{FD041785-EC8B-3135-7301-49AAFBE77E65}"/>
                  </a:ext>
                </a:extLst>
              </p:cNvPr>
              <p:cNvSpPr txBox="1"/>
              <p:nvPr/>
            </p:nvSpPr>
            <p:spPr>
              <a:xfrm rot="5636">
                <a:off x="4706639" y="5460249"/>
                <a:ext cx="400109"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170</a:t>
                </a:r>
              </a:p>
            </p:txBody>
          </p:sp>
          <p:sp>
            <p:nvSpPr>
              <p:cNvPr id="2273" name="TextBox 2272">
                <a:extLst>
                  <a:ext uri="{FF2B5EF4-FFF2-40B4-BE49-F238E27FC236}">
                    <a16:creationId xmlns:a16="http://schemas.microsoft.com/office/drawing/2014/main" id="{D2B54E2B-FD4B-8AB7-4F91-3C77C7B7E99B}"/>
                  </a:ext>
                </a:extLst>
              </p:cNvPr>
              <p:cNvSpPr txBox="1"/>
              <p:nvPr/>
            </p:nvSpPr>
            <p:spPr>
              <a:xfrm rot="5636">
                <a:off x="4885898" y="5460249"/>
                <a:ext cx="400109"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161</a:t>
                </a:r>
              </a:p>
            </p:txBody>
          </p:sp>
          <p:sp>
            <p:nvSpPr>
              <p:cNvPr id="2274" name="TextBox 2273">
                <a:extLst>
                  <a:ext uri="{FF2B5EF4-FFF2-40B4-BE49-F238E27FC236}">
                    <a16:creationId xmlns:a16="http://schemas.microsoft.com/office/drawing/2014/main" id="{93136E32-E78E-AB69-C29D-8DE7E933C196}"/>
                  </a:ext>
                </a:extLst>
              </p:cNvPr>
              <p:cNvSpPr txBox="1"/>
              <p:nvPr/>
            </p:nvSpPr>
            <p:spPr>
              <a:xfrm rot="5636">
                <a:off x="5065122" y="5460249"/>
                <a:ext cx="400109"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149</a:t>
                </a:r>
              </a:p>
            </p:txBody>
          </p:sp>
          <p:sp>
            <p:nvSpPr>
              <p:cNvPr id="2275" name="TextBox 2274">
                <a:extLst>
                  <a:ext uri="{FF2B5EF4-FFF2-40B4-BE49-F238E27FC236}">
                    <a16:creationId xmlns:a16="http://schemas.microsoft.com/office/drawing/2014/main" id="{C0817ACE-76EE-6BA8-2B72-3AC50228D3A8}"/>
                  </a:ext>
                </a:extLst>
              </p:cNvPr>
              <p:cNvSpPr txBox="1"/>
              <p:nvPr/>
            </p:nvSpPr>
            <p:spPr>
              <a:xfrm rot="5636">
                <a:off x="5244379" y="5460249"/>
                <a:ext cx="400109"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141</a:t>
                </a:r>
              </a:p>
            </p:txBody>
          </p:sp>
          <p:sp>
            <p:nvSpPr>
              <p:cNvPr id="2276" name="TextBox 2275">
                <a:extLst>
                  <a:ext uri="{FF2B5EF4-FFF2-40B4-BE49-F238E27FC236}">
                    <a16:creationId xmlns:a16="http://schemas.microsoft.com/office/drawing/2014/main" id="{3079E39E-44E9-EC74-6F8B-5CA78D06DBB9}"/>
                  </a:ext>
                </a:extLst>
              </p:cNvPr>
              <p:cNvSpPr txBox="1"/>
              <p:nvPr/>
            </p:nvSpPr>
            <p:spPr>
              <a:xfrm rot="5636">
                <a:off x="5423655" y="5460249"/>
                <a:ext cx="400109"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132</a:t>
                </a:r>
              </a:p>
            </p:txBody>
          </p:sp>
          <p:sp>
            <p:nvSpPr>
              <p:cNvPr id="2277" name="TextBox 2276">
                <a:extLst>
                  <a:ext uri="{FF2B5EF4-FFF2-40B4-BE49-F238E27FC236}">
                    <a16:creationId xmlns:a16="http://schemas.microsoft.com/office/drawing/2014/main" id="{87B1E605-E974-BACF-D3BE-89F00D64C989}"/>
                  </a:ext>
                </a:extLst>
              </p:cNvPr>
              <p:cNvSpPr txBox="1"/>
              <p:nvPr/>
            </p:nvSpPr>
            <p:spPr>
              <a:xfrm rot="5636">
                <a:off x="5602915" y="5460249"/>
                <a:ext cx="400109"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119</a:t>
                </a:r>
              </a:p>
            </p:txBody>
          </p:sp>
          <p:sp>
            <p:nvSpPr>
              <p:cNvPr id="2278" name="TextBox 2277">
                <a:extLst>
                  <a:ext uri="{FF2B5EF4-FFF2-40B4-BE49-F238E27FC236}">
                    <a16:creationId xmlns:a16="http://schemas.microsoft.com/office/drawing/2014/main" id="{B68952A3-D3D0-36D0-AD87-53B53EA23AEA}"/>
                  </a:ext>
                </a:extLst>
              </p:cNvPr>
              <p:cNvSpPr txBox="1"/>
              <p:nvPr/>
            </p:nvSpPr>
            <p:spPr>
              <a:xfrm rot="5636">
                <a:off x="5782172" y="5460249"/>
                <a:ext cx="400109"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109</a:t>
                </a:r>
              </a:p>
            </p:txBody>
          </p:sp>
          <p:sp>
            <p:nvSpPr>
              <p:cNvPr id="2279" name="TextBox 2278">
                <a:extLst>
                  <a:ext uri="{FF2B5EF4-FFF2-40B4-BE49-F238E27FC236}">
                    <a16:creationId xmlns:a16="http://schemas.microsoft.com/office/drawing/2014/main" id="{928238AC-FA4B-691E-8266-01910169ACA4}"/>
                  </a:ext>
                </a:extLst>
              </p:cNvPr>
              <p:cNvSpPr txBox="1"/>
              <p:nvPr/>
            </p:nvSpPr>
            <p:spPr>
              <a:xfrm rot="5636">
                <a:off x="5986860" y="5460204"/>
                <a:ext cx="348813"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88</a:t>
                </a:r>
              </a:p>
            </p:txBody>
          </p:sp>
          <p:sp>
            <p:nvSpPr>
              <p:cNvPr id="2280" name="TextBox 2279">
                <a:extLst>
                  <a:ext uri="{FF2B5EF4-FFF2-40B4-BE49-F238E27FC236}">
                    <a16:creationId xmlns:a16="http://schemas.microsoft.com/office/drawing/2014/main" id="{D7AB9A10-C8E0-71F2-5708-3E358049AEC7}"/>
                  </a:ext>
                </a:extLst>
              </p:cNvPr>
              <p:cNvSpPr txBox="1"/>
              <p:nvPr/>
            </p:nvSpPr>
            <p:spPr>
              <a:xfrm rot="5636">
                <a:off x="6166120" y="5460204"/>
                <a:ext cx="348813"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83</a:t>
                </a:r>
              </a:p>
            </p:txBody>
          </p:sp>
          <p:sp>
            <p:nvSpPr>
              <p:cNvPr id="2281" name="TextBox 2280">
                <a:extLst>
                  <a:ext uri="{FF2B5EF4-FFF2-40B4-BE49-F238E27FC236}">
                    <a16:creationId xmlns:a16="http://schemas.microsoft.com/office/drawing/2014/main" id="{A7661CAE-3E0E-4667-1BA6-43FF66339012}"/>
                  </a:ext>
                </a:extLst>
              </p:cNvPr>
              <p:cNvSpPr txBox="1"/>
              <p:nvPr/>
            </p:nvSpPr>
            <p:spPr>
              <a:xfrm rot="5636">
                <a:off x="6345378" y="5460204"/>
                <a:ext cx="348813"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76</a:t>
                </a:r>
              </a:p>
            </p:txBody>
          </p:sp>
          <p:sp>
            <p:nvSpPr>
              <p:cNvPr id="2282" name="TextBox 2281">
                <a:extLst>
                  <a:ext uri="{FF2B5EF4-FFF2-40B4-BE49-F238E27FC236}">
                    <a16:creationId xmlns:a16="http://schemas.microsoft.com/office/drawing/2014/main" id="{C1E8E76A-CD15-14CC-399B-EC6B27218DC9}"/>
                  </a:ext>
                </a:extLst>
              </p:cNvPr>
              <p:cNvSpPr txBox="1"/>
              <p:nvPr/>
            </p:nvSpPr>
            <p:spPr>
              <a:xfrm rot="5636">
                <a:off x="6524654" y="5460204"/>
                <a:ext cx="348813"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65</a:t>
                </a:r>
              </a:p>
            </p:txBody>
          </p:sp>
          <p:sp>
            <p:nvSpPr>
              <p:cNvPr id="2283" name="TextBox 2282">
                <a:extLst>
                  <a:ext uri="{FF2B5EF4-FFF2-40B4-BE49-F238E27FC236}">
                    <a16:creationId xmlns:a16="http://schemas.microsoft.com/office/drawing/2014/main" id="{4205453E-5CC4-FC4F-D587-AAD9A9AB7248}"/>
                  </a:ext>
                </a:extLst>
              </p:cNvPr>
              <p:cNvSpPr txBox="1"/>
              <p:nvPr/>
            </p:nvSpPr>
            <p:spPr>
              <a:xfrm rot="5636">
                <a:off x="6703912" y="5460204"/>
                <a:ext cx="348813"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60</a:t>
                </a:r>
              </a:p>
            </p:txBody>
          </p:sp>
          <p:sp>
            <p:nvSpPr>
              <p:cNvPr id="2284" name="TextBox 2283">
                <a:extLst>
                  <a:ext uri="{FF2B5EF4-FFF2-40B4-BE49-F238E27FC236}">
                    <a16:creationId xmlns:a16="http://schemas.microsoft.com/office/drawing/2014/main" id="{3C3088EC-F46A-837E-C280-A63C8A46DB22}"/>
                  </a:ext>
                </a:extLst>
              </p:cNvPr>
              <p:cNvSpPr txBox="1"/>
              <p:nvPr/>
            </p:nvSpPr>
            <p:spPr>
              <a:xfrm rot="5636">
                <a:off x="6883171" y="5460204"/>
                <a:ext cx="348813"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55</a:t>
                </a:r>
              </a:p>
            </p:txBody>
          </p:sp>
          <p:sp>
            <p:nvSpPr>
              <p:cNvPr id="2285" name="TextBox 2284">
                <a:extLst>
                  <a:ext uri="{FF2B5EF4-FFF2-40B4-BE49-F238E27FC236}">
                    <a16:creationId xmlns:a16="http://schemas.microsoft.com/office/drawing/2014/main" id="{79147488-93B0-7DF3-DC38-818CC9AD4E78}"/>
                  </a:ext>
                </a:extLst>
              </p:cNvPr>
              <p:cNvSpPr txBox="1"/>
              <p:nvPr/>
            </p:nvSpPr>
            <p:spPr>
              <a:xfrm rot="5636">
                <a:off x="7062395" y="5460204"/>
                <a:ext cx="348813"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47</a:t>
                </a:r>
              </a:p>
            </p:txBody>
          </p:sp>
          <p:sp>
            <p:nvSpPr>
              <p:cNvPr id="2286" name="TextBox 2285">
                <a:extLst>
                  <a:ext uri="{FF2B5EF4-FFF2-40B4-BE49-F238E27FC236}">
                    <a16:creationId xmlns:a16="http://schemas.microsoft.com/office/drawing/2014/main" id="{A4641729-B3E1-CA45-EBF6-22BC9EA795FC}"/>
                  </a:ext>
                </a:extLst>
              </p:cNvPr>
              <p:cNvSpPr txBox="1"/>
              <p:nvPr/>
            </p:nvSpPr>
            <p:spPr>
              <a:xfrm rot="5636">
                <a:off x="7241671" y="5460204"/>
                <a:ext cx="348813"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38</a:t>
                </a:r>
              </a:p>
            </p:txBody>
          </p:sp>
          <p:sp>
            <p:nvSpPr>
              <p:cNvPr id="2287" name="TextBox 2286">
                <a:extLst>
                  <a:ext uri="{FF2B5EF4-FFF2-40B4-BE49-F238E27FC236}">
                    <a16:creationId xmlns:a16="http://schemas.microsoft.com/office/drawing/2014/main" id="{D2F3CD1D-6BB0-CC52-F327-9FAEC3873A95}"/>
                  </a:ext>
                </a:extLst>
              </p:cNvPr>
              <p:cNvSpPr txBox="1"/>
              <p:nvPr/>
            </p:nvSpPr>
            <p:spPr>
              <a:xfrm rot="5636">
                <a:off x="7420928" y="5460204"/>
                <a:ext cx="348813"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35</a:t>
                </a:r>
              </a:p>
            </p:txBody>
          </p:sp>
          <p:sp>
            <p:nvSpPr>
              <p:cNvPr id="2288" name="TextBox 2287">
                <a:extLst>
                  <a:ext uri="{FF2B5EF4-FFF2-40B4-BE49-F238E27FC236}">
                    <a16:creationId xmlns:a16="http://schemas.microsoft.com/office/drawing/2014/main" id="{0EE39460-125F-BA1B-C2E8-03D3FD4A0AE5}"/>
                  </a:ext>
                </a:extLst>
              </p:cNvPr>
              <p:cNvSpPr txBox="1"/>
              <p:nvPr/>
            </p:nvSpPr>
            <p:spPr>
              <a:xfrm rot="5636">
                <a:off x="7600188" y="5460204"/>
                <a:ext cx="348813"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31</a:t>
                </a:r>
              </a:p>
            </p:txBody>
          </p:sp>
          <p:sp>
            <p:nvSpPr>
              <p:cNvPr id="2289" name="TextBox 2288">
                <a:extLst>
                  <a:ext uri="{FF2B5EF4-FFF2-40B4-BE49-F238E27FC236}">
                    <a16:creationId xmlns:a16="http://schemas.microsoft.com/office/drawing/2014/main" id="{A5E33D7F-7771-DE9A-DB69-A6A5C2073C59}"/>
                  </a:ext>
                </a:extLst>
              </p:cNvPr>
              <p:cNvSpPr txBox="1"/>
              <p:nvPr/>
            </p:nvSpPr>
            <p:spPr>
              <a:xfrm rot="5636">
                <a:off x="7779446" y="5460204"/>
                <a:ext cx="348813"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27</a:t>
                </a:r>
              </a:p>
            </p:txBody>
          </p:sp>
          <p:sp>
            <p:nvSpPr>
              <p:cNvPr id="2290" name="TextBox 2289">
                <a:extLst>
                  <a:ext uri="{FF2B5EF4-FFF2-40B4-BE49-F238E27FC236}">
                    <a16:creationId xmlns:a16="http://schemas.microsoft.com/office/drawing/2014/main" id="{0E608DFD-F7FA-4D28-6401-762F6E29A33E}"/>
                  </a:ext>
                </a:extLst>
              </p:cNvPr>
              <p:cNvSpPr txBox="1"/>
              <p:nvPr/>
            </p:nvSpPr>
            <p:spPr>
              <a:xfrm rot="5636">
                <a:off x="7958687" y="5460204"/>
                <a:ext cx="348813"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23</a:t>
                </a:r>
              </a:p>
            </p:txBody>
          </p:sp>
          <p:sp>
            <p:nvSpPr>
              <p:cNvPr id="2291" name="TextBox 2290">
                <a:extLst>
                  <a:ext uri="{FF2B5EF4-FFF2-40B4-BE49-F238E27FC236}">
                    <a16:creationId xmlns:a16="http://schemas.microsoft.com/office/drawing/2014/main" id="{4F205954-EF11-2D54-9D01-80EF97922FAF}"/>
                  </a:ext>
                </a:extLst>
              </p:cNvPr>
              <p:cNvSpPr txBox="1"/>
              <p:nvPr/>
            </p:nvSpPr>
            <p:spPr>
              <a:xfrm rot="5636">
                <a:off x="8137946" y="5460204"/>
                <a:ext cx="348813"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19</a:t>
                </a:r>
              </a:p>
            </p:txBody>
          </p:sp>
          <p:sp>
            <p:nvSpPr>
              <p:cNvPr id="2292" name="TextBox 2291">
                <a:extLst>
                  <a:ext uri="{FF2B5EF4-FFF2-40B4-BE49-F238E27FC236}">
                    <a16:creationId xmlns:a16="http://schemas.microsoft.com/office/drawing/2014/main" id="{8E729371-D125-27F4-5E56-278F27FDC8C7}"/>
                  </a:ext>
                </a:extLst>
              </p:cNvPr>
              <p:cNvSpPr txBox="1"/>
              <p:nvPr/>
            </p:nvSpPr>
            <p:spPr>
              <a:xfrm rot="5636">
                <a:off x="8317204" y="5460204"/>
                <a:ext cx="348813"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15</a:t>
                </a:r>
              </a:p>
            </p:txBody>
          </p:sp>
          <p:sp>
            <p:nvSpPr>
              <p:cNvPr id="2293" name="TextBox 2292">
                <a:extLst>
                  <a:ext uri="{FF2B5EF4-FFF2-40B4-BE49-F238E27FC236}">
                    <a16:creationId xmlns:a16="http://schemas.microsoft.com/office/drawing/2014/main" id="{8BCA1A32-3FFD-3655-DCC5-1BB27D828FC5}"/>
                  </a:ext>
                </a:extLst>
              </p:cNvPr>
              <p:cNvSpPr txBox="1"/>
              <p:nvPr/>
            </p:nvSpPr>
            <p:spPr>
              <a:xfrm rot="5636">
                <a:off x="8496463" y="5460204"/>
                <a:ext cx="348813"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14</a:t>
                </a:r>
              </a:p>
            </p:txBody>
          </p:sp>
          <p:sp>
            <p:nvSpPr>
              <p:cNvPr id="2294" name="TextBox 2293">
                <a:extLst>
                  <a:ext uri="{FF2B5EF4-FFF2-40B4-BE49-F238E27FC236}">
                    <a16:creationId xmlns:a16="http://schemas.microsoft.com/office/drawing/2014/main" id="{49E2FD17-B8B9-1BC8-F5DE-BA4A39CE0ED0}"/>
                  </a:ext>
                </a:extLst>
              </p:cNvPr>
              <p:cNvSpPr txBox="1"/>
              <p:nvPr/>
            </p:nvSpPr>
            <p:spPr>
              <a:xfrm rot="5636">
                <a:off x="8675720" y="5460204"/>
                <a:ext cx="348813"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12</a:t>
                </a:r>
              </a:p>
            </p:txBody>
          </p:sp>
          <p:sp>
            <p:nvSpPr>
              <p:cNvPr id="2295" name="TextBox 2294">
                <a:extLst>
                  <a:ext uri="{FF2B5EF4-FFF2-40B4-BE49-F238E27FC236}">
                    <a16:creationId xmlns:a16="http://schemas.microsoft.com/office/drawing/2014/main" id="{723B4C9E-84B6-DBC6-E173-E8FD069B2E86}"/>
                  </a:ext>
                </a:extLst>
              </p:cNvPr>
              <p:cNvSpPr txBox="1"/>
              <p:nvPr/>
            </p:nvSpPr>
            <p:spPr>
              <a:xfrm rot="5636">
                <a:off x="8854996" y="5460204"/>
                <a:ext cx="348813"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10</a:t>
                </a:r>
              </a:p>
            </p:txBody>
          </p:sp>
          <p:sp>
            <p:nvSpPr>
              <p:cNvPr id="2296" name="TextBox 2295">
                <a:extLst>
                  <a:ext uri="{FF2B5EF4-FFF2-40B4-BE49-F238E27FC236}">
                    <a16:creationId xmlns:a16="http://schemas.microsoft.com/office/drawing/2014/main" id="{C3456FC3-7516-9D79-3813-AFC80EBC9F3C}"/>
                  </a:ext>
                </a:extLst>
              </p:cNvPr>
              <p:cNvSpPr txBox="1"/>
              <p:nvPr/>
            </p:nvSpPr>
            <p:spPr>
              <a:xfrm rot="5636">
                <a:off x="9059685" y="5460159"/>
                <a:ext cx="297517"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6</a:t>
                </a:r>
              </a:p>
            </p:txBody>
          </p:sp>
          <p:sp>
            <p:nvSpPr>
              <p:cNvPr id="2297" name="TextBox 2296">
                <a:extLst>
                  <a:ext uri="{FF2B5EF4-FFF2-40B4-BE49-F238E27FC236}">
                    <a16:creationId xmlns:a16="http://schemas.microsoft.com/office/drawing/2014/main" id="{F3FE0C2A-4785-FC59-D2FA-2E6324B324B4}"/>
                  </a:ext>
                </a:extLst>
              </p:cNvPr>
              <p:cNvSpPr txBox="1"/>
              <p:nvPr/>
            </p:nvSpPr>
            <p:spPr>
              <a:xfrm rot="5636">
                <a:off x="9238944" y="5460159"/>
                <a:ext cx="297517"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4</a:t>
                </a:r>
              </a:p>
            </p:txBody>
          </p:sp>
          <p:sp>
            <p:nvSpPr>
              <p:cNvPr id="2298" name="TextBox 2297">
                <a:extLst>
                  <a:ext uri="{FF2B5EF4-FFF2-40B4-BE49-F238E27FC236}">
                    <a16:creationId xmlns:a16="http://schemas.microsoft.com/office/drawing/2014/main" id="{ED6B31C8-0477-C3DF-5344-C4859E9C759A}"/>
                  </a:ext>
                </a:extLst>
              </p:cNvPr>
              <p:cNvSpPr txBox="1"/>
              <p:nvPr/>
            </p:nvSpPr>
            <p:spPr>
              <a:xfrm rot="5636">
                <a:off x="9418203" y="5460159"/>
                <a:ext cx="297517"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4</a:t>
                </a:r>
              </a:p>
            </p:txBody>
          </p:sp>
          <p:sp>
            <p:nvSpPr>
              <p:cNvPr id="2299" name="TextBox 2298">
                <a:extLst>
                  <a:ext uri="{FF2B5EF4-FFF2-40B4-BE49-F238E27FC236}">
                    <a16:creationId xmlns:a16="http://schemas.microsoft.com/office/drawing/2014/main" id="{F9167624-3BB5-64B3-A793-1046A589D185}"/>
                  </a:ext>
                </a:extLst>
              </p:cNvPr>
              <p:cNvSpPr txBox="1"/>
              <p:nvPr/>
            </p:nvSpPr>
            <p:spPr>
              <a:xfrm rot="5636">
                <a:off x="9597461" y="5460159"/>
                <a:ext cx="297517"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3</a:t>
                </a:r>
              </a:p>
            </p:txBody>
          </p:sp>
          <p:sp>
            <p:nvSpPr>
              <p:cNvPr id="2300" name="TextBox 2299">
                <a:extLst>
                  <a:ext uri="{FF2B5EF4-FFF2-40B4-BE49-F238E27FC236}">
                    <a16:creationId xmlns:a16="http://schemas.microsoft.com/office/drawing/2014/main" id="{FA5798B8-CA1F-66F8-077A-1398FD1CA727}"/>
                  </a:ext>
                </a:extLst>
              </p:cNvPr>
              <p:cNvSpPr txBox="1"/>
              <p:nvPr/>
            </p:nvSpPr>
            <p:spPr>
              <a:xfrm rot="5636">
                <a:off x="9776737" y="5460159"/>
                <a:ext cx="297517"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1</a:t>
                </a:r>
              </a:p>
            </p:txBody>
          </p:sp>
          <p:sp>
            <p:nvSpPr>
              <p:cNvPr id="2301" name="TextBox 2300">
                <a:extLst>
                  <a:ext uri="{FF2B5EF4-FFF2-40B4-BE49-F238E27FC236}">
                    <a16:creationId xmlns:a16="http://schemas.microsoft.com/office/drawing/2014/main" id="{6A66EC6C-F601-06DB-C896-3982B398A4C5}"/>
                  </a:ext>
                </a:extLst>
              </p:cNvPr>
              <p:cNvSpPr txBox="1"/>
              <p:nvPr/>
            </p:nvSpPr>
            <p:spPr>
              <a:xfrm rot="5636">
                <a:off x="9955996" y="5460159"/>
                <a:ext cx="297517"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1</a:t>
                </a:r>
              </a:p>
            </p:txBody>
          </p:sp>
          <p:sp>
            <p:nvSpPr>
              <p:cNvPr id="2302" name="TextBox 2301">
                <a:extLst>
                  <a:ext uri="{FF2B5EF4-FFF2-40B4-BE49-F238E27FC236}">
                    <a16:creationId xmlns:a16="http://schemas.microsoft.com/office/drawing/2014/main" id="{2B0635B3-452D-619B-ACEE-B45B5EFFF831}"/>
                  </a:ext>
                </a:extLst>
              </p:cNvPr>
              <p:cNvSpPr txBox="1"/>
              <p:nvPr/>
            </p:nvSpPr>
            <p:spPr>
              <a:xfrm rot="5636">
                <a:off x="10135220" y="5460159"/>
                <a:ext cx="297517"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1</a:t>
                </a:r>
              </a:p>
            </p:txBody>
          </p:sp>
          <p:sp>
            <p:nvSpPr>
              <p:cNvPr id="2303" name="TextBox 2302">
                <a:extLst>
                  <a:ext uri="{FF2B5EF4-FFF2-40B4-BE49-F238E27FC236}">
                    <a16:creationId xmlns:a16="http://schemas.microsoft.com/office/drawing/2014/main" id="{A68F7310-92C8-6320-171F-E543BE1C5090}"/>
                  </a:ext>
                </a:extLst>
              </p:cNvPr>
              <p:cNvSpPr txBox="1"/>
              <p:nvPr/>
            </p:nvSpPr>
            <p:spPr>
              <a:xfrm rot="5636">
                <a:off x="10314477" y="5460159"/>
                <a:ext cx="297517"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1</a:t>
                </a:r>
              </a:p>
            </p:txBody>
          </p:sp>
          <p:sp>
            <p:nvSpPr>
              <p:cNvPr id="2304" name="TextBox 2303">
                <a:extLst>
                  <a:ext uri="{FF2B5EF4-FFF2-40B4-BE49-F238E27FC236}">
                    <a16:creationId xmlns:a16="http://schemas.microsoft.com/office/drawing/2014/main" id="{E5DAD867-C727-222C-A439-0054DFA2A7F8}"/>
                  </a:ext>
                </a:extLst>
              </p:cNvPr>
              <p:cNvSpPr txBox="1"/>
              <p:nvPr/>
            </p:nvSpPr>
            <p:spPr>
              <a:xfrm rot="5636">
                <a:off x="10493736" y="5460159"/>
                <a:ext cx="297517"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0</a:t>
                </a:r>
              </a:p>
            </p:txBody>
          </p:sp>
          <p:sp>
            <p:nvSpPr>
              <p:cNvPr id="2305" name="TextBox 2304">
                <a:extLst>
                  <a:ext uri="{FF2B5EF4-FFF2-40B4-BE49-F238E27FC236}">
                    <a16:creationId xmlns:a16="http://schemas.microsoft.com/office/drawing/2014/main" id="{972FDE70-9427-B27F-F3BE-A144C45F7D04}"/>
                  </a:ext>
                </a:extLst>
              </p:cNvPr>
              <p:cNvSpPr txBox="1"/>
              <p:nvPr/>
            </p:nvSpPr>
            <p:spPr>
              <a:xfrm>
                <a:off x="2267053" y="4754333"/>
                <a:ext cx="318891" cy="278453"/>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0</a:t>
                </a:r>
              </a:p>
            </p:txBody>
          </p:sp>
          <p:sp>
            <p:nvSpPr>
              <p:cNvPr id="2306" name="TextBox 2305">
                <a:extLst>
                  <a:ext uri="{FF2B5EF4-FFF2-40B4-BE49-F238E27FC236}">
                    <a16:creationId xmlns:a16="http://schemas.microsoft.com/office/drawing/2014/main" id="{D8F275AE-1BE6-B28D-20DA-D223EDA52526}"/>
                  </a:ext>
                </a:extLst>
              </p:cNvPr>
              <p:cNvSpPr txBox="1"/>
              <p:nvPr/>
            </p:nvSpPr>
            <p:spPr>
              <a:xfrm>
                <a:off x="2446197" y="4754333"/>
                <a:ext cx="318891" cy="278453"/>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1</a:t>
                </a:r>
              </a:p>
            </p:txBody>
          </p:sp>
          <p:sp>
            <p:nvSpPr>
              <p:cNvPr id="2307" name="TextBox 2306">
                <a:extLst>
                  <a:ext uri="{FF2B5EF4-FFF2-40B4-BE49-F238E27FC236}">
                    <a16:creationId xmlns:a16="http://schemas.microsoft.com/office/drawing/2014/main" id="{1966AA22-B667-A6C4-3D20-CFF7A582F3E7}"/>
                  </a:ext>
                </a:extLst>
              </p:cNvPr>
              <p:cNvSpPr txBox="1"/>
              <p:nvPr/>
            </p:nvSpPr>
            <p:spPr>
              <a:xfrm>
                <a:off x="2625341" y="4754333"/>
                <a:ext cx="318891" cy="278453"/>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2</a:t>
                </a:r>
              </a:p>
            </p:txBody>
          </p:sp>
          <p:sp>
            <p:nvSpPr>
              <p:cNvPr id="2308" name="TextBox 2307">
                <a:extLst>
                  <a:ext uri="{FF2B5EF4-FFF2-40B4-BE49-F238E27FC236}">
                    <a16:creationId xmlns:a16="http://schemas.microsoft.com/office/drawing/2014/main" id="{8658DAA5-CB28-5457-C800-FEF2AEE8948A}"/>
                  </a:ext>
                </a:extLst>
              </p:cNvPr>
              <p:cNvSpPr txBox="1"/>
              <p:nvPr/>
            </p:nvSpPr>
            <p:spPr>
              <a:xfrm>
                <a:off x="2804482" y="4754333"/>
                <a:ext cx="318891" cy="278453"/>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3</a:t>
                </a:r>
              </a:p>
            </p:txBody>
          </p:sp>
          <p:sp>
            <p:nvSpPr>
              <p:cNvPr id="2309" name="TextBox 2308">
                <a:extLst>
                  <a:ext uri="{FF2B5EF4-FFF2-40B4-BE49-F238E27FC236}">
                    <a16:creationId xmlns:a16="http://schemas.microsoft.com/office/drawing/2014/main" id="{208F738E-F769-4ED9-EE68-B968AA0D9647}"/>
                  </a:ext>
                </a:extLst>
              </p:cNvPr>
              <p:cNvSpPr txBox="1"/>
              <p:nvPr/>
            </p:nvSpPr>
            <p:spPr>
              <a:xfrm>
                <a:off x="2983626" y="4754333"/>
                <a:ext cx="318891" cy="278453"/>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4</a:t>
                </a:r>
              </a:p>
            </p:txBody>
          </p:sp>
          <p:sp>
            <p:nvSpPr>
              <p:cNvPr id="2310" name="TextBox 2309">
                <a:extLst>
                  <a:ext uri="{FF2B5EF4-FFF2-40B4-BE49-F238E27FC236}">
                    <a16:creationId xmlns:a16="http://schemas.microsoft.com/office/drawing/2014/main" id="{2FB0EE0F-F60D-319C-A2F6-E8C61AD75BCC}"/>
                  </a:ext>
                </a:extLst>
              </p:cNvPr>
              <p:cNvSpPr txBox="1"/>
              <p:nvPr/>
            </p:nvSpPr>
            <p:spPr>
              <a:xfrm>
                <a:off x="3162764" y="4754333"/>
                <a:ext cx="318891" cy="278453"/>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5</a:t>
                </a:r>
              </a:p>
            </p:txBody>
          </p:sp>
          <p:sp>
            <p:nvSpPr>
              <p:cNvPr id="2311" name="TextBox 2310">
                <a:extLst>
                  <a:ext uri="{FF2B5EF4-FFF2-40B4-BE49-F238E27FC236}">
                    <a16:creationId xmlns:a16="http://schemas.microsoft.com/office/drawing/2014/main" id="{0C6EB63E-441A-621F-01AA-EF8FAFD1C3E3}"/>
                  </a:ext>
                </a:extLst>
              </p:cNvPr>
              <p:cNvSpPr txBox="1"/>
              <p:nvPr/>
            </p:nvSpPr>
            <p:spPr>
              <a:xfrm>
                <a:off x="3341916" y="4754333"/>
                <a:ext cx="318891" cy="278453"/>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6</a:t>
                </a:r>
              </a:p>
            </p:txBody>
          </p:sp>
          <p:sp>
            <p:nvSpPr>
              <p:cNvPr id="2312" name="TextBox 2311">
                <a:extLst>
                  <a:ext uri="{FF2B5EF4-FFF2-40B4-BE49-F238E27FC236}">
                    <a16:creationId xmlns:a16="http://schemas.microsoft.com/office/drawing/2014/main" id="{AF9DDDAB-26D8-2641-C95F-2EE8F36B2CFB}"/>
                  </a:ext>
                </a:extLst>
              </p:cNvPr>
              <p:cNvSpPr txBox="1"/>
              <p:nvPr/>
            </p:nvSpPr>
            <p:spPr>
              <a:xfrm>
                <a:off x="3521052" y="4754333"/>
                <a:ext cx="318891" cy="278453"/>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7</a:t>
                </a:r>
              </a:p>
            </p:txBody>
          </p:sp>
          <p:sp>
            <p:nvSpPr>
              <p:cNvPr id="2313" name="TextBox 2312">
                <a:extLst>
                  <a:ext uri="{FF2B5EF4-FFF2-40B4-BE49-F238E27FC236}">
                    <a16:creationId xmlns:a16="http://schemas.microsoft.com/office/drawing/2014/main" id="{988E2396-7DE1-A841-A466-6AA8736F16E2}"/>
                  </a:ext>
                </a:extLst>
              </p:cNvPr>
              <p:cNvSpPr txBox="1"/>
              <p:nvPr/>
            </p:nvSpPr>
            <p:spPr>
              <a:xfrm>
                <a:off x="3700204" y="4754333"/>
                <a:ext cx="318891" cy="278453"/>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8</a:t>
                </a:r>
              </a:p>
            </p:txBody>
          </p:sp>
          <p:sp>
            <p:nvSpPr>
              <p:cNvPr id="2314" name="TextBox 2313">
                <a:extLst>
                  <a:ext uri="{FF2B5EF4-FFF2-40B4-BE49-F238E27FC236}">
                    <a16:creationId xmlns:a16="http://schemas.microsoft.com/office/drawing/2014/main" id="{904A83B6-A772-C867-F444-C8406597E8F8}"/>
                  </a:ext>
                </a:extLst>
              </p:cNvPr>
              <p:cNvSpPr txBox="1"/>
              <p:nvPr/>
            </p:nvSpPr>
            <p:spPr>
              <a:xfrm>
                <a:off x="3879339" y="4754333"/>
                <a:ext cx="318891" cy="278453"/>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9</a:t>
                </a:r>
              </a:p>
            </p:txBody>
          </p:sp>
          <p:sp>
            <p:nvSpPr>
              <p:cNvPr id="2315" name="TextBox 2314">
                <a:extLst>
                  <a:ext uri="{FF2B5EF4-FFF2-40B4-BE49-F238E27FC236}">
                    <a16:creationId xmlns:a16="http://schemas.microsoft.com/office/drawing/2014/main" id="{DB2E5735-1D6E-FFAD-981B-1B44EB29BFAD}"/>
                  </a:ext>
                </a:extLst>
              </p:cNvPr>
              <p:cNvSpPr txBox="1"/>
              <p:nvPr/>
            </p:nvSpPr>
            <p:spPr>
              <a:xfrm>
                <a:off x="4022863" y="4754333"/>
                <a:ext cx="391560" cy="278453"/>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10</a:t>
                </a:r>
              </a:p>
            </p:txBody>
          </p:sp>
          <p:sp>
            <p:nvSpPr>
              <p:cNvPr id="2316" name="TextBox 2315">
                <a:extLst>
                  <a:ext uri="{FF2B5EF4-FFF2-40B4-BE49-F238E27FC236}">
                    <a16:creationId xmlns:a16="http://schemas.microsoft.com/office/drawing/2014/main" id="{A24417A9-F0F5-8334-0FB7-E408992C1279}"/>
                  </a:ext>
                </a:extLst>
              </p:cNvPr>
              <p:cNvSpPr txBox="1"/>
              <p:nvPr/>
            </p:nvSpPr>
            <p:spPr>
              <a:xfrm>
                <a:off x="4202015" y="4754333"/>
                <a:ext cx="391560" cy="278453"/>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11</a:t>
                </a:r>
              </a:p>
            </p:txBody>
          </p:sp>
          <p:sp>
            <p:nvSpPr>
              <p:cNvPr id="2317" name="TextBox 2316">
                <a:extLst>
                  <a:ext uri="{FF2B5EF4-FFF2-40B4-BE49-F238E27FC236}">
                    <a16:creationId xmlns:a16="http://schemas.microsoft.com/office/drawing/2014/main" id="{1DC09441-8E20-D6C8-B1C8-E73F019F1603}"/>
                  </a:ext>
                </a:extLst>
              </p:cNvPr>
              <p:cNvSpPr txBox="1"/>
              <p:nvPr/>
            </p:nvSpPr>
            <p:spPr>
              <a:xfrm>
                <a:off x="4381150" y="4754333"/>
                <a:ext cx="391560" cy="278453"/>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12</a:t>
                </a:r>
              </a:p>
            </p:txBody>
          </p:sp>
          <p:sp>
            <p:nvSpPr>
              <p:cNvPr id="2318" name="TextBox 2317">
                <a:extLst>
                  <a:ext uri="{FF2B5EF4-FFF2-40B4-BE49-F238E27FC236}">
                    <a16:creationId xmlns:a16="http://schemas.microsoft.com/office/drawing/2014/main" id="{BBBA1499-03B9-87FC-D848-7F4C73DFAF1F}"/>
                  </a:ext>
                </a:extLst>
              </p:cNvPr>
              <p:cNvSpPr txBox="1"/>
              <p:nvPr/>
            </p:nvSpPr>
            <p:spPr>
              <a:xfrm>
                <a:off x="4560303" y="4754333"/>
                <a:ext cx="391560" cy="278453"/>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13</a:t>
                </a:r>
              </a:p>
            </p:txBody>
          </p:sp>
          <p:sp>
            <p:nvSpPr>
              <p:cNvPr id="2319" name="TextBox 2318">
                <a:extLst>
                  <a:ext uri="{FF2B5EF4-FFF2-40B4-BE49-F238E27FC236}">
                    <a16:creationId xmlns:a16="http://schemas.microsoft.com/office/drawing/2014/main" id="{EED6DD75-12B8-76B5-0A6D-9088C16E274A}"/>
                  </a:ext>
                </a:extLst>
              </p:cNvPr>
              <p:cNvSpPr txBox="1"/>
              <p:nvPr/>
            </p:nvSpPr>
            <p:spPr>
              <a:xfrm>
                <a:off x="4739438" y="4754333"/>
                <a:ext cx="391560" cy="278453"/>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14</a:t>
                </a:r>
              </a:p>
            </p:txBody>
          </p:sp>
          <p:sp>
            <p:nvSpPr>
              <p:cNvPr id="2320" name="TextBox 2319">
                <a:extLst>
                  <a:ext uri="{FF2B5EF4-FFF2-40B4-BE49-F238E27FC236}">
                    <a16:creationId xmlns:a16="http://schemas.microsoft.com/office/drawing/2014/main" id="{B96B11FB-9D0E-036E-E03F-C9231EF3E2A1}"/>
                  </a:ext>
                </a:extLst>
              </p:cNvPr>
              <p:cNvSpPr txBox="1"/>
              <p:nvPr/>
            </p:nvSpPr>
            <p:spPr>
              <a:xfrm>
                <a:off x="4918574" y="4754333"/>
                <a:ext cx="391560" cy="278453"/>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15</a:t>
                </a:r>
              </a:p>
            </p:txBody>
          </p:sp>
          <p:sp>
            <p:nvSpPr>
              <p:cNvPr id="2321" name="TextBox 2320">
                <a:extLst>
                  <a:ext uri="{FF2B5EF4-FFF2-40B4-BE49-F238E27FC236}">
                    <a16:creationId xmlns:a16="http://schemas.microsoft.com/office/drawing/2014/main" id="{1997BF9C-7D43-82FD-B7EE-5057294F5FBF}"/>
                  </a:ext>
                </a:extLst>
              </p:cNvPr>
              <p:cNvSpPr txBox="1"/>
              <p:nvPr/>
            </p:nvSpPr>
            <p:spPr>
              <a:xfrm>
                <a:off x="5097726" y="4754333"/>
                <a:ext cx="391560" cy="278453"/>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16</a:t>
                </a:r>
              </a:p>
            </p:txBody>
          </p:sp>
          <p:sp>
            <p:nvSpPr>
              <p:cNvPr id="2322" name="TextBox 2321">
                <a:extLst>
                  <a:ext uri="{FF2B5EF4-FFF2-40B4-BE49-F238E27FC236}">
                    <a16:creationId xmlns:a16="http://schemas.microsoft.com/office/drawing/2014/main" id="{57A058CC-2DDE-B484-742F-5D528D356947}"/>
                  </a:ext>
                </a:extLst>
              </p:cNvPr>
              <p:cNvSpPr txBox="1"/>
              <p:nvPr/>
            </p:nvSpPr>
            <p:spPr>
              <a:xfrm>
                <a:off x="5276860" y="4754333"/>
                <a:ext cx="391560" cy="278453"/>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17</a:t>
                </a:r>
              </a:p>
            </p:txBody>
          </p:sp>
          <p:sp>
            <p:nvSpPr>
              <p:cNvPr id="2323" name="TextBox 2322">
                <a:extLst>
                  <a:ext uri="{FF2B5EF4-FFF2-40B4-BE49-F238E27FC236}">
                    <a16:creationId xmlns:a16="http://schemas.microsoft.com/office/drawing/2014/main" id="{64D7AE39-9E1F-918C-37BF-2FFC2F53FD42}"/>
                  </a:ext>
                </a:extLst>
              </p:cNvPr>
              <p:cNvSpPr txBox="1"/>
              <p:nvPr/>
            </p:nvSpPr>
            <p:spPr>
              <a:xfrm>
                <a:off x="5456014" y="4754333"/>
                <a:ext cx="391560" cy="278453"/>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18</a:t>
                </a:r>
              </a:p>
            </p:txBody>
          </p:sp>
          <p:sp>
            <p:nvSpPr>
              <p:cNvPr id="2324" name="TextBox 2323">
                <a:extLst>
                  <a:ext uri="{FF2B5EF4-FFF2-40B4-BE49-F238E27FC236}">
                    <a16:creationId xmlns:a16="http://schemas.microsoft.com/office/drawing/2014/main" id="{E4A703C2-3F79-5EAD-81BA-278721465290}"/>
                  </a:ext>
                </a:extLst>
              </p:cNvPr>
              <p:cNvSpPr txBox="1"/>
              <p:nvPr/>
            </p:nvSpPr>
            <p:spPr>
              <a:xfrm>
                <a:off x="5635148" y="4754333"/>
                <a:ext cx="391560" cy="278453"/>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19</a:t>
                </a:r>
              </a:p>
            </p:txBody>
          </p:sp>
          <p:sp>
            <p:nvSpPr>
              <p:cNvPr id="2325" name="TextBox 2324">
                <a:extLst>
                  <a:ext uri="{FF2B5EF4-FFF2-40B4-BE49-F238E27FC236}">
                    <a16:creationId xmlns:a16="http://schemas.microsoft.com/office/drawing/2014/main" id="{B1FB18A7-F412-BEFB-5FB1-84BCE165B739}"/>
                  </a:ext>
                </a:extLst>
              </p:cNvPr>
              <p:cNvSpPr txBox="1"/>
              <p:nvPr/>
            </p:nvSpPr>
            <p:spPr>
              <a:xfrm>
                <a:off x="5814302" y="4754333"/>
                <a:ext cx="391560" cy="278453"/>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20</a:t>
                </a:r>
              </a:p>
            </p:txBody>
          </p:sp>
          <p:sp>
            <p:nvSpPr>
              <p:cNvPr id="2326" name="TextBox 2325">
                <a:extLst>
                  <a:ext uri="{FF2B5EF4-FFF2-40B4-BE49-F238E27FC236}">
                    <a16:creationId xmlns:a16="http://schemas.microsoft.com/office/drawing/2014/main" id="{A8D8C544-4733-2739-363F-7839DD9DAD2C}"/>
                  </a:ext>
                </a:extLst>
              </p:cNvPr>
              <p:cNvSpPr txBox="1"/>
              <p:nvPr/>
            </p:nvSpPr>
            <p:spPr>
              <a:xfrm>
                <a:off x="5993436" y="4754333"/>
                <a:ext cx="391560" cy="278453"/>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21</a:t>
                </a:r>
              </a:p>
            </p:txBody>
          </p:sp>
          <p:sp>
            <p:nvSpPr>
              <p:cNvPr id="2327" name="TextBox 2326">
                <a:extLst>
                  <a:ext uri="{FF2B5EF4-FFF2-40B4-BE49-F238E27FC236}">
                    <a16:creationId xmlns:a16="http://schemas.microsoft.com/office/drawing/2014/main" id="{BEF438A5-1677-5FCD-E63A-060F1AF43060}"/>
                  </a:ext>
                </a:extLst>
              </p:cNvPr>
              <p:cNvSpPr txBox="1"/>
              <p:nvPr/>
            </p:nvSpPr>
            <p:spPr>
              <a:xfrm>
                <a:off x="6172588" y="4754333"/>
                <a:ext cx="391560" cy="278453"/>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22</a:t>
                </a:r>
              </a:p>
            </p:txBody>
          </p:sp>
          <p:sp>
            <p:nvSpPr>
              <p:cNvPr id="2328" name="TextBox 2327">
                <a:extLst>
                  <a:ext uri="{FF2B5EF4-FFF2-40B4-BE49-F238E27FC236}">
                    <a16:creationId xmlns:a16="http://schemas.microsoft.com/office/drawing/2014/main" id="{09A2DFAD-C085-6219-CDEA-4AAF3BE9BF4D}"/>
                  </a:ext>
                </a:extLst>
              </p:cNvPr>
              <p:cNvSpPr txBox="1"/>
              <p:nvPr/>
            </p:nvSpPr>
            <p:spPr>
              <a:xfrm>
                <a:off x="6351741" y="4754333"/>
                <a:ext cx="391560" cy="278453"/>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23</a:t>
                </a:r>
              </a:p>
            </p:txBody>
          </p:sp>
          <p:sp>
            <p:nvSpPr>
              <p:cNvPr id="2329" name="TextBox 2328">
                <a:extLst>
                  <a:ext uri="{FF2B5EF4-FFF2-40B4-BE49-F238E27FC236}">
                    <a16:creationId xmlns:a16="http://schemas.microsoft.com/office/drawing/2014/main" id="{80D6DE9B-3141-3A9C-F5BA-71B8083D41AE}"/>
                  </a:ext>
                </a:extLst>
              </p:cNvPr>
              <p:cNvSpPr txBox="1"/>
              <p:nvPr/>
            </p:nvSpPr>
            <p:spPr>
              <a:xfrm>
                <a:off x="6530876" y="4754333"/>
                <a:ext cx="391560" cy="278453"/>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24</a:t>
                </a:r>
              </a:p>
            </p:txBody>
          </p:sp>
          <p:sp>
            <p:nvSpPr>
              <p:cNvPr id="2330" name="TextBox 2329">
                <a:extLst>
                  <a:ext uri="{FF2B5EF4-FFF2-40B4-BE49-F238E27FC236}">
                    <a16:creationId xmlns:a16="http://schemas.microsoft.com/office/drawing/2014/main" id="{98EAB3B0-9458-13B5-78A3-92D37769EA68}"/>
                  </a:ext>
                </a:extLst>
              </p:cNvPr>
              <p:cNvSpPr txBox="1"/>
              <p:nvPr/>
            </p:nvSpPr>
            <p:spPr>
              <a:xfrm>
                <a:off x="6710011" y="4754333"/>
                <a:ext cx="391560" cy="278453"/>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25</a:t>
                </a:r>
              </a:p>
            </p:txBody>
          </p:sp>
          <p:sp>
            <p:nvSpPr>
              <p:cNvPr id="2331" name="TextBox 2330">
                <a:extLst>
                  <a:ext uri="{FF2B5EF4-FFF2-40B4-BE49-F238E27FC236}">
                    <a16:creationId xmlns:a16="http://schemas.microsoft.com/office/drawing/2014/main" id="{89E10022-256F-2776-7E09-E8538935FCC9}"/>
                  </a:ext>
                </a:extLst>
              </p:cNvPr>
              <p:cNvSpPr txBox="1"/>
              <p:nvPr/>
            </p:nvSpPr>
            <p:spPr>
              <a:xfrm>
                <a:off x="6889145" y="4754333"/>
                <a:ext cx="391560" cy="278453"/>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26</a:t>
                </a:r>
              </a:p>
            </p:txBody>
          </p:sp>
          <p:sp>
            <p:nvSpPr>
              <p:cNvPr id="2332" name="TextBox 2331">
                <a:extLst>
                  <a:ext uri="{FF2B5EF4-FFF2-40B4-BE49-F238E27FC236}">
                    <a16:creationId xmlns:a16="http://schemas.microsoft.com/office/drawing/2014/main" id="{03CBC171-9B0F-4B7F-F00D-6325C5BB2997}"/>
                  </a:ext>
                </a:extLst>
              </p:cNvPr>
              <p:cNvSpPr txBox="1"/>
              <p:nvPr/>
            </p:nvSpPr>
            <p:spPr>
              <a:xfrm>
                <a:off x="7068297" y="4754333"/>
                <a:ext cx="391560" cy="278453"/>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27</a:t>
                </a:r>
              </a:p>
            </p:txBody>
          </p:sp>
          <p:sp>
            <p:nvSpPr>
              <p:cNvPr id="2333" name="TextBox 2332">
                <a:extLst>
                  <a:ext uri="{FF2B5EF4-FFF2-40B4-BE49-F238E27FC236}">
                    <a16:creationId xmlns:a16="http://schemas.microsoft.com/office/drawing/2014/main" id="{4B37495D-05A7-BAFD-74DA-F61748ED30CB}"/>
                  </a:ext>
                </a:extLst>
              </p:cNvPr>
              <p:cNvSpPr txBox="1"/>
              <p:nvPr/>
            </p:nvSpPr>
            <p:spPr>
              <a:xfrm>
                <a:off x="7247433" y="4754333"/>
                <a:ext cx="391560" cy="278453"/>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28</a:t>
                </a:r>
              </a:p>
            </p:txBody>
          </p:sp>
          <p:sp>
            <p:nvSpPr>
              <p:cNvPr id="2334" name="TextBox 2333">
                <a:extLst>
                  <a:ext uri="{FF2B5EF4-FFF2-40B4-BE49-F238E27FC236}">
                    <a16:creationId xmlns:a16="http://schemas.microsoft.com/office/drawing/2014/main" id="{682C68CE-6E6D-BE24-5034-B497B038290D}"/>
                  </a:ext>
                </a:extLst>
              </p:cNvPr>
              <p:cNvSpPr txBox="1"/>
              <p:nvPr/>
            </p:nvSpPr>
            <p:spPr>
              <a:xfrm>
                <a:off x="7426585" y="4754333"/>
                <a:ext cx="391560" cy="278453"/>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29</a:t>
                </a:r>
              </a:p>
            </p:txBody>
          </p:sp>
          <p:sp>
            <p:nvSpPr>
              <p:cNvPr id="2335" name="TextBox 2334">
                <a:extLst>
                  <a:ext uri="{FF2B5EF4-FFF2-40B4-BE49-F238E27FC236}">
                    <a16:creationId xmlns:a16="http://schemas.microsoft.com/office/drawing/2014/main" id="{CA888D91-2F13-01AD-C8D5-108A996F167A}"/>
                  </a:ext>
                </a:extLst>
              </p:cNvPr>
              <p:cNvSpPr txBox="1"/>
              <p:nvPr/>
            </p:nvSpPr>
            <p:spPr>
              <a:xfrm>
                <a:off x="7605739" y="4754333"/>
                <a:ext cx="391560" cy="278453"/>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30</a:t>
                </a:r>
              </a:p>
            </p:txBody>
          </p:sp>
          <p:sp>
            <p:nvSpPr>
              <p:cNvPr id="2336" name="TextBox 2335">
                <a:extLst>
                  <a:ext uri="{FF2B5EF4-FFF2-40B4-BE49-F238E27FC236}">
                    <a16:creationId xmlns:a16="http://schemas.microsoft.com/office/drawing/2014/main" id="{08EFEFCB-91DB-760E-BE78-7FDA14B5AF91}"/>
                  </a:ext>
                </a:extLst>
              </p:cNvPr>
              <p:cNvSpPr txBox="1"/>
              <p:nvPr/>
            </p:nvSpPr>
            <p:spPr>
              <a:xfrm>
                <a:off x="7784875" y="4754333"/>
                <a:ext cx="391560" cy="278453"/>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31</a:t>
                </a:r>
              </a:p>
            </p:txBody>
          </p:sp>
          <p:sp>
            <p:nvSpPr>
              <p:cNvPr id="2337" name="TextBox 2336">
                <a:extLst>
                  <a:ext uri="{FF2B5EF4-FFF2-40B4-BE49-F238E27FC236}">
                    <a16:creationId xmlns:a16="http://schemas.microsoft.com/office/drawing/2014/main" id="{A71E6181-1932-6B85-61C1-075AD5348385}"/>
                  </a:ext>
                </a:extLst>
              </p:cNvPr>
              <p:cNvSpPr txBox="1"/>
              <p:nvPr/>
            </p:nvSpPr>
            <p:spPr>
              <a:xfrm>
                <a:off x="7964009" y="4754333"/>
                <a:ext cx="391560" cy="278453"/>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32</a:t>
                </a:r>
              </a:p>
            </p:txBody>
          </p:sp>
          <p:sp>
            <p:nvSpPr>
              <p:cNvPr id="2338" name="TextBox 2337">
                <a:extLst>
                  <a:ext uri="{FF2B5EF4-FFF2-40B4-BE49-F238E27FC236}">
                    <a16:creationId xmlns:a16="http://schemas.microsoft.com/office/drawing/2014/main" id="{7D3C341B-64B3-F9B0-4793-C20F7783F48A}"/>
                  </a:ext>
                </a:extLst>
              </p:cNvPr>
              <p:cNvSpPr txBox="1"/>
              <p:nvPr/>
            </p:nvSpPr>
            <p:spPr>
              <a:xfrm>
                <a:off x="8143161" y="4754333"/>
                <a:ext cx="391560" cy="278453"/>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33</a:t>
                </a:r>
              </a:p>
            </p:txBody>
          </p:sp>
          <p:sp>
            <p:nvSpPr>
              <p:cNvPr id="2339" name="TextBox 2338">
                <a:extLst>
                  <a:ext uri="{FF2B5EF4-FFF2-40B4-BE49-F238E27FC236}">
                    <a16:creationId xmlns:a16="http://schemas.microsoft.com/office/drawing/2014/main" id="{4E9D39BE-5D5A-2620-CE90-A1DF4A0707E2}"/>
                  </a:ext>
                </a:extLst>
              </p:cNvPr>
              <p:cNvSpPr txBox="1"/>
              <p:nvPr/>
            </p:nvSpPr>
            <p:spPr>
              <a:xfrm>
                <a:off x="8322296" y="4754333"/>
                <a:ext cx="391560" cy="278453"/>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34</a:t>
                </a:r>
              </a:p>
            </p:txBody>
          </p:sp>
          <p:sp>
            <p:nvSpPr>
              <p:cNvPr id="2340" name="TextBox 2339">
                <a:extLst>
                  <a:ext uri="{FF2B5EF4-FFF2-40B4-BE49-F238E27FC236}">
                    <a16:creationId xmlns:a16="http://schemas.microsoft.com/office/drawing/2014/main" id="{DBDEFA71-BF52-913A-5B04-1745853F0549}"/>
                  </a:ext>
                </a:extLst>
              </p:cNvPr>
              <p:cNvSpPr txBox="1"/>
              <p:nvPr/>
            </p:nvSpPr>
            <p:spPr>
              <a:xfrm>
                <a:off x="8501431" y="4754333"/>
                <a:ext cx="391560" cy="278453"/>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35</a:t>
                </a:r>
              </a:p>
            </p:txBody>
          </p:sp>
          <p:sp>
            <p:nvSpPr>
              <p:cNvPr id="2341" name="TextBox 2340">
                <a:extLst>
                  <a:ext uri="{FF2B5EF4-FFF2-40B4-BE49-F238E27FC236}">
                    <a16:creationId xmlns:a16="http://schemas.microsoft.com/office/drawing/2014/main" id="{4EA03D42-24E8-EDF9-4CD0-DA22BDBFCEE9}"/>
                  </a:ext>
                </a:extLst>
              </p:cNvPr>
              <p:cNvSpPr txBox="1"/>
              <p:nvPr/>
            </p:nvSpPr>
            <p:spPr>
              <a:xfrm>
                <a:off x="8680584" y="4754333"/>
                <a:ext cx="391560" cy="278453"/>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36</a:t>
                </a:r>
              </a:p>
            </p:txBody>
          </p:sp>
          <p:sp>
            <p:nvSpPr>
              <p:cNvPr id="2342" name="TextBox 2341">
                <a:extLst>
                  <a:ext uri="{FF2B5EF4-FFF2-40B4-BE49-F238E27FC236}">
                    <a16:creationId xmlns:a16="http://schemas.microsoft.com/office/drawing/2014/main" id="{ED942058-CC10-BE81-AD33-F71E8B61BE04}"/>
                  </a:ext>
                </a:extLst>
              </p:cNvPr>
              <p:cNvSpPr txBox="1"/>
              <p:nvPr/>
            </p:nvSpPr>
            <p:spPr>
              <a:xfrm>
                <a:off x="8859736" y="4754333"/>
                <a:ext cx="391560" cy="278453"/>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37</a:t>
                </a:r>
              </a:p>
            </p:txBody>
          </p:sp>
          <p:sp>
            <p:nvSpPr>
              <p:cNvPr id="2343" name="TextBox 2342">
                <a:extLst>
                  <a:ext uri="{FF2B5EF4-FFF2-40B4-BE49-F238E27FC236}">
                    <a16:creationId xmlns:a16="http://schemas.microsoft.com/office/drawing/2014/main" id="{A0BE4574-F659-68B6-F597-52970A51ABC7}"/>
                  </a:ext>
                </a:extLst>
              </p:cNvPr>
              <p:cNvSpPr txBox="1"/>
              <p:nvPr/>
            </p:nvSpPr>
            <p:spPr>
              <a:xfrm>
                <a:off x="9038871" y="4754333"/>
                <a:ext cx="391560" cy="278453"/>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38</a:t>
                </a:r>
              </a:p>
            </p:txBody>
          </p:sp>
          <p:sp>
            <p:nvSpPr>
              <p:cNvPr id="2344" name="TextBox 2343">
                <a:extLst>
                  <a:ext uri="{FF2B5EF4-FFF2-40B4-BE49-F238E27FC236}">
                    <a16:creationId xmlns:a16="http://schemas.microsoft.com/office/drawing/2014/main" id="{5D14A4ED-CB05-BC1B-D404-6A844BBE54AF}"/>
                  </a:ext>
                </a:extLst>
              </p:cNvPr>
              <p:cNvSpPr txBox="1"/>
              <p:nvPr/>
            </p:nvSpPr>
            <p:spPr>
              <a:xfrm>
                <a:off x="9218024" y="4754333"/>
                <a:ext cx="391560" cy="278453"/>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39</a:t>
                </a:r>
              </a:p>
            </p:txBody>
          </p:sp>
          <p:sp>
            <p:nvSpPr>
              <p:cNvPr id="2345" name="TextBox 2344">
                <a:extLst>
                  <a:ext uri="{FF2B5EF4-FFF2-40B4-BE49-F238E27FC236}">
                    <a16:creationId xmlns:a16="http://schemas.microsoft.com/office/drawing/2014/main" id="{8C9A618E-34C4-8FF5-4F31-E70825F71217}"/>
                  </a:ext>
                </a:extLst>
              </p:cNvPr>
              <p:cNvSpPr txBox="1"/>
              <p:nvPr/>
            </p:nvSpPr>
            <p:spPr>
              <a:xfrm>
                <a:off x="9397158" y="4754333"/>
                <a:ext cx="391560" cy="278453"/>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40</a:t>
                </a:r>
              </a:p>
            </p:txBody>
          </p:sp>
          <p:sp>
            <p:nvSpPr>
              <p:cNvPr id="2346" name="TextBox 2345">
                <a:extLst>
                  <a:ext uri="{FF2B5EF4-FFF2-40B4-BE49-F238E27FC236}">
                    <a16:creationId xmlns:a16="http://schemas.microsoft.com/office/drawing/2014/main" id="{6C64FEC0-33AE-DD23-6357-C3BAF91B4C80}"/>
                  </a:ext>
                </a:extLst>
              </p:cNvPr>
              <p:cNvSpPr txBox="1"/>
              <p:nvPr/>
            </p:nvSpPr>
            <p:spPr>
              <a:xfrm>
                <a:off x="9576294" y="4754333"/>
                <a:ext cx="391560" cy="278453"/>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41</a:t>
                </a:r>
              </a:p>
            </p:txBody>
          </p:sp>
          <p:sp>
            <p:nvSpPr>
              <p:cNvPr id="2347" name="TextBox 2346">
                <a:extLst>
                  <a:ext uri="{FF2B5EF4-FFF2-40B4-BE49-F238E27FC236}">
                    <a16:creationId xmlns:a16="http://schemas.microsoft.com/office/drawing/2014/main" id="{C95E8919-8F3D-3825-8DCD-5EC70DC6A37F}"/>
                  </a:ext>
                </a:extLst>
              </p:cNvPr>
              <p:cNvSpPr txBox="1"/>
              <p:nvPr/>
            </p:nvSpPr>
            <p:spPr>
              <a:xfrm>
                <a:off x="9755429" y="4754333"/>
                <a:ext cx="391560" cy="278453"/>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42</a:t>
                </a:r>
              </a:p>
            </p:txBody>
          </p:sp>
          <p:sp>
            <p:nvSpPr>
              <p:cNvPr id="2348" name="TextBox 2347">
                <a:extLst>
                  <a:ext uri="{FF2B5EF4-FFF2-40B4-BE49-F238E27FC236}">
                    <a16:creationId xmlns:a16="http://schemas.microsoft.com/office/drawing/2014/main" id="{CFDD8232-CBBE-933E-1623-D51E3B1407A2}"/>
                  </a:ext>
                </a:extLst>
              </p:cNvPr>
              <p:cNvSpPr txBox="1"/>
              <p:nvPr/>
            </p:nvSpPr>
            <p:spPr>
              <a:xfrm>
                <a:off x="9934582" y="4754333"/>
                <a:ext cx="391560" cy="278453"/>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43</a:t>
                </a:r>
              </a:p>
            </p:txBody>
          </p:sp>
          <p:sp>
            <p:nvSpPr>
              <p:cNvPr id="2349" name="TextBox 2348">
                <a:extLst>
                  <a:ext uri="{FF2B5EF4-FFF2-40B4-BE49-F238E27FC236}">
                    <a16:creationId xmlns:a16="http://schemas.microsoft.com/office/drawing/2014/main" id="{9B32D4EC-485D-6D58-25D0-8CAAC2F628D3}"/>
                  </a:ext>
                </a:extLst>
              </p:cNvPr>
              <p:cNvSpPr txBox="1"/>
              <p:nvPr/>
            </p:nvSpPr>
            <p:spPr>
              <a:xfrm>
                <a:off x="10113734" y="4754333"/>
                <a:ext cx="391560" cy="278453"/>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44</a:t>
                </a:r>
              </a:p>
            </p:txBody>
          </p:sp>
          <p:sp>
            <p:nvSpPr>
              <p:cNvPr id="2350" name="TextBox 2349">
                <a:extLst>
                  <a:ext uri="{FF2B5EF4-FFF2-40B4-BE49-F238E27FC236}">
                    <a16:creationId xmlns:a16="http://schemas.microsoft.com/office/drawing/2014/main" id="{561914A2-A45A-F9BA-477E-5CD2EE527C9B}"/>
                  </a:ext>
                </a:extLst>
              </p:cNvPr>
              <p:cNvSpPr txBox="1"/>
              <p:nvPr/>
            </p:nvSpPr>
            <p:spPr>
              <a:xfrm>
                <a:off x="10292869" y="4754333"/>
                <a:ext cx="391560" cy="278453"/>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45</a:t>
                </a:r>
              </a:p>
            </p:txBody>
          </p:sp>
          <p:sp>
            <p:nvSpPr>
              <p:cNvPr id="2351" name="TextBox 2350">
                <a:extLst>
                  <a:ext uri="{FF2B5EF4-FFF2-40B4-BE49-F238E27FC236}">
                    <a16:creationId xmlns:a16="http://schemas.microsoft.com/office/drawing/2014/main" id="{EB0BE9A3-233C-EC1F-D14D-7D14A73E3AB6}"/>
                  </a:ext>
                </a:extLst>
              </p:cNvPr>
              <p:cNvSpPr txBox="1"/>
              <p:nvPr/>
            </p:nvSpPr>
            <p:spPr>
              <a:xfrm>
                <a:off x="10472022" y="4754333"/>
                <a:ext cx="391560" cy="278453"/>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46</a:t>
                </a:r>
              </a:p>
            </p:txBody>
          </p:sp>
          <p:sp>
            <p:nvSpPr>
              <p:cNvPr id="2352" name="TextBox 2351">
                <a:extLst>
                  <a:ext uri="{FF2B5EF4-FFF2-40B4-BE49-F238E27FC236}">
                    <a16:creationId xmlns:a16="http://schemas.microsoft.com/office/drawing/2014/main" id="{157DCFA1-60B8-3B85-2805-F40B18BBED4F}"/>
                  </a:ext>
                </a:extLst>
              </p:cNvPr>
              <p:cNvSpPr txBox="1"/>
              <p:nvPr/>
            </p:nvSpPr>
            <p:spPr>
              <a:xfrm>
                <a:off x="1994610" y="4504875"/>
                <a:ext cx="318891" cy="278453"/>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0</a:t>
                </a:r>
              </a:p>
            </p:txBody>
          </p:sp>
          <p:sp>
            <p:nvSpPr>
              <p:cNvPr id="2353" name="TextBox 2352">
                <a:extLst>
                  <a:ext uri="{FF2B5EF4-FFF2-40B4-BE49-F238E27FC236}">
                    <a16:creationId xmlns:a16="http://schemas.microsoft.com/office/drawing/2014/main" id="{648A12BD-AC63-EE8B-B23B-91C979FF3A9D}"/>
                  </a:ext>
                </a:extLst>
              </p:cNvPr>
              <p:cNvSpPr txBox="1"/>
              <p:nvPr/>
            </p:nvSpPr>
            <p:spPr>
              <a:xfrm>
                <a:off x="1856929" y="1058111"/>
                <a:ext cx="464229" cy="278453"/>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100</a:t>
                </a:r>
              </a:p>
            </p:txBody>
          </p:sp>
          <p:sp>
            <p:nvSpPr>
              <p:cNvPr id="2354" name="TextBox 2353">
                <a:extLst>
                  <a:ext uri="{FF2B5EF4-FFF2-40B4-BE49-F238E27FC236}">
                    <a16:creationId xmlns:a16="http://schemas.microsoft.com/office/drawing/2014/main" id="{607F51F5-F6AB-4BAF-833E-F175547BB663}"/>
                  </a:ext>
                </a:extLst>
              </p:cNvPr>
              <p:cNvSpPr txBox="1"/>
              <p:nvPr/>
            </p:nvSpPr>
            <p:spPr>
              <a:xfrm>
                <a:off x="1928146" y="1744616"/>
                <a:ext cx="391560" cy="278453"/>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80</a:t>
                </a:r>
              </a:p>
            </p:txBody>
          </p:sp>
          <p:sp>
            <p:nvSpPr>
              <p:cNvPr id="2355" name="TextBox 2354">
                <a:extLst>
                  <a:ext uri="{FF2B5EF4-FFF2-40B4-BE49-F238E27FC236}">
                    <a16:creationId xmlns:a16="http://schemas.microsoft.com/office/drawing/2014/main" id="{2428A26E-0BEB-6CDD-7D5C-8B5D59BE5468}"/>
                  </a:ext>
                </a:extLst>
              </p:cNvPr>
              <p:cNvSpPr txBox="1"/>
              <p:nvPr/>
            </p:nvSpPr>
            <p:spPr>
              <a:xfrm>
                <a:off x="1928146" y="2444250"/>
                <a:ext cx="391560" cy="278453"/>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60</a:t>
                </a:r>
              </a:p>
            </p:txBody>
          </p:sp>
          <p:sp>
            <p:nvSpPr>
              <p:cNvPr id="2356" name="TextBox 2355">
                <a:extLst>
                  <a:ext uri="{FF2B5EF4-FFF2-40B4-BE49-F238E27FC236}">
                    <a16:creationId xmlns:a16="http://schemas.microsoft.com/office/drawing/2014/main" id="{03789D72-EB23-72E6-01D1-4DA25A361861}"/>
                  </a:ext>
                </a:extLst>
              </p:cNvPr>
              <p:cNvSpPr txBox="1"/>
              <p:nvPr/>
            </p:nvSpPr>
            <p:spPr>
              <a:xfrm>
                <a:off x="1928146" y="3125090"/>
                <a:ext cx="391560" cy="278453"/>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40</a:t>
                </a:r>
              </a:p>
            </p:txBody>
          </p:sp>
          <p:sp>
            <p:nvSpPr>
              <p:cNvPr id="2357" name="TextBox 2356">
                <a:extLst>
                  <a:ext uri="{FF2B5EF4-FFF2-40B4-BE49-F238E27FC236}">
                    <a16:creationId xmlns:a16="http://schemas.microsoft.com/office/drawing/2014/main" id="{8854BFA2-CAA1-036F-F6ED-964F119AF1A4}"/>
                  </a:ext>
                </a:extLst>
              </p:cNvPr>
              <p:cNvSpPr txBox="1"/>
              <p:nvPr/>
            </p:nvSpPr>
            <p:spPr>
              <a:xfrm>
                <a:off x="1928146" y="3808788"/>
                <a:ext cx="391560" cy="278453"/>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20</a:t>
                </a:r>
              </a:p>
            </p:txBody>
          </p:sp>
        </p:grpSp>
        <p:grpSp>
          <p:nvGrpSpPr>
            <p:cNvPr id="2358" name="Graphic 4">
              <a:extLst>
                <a:ext uri="{FF2B5EF4-FFF2-40B4-BE49-F238E27FC236}">
                  <a16:creationId xmlns:a16="http://schemas.microsoft.com/office/drawing/2014/main" id="{94577312-4EAB-4AE7-3058-ABD31128C8F4}"/>
                </a:ext>
              </a:extLst>
            </p:cNvPr>
            <p:cNvGrpSpPr/>
            <p:nvPr/>
          </p:nvGrpSpPr>
          <p:grpSpPr>
            <a:xfrm>
              <a:off x="2370423" y="1231367"/>
              <a:ext cx="8224132" cy="2383707"/>
              <a:chOff x="2370423" y="1159172"/>
              <a:chExt cx="8224132" cy="2383707"/>
            </a:xfrm>
            <a:noFill/>
          </p:grpSpPr>
          <p:sp>
            <p:nvSpPr>
              <p:cNvPr id="2359" name="Freeform 214">
                <a:extLst>
                  <a:ext uri="{FF2B5EF4-FFF2-40B4-BE49-F238E27FC236}">
                    <a16:creationId xmlns:a16="http://schemas.microsoft.com/office/drawing/2014/main" id="{4478EDC0-2686-EE9E-27F9-961E3B5E7974}"/>
                  </a:ext>
                </a:extLst>
              </p:cNvPr>
              <p:cNvSpPr/>
              <p:nvPr/>
            </p:nvSpPr>
            <p:spPr>
              <a:xfrm>
                <a:off x="2393964" y="1187548"/>
                <a:ext cx="1007415" cy="552951"/>
              </a:xfrm>
              <a:custGeom>
                <a:avLst/>
                <a:gdLst>
                  <a:gd name="connsiteX0" fmla="*/ 0 w 1007415"/>
                  <a:gd name="connsiteY0" fmla="*/ 0 h 552951"/>
                  <a:gd name="connsiteX1" fmla="*/ 223853 w 1007415"/>
                  <a:gd name="connsiteY1" fmla="*/ 0 h 552951"/>
                  <a:gd name="connsiteX2" fmla="*/ 223853 w 1007415"/>
                  <a:gd name="connsiteY2" fmla="*/ 17153 h 552951"/>
                  <a:gd name="connsiteX3" fmla="*/ 229747 w 1007415"/>
                  <a:gd name="connsiteY3" fmla="*/ 17153 h 552951"/>
                  <a:gd name="connsiteX4" fmla="*/ 229747 w 1007415"/>
                  <a:gd name="connsiteY4" fmla="*/ 25730 h 552951"/>
                  <a:gd name="connsiteX5" fmla="*/ 247429 w 1007415"/>
                  <a:gd name="connsiteY5" fmla="*/ 25730 h 552951"/>
                  <a:gd name="connsiteX6" fmla="*/ 247429 w 1007415"/>
                  <a:gd name="connsiteY6" fmla="*/ 34429 h 552951"/>
                  <a:gd name="connsiteX7" fmla="*/ 253323 w 1007415"/>
                  <a:gd name="connsiteY7" fmla="*/ 34429 h 552951"/>
                  <a:gd name="connsiteX8" fmla="*/ 253323 w 1007415"/>
                  <a:gd name="connsiteY8" fmla="*/ 51706 h 552951"/>
                  <a:gd name="connsiteX9" fmla="*/ 259200 w 1007415"/>
                  <a:gd name="connsiteY9" fmla="*/ 51706 h 552951"/>
                  <a:gd name="connsiteX10" fmla="*/ 259200 w 1007415"/>
                  <a:gd name="connsiteY10" fmla="*/ 86259 h 552951"/>
                  <a:gd name="connsiteX11" fmla="*/ 265094 w 1007415"/>
                  <a:gd name="connsiteY11" fmla="*/ 86259 h 552951"/>
                  <a:gd name="connsiteX12" fmla="*/ 265094 w 1007415"/>
                  <a:gd name="connsiteY12" fmla="*/ 94959 h 552951"/>
                  <a:gd name="connsiteX13" fmla="*/ 270988 w 1007415"/>
                  <a:gd name="connsiteY13" fmla="*/ 94959 h 552951"/>
                  <a:gd name="connsiteX14" fmla="*/ 270988 w 1007415"/>
                  <a:gd name="connsiteY14" fmla="*/ 103659 h 552951"/>
                  <a:gd name="connsiteX15" fmla="*/ 282758 w 1007415"/>
                  <a:gd name="connsiteY15" fmla="*/ 103659 h 552951"/>
                  <a:gd name="connsiteX16" fmla="*/ 282758 w 1007415"/>
                  <a:gd name="connsiteY16" fmla="*/ 112482 h 552951"/>
                  <a:gd name="connsiteX17" fmla="*/ 288670 w 1007415"/>
                  <a:gd name="connsiteY17" fmla="*/ 112482 h 552951"/>
                  <a:gd name="connsiteX18" fmla="*/ 288670 w 1007415"/>
                  <a:gd name="connsiteY18" fmla="*/ 121182 h 552951"/>
                  <a:gd name="connsiteX19" fmla="*/ 294547 w 1007415"/>
                  <a:gd name="connsiteY19" fmla="*/ 121182 h 552951"/>
                  <a:gd name="connsiteX20" fmla="*/ 294547 w 1007415"/>
                  <a:gd name="connsiteY20" fmla="*/ 129882 h 552951"/>
                  <a:gd name="connsiteX21" fmla="*/ 306335 w 1007415"/>
                  <a:gd name="connsiteY21" fmla="*/ 129882 h 552951"/>
                  <a:gd name="connsiteX22" fmla="*/ 306335 w 1007415"/>
                  <a:gd name="connsiteY22" fmla="*/ 138706 h 552951"/>
                  <a:gd name="connsiteX23" fmla="*/ 335788 w 1007415"/>
                  <a:gd name="connsiteY23" fmla="*/ 138706 h 552951"/>
                  <a:gd name="connsiteX24" fmla="*/ 335788 w 1007415"/>
                  <a:gd name="connsiteY24" fmla="*/ 147423 h 552951"/>
                  <a:gd name="connsiteX25" fmla="*/ 341682 w 1007415"/>
                  <a:gd name="connsiteY25" fmla="*/ 147423 h 552951"/>
                  <a:gd name="connsiteX26" fmla="*/ 341682 w 1007415"/>
                  <a:gd name="connsiteY26" fmla="*/ 156247 h 552951"/>
                  <a:gd name="connsiteX27" fmla="*/ 377029 w 1007415"/>
                  <a:gd name="connsiteY27" fmla="*/ 156247 h 552951"/>
                  <a:gd name="connsiteX28" fmla="*/ 377029 w 1007415"/>
                  <a:gd name="connsiteY28" fmla="*/ 164947 h 552951"/>
                  <a:gd name="connsiteX29" fmla="*/ 406464 w 1007415"/>
                  <a:gd name="connsiteY29" fmla="*/ 164947 h 552951"/>
                  <a:gd name="connsiteX30" fmla="*/ 406464 w 1007415"/>
                  <a:gd name="connsiteY30" fmla="*/ 173770 h 552951"/>
                  <a:gd name="connsiteX31" fmla="*/ 418235 w 1007415"/>
                  <a:gd name="connsiteY31" fmla="*/ 173770 h 552951"/>
                  <a:gd name="connsiteX32" fmla="*/ 418235 w 1007415"/>
                  <a:gd name="connsiteY32" fmla="*/ 182594 h 552951"/>
                  <a:gd name="connsiteX33" fmla="*/ 435882 w 1007415"/>
                  <a:gd name="connsiteY33" fmla="*/ 182594 h 552951"/>
                  <a:gd name="connsiteX34" fmla="*/ 435882 w 1007415"/>
                  <a:gd name="connsiteY34" fmla="*/ 191417 h 552951"/>
                  <a:gd name="connsiteX35" fmla="*/ 483087 w 1007415"/>
                  <a:gd name="connsiteY35" fmla="*/ 191417 h 552951"/>
                  <a:gd name="connsiteX36" fmla="*/ 483087 w 1007415"/>
                  <a:gd name="connsiteY36" fmla="*/ 200118 h 552951"/>
                  <a:gd name="connsiteX37" fmla="*/ 488964 w 1007415"/>
                  <a:gd name="connsiteY37" fmla="*/ 200118 h 552951"/>
                  <a:gd name="connsiteX38" fmla="*/ 488964 w 1007415"/>
                  <a:gd name="connsiteY38" fmla="*/ 208959 h 552951"/>
                  <a:gd name="connsiteX39" fmla="*/ 500734 w 1007415"/>
                  <a:gd name="connsiteY39" fmla="*/ 208959 h 552951"/>
                  <a:gd name="connsiteX40" fmla="*/ 500734 w 1007415"/>
                  <a:gd name="connsiteY40" fmla="*/ 235429 h 552951"/>
                  <a:gd name="connsiteX41" fmla="*/ 506628 w 1007415"/>
                  <a:gd name="connsiteY41" fmla="*/ 235429 h 552951"/>
                  <a:gd name="connsiteX42" fmla="*/ 506628 w 1007415"/>
                  <a:gd name="connsiteY42" fmla="*/ 244253 h 552951"/>
                  <a:gd name="connsiteX43" fmla="*/ 530152 w 1007415"/>
                  <a:gd name="connsiteY43" fmla="*/ 244253 h 552951"/>
                  <a:gd name="connsiteX44" fmla="*/ 530152 w 1007415"/>
                  <a:gd name="connsiteY44" fmla="*/ 253094 h 552951"/>
                  <a:gd name="connsiteX45" fmla="*/ 683399 w 1007415"/>
                  <a:gd name="connsiteY45" fmla="*/ 253094 h 552951"/>
                  <a:gd name="connsiteX46" fmla="*/ 683399 w 1007415"/>
                  <a:gd name="connsiteY46" fmla="*/ 262041 h 552951"/>
                  <a:gd name="connsiteX47" fmla="*/ 706940 w 1007415"/>
                  <a:gd name="connsiteY47" fmla="*/ 262041 h 552951"/>
                  <a:gd name="connsiteX48" fmla="*/ 706940 w 1007415"/>
                  <a:gd name="connsiteY48" fmla="*/ 270988 h 552951"/>
                  <a:gd name="connsiteX49" fmla="*/ 718711 w 1007415"/>
                  <a:gd name="connsiteY49" fmla="*/ 270988 h 552951"/>
                  <a:gd name="connsiteX50" fmla="*/ 718711 w 1007415"/>
                  <a:gd name="connsiteY50" fmla="*/ 279952 h 552951"/>
                  <a:gd name="connsiteX51" fmla="*/ 724587 w 1007415"/>
                  <a:gd name="connsiteY51" fmla="*/ 279952 h 552951"/>
                  <a:gd name="connsiteX52" fmla="*/ 724587 w 1007415"/>
                  <a:gd name="connsiteY52" fmla="*/ 297847 h 552951"/>
                  <a:gd name="connsiteX53" fmla="*/ 742252 w 1007415"/>
                  <a:gd name="connsiteY53" fmla="*/ 297847 h 552951"/>
                  <a:gd name="connsiteX54" fmla="*/ 742252 w 1007415"/>
                  <a:gd name="connsiteY54" fmla="*/ 324723 h 552951"/>
                  <a:gd name="connsiteX55" fmla="*/ 748128 w 1007415"/>
                  <a:gd name="connsiteY55" fmla="*/ 324723 h 552951"/>
                  <a:gd name="connsiteX56" fmla="*/ 748128 w 1007415"/>
                  <a:gd name="connsiteY56" fmla="*/ 333794 h 552951"/>
                  <a:gd name="connsiteX57" fmla="*/ 754005 w 1007415"/>
                  <a:gd name="connsiteY57" fmla="*/ 333794 h 552951"/>
                  <a:gd name="connsiteX58" fmla="*/ 754005 w 1007415"/>
                  <a:gd name="connsiteY58" fmla="*/ 342882 h 552951"/>
                  <a:gd name="connsiteX59" fmla="*/ 771793 w 1007415"/>
                  <a:gd name="connsiteY59" fmla="*/ 342882 h 552951"/>
                  <a:gd name="connsiteX60" fmla="*/ 771793 w 1007415"/>
                  <a:gd name="connsiteY60" fmla="*/ 351952 h 552951"/>
                  <a:gd name="connsiteX61" fmla="*/ 777687 w 1007415"/>
                  <a:gd name="connsiteY61" fmla="*/ 351952 h 552951"/>
                  <a:gd name="connsiteX62" fmla="*/ 777687 w 1007415"/>
                  <a:gd name="connsiteY62" fmla="*/ 369988 h 552951"/>
                  <a:gd name="connsiteX63" fmla="*/ 783563 w 1007415"/>
                  <a:gd name="connsiteY63" fmla="*/ 369988 h 552951"/>
                  <a:gd name="connsiteX64" fmla="*/ 783563 w 1007415"/>
                  <a:gd name="connsiteY64" fmla="*/ 379058 h 552951"/>
                  <a:gd name="connsiteX65" fmla="*/ 789440 w 1007415"/>
                  <a:gd name="connsiteY65" fmla="*/ 379058 h 552951"/>
                  <a:gd name="connsiteX66" fmla="*/ 789440 w 1007415"/>
                  <a:gd name="connsiteY66" fmla="*/ 406429 h 552951"/>
                  <a:gd name="connsiteX67" fmla="*/ 795334 w 1007415"/>
                  <a:gd name="connsiteY67" fmla="*/ 406429 h 552951"/>
                  <a:gd name="connsiteX68" fmla="*/ 795334 w 1007415"/>
                  <a:gd name="connsiteY68" fmla="*/ 415499 h 552951"/>
                  <a:gd name="connsiteX69" fmla="*/ 824751 w 1007415"/>
                  <a:gd name="connsiteY69" fmla="*/ 415499 h 552951"/>
                  <a:gd name="connsiteX70" fmla="*/ 824751 w 1007415"/>
                  <a:gd name="connsiteY70" fmla="*/ 433658 h 552951"/>
                  <a:gd name="connsiteX71" fmla="*/ 883728 w 1007415"/>
                  <a:gd name="connsiteY71" fmla="*/ 433658 h 552951"/>
                  <a:gd name="connsiteX72" fmla="*/ 883728 w 1007415"/>
                  <a:gd name="connsiteY72" fmla="*/ 442746 h 552951"/>
                  <a:gd name="connsiteX73" fmla="*/ 954334 w 1007415"/>
                  <a:gd name="connsiteY73" fmla="*/ 442746 h 552951"/>
                  <a:gd name="connsiteX74" fmla="*/ 954334 w 1007415"/>
                  <a:gd name="connsiteY74" fmla="*/ 461029 h 552951"/>
                  <a:gd name="connsiteX75" fmla="*/ 960210 w 1007415"/>
                  <a:gd name="connsiteY75" fmla="*/ 461029 h 552951"/>
                  <a:gd name="connsiteX76" fmla="*/ 960210 w 1007415"/>
                  <a:gd name="connsiteY76" fmla="*/ 479311 h 552951"/>
                  <a:gd name="connsiteX77" fmla="*/ 983875 w 1007415"/>
                  <a:gd name="connsiteY77" fmla="*/ 479311 h 552951"/>
                  <a:gd name="connsiteX78" fmla="*/ 983875 w 1007415"/>
                  <a:gd name="connsiteY78" fmla="*/ 497593 h 552951"/>
                  <a:gd name="connsiteX79" fmla="*/ 989769 w 1007415"/>
                  <a:gd name="connsiteY79" fmla="*/ 497593 h 552951"/>
                  <a:gd name="connsiteX80" fmla="*/ 989769 w 1007415"/>
                  <a:gd name="connsiteY80" fmla="*/ 516017 h 552951"/>
                  <a:gd name="connsiteX81" fmla="*/ 995645 w 1007415"/>
                  <a:gd name="connsiteY81" fmla="*/ 516017 h 552951"/>
                  <a:gd name="connsiteX82" fmla="*/ 995645 w 1007415"/>
                  <a:gd name="connsiteY82" fmla="*/ 534423 h 552951"/>
                  <a:gd name="connsiteX83" fmla="*/ 1001539 w 1007415"/>
                  <a:gd name="connsiteY83" fmla="*/ 534423 h 552951"/>
                  <a:gd name="connsiteX84" fmla="*/ 1001539 w 1007415"/>
                  <a:gd name="connsiteY84" fmla="*/ 552952 h 552951"/>
                  <a:gd name="connsiteX85" fmla="*/ 1007416 w 1007415"/>
                  <a:gd name="connsiteY85" fmla="*/ 552952 h 552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1007415" h="552951">
                    <a:moveTo>
                      <a:pt x="0" y="0"/>
                    </a:moveTo>
                    <a:lnTo>
                      <a:pt x="223853" y="0"/>
                    </a:lnTo>
                    <a:lnTo>
                      <a:pt x="223853" y="17153"/>
                    </a:lnTo>
                    <a:lnTo>
                      <a:pt x="229747" y="17153"/>
                    </a:lnTo>
                    <a:lnTo>
                      <a:pt x="229747" y="25730"/>
                    </a:lnTo>
                    <a:lnTo>
                      <a:pt x="247429" y="25730"/>
                    </a:lnTo>
                    <a:lnTo>
                      <a:pt x="247429" y="34429"/>
                    </a:lnTo>
                    <a:lnTo>
                      <a:pt x="253323" y="34429"/>
                    </a:lnTo>
                    <a:lnTo>
                      <a:pt x="253323" y="51706"/>
                    </a:lnTo>
                    <a:lnTo>
                      <a:pt x="259200" y="51706"/>
                    </a:lnTo>
                    <a:lnTo>
                      <a:pt x="259200" y="86259"/>
                    </a:lnTo>
                    <a:lnTo>
                      <a:pt x="265094" y="86259"/>
                    </a:lnTo>
                    <a:lnTo>
                      <a:pt x="265094" y="94959"/>
                    </a:lnTo>
                    <a:lnTo>
                      <a:pt x="270988" y="94959"/>
                    </a:lnTo>
                    <a:lnTo>
                      <a:pt x="270988" y="103659"/>
                    </a:lnTo>
                    <a:lnTo>
                      <a:pt x="282758" y="103659"/>
                    </a:lnTo>
                    <a:lnTo>
                      <a:pt x="282758" y="112482"/>
                    </a:lnTo>
                    <a:lnTo>
                      <a:pt x="288670" y="112482"/>
                    </a:lnTo>
                    <a:lnTo>
                      <a:pt x="288670" y="121182"/>
                    </a:lnTo>
                    <a:lnTo>
                      <a:pt x="294547" y="121182"/>
                    </a:lnTo>
                    <a:lnTo>
                      <a:pt x="294547" y="129882"/>
                    </a:lnTo>
                    <a:lnTo>
                      <a:pt x="306335" y="129882"/>
                    </a:lnTo>
                    <a:lnTo>
                      <a:pt x="306335" y="138706"/>
                    </a:lnTo>
                    <a:lnTo>
                      <a:pt x="335788" y="138706"/>
                    </a:lnTo>
                    <a:lnTo>
                      <a:pt x="335788" y="147423"/>
                    </a:lnTo>
                    <a:lnTo>
                      <a:pt x="341682" y="147423"/>
                    </a:lnTo>
                    <a:lnTo>
                      <a:pt x="341682" y="156247"/>
                    </a:lnTo>
                    <a:lnTo>
                      <a:pt x="377029" y="156247"/>
                    </a:lnTo>
                    <a:lnTo>
                      <a:pt x="377029" y="164947"/>
                    </a:lnTo>
                    <a:lnTo>
                      <a:pt x="406464" y="164947"/>
                    </a:lnTo>
                    <a:lnTo>
                      <a:pt x="406464" y="173770"/>
                    </a:lnTo>
                    <a:lnTo>
                      <a:pt x="418235" y="173770"/>
                    </a:lnTo>
                    <a:lnTo>
                      <a:pt x="418235" y="182594"/>
                    </a:lnTo>
                    <a:lnTo>
                      <a:pt x="435882" y="182594"/>
                    </a:lnTo>
                    <a:lnTo>
                      <a:pt x="435882" y="191417"/>
                    </a:lnTo>
                    <a:lnTo>
                      <a:pt x="483087" y="191417"/>
                    </a:lnTo>
                    <a:lnTo>
                      <a:pt x="483087" y="200118"/>
                    </a:lnTo>
                    <a:lnTo>
                      <a:pt x="488964" y="200118"/>
                    </a:lnTo>
                    <a:lnTo>
                      <a:pt x="488964" y="208959"/>
                    </a:lnTo>
                    <a:lnTo>
                      <a:pt x="500734" y="208959"/>
                    </a:lnTo>
                    <a:lnTo>
                      <a:pt x="500734" y="235429"/>
                    </a:lnTo>
                    <a:lnTo>
                      <a:pt x="506628" y="235429"/>
                    </a:lnTo>
                    <a:lnTo>
                      <a:pt x="506628" y="244253"/>
                    </a:lnTo>
                    <a:lnTo>
                      <a:pt x="530152" y="244253"/>
                    </a:lnTo>
                    <a:lnTo>
                      <a:pt x="530152" y="253094"/>
                    </a:lnTo>
                    <a:lnTo>
                      <a:pt x="683399" y="253094"/>
                    </a:lnTo>
                    <a:lnTo>
                      <a:pt x="683399" y="262041"/>
                    </a:lnTo>
                    <a:lnTo>
                      <a:pt x="706940" y="262041"/>
                    </a:lnTo>
                    <a:lnTo>
                      <a:pt x="706940" y="270988"/>
                    </a:lnTo>
                    <a:lnTo>
                      <a:pt x="718711" y="270988"/>
                    </a:lnTo>
                    <a:lnTo>
                      <a:pt x="718711" y="279952"/>
                    </a:lnTo>
                    <a:lnTo>
                      <a:pt x="724587" y="279952"/>
                    </a:lnTo>
                    <a:lnTo>
                      <a:pt x="724587" y="297847"/>
                    </a:lnTo>
                    <a:lnTo>
                      <a:pt x="742252" y="297847"/>
                    </a:lnTo>
                    <a:lnTo>
                      <a:pt x="742252" y="324723"/>
                    </a:lnTo>
                    <a:lnTo>
                      <a:pt x="748128" y="324723"/>
                    </a:lnTo>
                    <a:lnTo>
                      <a:pt x="748128" y="333794"/>
                    </a:lnTo>
                    <a:lnTo>
                      <a:pt x="754005" y="333794"/>
                    </a:lnTo>
                    <a:lnTo>
                      <a:pt x="754005" y="342882"/>
                    </a:lnTo>
                    <a:lnTo>
                      <a:pt x="771793" y="342882"/>
                    </a:lnTo>
                    <a:lnTo>
                      <a:pt x="771793" y="351952"/>
                    </a:lnTo>
                    <a:lnTo>
                      <a:pt x="777687" y="351952"/>
                    </a:lnTo>
                    <a:lnTo>
                      <a:pt x="777687" y="369988"/>
                    </a:lnTo>
                    <a:lnTo>
                      <a:pt x="783563" y="369988"/>
                    </a:lnTo>
                    <a:lnTo>
                      <a:pt x="783563" y="379058"/>
                    </a:lnTo>
                    <a:lnTo>
                      <a:pt x="789440" y="379058"/>
                    </a:lnTo>
                    <a:lnTo>
                      <a:pt x="789440" y="406429"/>
                    </a:lnTo>
                    <a:lnTo>
                      <a:pt x="795334" y="406429"/>
                    </a:lnTo>
                    <a:lnTo>
                      <a:pt x="795334" y="415499"/>
                    </a:lnTo>
                    <a:lnTo>
                      <a:pt x="824751" y="415499"/>
                    </a:lnTo>
                    <a:lnTo>
                      <a:pt x="824751" y="433658"/>
                    </a:lnTo>
                    <a:lnTo>
                      <a:pt x="883728" y="433658"/>
                    </a:lnTo>
                    <a:lnTo>
                      <a:pt x="883728" y="442746"/>
                    </a:lnTo>
                    <a:lnTo>
                      <a:pt x="954334" y="442746"/>
                    </a:lnTo>
                    <a:lnTo>
                      <a:pt x="954334" y="461029"/>
                    </a:lnTo>
                    <a:lnTo>
                      <a:pt x="960210" y="461029"/>
                    </a:lnTo>
                    <a:lnTo>
                      <a:pt x="960210" y="479311"/>
                    </a:lnTo>
                    <a:lnTo>
                      <a:pt x="983875" y="479311"/>
                    </a:lnTo>
                    <a:lnTo>
                      <a:pt x="983875" y="497593"/>
                    </a:lnTo>
                    <a:lnTo>
                      <a:pt x="989769" y="497593"/>
                    </a:lnTo>
                    <a:lnTo>
                      <a:pt x="989769" y="516017"/>
                    </a:lnTo>
                    <a:lnTo>
                      <a:pt x="995645" y="516017"/>
                    </a:lnTo>
                    <a:lnTo>
                      <a:pt x="995645" y="534423"/>
                    </a:lnTo>
                    <a:lnTo>
                      <a:pt x="1001539" y="534423"/>
                    </a:lnTo>
                    <a:lnTo>
                      <a:pt x="1001539" y="552952"/>
                    </a:lnTo>
                    <a:lnTo>
                      <a:pt x="1007416" y="552952"/>
                    </a:lnTo>
                  </a:path>
                </a:pathLst>
              </a:custGeom>
              <a:noFill/>
              <a:ln w="9624" cap="flat">
                <a:solidFill>
                  <a:srgbClr val="27377D"/>
                </a:solidFill>
                <a:prstDash val="solid"/>
                <a:miter/>
              </a:ln>
            </p:spPr>
            <p:txBody>
              <a:bodyPr rtlCol="0" anchor="ctr"/>
              <a:lstStyle/>
              <a:p>
                <a:endParaRPr lang="en-US" sz="1800" dirty="0"/>
              </a:p>
            </p:txBody>
          </p:sp>
          <p:sp>
            <p:nvSpPr>
              <p:cNvPr id="2360" name="Freeform 215">
                <a:extLst>
                  <a:ext uri="{FF2B5EF4-FFF2-40B4-BE49-F238E27FC236}">
                    <a16:creationId xmlns:a16="http://schemas.microsoft.com/office/drawing/2014/main" id="{14E89CB8-A22A-133A-A782-31D853F833FB}"/>
                  </a:ext>
                </a:extLst>
              </p:cNvPr>
              <p:cNvSpPr/>
              <p:nvPr/>
            </p:nvSpPr>
            <p:spPr>
              <a:xfrm>
                <a:off x="3401380" y="1740500"/>
                <a:ext cx="754075" cy="619040"/>
              </a:xfrm>
              <a:custGeom>
                <a:avLst/>
                <a:gdLst>
                  <a:gd name="connsiteX0" fmla="*/ 0 w 754075"/>
                  <a:gd name="connsiteY0" fmla="*/ 0 h 619040"/>
                  <a:gd name="connsiteX1" fmla="*/ 0 w 754075"/>
                  <a:gd name="connsiteY1" fmla="*/ 9335 h 619040"/>
                  <a:gd name="connsiteX2" fmla="*/ 5876 w 754075"/>
                  <a:gd name="connsiteY2" fmla="*/ 9335 h 619040"/>
                  <a:gd name="connsiteX3" fmla="*/ 5876 w 754075"/>
                  <a:gd name="connsiteY3" fmla="*/ 18671 h 619040"/>
                  <a:gd name="connsiteX4" fmla="*/ 17647 w 754075"/>
                  <a:gd name="connsiteY4" fmla="*/ 18671 h 619040"/>
                  <a:gd name="connsiteX5" fmla="*/ 17647 w 754075"/>
                  <a:gd name="connsiteY5" fmla="*/ 28006 h 619040"/>
                  <a:gd name="connsiteX6" fmla="*/ 23541 w 754075"/>
                  <a:gd name="connsiteY6" fmla="*/ 28006 h 619040"/>
                  <a:gd name="connsiteX7" fmla="*/ 23541 w 754075"/>
                  <a:gd name="connsiteY7" fmla="*/ 56241 h 619040"/>
                  <a:gd name="connsiteX8" fmla="*/ 29418 w 754075"/>
                  <a:gd name="connsiteY8" fmla="*/ 56241 h 619040"/>
                  <a:gd name="connsiteX9" fmla="*/ 29418 w 754075"/>
                  <a:gd name="connsiteY9" fmla="*/ 75035 h 619040"/>
                  <a:gd name="connsiteX10" fmla="*/ 52959 w 754075"/>
                  <a:gd name="connsiteY10" fmla="*/ 75035 h 619040"/>
                  <a:gd name="connsiteX11" fmla="*/ 52959 w 754075"/>
                  <a:gd name="connsiteY11" fmla="*/ 84371 h 619040"/>
                  <a:gd name="connsiteX12" fmla="*/ 64729 w 754075"/>
                  <a:gd name="connsiteY12" fmla="*/ 84371 h 619040"/>
                  <a:gd name="connsiteX13" fmla="*/ 64729 w 754075"/>
                  <a:gd name="connsiteY13" fmla="*/ 93829 h 619040"/>
                  <a:gd name="connsiteX14" fmla="*/ 176647 w 754075"/>
                  <a:gd name="connsiteY14" fmla="*/ 93829 h 619040"/>
                  <a:gd name="connsiteX15" fmla="*/ 176647 w 754075"/>
                  <a:gd name="connsiteY15" fmla="*/ 103412 h 619040"/>
                  <a:gd name="connsiteX16" fmla="*/ 206205 w 754075"/>
                  <a:gd name="connsiteY16" fmla="*/ 103412 h 619040"/>
                  <a:gd name="connsiteX17" fmla="*/ 206205 w 754075"/>
                  <a:gd name="connsiteY17" fmla="*/ 112871 h 619040"/>
                  <a:gd name="connsiteX18" fmla="*/ 212082 w 754075"/>
                  <a:gd name="connsiteY18" fmla="*/ 112871 h 619040"/>
                  <a:gd name="connsiteX19" fmla="*/ 212082 w 754075"/>
                  <a:gd name="connsiteY19" fmla="*/ 122329 h 619040"/>
                  <a:gd name="connsiteX20" fmla="*/ 229747 w 754075"/>
                  <a:gd name="connsiteY20" fmla="*/ 122329 h 619040"/>
                  <a:gd name="connsiteX21" fmla="*/ 229747 w 754075"/>
                  <a:gd name="connsiteY21" fmla="*/ 141494 h 619040"/>
                  <a:gd name="connsiteX22" fmla="*/ 235623 w 754075"/>
                  <a:gd name="connsiteY22" fmla="*/ 141494 h 619040"/>
                  <a:gd name="connsiteX23" fmla="*/ 235623 w 754075"/>
                  <a:gd name="connsiteY23" fmla="*/ 179947 h 619040"/>
                  <a:gd name="connsiteX24" fmla="*/ 241500 w 754075"/>
                  <a:gd name="connsiteY24" fmla="*/ 179947 h 619040"/>
                  <a:gd name="connsiteX25" fmla="*/ 241500 w 754075"/>
                  <a:gd name="connsiteY25" fmla="*/ 189529 h 619040"/>
                  <a:gd name="connsiteX26" fmla="*/ 247394 w 754075"/>
                  <a:gd name="connsiteY26" fmla="*/ 189529 h 619040"/>
                  <a:gd name="connsiteX27" fmla="*/ 247394 w 754075"/>
                  <a:gd name="connsiteY27" fmla="*/ 208712 h 619040"/>
                  <a:gd name="connsiteX28" fmla="*/ 253270 w 754075"/>
                  <a:gd name="connsiteY28" fmla="*/ 208712 h 619040"/>
                  <a:gd name="connsiteX29" fmla="*/ 253270 w 754075"/>
                  <a:gd name="connsiteY29" fmla="*/ 218417 h 619040"/>
                  <a:gd name="connsiteX30" fmla="*/ 259164 w 754075"/>
                  <a:gd name="connsiteY30" fmla="*/ 218417 h 619040"/>
                  <a:gd name="connsiteX31" fmla="*/ 259164 w 754075"/>
                  <a:gd name="connsiteY31" fmla="*/ 228123 h 619040"/>
                  <a:gd name="connsiteX32" fmla="*/ 265041 w 754075"/>
                  <a:gd name="connsiteY32" fmla="*/ 228123 h 619040"/>
                  <a:gd name="connsiteX33" fmla="*/ 265041 w 754075"/>
                  <a:gd name="connsiteY33" fmla="*/ 237705 h 619040"/>
                  <a:gd name="connsiteX34" fmla="*/ 270935 w 754075"/>
                  <a:gd name="connsiteY34" fmla="*/ 237705 h 619040"/>
                  <a:gd name="connsiteX35" fmla="*/ 270935 w 754075"/>
                  <a:gd name="connsiteY35" fmla="*/ 256994 h 619040"/>
                  <a:gd name="connsiteX36" fmla="*/ 276811 w 754075"/>
                  <a:gd name="connsiteY36" fmla="*/ 256994 h 619040"/>
                  <a:gd name="connsiteX37" fmla="*/ 276811 w 754075"/>
                  <a:gd name="connsiteY37" fmla="*/ 276300 h 619040"/>
                  <a:gd name="connsiteX38" fmla="*/ 282688 w 754075"/>
                  <a:gd name="connsiteY38" fmla="*/ 276300 h 619040"/>
                  <a:gd name="connsiteX39" fmla="*/ 282688 w 754075"/>
                  <a:gd name="connsiteY39" fmla="*/ 286005 h 619040"/>
                  <a:gd name="connsiteX40" fmla="*/ 294599 w 754075"/>
                  <a:gd name="connsiteY40" fmla="*/ 286005 h 619040"/>
                  <a:gd name="connsiteX41" fmla="*/ 294599 w 754075"/>
                  <a:gd name="connsiteY41" fmla="*/ 295711 h 619040"/>
                  <a:gd name="connsiteX42" fmla="*/ 300476 w 754075"/>
                  <a:gd name="connsiteY42" fmla="*/ 295711 h 619040"/>
                  <a:gd name="connsiteX43" fmla="*/ 300476 w 754075"/>
                  <a:gd name="connsiteY43" fmla="*/ 305417 h 619040"/>
                  <a:gd name="connsiteX44" fmla="*/ 347558 w 754075"/>
                  <a:gd name="connsiteY44" fmla="*/ 305417 h 619040"/>
                  <a:gd name="connsiteX45" fmla="*/ 347558 w 754075"/>
                  <a:gd name="connsiteY45" fmla="*/ 315264 h 619040"/>
                  <a:gd name="connsiteX46" fmla="*/ 424182 w 754075"/>
                  <a:gd name="connsiteY46" fmla="*/ 315264 h 619040"/>
                  <a:gd name="connsiteX47" fmla="*/ 424182 w 754075"/>
                  <a:gd name="connsiteY47" fmla="*/ 325094 h 619040"/>
                  <a:gd name="connsiteX48" fmla="*/ 453599 w 754075"/>
                  <a:gd name="connsiteY48" fmla="*/ 325094 h 619040"/>
                  <a:gd name="connsiteX49" fmla="*/ 453599 w 754075"/>
                  <a:gd name="connsiteY49" fmla="*/ 335064 h 619040"/>
                  <a:gd name="connsiteX50" fmla="*/ 465370 w 754075"/>
                  <a:gd name="connsiteY50" fmla="*/ 335064 h 619040"/>
                  <a:gd name="connsiteX51" fmla="*/ 465370 w 754075"/>
                  <a:gd name="connsiteY51" fmla="*/ 354723 h 619040"/>
                  <a:gd name="connsiteX52" fmla="*/ 471246 w 754075"/>
                  <a:gd name="connsiteY52" fmla="*/ 354723 h 619040"/>
                  <a:gd name="connsiteX53" fmla="*/ 471246 w 754075"/>
                  <a:gd name="connsiteY53" fmla="*/ 364570 h 619040"/>
                  <a:gd name="connsiteX54" fmla="*/ 477123 w 754075"/>
                  <a:gd name="connsiteY54" fmla="*/ 364570 h 619040"/>
                  <a:gd name="connsiteX55" fmla="*/ 477123 w 754075"/>
                  <a:gd name="connsiteY55" fmla="*/ 374523 h 619040"/>
                  <a:gd name="connsiteX56" fmla="*/ 483017 w 754075"/>
                  <a:gd name="connsiteY56" fmla="*/ 374523 h 619040"/>
                  <a:gd name="connsiteX57" fmla="*/ 483017 w 754075"/>
                  <a:gd name="connsiteY57" fmla="*/ 404029 h 619040"/>
                  <a:gd name="connsiteX58" fmla="*/ 506681 w 754075"/>
                  <a:gd name="connsiteY58" fmla="*/ 404029 h 619040"/>
                  <a:gd name="connsiteX59" fmla="*/ 506681 w 754075"/>
                  <a:gd name="connsiteY59" fmla="*/ 413999 h 619040"/>
                  <a:gd name="connsiteX60" fmla="*/ 524328 w 754075"/>
                  <a:gd name="connsiteY60" fmla="*/ 413999 h 619040"/>
                  <a:gd name="connsiteX61" fmla="*/ 524328 w 754075"/>
                  <a:gd name="connsiteY61" fmla="*/ 423952 h 619040"/>
                  <a:gd name="connsiteX62" fmla="*/ 536099 w 754075"/>
                  <a:gd name="connsiteY62" fmla="*/ 423952 h 619040"/>
                  <a:gd name="connsiteX63" fmla="*/ 536099 w 754075"/>
                  <a:gd name="connsiteY63" fmla="*/ 433923 h 619040"/>
                  <a:gd name="connsiteX64" fmla="*/ 594934 w 754075"/>
                  <a:gd name="connsiteY64" fmla="*/ 433923 h 619040"/>
                  <a:gd name="connsiteX65" fmla="*/ 594934 w 754075"/>
                  <a:gd name="connsiteY65" fmla="*/ 444140 h 619040"/>
                  <a:gd name="connsiteX66" fmla="*/ 600828 w 754075"/>
                  <a:gd name="connsiteY66" fmla="*/ 444140 h 619040"/>
                  <a:gd name="connsiteX67" fmla="*/ 600828 w 754075"/>
                  <a:gd name="connsiteY67" fmla="*/ 454358 h 619040"/>
                  <a:gd name="connsiteX68" fmla="*/ 612722 w 754075"/>
                  <a:gd name="connsiteY68" fmla="*/ 454358 h 619040"/>
                  <a:gd name="connsiteX69" fmla="*/ 612722 w 754075"/>
                  <a:gd name="connsiteY69" fmla="*/ 464558 h 619040"/>
                  <a:gd name="connsiteX70" fmla="*/ 642140 w 754075"/>
                  <a:gd name="connsiteY70" fmla="*/ 464558 h 619040"/>
                  <a:gd name="connsiteX71" fmla="*/ 642140 w 754075"/>
                  <a:gd name="connsiteY71" fmla="*/ 474776 h 619040"/>
                  <a:gd name="connsiteX72" fmla="*/ 677452 w 754075"/>
                  <a:gd name="connsiteY72" fmla="*/ 474776 h 619040"/>
                  <a:gd name="connsiteX73" fmla="*/ 677452 w 754075"/>
                  <a:gd name="connsiteY73" fmla="*/ 495211 h 619040"/>
                  <a:gd name="connsiteX74" fmla="*/ 689222 w 754075"/>
                  <a:gd name="connsiteY74" fmla="*/ 495211 h 619040"/>
                  <a:gd name="connsiteX75" fmla="*/ 689222 w 754075"/>
                  <a:gd name="connsiteY75" fmla="*/ 505552 h 619040"/>
                  <a:gd name="connsiteX76" fmla="*/ 730534 w 754075"/>
                  <a:gd name="connsiteY76" fmla="*/ 505552 h 619040"/>
                  <a:gd name="connsiteX77" fmla="*/ 730534 w 754075"/>
                  <a:gd name="connsiteY77" fmla="*/ 557117 h 619040"/>
                  <a:gd name="connsiteX78" fmla="*/ 736428 w 754075"/>
                  <a:gd name="connsiteY78" fmla="*/ 557117 h 619040"/>
                  <a:gd name="connsiteX79" fmla="*/ 736428 w 754075"/>
                  <a:gd name="connsiteY79" fmla="*/ 577799 h 619040"/>
                  <a:gd name="connsiteX80" fmla="*/ 742305 w 754075"/>
                  <a:gd name="connsiteY80" fmla="*/ 577799 h 619040"/>
                  <a:gd name="connsiteX81" fmla="*/ 742305 w 754075"/>
                  <a:gd name="connsiteY81" fmla="*/ 588140 h 619040"/>
                  <a:gd name="connsiteX82" fmla="*/ 748181 w 754075"/>
                  <a:gd name="connsiteY82" fmla="*/ 588140 h 619040"/>
                  <a:gd name="connsiteX83" fmla="*/ 748181 w 754075"/>
                  <a:gd name="connsiteY83" fmla="*/ 608822 h 619040"/>
                  <a:gd name="connsiteX84" fmla="*/ 754075 w 754075"/>
                  <a:gd name="connsiteY84" fmla="*/ 608822 h 619040"/>
                  <a:gd name="connsiteX85" fmla="*/ 754075 w 754075"/>
                  <a:gd name="connsiteY85" fmla="*/ 619040 h 619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754075" h="619040">
                    <a:moveTo>
                      <a:pt x="0" y="0"/>
                    </a:moveTo>
                    <a:lnTo>
                      <a:pt x="0" y="9335"/>
                    </a:lnTo>
                    <a:lnTo>
                      <a:pt x="5876" y="9335"/>
                    </a:lnTo>
                    <a:lnTo>
                      <a:pt x="5876" y="18671"/>
                    </a:lnTo>
                    <a:lnTo>
                      <a:pt x="17647" y="18671"/>
                    </a:lnTo>
                    <a:lnTo>
                      <a:pt x="17647" y="28006"/>
                    </a:lnTo>
                    <a:lnTo>
                      <a:pt x="23541" y="28006"/>
                    </a:lnTo>
                    <a:lnTo>
                      <a:pt x="23541" y="56241"/>
                    </a:lnTo>
                    <a:lnTo>
                      <a:pt x="29418" y="56241"/>
                    </a:lnTo>
                    <a:lnTo>
                      <a:pt x="29418" y="75035"/>
                    </a:lnTo>
                    <a:lnTo>
                      <a:pt x="52959" y="75035"/>
                    </a:lnTo>
                    <a:lnTo>
                      <a:pt x="52959" y="84371"/>
                    </a:lnTo>
                    <a:lnTo>
                      <a:pt x="64729" y="84371"/>
                    </a:lnTo>
                    <a:lnTo>
                      <a:pt x="64729" y="93829"/>
                    </a:lnTo>
                    <a:lnTo>
                      <a:pt x="176647" y="93829"/>
                    </a:lnTo>
                    <a:lnTo>
                      <a:pt x="176647" y="103412"/>
                    </a:lnTo>
                    <a:lnTo>
                      <a:pt x="206205" y="103412"/>
                    </a:lnTo>
                    <a:lnTo>
                      <a:pt x="206205" y="112871"/>
                    </a:lnTo>
                    <a:lnTo>
                      <a:pt x="212082" y="112871"/>
                    </a:lnTo>
                    <a:lnTo>
                      <a:pt x="212082" y="122329"/>
                    </a:lnTo>
                    <a:lnTo>
                      <a:pt x="229747" y="122329"/>
                    </a:lnTo>
                    <a:lnTo>
                      <a:pt x="229747" y="141494"/>
                    </a:lnTo>
                    <a:lnTo>
                      <a:pt x="235623" y="141494"/>
                    </a:lnTo>
                    <a:lnTo>
                      <a:pt x="235623" y="179947"/>
                    </a:lnTo>
                    <a:lnTo>
                      <a:pt x="241500" y="179947"/>
                    </a:lnTo>
                    <a:lnTo>
                      <a:pt x="241500" y="189529"/>
                    </a:lnTo>
                    <a:lnTo>
                      <a:pt x="247394" y="189529"/>
                    </a:lnTo>
                    <a:lnTo>
                      <a:pt x="247394" y="208712"/>
                    </a:lnTo>
                    <a:lnTo>
                      <a:pt x="253270" y="208712"/>
                    </a:lnTo>
                    <a:lnTo>
                      <a:pt x="253270" y="218417"/>
                    </a:lnTo>
                    <a:lnTo>
                      <a:pt x="259164" y="218417"/>
                    </a:lnTo>
                    <a:lnTo>
                      <a:pt x="259164" y="228123"/>
                    </a:lnTo>
                    <a:lnTo>
                      <a:pt x="265041" y="228123"/>
                    </a:lnTo>
                    <a:lnTo>
                      <a:pt x="265041" y="237705"/>
                    </a:lnTo>
                    <a:lnTo>
                      <a:pt x="270935" y="237705"/>
                    </a:lnTo>
                    <a:lnTo>
                      <a:pt x="270935" y="256994"/>
                    </a:lnTo>
                    <a:lnTo>
                      <a:pt x="276811" y="256994"/>
                    </a:lnTo>
                    <a:lnTo>
                      <a:pt x="276811" y="276300"/>
                    </a:lnTo>
                    <a:lnTo>
                      <a:pt x="282688" y="276300"/>
                    </a:lnTo>
                    <a:lnTo>
                      <a:pt x="282688" y="286005"/>
                    </a:lnTo>
                    <a:lnTo>
                      <a:pt x="294599" y="286005"/>
                    </a:lnTo>
                    <a:lnTo>
                      <a:pt x="294599" y="295711"/>
                    </a:lnTo>
                    <a:lnTo>
                      <a:pt x="300476" y="295711"/>
                    </a:lnTo>
                    <a:lnTo>
                      <a:pt x="300476" y="305417"/>
                    </a:lnTo>
                    <a:lnTo>
                      <a:pt x="347558" y="305417"/>
                    </a:lnTo>
                    <a:lnTo>
                      <a:pt x="347558" y="315264"/>
                    </a:lnTo>
                    <a:lnTo>
                      <a:pt x="424182" y="315264"/>
                    </a:lnTo>
                    <a:lnTo>
                      <a:pt x="424182" y="325094"/>
                    </a:lnTo>
                    <a:lnTo>
                      <a:pt x="453599" y="325094"/>
                    </a:lnTo>
                    <a:lnTo>
                      <a:pt x="453599" y="335064"/>
                    </a:lnTo>
                    <a:lnTo>
                      <a:pt x="465370" y="335064"/>
                    </a:lnTo>
                    <a:lnTo>
                      <a:pt x="465370" y="354723"/>
                    </a:lnTo>
                    <a:lnTo>
                      <a:pt x="471246" y="354723"/>
                    </a:lnTo>
                    <a:lnTo>
                      <a:pt x="471246" y="364570"/>
                    </a:lnTo>
                    <a:lnTo>
                      <a:pt x="477123" y="364570"/>
                    </a:lnTo>
                    <a:lnTo>
                      <a:pt x="477123" y="374523"/>
                    </a:lnTo>
                    <a:lnTo>
                      <a:pt x="483017" y="374523"/>
                    </a:lnTo>
                    <a:lnTo>
                      <a:pt x="483017" y="404029"/>
                    </a:lnTo>
                    <a:lnTo>
                      <a:pt x="506681" y="404029"/>
                    </a:lnTo>
                    <a:lnTo>
                      <a:pt x="506681" y="413999"/>
                    </a:lnTo>
                    <a:lnTo>
                      <a:pt x="524328" y="413999"/>
                    </a:lnTo>
                    <a:lnTo>
                      <a:pt x="524328" y="423952"/>
                    </a:lnTo>
                    <a:lnTo>
                      <a:pt x="536099" y="423952"/>
                    </a:lnTo>
                    <a:lnTo>
                      <a:pt x="536099" y="433923"/>
                    </a:lnTo>
                    <a:lnTo>
                      <a:pt x="594934" y="433923"/>
                    </a:lnTo>
                    <a:lnTo>
                      <a:pt x="594934" y="444140"/>
                    </a:lnTo>
                    <a:lnTo>
                      <a:pt x="600828" y="444140"/>
                    </a:lnTo>
                    <a:lnTo>
                      <a:pt x="600828" y="454358"/>
                    </a:lnTo>
                    <a:lnTo>
                      <a:pt x="612722" y="454358"/>
                    </a:lnTo>
                    <a:lnTo>
                      <a:pt x="612722" y="464558"/>
                    </a:lnTo>
                    <a:lnTo>
                      <a:pt x="642140" y="464558"/>
                    </a:lnTo>
                    <a:lnTo>
                      <a:pt x="642140" y="474776"/>
                    </a:lnTo>
                    <a:lnTo>
                      <a:pt x="677452" y="474776"/>
                    </a:lnTo>
                    <a:lnTo>
                      <a:pt x="677452" y="495211"/>
                    </a:lnTo>
                    <a:lnTo>
                      <a:pt x="689222" y="495211"/>
                    </a:lnTo>
                    <a:lnTo>
                      <a:pt x="689222" y="505552"/>
                    </a:lnTo>
                    <a:lnTo>
                      <a:pt x="730534" y="505552"/>
                    </a:lnTo>
                    <a:lnTo>
                      <a:pt x="730534" y="557117"/>
                    </a:lnTo>
                    <a:lnTo>
                      <a:pt x="736428" y="557117"/>
                    </a:lnTo>
                    <a:lnTo>
                      <a:pt x="736428" y="577799"/>
                    </a:lnTo>
                    <a:lnTo>
                      <a:pt x="742305" y="577799"/>
                    </a:lnTo>
                    <a:lnTo>
                      <a:pt x="742305" y="588140"/>
                    </a:lnTo>
                    <a:lnTo>
                      <a:pt x="748181" y="588140"/>
                    </a:lnTo>
                    <a:lnTo>
                      <a:pt x="748181" y="608822"/>
                    </a:lnTo>
                    <a:lnTo>
                      <a:pt x="754075" y="608822"/>
                    </a:lnTo>
                    <a:lnTo>
                      <a:pt x="754075" y="619040"/>
                    </a:lnTo>
                  </a:path>
                </a:pathLst>
              </a:custGeom>
              <a:noFill/>
              <a:ln w="9624" cap="flat">
                <a:solidFill>
                  <a:srgbClr val="27377D"/>
                </a:solidFill>
                <a:prstDash val="solid"/>
                <a:miter/>
              </a:ln>
            </p:spPr>
            <p:txBody>
              <a:bodyPr rtlCol="0" anchor="ctr"/>
              <a:lstStyle/>
              <a:p>
                <a:endParaRPr lang="en-US" sz="1800" dirty="0"/>
              </a:p>
            </p:txBody>
          </p:sp>
          <p:sp>
            <p:nvSpPr>
              <p:cNvPr id="2361" name="Freeform 216">
                <a:extLst>
                  <a:ext uri="{FF2B5EF4-FFF2-40B4-BE49-F238E27FC236}">
                    <a16:creationId xmlns:a16="http://schemas.microsoft.com/office/drawing/2014/main" id="{B0F25D82-653C-71DF-1B92-1A0106E43FE5}"/>
                  </a:ext>
                </a:extLst>
              </p:cNvPr>
              <p:cNvSpPr/>
              <p:nvPr/>
            </p:nvSpPr>
            <p:spPr>
              <a:xfrm>
                <a:off x="4155455" y="2359541"/>
                <a:ext cx="1290174" cy="512734"/>
              </a:xfrm>
              <a:custGeom>
                <a:avLst/>
                <a:gdLst>
                  <a:gd name="connsiteX0" fmla="*/ 0 w 1290174"/>
                  <a:gd name="connsiteY0" fmla="*/ 0 h 512734"/>
                  <a:gd name="connsiteX1" fmla="*/ 0 w 1290174"/>
                  <a:gd name="connsiteY1" fmla="*/ 0 h 512734"/>
                  <a:gd name="connsiteX2" fmla="*/ 5877 w 1290174"/>
                  <a:gd name="connsiteY2" fmla="*/ 0 h 512734"/>
                  <a:gd name="connsiteX3" fmla="*/ 5877 w 1290174"/>
                  <a:gd name="connsiteY3" fmla="*/ 10341 h 512734"/>
                  <a:gd name="connsiteX4" fmla="*/ 11771 w 1290174"/>
                  <a:gd name="connsiteY4" fmla="*/ 10341 h 512734"/>
                  <a:gd name="connsiteX5" fmla="*/ 11771 w 1290174"/>
                  <a:gd name="connsiteY5" fmla="*/ 20682 h 512734"/>
                  <a:gd name="connsiteX6" fmla="*/ 23541 w 1290174"/>
                  <a:gd name="connsiteY6" fmla="*/ 20682 h 512734"/>
                  <a:gd name="connsiteX7" fmla="*/ 23541 w 1290174"/>
                  <a:gd name="connsiteY7" fmla="*/ 31147 h 512734"/>
                  <a:gd name="connsiteX8" fmla="*/ 29418 w 1290174"/>
                  <a:gd name="connsiteY8" fmla="*/ 31147 h 512734"/>
                  <a:gd name="connsiteX9" fmla="*/ 29418 w 1290174"/>
                  <a:gd name="connsiteY9" fmla="*/ 41612 h 512734"/>
                  <a:gd name="connsiteX10" fmla="*/ 47065 w 1290174"/>
                  <a:gd name="connsiteY10" fmla="*/ 41612 h 512734"/>
                  <a:gd name="connsiteX11" fmla="*/ 47065 w 1290174"/>
                  <a:gd name="connsiteY11" fmla="*/ 52076 h 512734"/>
                  <a:gd name="connsiteX12" fmla="*/ 76623 w 1290174"/>
                  <a:gd name="connsiteY12" fmla="*/ 52076 h 512734"/>
                  <a:gd name="connsiteX13" fmla="*/ 76623 w 1290174"/>
                  <a:gd name="connsiteY13" fmla="*/ 62806 h 512734"/>
                  <a:gd name="connsiteX14" fmla="*/ 100164 w 1290174"/>
                  <a:gd name="connsiteY14" fmla="*/ 62806 h 512734"/>
                  <a:gd name="connsiteX15" fmla="*/ 100164 w 1290174"/>
                  <a:gd name="connsiteY15" fmla="*/ 73394 h 512734"/>
                  <a:gd name="connsiteX16" fmla="*/ 200311 w 1290174"/>
                  <a:gd name="connsiteY16" fmla="*/ 73394 h 512734"/>
                  <a:gd name="connsiteX17" fmla="*/ 200311 w 1290174"/>
                  <a:gd name="connsiteY17" fmla="*/ 83982 h 512734"/>
                  <a:gd name="connsiteX18" fmla="*/ 206205 w 1290174"/>
                  <a:gd name="connsiteY18" fmla="*/ 83982 h 512734"/>
                  <a:gd name="connsiteX19" fmla="*/ 206205 w 1290174"/>
                  <a:gd name="connsiteY19" fmla="*/ 94694 h 512734"/>
                  <a:gd name="connsiteX20" fmla="*/ 223853 w 1290174"/>
                  <a:gd name="connsiteY20" fmla="*/ 94694 h 512734"/>
                  <a:gd name="connsiteX21" fmla="*/ 223853 w 1290174"/>
                  <a:gd name="connsiteY21" fmla="*/ 105547 h 512734"/>
                  <a:gd name="connsiteX22" fmla="*/ 294600 w 1290174"/>
                  <a:gd name="connsiteY22" fmla="*/ 105547 h 512734"/>
                  <a:gd name="connsiteX23" fmla="*/ 294600 w 1290174"/>
                  <a:gd name="connsiteY23" fmla="*/ 116400 h 512734"/>
                  <a:gd name="connsiteX24" fmla="*/ 300476 w 1290174"/>
                  <a:gd name="connsiteY24" fmla="*/ 116400 h 512734"/>
                  <a:gd name="connsiteX25" fmla="*/ 300476 w 1290174"/>
                  <a:gd name="connsiteY25" fmla="*/ 127359 h 512734"/>
                  <a:gd name="connsiteX26" fmla="*/ 441829 w 1290174"/>
                  <a:gd name="connsiteY26" fmla="*/ 127359 h 512734"/>
                  <a:gd name="connsiteX27" fmla="*/ 441829 w 1290174"/>
                  <a:gd name="connsiteY27" fmla="*/ 138458 h 512734"/>
                  <a:gd name="connsiteX28" fmla="*/ 488893 w 1290174"/>
                  <a:gd name="connsiteY28" fmla="*/ 138458 h 512734"/>
                  <a:gd name="connsiteX29" fmla="*/ 488893 w 1290174"/>
                  <a:gd name="connsiteY29" fmla="*/ 149682 h 512734"/>
                  <a:gd name="connsiteX30" fmla="*/ 494911 w 1290174"/>
                  <a:gd name="connsiteY30" fmla="*/ 149682 h 512734"/>
                  <a:gd name="connsiteX31" fmla="*/ 494911 w 1290174"/>
                  <a:gd name="connsiteY31" fmla="*/ 172253 h 512734"/>
                  <a:gd name="connsiteX32" fmla="*/ 500787 w 1290174"/>
                  <a:gd name="connsiteY32" fmla="*/ 172253 h 512734"/>
                  <a:gd name="connsiteX33" fmla="*/ 500787 w 1290174"/>
                  <a:gd name="connsiteY33" fmla="*/ 194823 h 512734"/>
                  <a:gd name="connsiteX34" fmla="*/ 506682 w 1290174"/>
                  <a:gd name="connsiteY34" fmla="*/ 194823 h 512734"/>
                  <a:gd name="connsiteX35" fmla="*/ 506682 w 1290174"/>
                  <a:gd name="connsiteY35" fmla="*/ 206170 h 512734"/>
                  <a:gd name="connsiteX36" fmla="*/ 518452 w 1290174"/>
                  <a:gd name="connsiteY36" fmla="*/ 206170 h 512734"/>
                  <a:gd name="connsiteX37" fmla="*/ 518452 w 1290174"/>
                  <a:gd name="connsiteY37" fmla="*/ 217517 h 512734"/>
                  <a:gd name="connsiteX38" fmla="*/ 524329 w 1290174"/>
                  <a:gd name="connsiteY38" fmla="*/ 217517 h 512734"/>
                  <a:gd name="connsiteX39" fmla="*/ 524329 w 1290174"/>
                  <a:gd name="connsiteY39" fmla="*/ 228882 h 512734"/>
                  <a:gd name="connsiteX40" fmla="*/ 541976 w 1290174"/>
                  <a:gd name="connsiteY40" fmla="*/ 228882 h 512734"/>
                  <a:gd name="connsiteX41" fmla="*/ 541976 w 1290174"/>
                  <a:gd name="connsiteY41" fmla="*/ 240229 h 512734"/>
                  <a:gd name="connsiteX42" fmla="*/ 671558 w 1290174"/>
                  <a:gd name="connsiteY42" fmla="*/ 240229 h 512734"/>
                  <a:gd name="connsiteX43" fmla="*/ 671558 w 1290174"/>
                  <a:gd name="connsiteY43" fmla="*/ 251576 h 512734"/>
                  <a:gd name="connsiteX44" fmla="*/ 706993 w 1290174"/>
                  <a:gd name="connsiteY44" fmla="*/ 251576 h 512734"/>
                  <a:gd name="connsiteX45" fmla="*/ 706993 w 1290174"/>
                  <a:gd name="connsiteY45" fmla="*/ 263046 h 512734"/>
                  <a:gd name="connsiteX46" fmla="*/ 712887 w 1290174"/>
                  <a:gd name="connsiteY46" fmla="*/ 263046 h 512734"/>
                  <a:gd name="connsiteX47" fmla="*/ 712887 w 1290174"/>
                  <a:gd name="connsiteY47" fmla="*/ 274517 h 512734"/>
                  <a:gd name="connsiteX48" fmla="*/ 724658 w 1290174"/>
                  <a:gd name="connsiteY48" fmla="*/ 274517 h 512734"/>
                  <a:gd name="connsiteX49" fmla="*/ 724658 w 1290174"/>
                  <a:gd name="connsiteY49" fmla="*/ 286005 h 512734"/>
                  <a:gd name="connsiteX50" fmla="*/ 736410 w 1290174"/>
                  <a:gd name="connsiteY50" fmla="*/ 286005 h 512734"/>
                  <a:gd name="connsiteX51" fmla="*/ 736410 w 1290174"/>
                  <a:gd name="connsiteY51" fmla="*/ 297476 h 512734"/>
                  <a:gd name="connsiteX52" fmla="*/ 742305 w 1290174"/>
                  <a:gd name="connsiteY52" fmla="*/ 297476 h 512734"/>
                  <a:gd name="connsiteX53" fmla="*/ 742305 w 1290174"/>
                  <a:gd name="connsiteY53" fmla="*/ 309070 h 512734"/>
                  <a:gd name="connsiteX54" fmla="*/ 754075 w 1290174"/>
                  <a:gd name="connsiteY54" fmla="*/ 309070 h 512734"/>
                  <a:gd name="connsiteX55" fmla="*/ 754075 w 1290174"/>
                  <a:gd name="connsiteY55" fmla="*/ 320558 h 512734"/>
                  <a:gd name="connsiteX56" fmla="*/ 759952 w 1290174"/>
                  <a:gd name="connsiteY56" fmla="*/ 320558 h 512734"/>
                  <a:gd name="connsiteX57" fmla="*/ 759952 w 1290174"/>
                  <a:gd name="connsiteY57" fmla="*/ 332152 h 512734"/>
                  <a:gd name="connsiteX58" fmla="*/ 771722 w 1290174"/>
                  <a:gd name="connsiteY58" fmla="*/ 332152 h 512734"/>
                  <a:gd name="connsiteX59" fmla="*/ 771722 w 1290174"/>
                  <a:gd name="connsiteY59" fmla="*/ 343623 h 512734"/>
                  <a:gd name="connsiteX60" fmla="*/ 807034 w 1290174"/>
                  <a:gd name="connsiteY60" fmla="*/ 343623 h 512734"/>
                  <a:gd name="connsiteX61" fmla="*/ 807034 w 1290174"/>
                  <a:gd name="connsiteY61" fmla="*/ 366952 h 512734"/>
                  <a:gd name="connsiteX62" fmla="*/ 848346 w 1290174"/>
                  <a:gd name="connsiteY62" fmla="*/ 366952 h 512734"/>
                  <a:gd name="connsiteX63" fmla="*/ 848346 w 1290174"/>
                  <a:gd name="connsiteY63" fmla="*/ 378564 h 512734"/>
                  <a:gd name="connsiteX64" fmla="*/ 942616 w 1290174"/>
                  <a:gd name="connsiteY64" fmla="*/ 378564 h 512734"/>
                  <a:gd name="connsiteX65" fmla="*/ 942616 w 1290174"/>
                  <a:gd name="connsiteY65" fmla="*/ 390405 h 512734"/>
                  <a:gd name="connsiteX66" fmla="*/ 948510 w 1290174"/>
                  <a:gd name="connsiteY66" fmla="*/ 390405 h 512734"/>
                  <a:gd name="connsiteX67" fmla="*/ 948510 w 1290174"/>
                  <a:gd name="connsiteY67" fmla="*/ 402264 h 512734"/>
                  <a:gd name="connsiteX68" fmla="*/ 977928 w 1290174"/>
                  <a:gd name="connsiteY68" fmla="*/ 402264 h 512734"/>
                  <a:gd name="connsiteX69" fmla="*/ 977928 w 1290174"/>
                  <a:gd name="connsiteY69" fmla="*/ 414123 h 512734"/>
                  <a:gd name="connsiteX70" fmla="*/ 983804 w 1290174"/>
                  <a:gd name="connsiteY70" fmla="*/ 414123 h 512734"/>
                  <a:gd name="connsiteX71" fmla="*/ 983804 w 1290174"/>
                  <a:gd name="connsiteY71" fmla="*/ 426229 h 512734"/>
                  <a:gd name="connsiteX72" fmla="*/ 1019116 w 1290174"/>
                  <a:gd name="connsiteY72" fmla="*/ 426229 h 512734"/>
                  <a:gd name="connsiteX73" fmla="*/ 1019116 w 1290174"/>
                  <a:gd name="connsiteY73" fmla="*/ 438334 h 512734"/>
                  <a:gd name="connsiteX74" fmla="*/ 1042781 w 1290174"/>
                  <a:gd name="connsiteY74" fmla="*/ 438334 h 512734"/>
                  <a:gd name="connsiteX75" fmla="*/ 1042781 w 1290174"/>
                  <a:gd name="connsiteY75" fmla="*/ 450440 h 512734"/>
                  <a:gd name="connsiteX76" fmla="*/ 1213551 w 1290174"/>
                  <a:gd name="connsiteY76" fmla="*/ 450440 h 512734"/>
                  <a:gd name="connsiteX77" fmla="*/ 1213551 w 1290174"/>
                  <a:gd name="connsiteY77" fmla="*/ 462793 h 512734"/>
                  <a:gd name="connsiteX78" fmla="*/ 1225321 w 1290174"/>
                  <a:gd name="connsiteY78" fmla="*/ 462793 h 512734"/>
                  <a:gd name="connsiteX79" fmla="*/ 1225321 w 1290174"/>
                  <a:gd name="connsiteY79" fmla="*/ 475270 h 512734"/>
                  <a:gd name="connsiteX80" fmla="*/ 1248986 w 1290174"/>
                  <a:gd name="connsiteY80" fmla="*/ 475270 h 512734"/>
                  <a:gd name="connsiteX81" fmla="*/ 1248986 w 1290174"/>
                  <a:gd name="connsiteY81" fmla="*/ 487640 h 512734"/>
                  <a:gd name="connsiteX82" fmla="*/ 1266633 w 1290174"/>
                  <a:gd name="connsiteY82" fmla="*/ 487640 h 512734"/>
                  <a:gd name="connsiteX83" fmla="*/ 1266633 w 1290174"/>
                  <a:gd name="connsiteY83" fmla="*/ 500117 h 512734"/>
                  <a:gd name="connsiteX84" fmla="*/ 1290174 w 1290174"/>
                  <a:gd name="connsiteY84" fmla="*/ 500117 h 512734"/>
                  <a:gd name="connsiteX85" fmla="*/ 1290174 w 1290174"/>
                  <a:gd name="connsiteY85" fmla="*/ 512734 h 512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1290174" h="512734">
                    <a:moveTo>
                      <a:pt x="0" y="0"/>
                    </a:moveTo>
                    <a:lnTo>
                      <a:pt x="0" y="0"/>
                    </a:lnTo>
                    <a:lnTo>
                      <a:pt x="5877" y="0"/>
                    </a:lnTo>
                    <a:lnTo>
                      <a:pt x="5877" y="10341"/>
                    </a:lnTo>
                    <a:lnTo>
                      <a:pt x="11771" y="10341"/>
                    </a:lnTo>
                    <a:lnTo>
                      <a:pt x="11771" y="20682"/>
                    </a:lnTo>
                    <a:lnTo>
                      <a:pt x="23541" y="20682"/>
                    </a:lnTo>
                    <a:lnTo>
                      <a:pt x="23541" y="31147"/>
                    </a:lnTo>
                    <a:lnTo>
                      <a:pt x="29418" y="31147"/>
                    </a:lnTo>
                    <a:lnTo>
                      <a:pt x="29418" y="41612"/>
                    </a:lnTo>
                    <a:lnTo>
                      <a:pt x="47065" y="41612"/>
                    </a:lnTo>
                    <a:lnTo>
                      <a:pt x="47065" y="52076"/>
                    </a:lnTo>
                    <a:lnTo>
                      <a:pt x="76623" y="52076"/>
                    </a:lnTo>
                    <a:lnTo>
                      <a:pt x="76623" y="62806"/>
                    </a:lnTo>
                    <a:lnTo>
                      <a:pt x="100164" y="62806"/>
                    </a:lnTo>
                    <a:lnTo>
                      <a:pt x="100164" y="73394"/>
                    </a:lnTo>
                    <a:lnTo>
                      <a:pt x="200311" y="73394"/>
                    </a:lnTo>
                    <a:lnTo>
                      <a:pt x="200311" y="83982"/>
                    </a:lnTo>
                    <a:lnTo>
                      <a:pt x="206205" y="83982"/>
                    </a:lnTo>
                    <a:lnTo>
                      <a:pt x="206205" y="94694"/>
                    </a:lnTo>
                    <a:lnTo>
                      <a:pt x="223853" y="94694"/>
                    </a:lnTo>
                    <a:lnTo>
                      <a:pt x="223853" y="105547"/>
                    </a:lnTo>
                    <a:lnTo>
                      <a:pt x="294600" y="105547"/>
                    </a:lnTo>
                    <a:lnTo>
                      <a:pt x="294600" y="116400"/>
                    </a:lnTo>
                    <a:lnTo>
                      <a:pt x="300476" y="116400"/>
                    </a:lnTo>
                    <a:lnTo>
                      <a:pt x="300476" y="127359"/>
                    </a:lnTo>
                    <a:lnTo>
                      <a:pt x="441829" y="127359"/>
                    </a:lnTo>
                    <a:lnTo>
                      <a:pt x="441829" y="138458"/>
                    </a:lnTo>
                    <a:lnTo>
                      <a:pt x="488893" y="138458"/>
                    </a:lnTo>
                    <a:lnTo>
                      <a:pt x="488893" y="149682"/>
                    </a:lnTo>
                    <a:lnTo>
                      <a:pt x="494911" y="149682"/>
                    </a:lnTo>
                    <a:lnTo>
                      <a:pt x="494911" y="172253"/>
                    </a:lnTo>
                    <a:lnTo>
                      <a:pt x="500787" y="172253"/>
                    </a:lnTo>
                    <a:lnTo>
                      <a:pt x="500787" y="194823"/>
                    </a:lnTo>
                    <a:lnTo>
                      <a:pt x="506682" y="194823"/>
                    </a:lnTo>
                    <a:lnTo>
                      <a:pt x="506682" y="206170"/>
                    </a:lnTo>
                    <a:lnTo>
                      <a:pt x="518452" y="206170"/>
                    </a:lnTo>
                    <a:lnTo>
                      <a:pt x="518452" y="217517"/>
                    </a:lnTo>
                    <a:lnTo>
                      <a:pt x="524329" y="217517"/>
                    </a:lnTo>
                    <a:lnTo>
                      <a:pt x="524329" y="228882"/>
                    </a:lnTo>
                    <a:lnTo>
                      <a:pt x="541976" y="228882"/>
                    </a:lnTo>
                    <a:lnTo>
                      <a:pt x="541976" y="240229"/>
                    </a:lnTo>
                    <a:lnTo>
                      <a:pt x="671558" y="240229"/>
                    </a:lnTo>
                    <a:lnTo>
                      <a:pt x="671558" y="251576"/>
                    </a:lnTo>
                    <a:lnTo>
                      <a:pt x="706993" y="251576"/>
                    </a:lnTo>
                    <a:lnTo>
                      <a:pt x="706993" y="263046"/>
                    </a:lnTo>
                    <a:lnTo>
                      <a:pt x="712887" y="263046"/>
                    </a:lnTo>
                    <a:lnTo>
                      <a:pt x="712887" y="274517"/>
                    </a:lnTo>
                    <a:lnTo>
                      <a:pt x="724658" y="274517"/>
                    </a:lnTo>
                    <a:lnTo>
                      <a:pt x="724658" y="286005"/>
                    </a:lnTo>
                    <a:lnTo>
                      <a:pt x="736410" y="286005"/>
                    </a:lnTo>
                    <a:lnTo>
                      <a:pt x="736410" y="297476"/>
                    </a:lnTo>
                    <a:lnTo>
                      <a:pt x="742305" y="297476"/>
                    </a:lnTo>
                    <a:lnTo>
                      <a:pt x="742305" y="309070"/>
                    </a:lnTo>
                    <a:lnTo>
                      <a:pt x="754075" y="309070"/>
                    </a:lnTo>
                    <a:lnTo>
                      <a:pt x="754075" y="320558"/>
                    </a:lnTo>
                    <a:lnTo>
                      <a:pt x="759952" y="320558"/>
                    </a:lnTo>
                    <a:lnTo>
                      <a:pt x="759952" y="332152"/>
                    </a:lnTo>
                    <a:lnTo>
                      <a:pt x="771722" y="332152"/>
                    </a:lnTo>
                    <a:lnTo>
                      <a:pt x="771722" y="343623"/>
                    </a:lnTo>
                    <a:lnTo>
                      <a:pt x="807034" y="343623"/>
                    </a:lnTo>
                    <a:lnTo>
                      <a:pt x="807034" y="366952"/>
                    </a:lnTo>
                    <a:lnTo>
                      <a:pt x="848346" y="366952"/>
                    </a:lnTo>
                    <a:lnTo>
                      <a:pt x="848346" y="378564"/>
                    </a:lnTo>
                    <a:lnTo>
                      <a:pt x="942616" y="378564"/>
                    </a:lnTo>
                    <a:lnTo>
                      <a:pt x="942616" y="390405"/>
                    </a:lnTo>
                    <a:lnTo>
                      <a:pt x="948510" y="390405"/>
                    </a:lnTo>
                    <a:lnTo>
                      <a:pt x="948510" y="402264"/>
                    </a:lnTo>
                    <a:lnTo>
                      <a:pt x="977928" y="402264"/>
                    </a:lnTo>
                    <a:lnTo>
                      <a:pt x="977928" y="414123"/>
                    </a:lnTo>
                    <a:lnTo>
                      <a:pt x="983804" y="414123"/>
                    </a:lnTo>
                    <a:lnTo>
                      <a:pt x="983804" y="426229"/>
                    </a:lnTo>
                    <a:lnTo>
                      <a:pt x="1019116" y="426229"/>
                    </a:lnTo>
                    <a:lnTo>
                      <a:pt x="1019116" y="438334"/>
                    </a:lnTo>
                    <a:lnTo>
                      <a:pt x="1042781" y="438334"/>
                    </a:lnTo>
                    <a:lnTo>
                      <a:pt x="1042781" y="450440"/>
                    </a:lnTo>
                    <a:lnTo>
                      <a:pt x="1213551" y="450440"/>
                    </a:lnTo>
                    <a:lnTo>
                      <a:pt x="1213551" y="462793"/>
                    </a:lnTo>
                    <a:lnTo>
                      <a:pt x="1225321" y="462793"/>
                    </a:lnTo>
                    <a:lnTo>
                      <a:pt x="1225321" y="475270"/>
                    </a:lnTo>
                    <a:lnTo>
                      <a:pt x="1248986" y="475270"/>
                    </a:lnTo>
                    <a:lnTo>
                      <a:pt x="1248986" y="487640"/>
                    </a:lnTo>
                    <a:lnTo>
                      <a:pt x="1266633" y="487640"/>
                    </a:lnTo>
                    <a:lnTo>
                      <a:pt x="1266633" y="500117"/>
                    </a:lnTo>
                    <a:lnTo>
                      <a:pt x="1290174" y="500117"/>
                    </a:lnTo>
                    <a:lnTo>
                      <a:pt x="1290174" y="512734"/>
                    </a:lnTo>
                  </a:path>
                </a:pathLst>
              </a:custGeom>
              <a:noFill/>
              <a:ln w="9624" cap="flat">
                <a:solidFill>
                  <a:srgbClr val="27377D"/>
                </a:solidFill>
                <a:prstDash val="solid"/>
                <a:miter/>
              </a:ln>
            </p:spPr>
            <p:txBody>
              <a:bodyPr rtlCol="0" anchor="ctr"/>
              <a:lstStyle/>
              <a:p>
                <a:endParaRPr lang="en-US" sz="1800" dirty="0"/>
              </a:p>
            </p:txBody>
          </p:sp>
          <p:sp>
            <p:nvSpPr>
              <p:cNvPr id="2362" name="Freeform 217">
                <a:extLst>
                  <a:ext uri="{FF2B5EF4-FFF2-40B4-BE49-F238E27FC236}">
                    <a16:creationId xmlns:a16="http://schemas.microsoft.com/office/drawing/2014/main" id="{0AB2D3E9-B4D4-9A5A-CC2F-C02F550E488F}"/>
                  </a:ext>
                </a:extLst>
              </p:cNvPr>
              <p:cNvSpPr/>
              <p:nvPr/>
            </p:nvSpPr>
            <p:spPr>
              <a:xfrm>
                <a:off x="5445630" y="2872275"/>
                <a:ext cx="5119491" cy="642228"/>
              </a:xfrm>
              <a:custGeom>
                <a:avLst/>
                <a:gdLst>
                  <a:gd name="connsiteX0" fmla="*/ 0 w 5119491"/>
                  <a:gd name="connsiteY0" fmla="*/ 0 h 642228"/>
                  <a:gd name="connsiteX1" fmla="*/ 41188 w 5119491"/>
                  <a:gd name="connsiteY1" fmla="*/ 0 h 642228"/>
                  <a:gd name="connsiteX2" fmla="*/ 41188 w 5119491"/>
                  <a:gd name="connsiteY2" fmla="*/ 12476 h 642228"/>
                  <a:gd name="connsiteX3" fmla="*/ 141335 w 5119491"/>
                  <a:gd name="connsiteY3" fmla="*/ 12476 h 642228"/>
                  <a:gd name="connsiteX4" fmla="*/ 141335 w 5119491"/>
                  <a:gd name="connsiteY4" fmla="*/ 25094 h 642228"/>
                  <a:gd name="connsiteX5" fmla="*/ 147229 w 5119491"/>
                  <a:gd name="connsiteY5" fmla="*/ 25094 h 642228"/>
                  <a:gd name="connsiteX6" fmla="*/ 147229 w 5119491"/>
                  <a:gd name="connsiteY6" fmla="*/ 37570 h 642228"/>
                  <a:gd name="connsiteX7" fmla="*/ 159000 w 5119491"/>
                  <a:gd name="connsiteY7" fmla="*/ 37570 h 642228"/>
                  <a:gd name="connsiteX8" fmla="*/ 159000 w 5119491"/>
                  <a:gd name="connsiteY8" fmla="*/ 50312 h 642228"/>
                  <a:gd name="connsiteX9" fmla="*/ 165017 w 5119491"/>
                  <a:gd name="connsiteY9" fmla="*/ 50312 h 642228"/>
                  <a:gd name="connsiteX10" fmla="*/ 165017 w 5119491"/>
                  <a:gd name="connsiteY10" fmla="*/ 62912 h 642228"/>
                  <a:gd name="connsiteX11" fmla="*/ 176770 w 5119491"/>
                  <a:gd name="connsiteY11" fmla="*/ 62912 h 642228"/>
                  <a:gd name="connsiteX12" fmla="*/ 176770 w 5119491"/>
                  <a:gd name="connsiteY12" fmla="*/ 75776 h 642228"/>
                  <a:gd name="connsiteX13" fmla="*/ 182664 w 5119491"/>
                  <a:gd name="connsiteY13" fmla="*/ 75776 h 642228"/>
                  <a:gd name="connsiteX14" fmla="*/ 182664 w 5119491"/>
                  <a:gd name="connsiteY14" fmla="*/ 101876 h 642228"/>
                  <a:gd name="connsiteX15" fmla="*/ 206205 w 5119491"/>
                  <a:gd name="connsiteY15" fmla="*/ 101876 h 642228"/>
                  <a:gd name="connsiteX16" fmla="*/ 206205 w 5119491"/>
                  <a:gd name="connsiteY16" fmla="*/ 115129 h 642228"/>
                  <a:gd name="connsiteX17" fmla="*/ 265041 w 5119491"/>
                  <a:gd name="connsiteY17" fmla="*/ 115129 h 642228"/>
                  <a:gd name="connsiteX18" fmla="*/ 265041 w 5119491"/>
                  <a:gd name="connsiteY18" fmla="*/ 128612 h 642228"/>
                  <a:gd name="connsiteX19" fmla="*/ 294582 w 5119491"/>
                  <a:gd name="connsiteY19" fmla="*/ 128612 h 642228"/>
                  <a:gd name="connsiteX20" fmla="*/ 294582 w 5119491"/>
                  <a:gd name="connsiteY20" fmla="*/ 142112 h 642228"/>
                  <a:gd name="connsiteX21" fmla="*/ 465352 w 5119491"/>
                  <a:gd name="connsiteY21" fmla="*/ 142112 h 642228"/>
                  <a:gd name="connsiteX22" fmla="*/ 465352 w 5119491"/>
                  <a:gd name="connsiteY22" fmla="*/ 156865 h 642228"/>
                  <a:gd name="connsiteX23" fmla="*/ 595075 w 5119491"/>
                  <a:gd name="connsiteY23" fmla="*/ 156865 h 642228"/>
                  <a:gd name="connsiteX24" fmla="*/ 595075 w 5119491"/>
                  <a:gd name="connsiteY24" fmla="*/ 186494 h 642228"/>
                  <a:gd name="connsiteX25" fmla="*/ 630369 w 5119491"/>
                  <a:gd name="connsiteY25" fmla="*/ 186494 h 642228"/>
                  <a:gd name="connsiteX26" fmla="*/ 630369 w 5119491"/>
                  <a:gd name="connsiteY26" fmla="*/ 201512 h 642228"/>
                  <a:gd name="connsiteX27" fmla="*/ 671558 w 5119491"/>
                  <a:gd name="connsiteY27" fmla="*/ 201512 h 642228"/>
                  <a:gd name="connsiteX28" fmla="*/ 671558 w 5119491"/>
                  <a:gd name="connsiteY28" fmla="*/ 217023 h 642228"/>
                  <a:gd name="connsiteX29" fmla="*/ 683328 w 5119491"/>
                  <a:gd name="connsiteY29" fmla="*/ 217023 h 642228"/>
                  <a:gd name="connsiteX30" fmla="*/ 683328 w 5119491"/>
                  <a:gd name="connsiteY30" fmla="*/ 233153 h 642228"/>
                  <a:gd name="connsiteX31" fmla="*/ 771722 w 5119491"/>
                  <a:gd name="connsiteY31" fmla="*/ 233153 h 642228"/>
                  <a:gd name="connsiteX32" fmla="*/ 771722 w 5119491"/>
                  <a:gd name="connsiteY32" fmla="*/ 250676 h 642228"/>
                  <a:gd name="connsiteX33" fmla="*/ 865993 w 5119491"/>
                  <a:gd name="connsiteY33" fmla="*/ 250676 h 642228"/>
                  <a:gd name="connsiteX34" fmla="*/ 865993 w 5119491"/>
                  <a:gd name="connsiteY34" fmla="*/ 268217 h 642228"/>
                  <a:gd name="connsiteX35" fmla="*/ 901304 w 5119491"/>
                  <a:gd name="connsiteY35" fmla="*/ 268217 h 642228"/>
                  <a:gd name="connsiteX36" fmla="*/ 901304 w 5119491"/>
                  <a:gd name="connsiteY36" fmla="*/ 286111 h 642228"/>
                  <a:gd name="connsiteX37" fmla="*/ 1154698 w 5119491"/>
                  <a:gd name="connsiteY37" fmla="*/ 286111 h 642228"/>
                  <a:gd name="connsiteX38" fmla="*/ 1154698 w 5119491"/>
                  <a:gd name="connsiteY38" fmla="*/ 305788 h 642228"/>
                  <a:gd name="connsiteX39" fmla="*/ 1366798 w 5119491"/>
                  <a:gd name="connsiteY39" fmla="*/ 305788 h 642228"/>
                  <a:gd name="connsiteX40" fmla="*/ 1366798 w 5119491"/>
                  <a:gd name="connsiteY40" fmla="*/ 328870 h 642228"/>
                  <a:gd name="connsiteX41" fmla="*/ 1402092 w 5119491"/>
                  <a:gd name="connsiteY41" fmla="*/ 328870 h 642228"/>
                  <a:gd name="connsiteX42" fmla="*/ 1402092 w 5119491"/>
                  <a:gd name="connsiteY42" fmla="*/ 352323 h 642228"/>
                  <a:gd name="connsiteX43" fmla="*/ 1596527 w 5119491"/>
                  <a:gd name="connsiteY43" fmla="*/ 352323 h 642228"/>
                  <a:gd name="connsiteX44" fmla="*/ 1596527 w 5119491"/>
                  <a:gd name="connsiteY44" fmla="*/ 377417 h 642228"/>
                  <a:gd name="connsiteX45" fmla="*/ 1731985 w 5119491"/>
                  <a:gd name="connsiteY45" fmla="*/ 377417 h 642228"/>
                  <a:gd name="connsiteX46" fmla="*/ 1731985 w 5119491"/>
                  <a:gd name="connsiteY46" fmla="*/ 405670 h 642228"/>
                  <a:gd name="connsiteX47" fmla="*/ 1885232 w 5119491"/>
                  <a:gd name="connsiteY47" fmla="*/ 405670 h 642228"/>
                  <a:gd name="connsiteX48" fmla="*/ 1885232 w 5119491"/>
                  <a:gd name="connsiteY48" fmla="*/ 436429 h 642228"/>
                  <a:gd name="connsiteX49" fmla="*/ 1897003 w 5119491"/>
                  <a:gd name="connsiteY49" fmla="*/ 436429 h 642228"/>
                  <a:gd name="connsiteX50" fmla="*/ 1897003 w 5119491"/>
                  <a:gd name="connsiteY50" fmla="*/ 467964 h 642228"/>
                  <a:gd name="connsiteX51" fmla="*/ 2297520 w 5119491"/>
                  <a:gd name="connsiteY51" fmla="*/ 467964 h 642228"/>
                  <a:gd name="connsiteX52" fmla="*/ 2297520 w 5119491"/>
                  <a:gd name="connsiteY52" fmla="*/ 508305 h 642228"/>
                  <a:gd name="connsiteX53" fmla="*/ 2621660 w 5119491"/>
                  <a:gd name="connsiteY53" fmla="*/ 508305 h 642228"/>
                  <a:gd name="connsiteX54" fmla="*/ 2621660 w 5119491"/>
                  <a:gd name="connsiteY54" fmla="*/ 556358 h 642228"/>
                  <a:gd name="connsiteX55" fmla="*/ 3369841 w 5119491"/>
                  <a:gd name="connsiteY55" fmla="*/ 556358 h 642228"/>
                  <a:gd name="connsiteX56" fmla="*/ 3369841 w 5119491"/>
                  <a:gd name="connsiteY56" fmla="*/ 642228 h 642228"/>
                  <a:gd name="connsiteX57" fmla="*/ 5119492 w 5119491"/>
                  <a:gd name="connsiteY57" fmla="*/ 642228 h 642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5119491" h="642228">
                    <a:moveTo>
                      <a:pt x="0" y="0"/>
                    </a:moveTo>
                    <a:lnTo>
                      <a:pt x="41188" y="0"/>
                    </a:lnTo>
                    <a:lnTo>
                      <a:pt x="41188" y="12476"/>
                    </a:lnTo>
                    <a:lnTo>
                      <a:pt x="141335" y="12476"/>
                    </a:lnTo>
                    <a:lnTo>
                      <a:pt x="141335" y="25094"/>
                    </a:lnTo>
                    <a:lnTo>
                      <a:pt x="147229" y="25094"/>
                    </a:lnTo>
                    <a:lnTo>
                      <a:pt x="147229" y="37570"/>
                    </a:lnTo>
                    <a:lnTo>
                      <a:pt x="159000" y="37570"/>
                    </a:lnTo>
                    <a:lnTo>
                      <a:pt x="159000" y="50312"/>
                    </a:lnTo>
                    <a:lnTo>
                      <a:pt x="165017" y="50312"/>
                    </a:lnTo>
                    <a:lnTo>
                      <a:pt x="165017" y="62912"/>
                    </a:lnTo>
                    <a:lnTo>
                      <a:pt x="176770" y="62912"/>
                    </a:lnTo>
                    <a:lnTo>
                      <a:pt x="176770" y="75776"/>
                    </a:lnTo>
                    <a:lnTo>
                      <a:pt x="182664" y="75776"/>
                    </a:lnTo>
                    <a:lnTo>
                      <a:pt x="182664" y="101876"/>
                    </a:lnTo>
                    <a:lnTo>
                      <a:pt x="206205" y="101876"/>
                    </a:lnTo>
                    <a:lnTo>
                      <a:pt x="206205" y="115129"/>
                    </a:lnTo>
                    <a:lnTo>
                      <a:pt x="265041" y="115129"/>
                    </a:lnTo>
                    <a:lnTo>
                      <a:pt x="265041" y="128612"/>
                    </a:lnTo>
                    <a:lnTo>
                      <a:pt x="294582" y="128612"/>
                    </a:lnTo>
                    <a:lnTo>
                      <a:pt x="294582" y="142112"/>
                    </a:lnTo>
                    <a:lnTo>
                      <a:pt x="465352" y="142112"/>
                    </a:lnTo>
                    <a:lnTo>
                      <a:pt x="465352" y="156865"/>
                    </a:lnTo>
                    <a:lnTo>
                      <a:pt x="595075" y="156865"/>
                    </a:lnTo>
                    <a:lnTo>
                      <a:pt x="595075" y="186494"/>
                    </a:lnTo>
                    <a:lnTo>
                      <a:pt x="630369" y="186494"/>
                    </a:lnTo>
                    <a:lnTo>
                      <a:pt x="630369" y="201512"/>
                    </a:lnTo>
                    <a:lnTo>
                      <a:pt x="671558" y="201512"/>
                    </a:lnTo>
                    <a:lnTo>
                      <a:pt x="671558" y="217023"/>
                    </a:lnTo>
                    <a:lnTo>
                      <a:pt x="683328" y="217023"/>
                    </a:lnTo>
                    <a:lnTo>
                      <a:pt x="683328" y="233153"/>
                    </a:lnTo>
                    <a:lnTo>
                      <a:pt x="771722" y="233153"/>
                    </a:lnTo>
                    <a:lnTo>
                      <a:pt x="771722" y="250676"/>
                    </a:lnTo>
                    <a:lnTo>
                      <a:pt x="865993" y="250676"/>
                    </a:lnTo>
                    <a:lnTo>
                      <a:pt x="865993" y="268217"/>
                    </a:lnTo>
                    <a:lnTo>
                      <a:pt x="901304" y="268217"/>
                    </a:lnTo>
                    <a:lnTo>
                      <a:pt x="901304" y="286111"/>
                    </a:lnTo>
                    <a:lnTo>
                      <a:pt x="1154698" y="286111"/>
                    </a:lnTo>
                    <a:lnTo>
                      <a:pt x="1154698" y="305788"/>
                    </a:lnTo>
                    <a:lnTo>
                      <a:pt x="1366798" y="305788"/>
                    </a:lnTo>
                    <a:lnTo>
                      <a:pt x="1366798" y="328870"/>
                    </a:lnTo>
                    <a:lnTo>
                      <a:pt x="1402092" y="328870"/>
                    </a:lnTo>
                    <a:lnTo>
                      <a:pt x="1402092" y="352323"/>
                    </a:lnTo>
                    <a:lnTo>
                      <a:pt x="1596527" y="352323"/>
                    </a:lnTo>
                    <a:lnTo>
                      <a:pt x="1596527" y="377417"/>
                    </a:lnTo>
                    <a:lnTo>
                      <a:pt x="1731985" y="377417"/>
                    </a:lnTo>
                    <a:lnTo>
                      <a:pt x="1731985" y="405670"/>
                    </a:lnTo>
                    <a:lnTo>
                      <a:pt x="1885232" y="405670"/>
                    </a:lnTo>
                    <a:lnTo>
                      <a:pt x="1885232" y="436429"/>
                    </a:lnTo>
                    <a:lnTo>
                      <a:pt x="1897003" y="436429"/>
                    </a:lnTo>
                    <a:lnTo>
                      <a:pt x="1897003" y="467964"/>
                    </a:lnTo>
                    <a:lnTo>
                      <a:pt x="2297520" y="467964"/>
                    </a:lnTo>
                    <a:lnTo>
                      <a:pt x="2297520" y="508305"/>
                    </a:lnTo>
                    <a:lnTo>
                      <a:pt x="2621660" y="508305"/>
                    </a:lnTo>
                    <a:lnTo>
                      <a:pt x="2621660" y="556358"/>
                    </a:lnTo>
                    <a:lnTo>
                      <a:pt x="3369841" y="556358"/>
                    </a:lnTo>
                    <a:lnTo>
                      <a:pt x="3369841" y="642228"/>
                    </a:lnTo>
                    <a:lnTo>
                      <a:pt x="5119492" y="642228"/>
                    </a:lnTo>
                  </a:path>
                </a:pathLst>
              </a:custGeom>
              <a:noFill/>
              <a:ln w="9624" cap="flat">
                <a:solidFill>
                  <a:srgbClr val="27377D"/>
                </a:solidFill>
                <a:prstDash val="solid"/>
                <a:miter/>
              </a:ln>
            </p:spPr>
            <p:txBody>
              <a:bodyPr rtlCol="0" anchor="ctr"/>
              <a:lstStyle/>
              <a:p>
                <a:endParaRPr lang="en-US" sz="1800" dirty="0"/>
              </a:p>
            </p:txBody>
          </p:sp>
          <p:sp>
            <p:nvSpPr>
              <p:cNvPr id="2363" name="Freeform 218">
                <a:extLst>
                  <a:ext uri="{FF2B5EF4-FFF2-40B4-BE49-F238E27FC236}">
                    <a16:creationId xmlns:a16="http://schemas.microsoft.com/office/drawing/2014/main" id="{ABF696C5-AA0D-D0C8-84A1-B53C0143DF4F}"/>
                  </a:ext>
                </a:extLst>
              </p:cNvPr>
              <p:cNvSpPr/>
              <p:nvPr/>
            </p:nvSpPr>
            <p:spPr>
              <a:xfrm>
                <a:off x="2370423" y="1187548"/>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364" name="Freeform 219">
                <a:extLst>
                  <a:ext uri="{FF2B5EF4-FFF2-40B4-BE49-F238E27FC236}">
                    <a16:creationId xmlns:a16="http://schemas.microsoft.com/office/drawing/2014/main" id="{B05D1FDA-5337-2806-1E6E-4254C1AA005D}"/>
                  </a:ext>
                </a:extLst>
              </p:cNvPr>
              <p:cNvSpPr/>
              <p:nvPr/>
            </p:nvSpPr>
            <p:spPr>
              <a:xfrm>
                <a:off x="2399841" y="1159172"/>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365" name="Freeform 220">
                <a:extLst>
                  <a:ext uri="{FF2B5EF4-FFF2-40B4-BE49-F238E27FC236}">
                    <a16:creationId xmlns:a16="http://schemas.microsoft.com/office/drawing/2014/main" id="{9175C773-C89E-022B-C6AA-4861605FB763}"/>
                  </a:ext>
                </a:extLst>
              </p:cNvPr>
              <p:cNvSpPr/>
              <p:nvPr/>
            </p:nvSpPr>
            <p:spPr>
              <a:xfrm>
                <a:off x="2370423" y="1187548"/>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366" name="Freeform 221">
                <a:extLst>
                  <a:ext uri="{FF2B5EF4-FFF2-40B4-BE49-F238E27FC236}">
                    <a16:creationId xmlns:a16="http://schemas.microsoft.com/office/drawing/2014/main" id="{8016D1EE-65D0-7E7F-A1F7-722A6FCF4A09}"/>
                  </a:ext>
                </a:extLst>
              </p:cNvPr>
              <p:cNvSpPr/>
              <p:nvPr/>
            </p:nvSpPr>
            <p:spPr>
              <a:xfrm>
                <a:off x="2399841" y="1159172"/>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367" name="Freeform 222">
                <a:extLst>
                  <a:ext uri="{FF2B5EF4-FFF2-40B4-BE49-F238E27FC236}">
                    <a16:creationId xmlns:a16="http://schemas.microsoft.com/office/drawing/2014/main" id="{365DF2C9-ACB0-04C5-5F92-B1B6E86D6951}"/>
                  </a:ext>
                </a:extLst>
              </p:cNvPr>
              <p:cNvSpPr/>
              <p:nvPr/>
            </p:nvSpPr>
            <p:spPr>
              <a:xfrm>
                <a:off x="2370423" y="1187548"/>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368" name="Freeform 223">
                <a:extLst>
                  <a:ext uri="{FF2B5EF4-FFF2-40B4-BE49-F238E27FC236}">
                    <a16:creationId xmlns:a16="http://schemas.microsoft.com/office/drawing/2014/main" id="{715F8311-4F6B-D9A5-7FD7-36C696CC4B37}"/>
                  </a:ext>
                </a:extLst>
              </p:cNvPr>
              <p:cNvSpPr/>
              <p:nvPr/>
            </p:nvSpPr>
            <p:spPr>
              <a:xfrm>
                <a:off x="2399841" y="1159172"/>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369" name="Freeform 224">
                <a:extLst>
                  <a:ext uri="{FF2B5EF4-FFF2-40B4-BE49-F238E27FC236}">
                    <a16:creationId xmlns:a16="http://schemas.microsoft.com/office/drawing/2014/main" id="{83D95712-3328-0791-C222-00CBBB03DBF1}"/>
                  </a:ext>
                </a:extLst>
              </p:cNvPr>
              <p:cNvSpPr/>
              <p:nvPr/>
            </p:nvSpPr>
            <p:spPr>
              <a:xfrm>
                <a:off x="2370423" y="1187548"/>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370" name="Freeform 225">
                <a:extLst>
                  <a:ext uri="{FF2B5EF4-FFF2-40B4-BE49-F238E27FC236}">
                    <a16:creationId xmlns:a16="http://schemas.microsoft.com/office/drawing/2014/main" id="{8C01AFB2-9518-3830-FDA5-2903606C3DBC}"/>
                  </a:ext>
                </a:extLst>
              </p:cNvPr>
              <p:cNvSpPr/>
              <p:nvPr/>
            </p:nvSpPr>
            <p:spPr>
              <a:xfrm>
                <a:off x="2399841" y="1159172"/>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371" name="Freeform 226">
                <a:extLst>
                  <a:ext uri="{FF2B5EF4-FFF2-40B4-BE49-F238E27FC236}">
                    <a16:creationId xmlns:a16="http://schemas.microsoft.com/office/drawing/2014/main" id="{DA63DBB3-0666-D836-379D-29ED52A5A173}"/>
                  </a:ext>
                </a:extLst>
              </p:cNvPr>
              <p:cNvSpPr/>
              <p:nvPr/>
            </p:nvSpPr>
            <p:spPr>
              <a:xfrm>
                <a:off x="2370423" y="1187548"/>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372" name="Freeform 227">
                <a:extLst>
                  <a:ext uri="{FF2B5EF4-FFF2-40B4-BE49-F238E27FC236}">
                    <a16:creationId xmlns:a16="http://schemas.microsoft.com/office/drawing/2014/main" id="{E6E3653D-DE7A-2C69-5D3B-33B26623E701}"/>
                  </a:ext>
                </a:extLst>
              </p:cNvPr>
              <p:cNvSpPr/>
              <p:nvPr/>
            </p:nvSpPr>
            <p:spPr>
              <a:xfrm>
                <a:off x="2399841" y="1159172"/>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373" name="Freeform 228">
                <a:extLst>
                  <a:ext uri="{FF2B5EF4-FFF2-40B4-BE49-F238E27FC236}">
                    <a16:creationId xmlns:a16="http://schemas.microsoft.com/office/drawing/2014/main" id="{E58A6FAF-3C76-9D7A-9F61-97243DE1CEEE}"/>
                  </a:ext>
                </a:extLst>
              </p:cNvPr>
              <p:cNvSpPr/>
              <p:nvPr/>
            </p:nvSpPr>
            <p:spPr>
              <a:xfrm>
                <a:off x="2370423" y="1187548"/>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374" name="Freeform 229">
                <a:extLst>
                  <a:ext uri="{FF2B5EF4-FFF2-40B4-BE49-F238E27FC236}">
                    <a16:creationId xmlns:a16="http://schemas.microsoft.com/office/drawing/2014/main" id="{80F7CCA4-FB5A-F49D-4EC3-AAED4561D0BD}"/>
                  </a:ext>
                </a:extLst>
              </p:cNvPr>
              <p:cNvSpPr/>
              <p:nvPr/>
            </p:nvSpPr>
            <p:spPr>
              <a:xfrm>
                <a:off x="2399841" y="1159172"/>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375" name="Freeform 230">
                <a:extLst>
                  <a:ext uri="{FF2B5EF4-FFF2-40B4-BE49-F238E27FC236}">
                    <a16:creationId xmlns:a16="http://schemas.microsoft.com/office/drawing/2014/main" id="{B76941AE-3BB7-EB55-0030-53AAA848EE16}"/>
                  </a:ext>
                </a:extLst>
              </p:cNvPr>
              <p:cNvSpPr/>
              <p:nvPr/>
            </p:nvSpPr>
            <p:spPr>
              <a:xfrm>
                <a:off x="2611958" y="1221978"/>
                <a:ext cx="58852" cy="17647"/>
              </a:xfrm>
              <a:custGeom>
                <a:avLst/>
                <a:gdLst>
                  <a:gd name="connsiteX0" fmla="*/ 0 w 58852"/>
                  <a:gd name="connsiteY0" fmla="*/ 0 h 17647"/>
                  <a:gd name="connsiteX1" fmla="*/ 58853 w 58852"/>
                  <a:gd name="connsiteY1" fmla="*/ 0 h 17647"/>
                </a:gdLst>
                <a:ahLst/>
                <a:cxnLst>
                  <a:cxn ang="0">
                    <a:pos x="connsiteX0" y="connsiteY0"/>
                  </a:cxn>
                  <a:cxn ang="0">
                    <a:pos x="connsiteX1" y="connsiteY1"/>
                  </a:cxn>
                </a:cxnLst>
                <a:rect l="l" t="t" r="r" b="b"/>
                <a:pathLst>
                  <a:path w="58852" h="17647">
                    <a:moveTo>
                      <a:pt x="0" y="0"/>
                    </a:moveTo>
                    <a:lnTo>
                      <a:pt x="58853" y="0"/>
                    </a:lnTo>
                  </a:path>
                </a:pathLst>
              </a:custGeom>
              <a:ln w="9624" cap="sq">
                <a:solidFill>
                  <a:srgbClr val="27377D"/>
                </a:solidFill>
                <a:prstDash val="solid"/>
                <a:miter/>
              </a:ln>
            </p:spPr>
            <p:txBody>
              <a:bodyPr rtlCol="0" anchor="ctr"/>
              <a:lstStyle/>
              <a:p>
                <a:endParaRPr lang="en-US" sz="1800" dirty="0"/>
              </a:p>
            </p:txBody>
          </p:sp>
          <p:sp>
            <p:nvSpPr>
              <p:cNvPr id="2376" name="Freeform 231">
                <a:extLst>
                  <a:ext uri="{FF2B5EF4-FFF2-40B4-BE49-F238E27FC236}">
                    <a16:creationId xmlns:a16="http://schemas.microsoft.com/office/drawing/2014/main" id="{3C047A7F-A9AF-8672-869C-F6DFE9448FAF}"/>
                  </a:ext>
                </a:extLst>
              </p:cNvPr>
              <p:cNvSpPr/>
              <p:nvPr/>
            </p:nvSpPr>
            <p:spPr>
              <a:xfrm>
                <a:off x="2641393" y="1193601"/>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377" name="Freeform 232">
                <a:extLst>
                  <a:ext uri="{FF2B5EF4-FFF2-40B4-BE49-F238E27FC236}">
                    <a16:creationId xmlns:a16="http://schemas.microsoft.com/office/drawing/2014/main" id="{5F0B68B8-0605-C469-E3E4-A69C09F22B5E}"/>
                  </a:ext>
                </a:extLst>
              </p:cNvPr>
              <p:cNvSpPr/>
              <p:nvPr/>
            </p:nvSpPr>
            <p:spPr>
              <a:xfrm>
                <a:off x="2617870" y="1239254"/>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378" name="Freeform 233">
                <a:extLst>
                  <a:ext uri="{FF2B5EF4-FFF2-40B4-BE49-F238E27FC236}">
                    <a16:creationId xmlns:a16="http://schemas.microsoft.com/office/drawing/2014/main" id="{004BB43C-5196-BB47-279D-B4502EB31A1C}"/>
                  </a:ext>
                </a:extLst>
              </p:cNvPr>
              <p:cNvSpPr/>
              <p:nvPr/>
            </p:nvSpPr>
            <p:spPr>
              <a:xfrm>
                <a:off x="2647288" y="1210878"/>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379" name="Freeform 234">
                <a:extLst>
                  <a:ext uri="{FF2B5EF4-FFF2-40B4-BE49-F238E27FC236}">
                    <a16:creationId xmlns:a16="http://schemas.microsoft.com/office/drawing/2014/main" id="{A320CA02-CBF2-8A1B-608A-192DF4109E6A}"/>
                  </a:ext>
                </a:extLst>
              </p:cNvPr>
              <p:cNvSpPr/>
              <p:nvPr/>
            </p:nvSpPr>
            <p:spPr>
              <a:xfrm>
                <a:off x="2623746" y="1273807"/>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380" name="Freeform 235">
                <a:extLst>
                  <a:ext uri="{FF2B5EF4-FFF2-40B4-BE49-F238E27FC236}">
                    <a16:creationId xmlns:a16="http://schemas.microsoft.com/office/drawing/2014/main" id="{0F73E9E3-0525-216F-9840-232116E64352}"/>
                  </a:ext>
                </a:extLst>
              </p:cNvPr>
              <p:cNvSpPr/>
              <p:nvPr/>
            </p:nvSpPr>
            <p:spPr>
              <a:xfrm>
                <a:off x="2653164" y="1245431"/>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381" name="Freeform 236">
                <a:extLst>
                  <a:ext uri="{FF2B5EF4-FFF2-40B4-BE49-F238E27FC236}">
                    <a16:creationId xmlns:a16="http://schemas.microsoft.com/office/drawing/2014/main" id="{2F3B04D0-7DEA-6A91-1A0D-70D9A1D7E3B5}"/>
                  </a:ext>
                </a:extLst>
              </p:cNvPr>
              <p:cNvSpPr/>
              <p:nvPr/>
            </p:nvSpPr>
            <p:spPr>
              <a:xfrm>
                <a:off x="2623746" y="1273807"/>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382" name="Freeform 237">
                <a:extLst>
                  <a:ext uri="{FF2B5EF4-FFF2-40B4-BE49-F238E27FC236}">
                    <a16:creationId xmlns:a16="http://schemas.microsoft.com/office/drawing/2014/main" id="{562DB200-7E14-0E22-C85E-DC1B14EBBEE7}"/>
                  </a:ext>
                </a:extLst>
              </p:cNvPr>
              <p:cNvSpPr/>
              <p:nvPr/>
            </p:nvSpPr>
            <p:spPr>
              <a:xfrm>
                <a:off x="2653164" y="1245431"/>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383" name="Freeform 238">
                <a:extLst>
                  <a:ext uri="{FF2B5EF4-FFF2-40B4-BE49-F238E27FC236}">
                    <a16:creationId xmlns:a16="http://schemas.microsoft.com/office/drawing/2014/main" id="{589A6D28-6534-E9E1-6C8B-C897187FC868}"/>
                  </a:ext>
                </a:extLst>
              </p:cNvPr>
              <p:cNvSpPr/>
              <p:nvPr/>
            </p:nvSpPr>
            <p:spPr>
              <a:xfrm>
                <a:off x="2623746" y="1273807"/>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384" name="Freeform 239">
                <a:extLst>
                  <a:ext uri="{FF2B5EF4-FFF2-40B4-BE49-F238E27FC236}">
                    <a16:creationId xmlns:a16="http://schemas.microsoft.com/office/drawing/2014/main" id="{0F8856E1-C226-CCEE-4BAB-83F728215033}"/>
                  </a:ext>
                </a:extLst>
              </p:cNvPr>
              <p:cNvSpPr/>
              <p:nvPr/>
            </p:nvSpPr>
            <p:spPr>
              <a:xfrm>
                <a:off x="2653164" y="1245431"/>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385" name="Freeform 240">
                <a:extLst>
                  <a:ext uri="{FF2B5EF4-FFF2-40B4-BE49-F238E27FC236}">
                    <a16:creationId xmlns:a16="http://schemas.microsoft.com/office/drawing/2014/main" id="{7E85C469-A2CF-AFB6-4B37-CF2FCA6CDDD0}"/>
                  </a:ext>
                </a:extLst>
              </p:cNvPr>
              <p:cNvSpPr/>
              <p:nvPr/>
            </p:nvSpPr>
            <p:spPr>
              <a:xfrm>
                <a:off x="2653199" y="1308731"/>
                <a:ext cx="58852" cy="17647"/>
              </a:xfrm>
              <a:custGeom>
                <a:avLst/>
                <a:gdLst>
                  <a:gd name="connsiteX0" fmla="*/ 0 w 58852"/>
                  <a:gd name="connsiteY0" fmla="*/ 0 h 17647"/>
                  <a:gd name="connsiteX1" fmla="*/ 58853 w 58852"/>
                  <a:gd name="connsiteY1" fmla="*/ 0 h 17647"/>
                </a:gdLst>
                <a:ahLst/>
                <a:cxnLst>
                  <a:cxn ang="0">
                    <a:pos x="connsiteX0" y="connsiteY0"/>
                  </a:cxn>
                  <a:cxn ang="0">
                    <a:pos x="connsiteX1" y="connsiteY1"/>
                  </a:cxn>
                </a:cxnLst>
                <a:rect l="l" t="t" r="r" b="b"/>
                <a:pathLst>
                  <a:path w="58852" h="17647">
                    <a:moveTo>
                      <a:pt x="0" y="0"/>
                    </a:moveTo>
                    <a:lnTo>
                      <a:pt x="58853" y="0"/>
                    </a:lnTo>
                  </a:path>
                </a:pathLst>
              </a:custGeom>
              <a:ln w="9624" cap="sq">
                <a:solidFill>
                  <a:srgbClr val="27377D"/>
                </a:solidFill>
                <a:prstDash val="solid"/>
                <a:miter/>
              </a:ln>
            </p:spPr>
            <p:txBody>
              <a:bodyPr rtlCol="0" anchor="ctr"/>
              <a:lstStyle/>
              <a:p>
                <a:endParaRPr lang="en-US" sz="1800" dirty="0"/>
              </a:p>
            </p:txBody>
          </p:sp>
          <p:sp>
            <p:nvSpPr>
              <p:cNvPr id="2386" name="Freeform 241">
                <a:extLst>
                  <a:ext uri="{FF2B5EF4-FFF2-40B4-BE49-F238E27FC236}">
                    <a16:creationId xmlns:a16="http://schemas.microsoft.com/office/drawing/2014/main" id="{AE319622-F40D-7D46-2BF0-CC153FECBA6D}"/>
                  </a:ext>
                </a:extLst>
              </p:cNvPr>
              <p:cNvSpPr/>
              <p:nvPr/>
            </p:nvSpPr>
            <p:spPr>
              <a:xfrm>
                <a:off x="2682635" y="1280354"/>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387" name="Freeform 242">
                <a:extLst>
                  <a:ext uri="{FF2B5EF4-FFF2-40B4-BE49-F238E27FC236}">
                    <a16:creationId xmlns:a16="http://schemas.microsoft.com/office/drawing/2014/main" id="{50F94209-4A26-F7C7-E5C3-F4AE930D0CEB}"/>
                  </a:ext>
                </a:extLst>
              </p:cNvPr>
              <p:cNvSpPr/>
              <p:nvPr/>
            </p:nvSpPr>
            <p:spPr>
              <a:xfrm>
                <a:off x="2659093" y="1317431"/>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388" name="Freeform 243">
                <a:extLst>
                  <a:ext uri="{FF2B5EF4-FFF2-40B4-BE49-F238E27FC236}">
                    <a16:creationId xmlns:a16="http://schemas.microsoft.com/office/drawing/2014/main" id="{C623CE09-F331-2E9B-1EAA-20A4E1666DE2}"/>
                  </a:ext>
                </a:extLst>
              </p:cNvPr>
              <p:cNvSpPr/>
              <p:nvPr/>
            </p:nvSpPr>
            <p:spPr>
              <a:xfrm>
                <a:off x="2688511" y="1289054"/>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389" name="Freeform 244">
                <a:extLst>
                  <a:ext uri="{FF2B5EF4-FFF2-40B4-BE49-F238E27FC236}">
                    <a16:creationId xmlns:a16="http://schemas.microsoft.com/office/drawing/2014/main" id="{FF7EF9D0-4C6B-871D-3989-2001F1418F75}"/>
                  </a:ext>
                </a:extLst>
              </p:cNvPr>
              <p:cNvSpPr/>
              <p:nvPr/>
            </p:nvSpPr>
            <p:spPr>
              <a:xfrm>
                <a:off x="2706229" y="1343795"/>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390" name="Freeform 245">
                <a:extLst>
                  <a:ext uri="{FF2B5EF4-FFF2-40B4-BE49-F238E27FC236}">
                    <a16:creationId xmlns:a16="http://schemas.microsoft.com/office/drawing/2014/main" id="{0DF71DE8-65CA-4129-07CB-B712036BE5A2}"/>
                  </a:ext>
                </a:extLst>
              </p:cNvPr>
              <p:cNvSpPr/>
              <p:nvPr/>
            </p:nvSpPr>
            <p:spPr>
              <a:xfrm>
                <a:off x="2735646" y="1315419"/>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391" name="Freeform 246">
                <a:extLst>
                  <a:ext uri="{FF2B5EF4-FFF2-40B4-BE49-F238E27FC236}">
                    <a16:creationId xmlns:a16="http://schemas.microsoft.com/office/drawing/2014/main" id="{99741519-AA80-5C3D-0BB0-329F4C73F6CF}"/>
                  </a:ext>
                </a:extLst>
              </p:cNvPr>
              <p:cNvSpPr/>
              <p:nvPr/>
            </p:nvSpPr>
            <p:spPr>
              <a:xfrm>
                <a:off x="2847634" y="1387666"/>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392" name="Freeform 247">
                <a:extLst>
                  <a:ext uri="{FF2B5EF4-FFF2-40B4-BE49-F238E27FC236}">
                    <a16:creationId xmlns:a16="http://schemas.microsoft.com/office/drawing/2014/main" id="{A9E1F4FA-1ECD-88CA-656E-6639C3124CC3}"/>
                  </a:ext>
                </a:extLst>
              </p:cNvPr>
              <p:cNvSpPr/>
              <p:nvPr/>
            </p:nvSpPr>
            <p:spPr>
              <a:xfrm>
                <a:off x="2877052" y="1359307"/>
                <a:ext cx="17647" cy="56735"/>
              </a:xfrm>
              <a:custGeom>
                <a:avLst/>
                <a:gdLst>
                  <a:gd name="connsiteX0" fmla="*/ 0 w 17647"/>
                  <a:gd name="connsiteY0" fmla="*/ 0 h 56735"/>
                  <a:gd name="connsiteX1" fmla="*/ 0 w 17647"/>
                  <a:gd name="connsiteY1" fmla="*/ 56735 h 56735"/>
                </a:gdLst>
                <a:ahLst/>
                <a:cxnLst>
                  <a:cxn ang="0">
                    <a:pos x="connsiteX0" y="connsiteY0"/>
                  </a:cxn>
                  <a:cxn ang="0">
                    <a:pos x="connsiteX1" y="connsiteY1"/>
                  </a:cxn>
                </a:cxnLst>
                <a:rect l="l" t="t" r="r" b="b"/>
                <a:pathLst>
                  <a:path w="17647" h="56735">
                    <a:moveTo>
                      <a:pt x="0" y="0"/>
                    </a:moveTo>
                    <a:lnTo>
                      <a:pt x="0" y="56735"/>
                    </a:lnTo>
                  </a:path>
                </a:pathLst>
              </a:custGeom>
              <a:ln w="9624" cap="sq">
                <a:solidFill>
                  <a:srgbClr val="27377D"/>
                </a:solidFill>
                <a:prstDash val="solid"/>
                <a:miter/>
              </a:ln>
            </p:spPr>
            <p:txBody>
              <a:bodyPr rtlCol="0" anchor="ctr"/>
              <a:lstStyle/>
              <a:p>
                <a:endParaRPr lang="en-US" sz="1800" dirty="0"/>
              </a:p>
            </p:txBody>
          </p:sp>
          <p:sp>
            <p:nvSpPr>
              <p:cNvPr id="2393" name="Freeform 248">
                <a:extLst>
                  <a:ext uri="{FF2B5EF4-FFF2-40B4-BE49-F238E27FC236}">
                    <a16:creationId xmlns:a16="http://schemas.microsoft.com/office/drawing/2014/main" id="{B74B69B3-C30B-EC63-D9E6-6FAD1D2A7B40}"/>
                  </a:ext>
                </a:extLst>
              </p:cNvPr>
              <p:cNvSpPr/>
              <p:nvPr/>
            </p:nvSpPr>
            <p:spPr>
              <a:xfrm>
                <a:off x="2865281" y="1422977"/>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394" name="Freeform 249">
                <a:extLst>
                  <a:ext uri="{FF2B5EF4-FFF2-40B4-BE49-F238E27FC236}">
                    <a16:creationId xmlns:a16="http://schemas.microsoft.com/office/drawing/2014/main" id="{CBEF315F-C7DC-BE5F-567A-B332EA13BD5B}"/>
                  </a:ext>
                </a:extLst>
              </p:cNvPr>
              <p:cNvSpPr/>
              <p:nvPr/>
            </p:nvSpPr>
            <p:spPr>
              <a:xfrm>
                <a:off x="2894699" y="1394601"/>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395" name="Freeform 250">
                <a:extLst>
                  <a:ext uri="{FF2B5EF4-FFF2-40B4-BE49-F238E27FC236}">
                    <a16:creationId xmlns:a16="http://schemas.microsoft.com/office/drawing/2014/main" id="{30F86FA0-C5CB-6CC4-B6AF-5AA717F5B085}"/>
                  </a:ext>
                </a:extLst>
              </p:cNvPr>
              <p:cNvSpPr/>
              <p:nvPr/>
            </p:nvSpPr>
            <p:spPr>
              <a:xfrm>
                <a:off x="2882928" y="1431801"/>
                <a:ext cx="58852" cy="17647"/>
              </a:xfrm>
              <a:custGeom>
                <a:avLst/>
                <a:gdLst>
                  <a:gd name="connsiteX0" fmla="*/ 0 w 58852"/>
                  <a:gd name="connsiteY0" fmla="*/ 0 h 17647"/>
                  <a:gd name="connsiteX1" fmla="*/ 58853 w 58852"/>
                  <a:gd name="connsiteY1" fmla="*/ 0 h 17647"/>
                </a:gdLst>
                <a:ahLst/>
                <a:cxnLst>
                  <a:cxn ang="0">
                    <a:pos x="connsiteX0" y="connsiteY0"/>
                  </a:cxn>
                  <a:cxn ang="0">
                    <a:pos x="connsiteX1" y="connsiteY1"/>
                  </a:cxn>
                </a:cxnLst>
                <a:rect l="l" t="t" r="r" b="b"/>
                <a:pathLst>
                  <a:path w="58852" h="17647">
                    <a:moveTo>
                      <a:pt x="0" y="0"/>
                    </a:moveTo>
                    <a:lnTo>
                      <a:pt x="58853" y="0"/>
                    </a:lnTo>
                  </a:path>
                </a:pathLst>
              </a:custGeom>
              <a:ln w="9624" cap="sq">
                <a:solidFill>
                  <a:srgbClr val="27377D"/>
                </a:solidFill>
                <a:prstDash val="solid"/>
                <a:miter/>
              </a:ln>
            </p:spPr>
            <p:txBody>
              <a:bodyPr rtlCol="0" anchor="ctr"/>
              <a:lstStyle/>
              <a:p>
                <a:endParaRPr lang="en-US" sz="1800" dirty="0"/>
              </a:p>
            </p:txBody>
          </p:sp>
          <p:sp>
            <p:nvSpPr>
              <p:cNvPr id="2396" name="Freeform 251">
                <a:extLst>
                  <a:ext uri="{FF2B5EF4-FFF2-40B4-BE49-F238E27FC236}">
                    <a16:creationId xmlns:a16="http://schemas.microsoft.com/office/drawing/2014/main" id="{B89C7FDE-2CB0-DBDD-412A-D7CC081C7575}"/>
                  </a:ext>
                </a:extLst>
              </p:cNvPr>
              <p:cNvSpPr/>
              <p:nvPr/>
            </p:nvSpPr>
            <p:spPr>
              <a:xfrm>
                <a:off x="2912346" y="1403442"/>
                <a:ext cx="17647" cy="56735"/>
              </a:xfrm>
              <a:custGeom>
                <a:avLst/>
                <a:gdLst>
                  <a:gd name="connsiteX0" fmla="*/ 0 w 17647"/>
                  <a:gd name="connsiteY0" fmla="*/ 0 h 56735"/>
                  <a:gd name="connsiteX1" fmla="*/ 0 w 17647"/>
                  <a:gd name="connsiteY1" fmla="*/ 56735 h 56735"/>
                </a:gdLst>
                <a:ahLst/>
                <a:cxnLst>
                  <a:cxn ang="0">
                    <a:pos x="connsiteX0" y="connsiteY0"/>
                  </a:cxn>
                  <a:cxn ang="0">
                    <a:pos x="connsiteX1" y="connsiteY1"/>
                  </a:cxn>
                </a:cxnLst>
                <a:rect l="l" t="t" r="r" b="b"/>
                <a:pathLst>
                  <a:path w="17647" h="56735">
                    <a:moveTo>
                      <a:pt x="0" y="0"/>
                    </a:moveTo>
                    <a:lnTo>
                      <a:pt x="0" y="56735"/>
                    </a:lnTo>
                  </a:path>
                </a:pathLst>
              </a:custGeom>
              <a:ln w="9624" cap="sq">
                <a:solidFill>
                  <a:srgbClr val="27377D"/>
                </a:solidFill>
                <a:prstDash val="solid"/>
                <a:miter/>
              </a:ln>
            </p:spPr>
            <p:txBody>
              <a:bodyPr rtlCol="0" anchor="ctr"/>
              <a:lstStyle/>
              <a:p>
                <a:endParaRPr lang="en-US" sz="1800" dirty="0"/>
              </a:p>
            </p:txBody>
          </p:sp>
          <p:sp>
            <p:nvSpPr>
              <p:cNvPr id="2397" name="Freeform 252">
                <a:extLst>
                  <a:ext uri="{FF2B5EF4-FFF2-40B4-BE49-F238E27FC236}">
                    <a16:creationId xmlns:a16="http://schemas.microsoft.com/office/drawing/2014/main" id="{DE2B2ED6-D7A7-1B76-CB9C-DDB5DC3367A2}"/>
                  </a:ext>
                </a:extLst>
              </p:cNvPr>
              <p:cNvSpPr/>
              <p:nvPr/>
            </p:nvSpPr>
            <p:spPr>
              <a:xfrm>
                <a:off x="2894699" y="1440642"/>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398" name="Freeform 253">
                <a:extLst>
                  <a:ext uri="{FF2B5EF4-FFF2-40B4-BE49-F238E27FC236}">
                    <a16:creationId xmlns:a16="http://schemas.microsoft.com/office/drawing/2014/main" id="{77ABB8FF-106E-2D63-3D3A-7EE6B42D4CB5}"/>
                  </a:ext>
                </a:extLst>
              </p:cNvPr>
              <p:cNvSpPr/>
              <p:nvPr/>
            </p:nvSpPr>
            <p:spPr>
              <a:xfrm>
                <a:off x="2924116" y="1412266"/>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399" name="Freeform 254">
                <a:extLst>
                  <a:ext uri="{FF2B5EF4-FFF2-40B4-BE49-F238E27FC236}">
                    <a16:creationId xmlns:a16="http://schemas.microsoft.com/office/drawing/2014/main" id="{1A175FEE-6D88-C96B-863B-E9E85C0C03E7}"/>
                  </a:ext>
                </a:extLst>
              </p:cNvPr>
              <p:cNvSpPr/>
              <p:nvPr/>
            </p:nvSpPr>
            <p:spPr>
              <a:xfrm>
                <a:off x="2906469" y="1440642"/>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400" name="Freeform 255">
                <a:extLst>
                  <a:ext uri="{FF2B5EF4-FFF2-40B4-BE49-F238E27FC236}">
                    <a16:creationId xmlns:a16="http://schemas.microsoft.com/office/drawing/2014/main" id="{445FFA7A-7C04-C67A-F49E-E8247A140739}"/>
                  </a:ext>
                </a:extLst>
              </p:cNvPr>
              <p:cNvSpPr/>
              <p:nvPr/>
            </p:nvSpPr>
            <p:spPr>
              <a:xfrm>
                <a:off x="2935887" y="1412266"/>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401" name="Freeform 256">
                <a:extLst>
                  <a:ext uri="{FF2B5EF4-FFF2-40B4-BE49-F238E27FC236}">
                    <a16:creationId xmlns:a16="http://schemas.microsoft.com/office/drawing/2014/main" id="{314603E7-10ED-94EE-4425-9999C6C8765C}"/>
                  </a:ext>
                </a:extLst>
              </p:cNvPr>
              <p:cNvSpPr/>
              <p:nvPr/>
            </p:nvSpPr>
            <p:spPr>
              <a:xfrm>
                <a:off x="2941905" y="1440642"/>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402" name="Freeform 257">
                <a:extLst>
                  <a:ext uri="{FF2B5EF4-FFF2-40B4-BE49-F238E27FC236}">
                    <a16:creationId xmlns:a16="http://schemas.microsoft.com/office/drawing/2014/main" id="{045AEE79-D6AE-7F59-5C68-203F2D1F6C6C}"/>
                  </a:ext>
                </a:extLst>
              </p:cNvPr>
              <p:cNvSpPr/>
              <p:nvPr/>
            </p:nvSpPr>
            <p:spPr>
              <a:xfrm>
                <a:off x="2971322" y="1412266"/>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403" name="Freeform 258">
                <a:extLst>
                  <a:ext uri="{FF2B5EF4-FFF2-40B4-BE49-F238E27FC236}">
                    <a16:creationId xmlns:a16="http://schemas.microsoft.com/office/drawing/2014/main" id="{647A52C8-0C29-9515-855B-EBFEB6D3654A}"/>
                  </a:ext>
                </a:extLst>
              </p:cNvPr>
              <p:cNvSpPr/>
              <p:nvPr/>
            </p:nvSpPr>
            <p:spPr>
              <a:xfrm>
                <a:off x="3089134" y="1485395"/>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404" name="Freeform 259">
                <a:extLst>
                  <a:ext uri="{FF2B5EF4-FFF2-40B4-BE49-F238E27FC236}">
                    <a16:creationId xmlns:a16="http://schemas.microsoft.com/office/drawing/2014/main" id="{A142D75D-8902-5B99-F6EB-BE2621A06A64}"/>
                  </a:ext>
                </a:extLst>
              </p:cNvPr>
              <p:cNvSpPr/>
              <p:nvPr/>
            </p:nvSpPr>
            <p:spPr>
              <a:xfrm>
                <a:off x="3118551" y="1457036"/>
                <a:ext cx="17647" cy="56735"/>
              </a:xfrm>
              <a:custGeom>
                <a:avLst/>
                <a:gdLst>
                  <a:gd name="connsiteX0" fmla="*/ 0 w 17647"/>
                  <a:gd name="connsiteY0" fmla="*/ 0 h 56735"/>
                  <a:gd name="connsiteX1" fmla="*/ 0 w 17647"/>
                  <a:gd name="connsiteY1" fmla="*/ 56735 h 56735"/>
                </a:gdLst>
                <a:ahLst/>
                <a:cxnLst>
                  <a:cxn ang="0">
                    <a:pos x="connsiteX0" y="connsiteY0"/>
                  </a:cxn>
                  <a:cxn ang="0">
                    <a:pos x="connsiteX1" y="connsiteY1"/>
                  </a:cxn>
                </a:cxnLst>
                <a:rect l="l" t="t" r="r" b="b"/>
                <a:pathLst>
                  <a:path w="17647" h="56735">
                    <a:moveTo>
                      <a:pt x="0" y="0"/>
                    </a:moveTo>
                    <a:lnTo>
                      <a:pt x="0" y="56735"/>
                    </a:lnTo>
                  </a:path>
                </a:pathLst>
              </a:custGeom>
              <a:ln w="9624" cap="sq">
                <a:solidFill>
                  <a:srgbClr val="27377D"/>
                </a:solidFill>
                <a:prstDash val="solid"/>
                <a:miter/>
              </a:ln>
            </p:spPr>
            <p:txBody>
              <a:bodyPr rtlCol="0" anchor="ctr"/>
              <a:lstStyle/>
              <a:p>
                <a:endParaRPr lang="en-US" sz="1800" dirty="0"/>
              </a:p>
            </p:txBody>
          </p:sp>
          <p:sp>
            <p:nvSpPr>
              <p:cNvPr id="2405" name="Freeform 260">
                <a:extLst>
                  <a:ext uri="{FF2B5EF4-FFF2-40B4-BE49-F238E27FC236}">
                    <a16:creationId xmlns:a16="http://schemas.microsoft.com/office/drawing/2014/main" id="{C6F11E7D-F251-86A1-2CFD-B61D5A52CFD7}"/>
                  </a:ext>
                </a:extLst>
              </p:cNvPr>
              <p:cNvSpPr/>
              <p:nvPr/>
            </p:nvSpPr>
            <p:spPr>
              <a:xfrm>
                <a:off x="3095028" y="1485395"/>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406" name="Freeform 261">
                <a:extLst>
                  <a:ext uri="{FF2B5EF4-FFF2-40B4-BE49-F238E27FC236}">
                    <a16:creationId xmlns:a16="http://schemas.microsoft.com/office/drawing/2014/main" id="{E9817112-EC31-5C08-46C5-517982624DDF}"/>
                  </a:ext>
                </a:extLst>
              </p:cNvPr>
              <p:cNvSpPr/>
              <p:nvPr/>
            </p:nvSpPr>
            <p:spPr>
              <a:xfrm>
                <a:off x="3124446" y="1457036"/>
                <a:ext cx="17647" cy="56735"/>
              </a:xfrm>
              <a:custGeom>
                <a:avLst/>
                <a:gdLst>
                  <a:gd name="connsiteX0" fmla="*/ 0 w 17647"/>
                  <a:gd name="connsiteY0" fmla="*/ 0 h 56735"/>
                  <a:gd name="connsiteX1" fmla="*/ 0 w 17647"/>
                  <a:gd name="connsiteY1" fmla="*/ 56735 h 56735"/>
                </a:gdLst>
                <a:ahLst/>
                <a:cxnLst>
                  <a:cxn ang="0">
                    <a:pos x="connsiteX0" y="connsiteY0"/>
                  </a:cxn>
                  <a:cxn ang="0">
                    <a:pos x="connsiteX1" y="connsiteY1"/>
                  </a:cxn>
                </a:cxnLst>
                <a:rect l="l" t="t" r="r" b="b"/>
                <a:pathLst>
                  <a:path w="17647" h="56735">
                    <a:moveTo>
                      <a:pt x="0" y="0"/>
                    </a:moveTo>
                    <a:lnTo>
                      <a:pt x="0" y="56735"/>
                    </a:lnTo>
                  </a:path>
                </a:pathLst>
              </a:custGeom>
              <a:ln w="9624" cap="sq">
                <a:solidFill>
                  <a:srgbClr val="27377D"/>
                </a:solidFill>
                <a:prstDash val="solid"/>
                <a:miter/>
              </a:ln>
            </p:spPr>
            <p:txBody>
              <a:bodyPr rtlCol="0" anchor="ctr"/>
              <a:lstStyle/>
              <a:p>
                <a:endParaRPr lang="en-US" sz="1800" dirty="0"/>
              </a:p>
            </p:txBody>
          </p:sp>
          <p:sp>
            <p:nvSpPr>
              <p:cNvPr id="2407" name="Freeform 262">
                <a:extLst>
                  <a:ext uri="{FF2B5EF4-FFF2-40B4-BE49-F238E27FC236}">
                    <a16:creationId xmlns:a16="http://schemas.microsoft.com/office/drawing/2014/main" id="{77F896DE-9DA1-2010-E084-FB205FB207EF}"/>
                  </a:ext>
                </a:extLst>
              </p:cNvPr>
              <p:cNvSpPr/>
              <p:nvPr/>
            </p:nvSpPr>
            <p:spPr>
              <a:xfrm>
                <a:off x="3112675" y="1521342"/>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408" name="Freeform 263">
                <a:extLst>
                  <a:ext uri="{FF2B5EF4-FFF2-40B4-BE49-F238E27FC236}">
                    <a16:creationId xmlns:a16="http://schemas.microsoft.com/office/drawing/2014/main" id="{4E363980-D906-5CEB-49D0-2D576B0966CB}"/>
                  </a:ext>
                </a:extLst>
              </p:cNvPr>
              <p:cNvSpPr/>
              <p:nvPr/>
            </p:nvSpPr>
            <p:spPr>
              <a:xfrm>
                <a:off x="3142093" y="1492965"/>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409" name="Freeform 264">
                <a:extLst>
                  <a:ext uri="{FF2B5EF4-FFF2-40B4-BE49-F238E27FC236}">
                    <a16:creationId xmlns:a16="http://schemas.microsoft.com/office/drawing/2014/main" id="{5BDD90EA-A842-62FF-1DDA-C11E47E7F303}"/>
                  </a:ext>
                </a:extLst>
              </p:cNvPr>
              <p:cNvSpPr/>
              <p:nvPr/>
            </p:nvSpPr>
            <p:spPr>
              <a:xfrm>
                <a:off x="3112675" y="1521342"/>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410" name="Freeform 265">
                <a:extLst>
                  <a:ext uri="{FF2B5EF4-FFF2-40B4-BE49-F238E27FC236}">
                    <a16:creationId xmlns:a16="http://schemas.microsoft.com/office/drawing/2014/main" id="{230E8847-9FC4-2E7F-A703-CD818C3F1465}"/>
                  </a:ext>
                </a:extLst>
              </p:cNvPr>
              <p:cNvSpPr/>
              <p:nvPr/>
            </p:nvSpPr>
            <p:spPr>
              <a:xfrm>
                <a:off x="3142093" y="1492965"/>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411" name="Freeform 266">
                <a:extLst>
                  <a:ext uri="{FF2B5EF4-FFF2-40B4-BE49-F238E27FC236}">
                    <a16:creationId xmlns:a16="http://schemas.microsoft.com/office/drawing/2014/main" id="{1804A224-3FA8-7BD3-1CFB-CE3BD81A75C9}"/>
                  </a:ext>
                </a:extLst>
              </p:cNvPr>
              <p:cNvSpPr/>
              <p:nvPr/>
            </p:nvSpPr>
            <p:spPr>
              <a:xfrm>
                <a:off x="3112675" y="1521342"/>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412" name="Freeform 267">
                <a:extLst>
                  <a:ext uri="{FF2B5EF4-FFF2-40B4-BE49-F238E27FC236}">
                    <a16:creationId xmlns:a16="http://schemas.microsoft.com/office/drawing/2014/main" id="{BE724B09-4E9D-760E-5178-6AEEA1E5D7FB}"/>
                  </a:ext>
                </a:extLst>
              </p:cNvPr>
              <p:cNvSpPr/>
              <p:nvPr/>
            </p:nvSpPr>
            <p:spPr>
              <a:xfrm>
                <a:off x="3142093" y="1492965"/>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413" name="Freeform 268">
                <a:extLst>
                  <a:ext uri="{FF2B5EF4-FFF2-40B4-BE49-F238E27FC236}">
                    <a16:creationId xmlns:a16="http://schemas.microsoft.com/office/drawing/2014/main" id="{B1F7E5D6-8BFA-A172-55C3-B5A1B9682646}"/>
                  </a:ext>
                </a:extLst>
              </p:cNvPr>
              <p:cNvSpPr/>
              <p:nvPr/>
            </p:nvSpPr>
            <p:spPr>
              <a:xfrm>
                <a:off x="3148110" y="1566607"/>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414" name="Freeform 269">
                <a:extLst>
                  <a:ext uri="{FF2B5EF4-FFF2-40B4-BE49-F238E27FC236}">
                    <a16:creationId xmlns:a16="http://schemas.microsoft.com/office/drawing/2014/main" id="{7AECD838-E525-9DEB-2DAE-3B61DF5E4B3F}"/>
                  </a:ext>
                </a:extLst>
              </p:cNvPr>
              <p:cNvSpPr/>
              <p:nvPr/>
            </p:nvSpPr>
            <p:spPr>
              <a:xfrm>
                <a:off x="3177528" y="1538248"/>
                <a:ext cx="17647" cy="56735"/>
              </a:xfrm>
              <a:custGeom>
                <a:avLst/>
                <a:gdLst>
                  <a:gd name="connsiteX0" fmla="*/ 0 w 17647"/>
                  <a:gd name="connsiteY0" fmla="*/ 0 h 56735"/>
                  <a:gd name="connsiteX1" fmla="*/ 0 w 17647"/>
                  <a:gd name="connsiteY1" fmla="*/ 56735 h 56735"/>
                </a:gdLst>
                <a:ahLst/>
                <a:cxnLst>
                  <a:cxn ang="0">
                    <a:pos x="connsiteX0" y="connsiteY0"/>
                  </a:cxn>
                  <a:cxn ang="0">
                    <a:pos x="connsiteX1" y="connsiteY1"/>
                  </a:cxn>
                </a:cxnLst>
                <a:rect l="l" t="t" r="r" b="b"/>
                <a:pathLst>
                  <a:path w="17647" h="56735">
                    <a:moveTo>
                      <a:pt x="0" y="0"/>
                    </a:moveTo>
                    <a:lnTo>
                      <a:pt x="0" y="56735"/>
                    </a:lnTo>
                  </a:path>
                </a:pathLst>
              </a:custGeom>
              <a:ln w="9624" cap="sq">
                <a:solidFill>
                  <a:srgbClr val="27377D"/>
                </a:solidFill>
                <a:prstDash val="solid"/>
                <a:miter/>
              </a:ln>
            </p:spPr>
            <p:txBody>
              <a:bodyPr rtlCol="0" anchor="ctr"/>
              <a:lstStyle/>
              <a:p>
                <a:endParaRPr lang="en-US" sz="1800" dirty="0"/>
              </a:p>
            </p:txBody>
          </p:sp>
          <p:sp>
            <p:nvSpPr>
              <p:cNvPr id="2415" name="Freeform 270">
                <a:extLst>
                  <a:ext uri="{FF2B5EF4-FFF2-40B4-BE49-F238E27FC236}">
                    <a16:creationId xmlns:a16="http://schemas.microsoft.com/office/drawing/2014/main" id="{2C8F645E-3AD1-B6E2-7CEA-80AA5A307B67}"/>
                  </a:ext>
                </a:extLst>
              </p:cNvPr>
              <p:cNvSpPr/>
              <p:nvPr/>
            </p:nvSpPr>
            <p:spPr>
              <a:xfrm>
                <a:off x="3283569" y="1630295"/>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416" name="Freeform 271">
                <a:extLst>
                  <a:ext uri="{FF2B5EF4-FFF2-40B4-BE49-F238E27FC236}">
                    <a16:creationId xmlns:a16="http://schemas.microsoft.com/office/drawing/2014/main" id="{5DB09E02-D391-2D35-780C-C440C5265420}"/>
                  </a:ext>
                </a:extLst>
              </p:cNvPr>
              <p:cNvSpPr/>
              <p:nvPr/>
            </p:nvSpPr>
            <p:spPr>
              <a:xfrm>
                <a:off x="3312986" y="1601918"/>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417" name="Freeform 272">
                <a:extLst>
                  <a:ext uri="{FF2B5EF4-FFF2-40B4-BE49-F238E27FC236}">
                    <a16:creationId xmlns:a16="http://schemas.microsoft.com/office/drawing/2014/main" id="{57E7AD08-224A-92D0-AC0B-4F8508F47D1D}"/>
                  </a:ext>
                </a:extLst>
              </p:cNvPr>
              <p:cNvSpPr/>
              <p:nvPr/>
            </p:nvSpPr>
            <p:spPr>
              <a:xfrm>
                <a:off x="3336528" y="1666859"/>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418" name="Freeform 273">
                <a:extLst>
                  <a:ext uri="{FF2B5EF4-FFF2-40B4-BE49-F238E27FC236}">
                    <a16:creationId xmlns:a16="http://schemas.microsoft.com/office/drawing/2014/main" id="{9D95458C-7D68-3F10-AE25-E002EBF916FA}"/>
                  </a:ext>
                </a:extLst>
              </p:cNvPr>
              <p:cNvSpPr/>
              <p:nvPr/>
            </p:nvSpPr>
            <p:spPr>
              <a:xfrm>
                <a:off x="3365945" y="1638483"/>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419" name="Freeform 274">
                <a:extLst>
                  <a:ext uri="{FF2B5EF4-FFF2-40B4-BE49-F238E27FC236}">
                    <a16:creationId xmlns:a16="http://schemas.microsoft.com/office/drawing/2014/main" id="{B160643B-E466-1235-ECB2-AF596AF703BA}"/>
                  </a:ext>
                </a:extLst>
              </p:cNvPr>
              <p:cNvSpPr/>
              <p:nvPr/>
            </p:nvSpPr>
            <p:spPr>
              <a:xfrm>
                <a:off x="3336528" y="1666859"/>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420" name="Freeform 275">
                <a:extLst>
                  <a:ext uri="{FF2B5EF4-FFF2-40B4-BE49-F238E27FC236}">
                    <a16:creationId xmlns:a16="http://schemas.microsoft.com/office/drawing/2014/main" id="{1089863C-402B-D859-C558-44434164711D}"/>
                  </a:ext>
                </a:extLst>
              </p:cNvPr>
              <p:cNvSpPr/>
              <p:nvPr/>
            </p:nvSpPr>
            <p:spPr>
              <a:xfrm>
                <a:off x="3365945" y="1638483"/>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421" name="Freeform 276">
                <a:extLst>
                  <a:ext uri="{FF2B5EF4-FFF2-40B4-BE49-F238E27FC236}">
                    <a16:creationId xmlns:a16="http://schemas.microsoft.com/office/drawing/2014/main" id="{8313EB5D-599D-E491-3E1E-000523B50A24}"/>
                  </a:ext>
                </a:extLst>
              </p:cNvPr>
              <p:cNvSpPr/>
              <p:nvPr/>
            </p:nvSpPr>
            <p:spPr>
              <a:xfrm>
                <a:off x="3354316" y="1703565"/>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422" name="Freeform 277">
                <a:extLst>
                  <a:ext uri="{FF2B5EF4-FFF2-40B4-BE49-F238E27FC236}">
                    <a16:creationId xmlns:a16="http://schemas.microsoft.com/office/drawing/2014/main" id="{887B8527-5AC0-00DB-6772-DAF286A83F33}"/>
                  </a:ext>
                </a:extLst>
              </p:cNvPr>
              <p:cNvSpPr/>
              <p:nvPr/>
            </p:nvSpPr>
            <p:spPr>
              <a:xfrm>
                <a:off x="3383733" y="1675189"/>
                <a:ext cx="17647" cy="56735"/>
              </a:xfrm>
              <a:custGeom>
                <a:avLst/>
                <a:gdLst>
                  <a:gd name="connsiteX0" fmla="*/ 0 w 17647"/>
                  <a:gd name="connsiteY0" fmla="*/ 0 h 56735"/>
                  <a:gd name="connsiteX1" fmla="*/ 0 w 17647"/>
                  <a:gd name="connsiteY1" fmla="*/ 56735 h 56735"/>
                </a:gdLst>
                <a:ahLst/>
                <a:cxnLst>
                  <a:cxn ang="0">
                    <a:pos x="connsiteX0" y="connsiteY0"/>
                  </a:cxn>
                  <a:cxn ang="0">
                    <a:pos x="connsiteX1" y="connsiteY1"/>
                  </a:cxn>
                </a:cxnLst>
                <a:rect l="l" t="t" r="r" b="b"/>
                <a:pathLst>
                  <a:path w="17647" h="56735">
                    <a:moveTo>
                      <a:pt x="0" y="0"/>
                    </a:moveTo>
                    <a:lnTo>
                      <a:pt x="0" y="56735"/>
                    </a:lnTo>
                  </a:path>
                </a:pathLst>
              </a:custGeom>
              <a:ln w="9624" cap="sq">
                <a:solidFill>
                  <a:srgbClr val="27377D"/>
                </a:solidFill>
                <a:prstDash val="solid"/>
                <a:miter/>
              </a:ln>
            </p:spPr>
            <p:txBody>
              <a:bodyPr rtlCol="0" anchor="ctr"/>
              <a:lstStyle/>
              <a:p>
                <a:endParaRPr lang="en-US" sz="1800" dirty="0"/>
              </a:p>
            </p:txBody>
          </p:sp>
          <p:sp>
            <p:nvSpPr>
              <p:cNvPr id="2423" name="Freeform 278">
                <a:extLst>
                  <a:ext uri="{FF2B5EF4-FFF2-40B4-BE49-F238E27FC236}">
                    <a16:creationId xmlns:a16="http://schemas.microsoft.com/office/drawing/2014/main" id="{3EB812C8-B24D-F6BC-86AC-A69611EB5210}"/>
                  </a:ext>
                </a:extLst>
              </p:cNvPr>
              <p:cNvSpPr/>
              <p:nvPr/>
            </p:nvSpPr>
            <p:spPr>
              <a:xfrm>
                <a:off x="3360192" y="1721971"/>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424" name="Freeform 279">
                <a:extLst>
                  <a:ext uri="{FF2B5EF4-FFF2-40B4-BE49-F238E27FC236}">
                    <a16:creationId xmlns:a16="http://schemas.microsoft.com/office/drawing/2014/main" id="{9E683710-DCBB-D50B-8918-3CC45E0F2208}"/>
                  </a:ext>
                </a:extLst>
              </p:cNvPr>
              <p:cNvSpPr/>
              <p:nvPr/>
            </p:nvSpPr>
            <p:spPr>
              <a:xfrm>
                <a:off x="3389610" y="1693595"/>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425" name="Freeform 280">
                <a:extLst>
                  <a:ext uri="{FF2B5EF4-FFF2-40B4-BE49-F238E27FC236}">
                    <a16:creationId xmlns:a16="http://schemas.microsoft.com/office/drawing/2014/main" id="{1897C646-CA06-2071-8202-775B44923A29}"/>
                  </a:ext>
                </a:extLst>
              </p:cNvPr>
              <p:cNvSpPr/>
              <p:nvPr/>
            </p:nvSpPr>
            <p:spPr>
              <a:xfrm>
                <a:off x="3360192" y="1721971"/>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426" name="Freeform 281">
                <a:extLst>
                  <a:ext uri="{FF2B5EF4-FFF2-40B4-BE49-F238E27FC236}">
                    <a16:creationId xmlns:a16="http://schemas.microsoft.com/office/drawing/2014/main" id="{F891D1EF-0B4E-6468-90DF-95F4E763FC4D}"/>
                  </a:ext>
                </a:extLst>
              </p:cNvPr>
              <p:cNvSpPr/>
              <p:nvPr/>
            </p:nvSpPr>
            <p:spPr>
              <a:xfrm>
                <a:off x="3389610" y="1693595"/>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427" name="Freeform 282">
                <a:extLst>
                  <a:ext uri="{FF2B5EF4-FFF2-40B4-BE49-F238E27FC236}">
                    <a16:creationId xmlns:a16="http://schemas.microsoft.com/office/drawing/2014/main" id="{D9A16D68-15BF-4088-155C-AC51D379A3C6}"/>
                  </a:ext>
                </a:extLst>
              </p:cNvPr>
              <p:cNvSpPr/>
              <p:nvPr/>
            </p:nvSpPr>
            <p:spPr>
              <a:xfrm>
                <a:off x="3360192" y="1721971"/>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428" name="Freeform 283">
                <a:extLst>
                  <a:ext uri="{FF2B5EF4-FFF2-40B4-BE49-F238E27FC236}">
                    <a16:creationId xmlns:a16="http://schemas.microsoft.com/office/drawing/2014/main" id="{23A74C8C-6D6C-7BD1-89A9-8CB88901BBB9}"/>
                  </a:ext>
                </a:extLst>
              </p:cNvPr>
              <p:cNvSpPr/>
              <p:nvPr/>
            </p:nvSpPr>
            <p:spPr>
              <a:xfrm>
                <a:off x="3389610" y="1693595"/>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429" name="Freeform 284">
                <a:extLst>
                  <a:ext uri="{FF2B5EF4-FFF2-40B4-BE49-F238E27FC236}">
                    <a16:creationId xmlns:a16="http://schemas.microsoft.com/office/drawing/2014/main" id="{3F73B90D-4EE5-898E-9475-CF31FC0B964B}"/>
                  </a:ext>
                </a:extLst>
              </p:cNvPr>
              <p:cNvSpPr/>
              <p:nvPr/>
            </p:nvSpPr>
            <p:spPr>
              <a:xfrm>
                <a:off x="3366069" y="1740500"/>
                <a:ext cx="58852" cy="17647"/>
              </a:xfrm>
              <a:custGeom>
                <a:avLst/>
                <a:gdLst>
                  <a:gd name="connsiteX0" fmla="*/ 0 w 58852"/>
                  <a:gd name="connsiteY0" fmla="*/ 0 h 17647"/>
                  <a:gd name="connsiteX1" fmla="*/ 58853 w 58852"/>
                  <a:gd name="connsiteY1" fmla="*/ 0 h 17647"/>
                </a:gdLst>
                <a:ahLst/>
                <a:cxnLst>
                  <a:cxn ang="0">
                    <a:pos x="connsiteX0" y="connsiteY0"/>
                  </a:cxn>
                  <a:cxn ang="0">
                    <a:pos x="connsiteX1" y="connsiteY1"/>
                  </a:cxn>
                </a:cxnLst>
                <a:rect l="l" t="t" r="r" b="b"/>
                <a:pathLst>
                  <a:path w="58852" h="17647">
                    <a:moveTo>
                      <a:pt x="0" y="0"/>
                    </a:moveTo>
                    <a:lnTo>
                      <a:pt x="58853" y="0"/>
                    </a:lnTo>
                  </a:path>
                </a:pathLst>
              </a:custGeom>
              <a:ln w="9624" cap="sq">
                <a:solidFill>
                  <a:srgbClr val="27377D"/>
                </a:solidFill>
                <a:prstDash val="solid"/>
                <a:miter/>
              </a:ln>
            </p:spPr>
            <p:txBody>
              <a:bodyPr rtlCol="0" anchor="ctr"/>
              <a:lstStyle/>
              <a:p>
                <a:endParaRPr lang="en-US" sz="1800" dirty="0"/>
              </a:p>
            </p:txBody>
          </p:sp>
          <p:sp>
            <p:nvSpPr>
              <p:cNvPr id="2430" name="Freeform 285">
                <a:extLst>
                  <a:ext uri="{FF2B5EF4-FFF2-40B4-BE49-F238E27FC236}">
                    <a16:creationId xmlns:a16="http://schemas.microsoft.com/office/drawing/2014/main" id="{B2BF2A6B-5653-906D-5A54-E76DBE470768}"/>
                  </a:ext>
                </a:extLst>
              </p:cNvPr>
              <p:cNvSpPr/>
              <p:nvPr/>
            </p:nvSpPr>
            <p:spPr>
              <a:xfrm>
                <a:off x="3395504" y="1712142"/>
                <a:ext cx="17647" cy="56735"/>
              </a:xfrm>
              <a:custGeom>
                <a:avLst/>
                <a:gdLst>
                  <a:gd name="connsiteX0" fmla="*/ 0 w 17647"/>
                  <a:gd name="connsiteY0" fmla="*/ 0 h 56735"/>
                  <a:gd name="connsiteX1" fmla="*/ 0 w 17647"/>
                  <a:gd name="connsiteY1" fmla="*/ 56735 h 56735"/>
                </a:gdLst>
                <a:ahLst/>
                <a:cxnLst>
                  <a:cxn ang="0">
                    <a:pos x="connsiteX0" y="connsiteY0"/>
                  </a:cxn>
                  <a:cxn ang="0">
                    <a:pos x="connsiteX1" y="connsiteY1"/>
                  </a:cxn>
                </a:cxnLst>
                <a:rect l="l" t="t" r="r" b="b"/>
                <a:pathLst>
                  <a:path w="17647" h="56735">
                    <a:moveTo>
                      <a:pt x="0" y="0"/>
                    </a:moveTo>
                    <a:lnTo>
                      <a:pt x="0" y="56735"/>
                    </a:lnTo>
                  </a:path>
                </a:pathLst>
              </a:custGeom>
              <a:ln w="9624" cap="sq">
                <a:solidFill>
                  <a:srgbClr val="27377D"/>
                </a:solidFill>
                <a:prstDash val="solid"/>
                <a:miter/>
              </a:ln>
            </p:spPr>
            <p:txBody>
              <a:bodyPr rtlCol="0" anchor="ctr"/>
              <a:lstStyle/>
              <a:p>
                <a:endParaRPr lang="en-US" sz="1800" dirty="0"/>
              </a:p>
            </p:txBody>
          </p:sp>
          <p:sp>
            <p:nvSpPr>
              <p:cNvPr id="2431" name="Freeform 286">
                <a:extLst>
                  <a:ext uri="{FF2B5EF4-FFF2-40B4-BE49-F238E27FC236}">
                    <a16:creationId xmlns:a16="http://schemas.microsoft.com/office/drawing/2014/main" id="{4EBFC665-9BDD-4B69-E557-E4CC9B621E5E}"/>
                  </a:ext>
                </a:extLst>
              </p:cNvPr>
              <p:cNvSpPr/>
              <p:nvPr/>
            </p:nvSpPr>
            <p:spPr>
              <a:xfrm>
                <a:off x="3383733" y="1759171"/>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432" name="Freeform 287">
                <a:extLst>
                  <a:ext uri="{FF2B5EF4-FFF2-40B4-BE49-F238E27FC236}">
                    <a16:creationId xmlns:a16="http://schemas.microsoft.com/office/drawing/2014/main" id="{3D15C483-F37F-7132-C235-BEBD45978787}"/>
                  </a:ext>
                </a:extLst>
              </p:cNvPr>
              <p:cNvSpPr/>
              <p:nvPr/>
            </p:nvSpPr>
            <p:spPr>
              <a:xfrm>
                <a:off x="3413151" y="1730794"/>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433" name="Freeform 288">
                <a:extLst>
                  <a:ext uri="{FF2B5EF4-FFF2-40B4-BE49-F238E27FC236}">
                    <a16:creationId xmlns:a16="http://schemas.microsoft.com/office/drawing/2014/main" id="{FCCE537D-BB1C-89FE-880E-C6FED5E29E90}"/>
                  </a:ext>
                </a:extLst>
              </p:cNvPr>
              <p:cNvSpPr/>
              <p:nvPr/>
            </p:nvSpPr>
            <p:spPr>
              <a:xfrm>
                <a:off x="3383733" y="1759171"/>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434" name="Freeform 289">
                <a:extLst>
                  <a:ext uri="{FF2B5EF4-FFF2-40B4-BE49-F238E27FC236}">
                    <a16:creationId xmlns:a16="http://schemas.microsoft.com/office/drawing/2014/main" id="{E9142A00-12D7-DC82-D25E-AFFBB76C8483}"/>
                  </a:ext>
                </a:extLst>
              </p:cNvPr>
              <p:cNvSpPr/>
              <p:nvPr/>
            </p:nvSpPr>
            <p:spPr>
              <a:xfrm>
                <a:off x="3413151" y="1730794"/>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435" name="Freeform 290">
                <a:extLst>
                  <a:ext uri="{FF2B5EF4-FFF2-40B4-BE49-F238E27FC236}">
                    <a16:creationId xmlns:a16="http://schemas.microsoft.com/office/drawing/2014/main" id="{D54011B9-FC8F-8454-75AA-06C03EB39A46}"/>
                  </a:ext>
                </a:extLst>
              </p:cNvPr>
              <p:cNvSpPr/>
              <p:nvPr/>
            </p:nvSpPr>
            <p:spPr>
              <a:xfrm>
                <a:off x="3401380" y="1815536"/>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436" name="Freeform 291">
                <a:extLst>
                  <a:ext uri="{FF2B5EF4-FFF2-40B4-BE49-F238E27FC236}">
                    <a16:creationId xmlns:a16="http://schemas.microsoft.com/office/drawing/2014/main" id="{443D385D-0E95-5FB8-370F-531317B16A9E}"/>
                  </a:ext>
                </a:extLst>
              </p:cNvPr>
              <p:cNvSpPr/>
              <p:nvPr/>
            </p:nvSpPr>
            <p:spPr>
              <a:xfrm>
                <a:off x="3430798" y="1787159"/>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437" name="Freeform 292">
                <a:extLst>
                  <a:ext uri="{FF2B5EF4-FFF2-40B4-BE49-F238E27FC236}">
                    <a16:creationId xmlns:a16="http://schemas.microsoft.com/office/drawing/2014/main" id="{B8F5D458-1A22-AEED-33B2-556628FC94D7}"/>
                  </a:ext>
                </a:extLst>
              </p:cNvPr>
              <p:cNvSpPr/>
              <p:nvPr/>
            </p:nvSpPr>
            <p:spPr>
              <a:xfrm>
                <a:off x="3436692" y="1834330"/>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438" name="Freeform 293">
                <a:extLst>
                  <a:ext uri="{FF2B5EF4-FFF2-40B4-BE49-F238E27FC236}">
                    <a16:creationId xmlns:a16="http://schemas.microsoft.com/office/drawing/2014/main" id="{07F8761F-CE74-1AA5-EB71-9BC15FE28A45}"/>
                  </a:ext>
                </a:extLst>
              </p:cNvPr>
              <p:cNvSpPr/>
              <p:nvPr/>
            </p:nvSpPr>
            <p:spPr>
              <a:xfrm>
                <a:off x="3466110" y="1805953"/>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439" name="Freeform 294">
                <a:extLst>
                  <a:ext uri="{FF2B5EF4-FFF2-40B4-BE49-F238E27FC236}">
                    <a16:creationId xmlns:a16="http://schemas.microsoft.com/office/drawing/2014/main" id="{78D1DCE7-BD07-D7EE-3DDF-50F1FF299096}"/>
                  </a:ext>
                </a:extLst>
              </p:cNvPr>
              <p:cNvSpPr/>
              <p:nvPr/>
            </p:nvSpPr>
            <p:spPr>
              <a:xfrm>
                <a:off x="3442569" y="1834330"/>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440" name="Freeform 295">
                <a:extLst>
                  <a:ext uri="{FF2B5EF4-FFF2-40B4-BE49-F238E27FC236}">
                    <a16:creationId xmlns:a16="http://schemas.microsoft.com/office/drawing/2014/main" id="{7937744D-7A5E-3D6D-1B0D-BCEBB9766847}"/>
                  </a:ext>
                </a:extLst>
              </p:cNvPr>
              <p:cNvSpPr/>
              <p:nvPr/>
            </p:nvSpPr>
            <p:spPr>
              <a:xfrm>
                <a:off x="3471986" y="1805953"/>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441" name="Freeform 296">
                <a:extLst>
                  <a:ext uri="{FF2B5EF4-FFF2-40B4-BE49-F238E27FC236}">
                    <a16:creationId xmlns:a16="http://schemas.microsoft.com/office/drawing/2014/main" id="{033E851B-A418-B668-C447-63D83B01DA87}"/>
                  </a:ext>
                </a:extLst>
              </p:cNvPr>
              <p:cNvSpPr/>
              <p:nvPr/>
            </p:nvSpPr>
            <p:spPr>
              <a:xfrm>
                <a:off x="3513315" y="1834330"/>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442" name="Freeform 297">
                <a:extLst>
                  <a:ext uri="{FF2B5EF4-FFF2-40B4-BE49-F238E27FC236}">
                    <a16:creationId xmlns:a16="http://schemas.microsoft.com/office/drawing/2014/main" id="{7829F0E5-8144-CDC7-0B86-311F9411901C}"/>
                  </a:ext>
                </a:extLst>
              </p:cNvPr>
              <p:cNvSpPr/>
              <p:nvPr/>
            </p:nvSpPr>
            <p:spPr>
              <a:xfrm>
                <a:off x="3542733" y="1805953"/>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443" name="Freeform 298">
                <a:extLst>
                  <a:ext uri="{FF2B5EF4-FFF2-40B4-BE49-F238E27FC236}">
                    <a16:creationId xmlns:a16="http://schemas.microsoft.com/office/drawing/2014/main" id="{BD5C5344-8117-8FCF-49AF-5ABF02F768DE}"/>
                  </a:ext>
                </a:extLst>
              </p:cNvPr>
              <p:cNvSpPr/>
              <p:nvPr/>
            </p:nvSpPr>
            <p:spPr>
              <a:xfrm>
                <a:off x="3584045" y="1862830"/>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444" name="Freeform 299">
                <a:extLst>
                  <a:ext uri="{FF2B5EF4-FFF2-40B4-BE49-F238E27FC236}">
                    <a16:creationId xmlns:a16="http://schemas.microsoft.com/office/drawing/2014/main" id="{36E2A42A-3A86-3205-E43B-717BBAAE66DA}"/>
                  </a:ext>
                </a:extLst>
              </p:cNvPr>
              <p:cNvSpPr/>
              <p:nvPr/>
            </p:nvSpPr>
            <p:spPr>
              <a:xfrm>
                <a:off x="3613462" y="1834453"/>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445" name="Freeform 300">
                <a:extLst>
                  <a:ext uri="{FF2B5EF4-FFF2-40B4-BE49-F238E27FC236}">
                    <a16:creationId xmlns:a16="http://schemas.microsoft.com/office/drawing/2014/main" id="{85BE64BB-A519-85A0-5281-7A8B973E95F1}"/>
                  </a:ext>
                </a:extLst>
              </p:cNvPr>
              <p:cNvSpPr/>
              <p:nvPr/>
            </p:nvSpPr>
            <p:spPr>
              <a:xfrm>
                <a:off x="3601692" y="1881994"/>
                <a:ext cx="58852" cy="17647"/>
              </a:xfrm>
              <a:custGeom>
                <a:avLst/>
                <a:gdLst>
                  <a:gd name="connsiteX0" fmla="*/ 0 w 58852"/>
                  <a:gd name="connsiteY0" fmla="*/ 0 h 17647"/>
                  <a:gd name="connsiteX1" fmla="*/ 58853 w 58852"/>
                  <a:gd name="connsiteY1" fmla="*/ 0 h 17647"/>
                </a:gdLst>
                <a:ahLst/>
                <a:cxnLst>
                  <a:cxn ang="0">
                    <a:pos x="connsiteX0" y="connsiteY0"/>
                  </a:cxn>
                  <a:cxn ang="0">
                    <a:pos x="connsiteX1" y="connsiteY1"/>
                  </a:cxn>
                </a:cxnLst>
                <a:rect l="l" t="t" r="r" b="b"/>
                <a:pathLst>
                  <a:path w="58852" h="17647">
                    <a:moveTo>
                      <a:pt x="0" y="0"/>
                    </a:moveTo>
                    <a:lnTo>
                      <a:pt x="58853" y="0"/>
                    </a:lnTo>
                  </a:path>
                </a:pathLst>
              </a:custGeom>
              <a:ln w="9624" cap="sq">
                <a:solidFill>
                  <a:srgbClr val="27377D"/>
                </a:solidFill>
                <a:prstDash val="solid"/>
                <a:miter/>
              </a:ln>
            </p:spPr>
            <p:txBody>
              <a:bodyPr rtlCol="0" anchor="ctr"/>
              <a:lstStyle/>
              <a:p>
                <a:endParaRPr lang="en-US" sz="1800" dirty="0"/>
              </a:p>
            </p:txBody>
          </p:sp>
          <p:sp>
            <p:nvSpPr>
              <p:cNvPr id="2446" name="Freeform 301">
                <a:extLst>
                  <a:ext uri="{FF2B5EF4-FFF2-40B4-BE49-F238E27FC236}">
                    <a16:creationId xmlns:a16="http://schemas.microsoft.com/office/drawing/2014/main" id="{38565ADF-3A80-CCE4-E696-A3196C19A662}"/>
                  </a:ext>
                </a:extLst>
              </p:cNvPr>
              <p:cNvSpPr/>
              <p:nvPr/>
            </p:nvSpPr>
            <p:spPr>
              <a:xfrm>
                <a:off x="3631127" y="1853618"/>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447" name="Freeform 302">
                <a:extLst>
                  <a:ext uri="{FF2B5EF4-FFF2-40B4-BE49-F238E27FC236}">
                    <a16:creationId xmlns:a16="http://schemas.microsoft.com/office/drawing/2014/main" id="{D22191B7-D245-F599-A63D-CAED78EEBE0F}"/>
                  </a:ext>
                </a:extLst>
              </p:cNvPr>
              <p:cNvSpPr/>
              <p:nvPr/>
            </p:nvSpPr>
            <p:spPr>
              <a:xfrm>
                <a:off x="3601692" y="1881994"/>
                <a:ext cx="58852" cy="17647"/>
              </a:xfrm>
              <a:custGeom>
                <a:avLst/>
                <a:gdLst>
                  <a:gd name="connsiteX0" fmla="*/ 0 w 58852"/>
                  <a:gd name="connsiteY0" fmla="*/ 0 h 17647"/>
                  <a:gd name="connsiteX1" fmla="*/ 58853 w 58852"/>
                  <a:gd name="connsiteY1" fmla="*/ 0 h 17647"/>
                </a:gdLst>
                <a:ahLst/>
                <a:cxnLst>
                  <a:cxn ang="0">
                    <a:pos x="connsiteX0" y="connsiteY0"/>
                  </a:cxn>
                  <a:cxn ang="0">
                    <a:pos x="connsiteX1" y="connsiteY1"/>
                  </a:cxn>
                </a:cxnLst>
                <a:rect l="l" t="t" r="r" b="b"/>
                <a:pathLst>
                  <a:path w="58852" h="17647">
                    <a:moveTo>
                      <a:pt x="0" y="0"/>
                    </a:moveTo>
                    <a:lnTo>
                      <a:pt x="58853" y="0"/>
                    </a:lnTo>
                  </a:path>
                </a:pathLst>
              </a:custGeom>
              <a:ln w="9624" cap="sq">
                <a:solidFill>
                  <a:srgbClr val="27377D"/>
                </a:solidFill>
                <a:prstDash val="solid"/>
                <a:miter/>
              </a:ln>
            </p:spPr>
            <p:txBody>
              <a:bodyPr rtlCol="0" anchor="ctr"/>
              <a:lstStyle/>
              <a:p>
                <a:endParaRPr lang="en-US" sz="1800" dirty="0"/>
              </a:p>
            </p:txBody>
          </p:sp>
          <p:sp>
            <p:nvSpPr>
              <p:cNvPr id="2448" name="Freeform 303">
                <a:extLst>
                  <a:ext uri="{FF2B5EF4-FFF2-40B4-BE49-F238E27FC236}">
                    <a16:creationId xmlns:a16="http://schemas.microsoft.com/office/drawing/2014/main" id="{F97370E8-556A-E8E8-A6B1-6894C658D9B1}"/>
                  </a:ext>
                </a:extLst>
              </p:cNvPr>
              <p:cNvSpPr/>
              <p:nvPr/>
            </p:nvSpPr>
            <p:spPr>
              <a:xfrm>
                <a:off x="3631127" y="1853618"/>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449" name="Freeform 304">
                <a:extLst>
                  <a:ext uri="{FF2B5EF4-FFF2-40B4-BE49-F238E27FC236}">
                    <a16:creationId xmlns:a16="http://schemas.microsoft.com/office/drawing/2014/main" id="{740A7B06-D62B-6C87-C005-370F3AB99AF6}"/>
                  </a:ext>
                </a:extLst>
              </p:cNvPr>
              <p:cNvSpPr/>
              <p:nvPr/>
            </p:nvSpPr>
            <p:spPr>
              <a:xfrm>
                <a:off x="3619356" y="1949212"/>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450" name="Freeform 305">
                <a:extLst>
                  <a:ext uri="{FF2B5EF4-FFF2-40B4-BE49-F238E27FC236}">
                    <a16:creationId xmlns:a16="http://schemas.microsoft.com/office/drawing/2014/main" id="{4D1C4708-9AFD-50CF-3EAA-CF28909B609F}"/>
                  </a:ext>
                </a:extLst>
              </p:cNvPr>
              <p:cNvSpPr/>
              <p:nvPr/>
            </p:nvSpPr>
            <p:spPr>
              <a:xfrm>
                <a:off x="3648774" y="1920835"/>
                <a:ext cx="17647" cy="56735"/>
              </a:xfrm>
              <a:custGeom>
                <a:avLst/>
                <a:gdLst>
                  <a:gd name="connsiteX0" fmla="*/ 0 w 17647"/>
                  <a:gd name="connsiteY0" fmla="*/ 0 h 56735"/>
                  <a:gd name="connsiteX1" fmla="*/ 0 w 17647"/>
                  <a:gd name="connsiteY1" fmla="*/ 56735 h 56735"/>
                </a:gdLst>
                <a:ahLst/>
                <a:cxnLst>
                  <a:cxn ang="0">
                    <a:pos x="connsiteX0" y="connsiteY0"/>
                  </a:cxn>
                  <a:cxn ang="0">
                    <a:pos x="connsiteX1" y="connsiteY1"/>
                  </a:cxn>
                </a:cxnLst>
                <a:rect l="l" t="t" r="r" b="b"/>
                <a:pathLst>
                  <a:path w="17647" h="56735">
                    <a:moveTo>
                      <a:pt x="0" y="0"/>
                    </a:moveTo>
                    <a:lnTo>
                      <a:pt x="0" y="56735"/>
                    </a:lnTo>
                  </a:path>
                </a:pathLst>
              </a:custGeom>
              <a:ln w="9624" cap="sq">
                <a:solidFill>
                  <a:srgbClr val="27377D"/>
                </a:solidFill>
                <a:prstDash val="solid"/>
                <a:miter/>
              </a:ln>
            </p:spPr>
            <p:txBody>
              <a:bodyPr rtlCol="0" anchor="ctr"/>
              <a:lstStyle/>
              <a:p>
                <a:endParaRPr lang="en-US" sz="1800" dirty="0"/>
              </a:p>
            </p:txBody>
          </p:sp>
          <p:sp>
            <p:nvSpPr>
              <p:cNvPr id="2451" name="Freeform 306">
                <a:extLst>
                  <a:ext uri="{FF2B5EF4-FFF2-40B4-BE49-F238E27FC236}">
                    <a16:creationId xmlns:a16="http://schemas.microsoft.com/office/drawing/2014/main" id="{2D5E08E6-3C39-3E19-4E7E-E830CB49CA41}"/>
                  </a:ext>
                </a:extLst>
              </p:cNvPr>
              <p:cNvSpPr/>
              <p:nvPr/>
            </p:nvSpPr>
            <p:spPr>
              <a:xfrm>
                <a:off x="3654650" y="2026506"/>
                <a:ext cx="58852" cy="17647"/>
              </a:xfrm>
              <a:custGeom>
                <a:avLst/>
                <a:gdLst>
                  <a:gd name="connsiteX0" fmla="*/ 0 w 58852"/>
                  <a:gd name="connsiteY0" fmla="*/ 0 h 17647"/>
                  <a:gd name="connsiteX1" fmla="*/ 58853 w 58852"/>
                  <a:gd name="connsiteY1" fmla="*/ 0 h 17647"/>
                </a:gdLst>
                <a:ahLst/>
                <a:cxnLst>
                  <a:cxn ang="0">
                    <a:pos x="connsiteX0" y="connsiteY0"/>
                  </a:cxn>
                  <a:cxn ang="0">
                    <a:pos x="connsiteX1" y="connsiteY1"/>
                  </a:cxn>
                </a:cxnLst>
                <a:rect l="l" t="t" r="r" b="b"/>
                <a:pathLst>
                  <a:path w="58852" h="17647">
                    <a:moveTo>
                      <a:pt x="0" y="0"/>
                    </a:moveTo>
                    <a:lnTo>
                      <a:pt x="58853" y="0"/>
                    </a:lnTo>
                  </a:path>
                </a:pathLst>
              </a:custGeom>
              <a:ln w="9624" cap="sq">
                <a:solidFill>
                  <a:srgbClr val="27377D"/>
                </a:solidFill>
                <a:prstDash val="solid"/>
                <a:miter/>
              </a:ln>
            </p:spPr>
            <p:txBody>
              <a:bodyPr rtlCol="0" anchor="ctr"/>
              <a:lstStyle/>
              <a:p>
                <a:endParaRPr lang="en-US" sz="1800" dirty="0"/>
              </a:p>
            </p:txBody>
          </p:sp>
          <p:sp>
            <p:nvSpPr>
              <p:cNvPr id="2452" name="Freeform 307">
                <a:extLst>
                  <a:ext uri="{FF2B5EF4-FFF2-40B4-BE49-F238E27FC236}">
                    <a16:creationId xmlns:a16="http://schemas.microsoft.com/office/drawing/2014/main" id="{9ECEB441-9683-D622-0195-701E43A68739}"/>
                  </a:ext>
                </a:extLst>
              </p:cNvPr>
              <p:cNvSpPr/>
              <p:nvPr/>
            </p:nvSpPr>
            <p:spPr>
              <a:xfrm>
                <a:off x="3684068" y="1998129"/>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453" name="Freeform 308">
                <a:extLst>
                  <a:ext uri="{FF2B5EF4-FFF2-40B4-BE49-F238E27FC236}">
                    <a16:creationId xmlns:a16="http://schemas.microsoft.com/office/drawing/2014/main" id="{3E769382-B52E-7095-F795-01F07C946104}"/>
                  </a:ext>
                </a:extLst>
              </p:cNvPr>
              <p:cNvSpPr/>
              <p:nvPr/>
            </p:nvSpPr>
            <p:spPr>
              <a:xfrm>
                <a:off x="3654650" y="2026506"/>
                <a:ext cx="58852" cy="17647"/>
              </a:xfrm>
              <a:custGeom>
                <a:avLst/>
                <a:gdLst>
                  <a:gd name="connsiteX0" fmla="*/ 0 w 58852"/>
                  <a:gd name="connsiteY0" fmla="*/ 0 h 17647"/>
                  <a:gd name="connsiteX1" fmla="*/ 58853 w 58852"/>
                  <a:gd name="connsiteY1" fmla="*/ 0 h 17647"/>
                </a:gdLst>
                <a:ahLst/>
                <a:cxnLst>
                  <a:cxn ang="0">
                    <a:pos x="connsiteX0" y="connsiteY0"/>
                  </a:cxn>
                  <a:cxn ang="0">
                    <a:pos x="connsiteX1" y="connsiteY1"/>
                  </a:cxn>
                </a:cxnLst>
                <a:rect l="l" t="t" r="r" b="b"/>
                <a:pathLst>
                  <a:path w="58852" h="17647">
                    <a:moveTo>
                      <a:pt x="0" y="0"/>
                    </a:moveTo>
                    <a:lnTo>
                      <a:pt x="58853" y="0"/>
                    </a:lnTo>
                  </a:path>
                </a:pathLst>
              </a:custGeom>
              <a:ln w="9624" cap="sq">
                <a:solidFill>
                  <a:srgbClr val="27377D"/>
                </a:solidFill>
                <a:prstDash val="solid"/>
                <a:miter/>
              </a:ln>
            </p:spPr>
            <p:txBody>
              <a:bodyPr rtlCol="0" anchor="ctr"/>
              <a:lstStyle/>
              <a:p>
                <a:endParaRPr lang="en-US" sz="1800" dirty="0"/>
              </a:p>
            </p:txBody>
          </p:sp>
          <p:sp>
            <p:nvSpPr>
              <p:cNvPr id="2454" name="Freeform 309">
                <a:extLst>
                  <a:ext uri="{FF2B5EF4-FFF2-40B4-BE49-F238E27FC236}">
                    <a16:creationId xmlns:a16="http://schemas.microsoft.com/office/drawing/2014/main" id="{FCD98B19-BFCB-1289-B24D-6E658F11697E}"/>
                  </a:ext>
                </a:extLst>
              </p:cNvPr>
              <p:cNvSpPr/>
              <p:nvPr/>
            </p:nvSpPr>
            <p:spPr>
              <a:xfrm>
                <a:off x="3684068" y="1998129"/>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455" name="Freeform 310">
                <a:extLst>
                  <a:ext uri="{FF2B5EF4-FFF2-40B4-BE49-F238E27FC236}">
                    <a16:creationId xmlns:a16="http://schemas.microsoft.com/office/drawing/2014/main" id="{24C1343A-DE09-A159-EC1C-142216A5ACEA}"/>
                  </a:ext>
                </a:extLst>
              </p:cNvPr>
              <p:cNvSpPr/>
              <p:nvPr/>
            </p:nvSpPr>
            <p:spPr>
              <a:xfrm>
                <a:off x="3666562" y="2036212"/>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456" name="Freeform 311">
                <a:extLst>
                  <a:ext uri="{FF2B5EF4-FFF2-40B4-BE49-F238E27FC236}">
                    <a16:creationId xmlns:a16="http://schemas.microsoft.com/office/drawing/2014/main" id="{276C9108-5D12-0CDB-5747-0B97383ACAE2}"/>
                  </a:ext>
                </a:extLst>
              </p:cNvPr>
              <p:cNvSpPr/>
              <p:nvPr/>
            </p:nvSpPr>
            <p:spPr>
              <a:xfrm>
                <a:off x="3695980" y="2007835"/>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457" name="Freeform 312">
                <a:extLst>
                  <a:ext uri="{FF2B5EF4-FFF2-40B4-BE49-F238E27FC236}">
                    <a16:creationId xmlns:a16="http://schemas.microsoft.com/office/drawing/2014/main" id="{A0895CE9-AB0F-7719-0B37-4AD19131864E}"/>
                  </a:ext>
                </a:extLst>
              </p:cNvPr>
              <p:cNvSpPr/>
              <p:nvPr/>
            </p:nvSpPr>
            <p:spPr>
              <a:xfrm>
                <a:off x="3695980" y="2045917"/>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458" name="Freeform 313">
                <a:extLst>
                  <a:ext uri="{FF2B5EF4-FFF2-40B4-BE49-F238E27FC236}">
                    <a16:creationId xmlns:a16="http://schemas.microsoft.com/office/drawing/2014/main" id="{447E3842-F0A0-CDDC-92E1-1E452205F860}"/>
                  </a:ext>
                </a:extLst>
              </p:cNvPr>
              <p:cNvSpPr/>
              <p:nvPr/>
            </p:nvSpPr>
            <p:spPr>
              <a:xfrm>
                <a:off x="3725397" y="2017559"/>
                <a:ext cx="17647" cy="56735"/>
              </a:xfrm>
              <a:custGeom>
                <a:avLst/>
                <a:gdLst>
                  <a:gd name="connsiteX0" fmla="*/ 0 w 17647"/>
                  <a:gd name="connsiteY0" fmla="*/ 0 h 56735"/>
                  <a:gd name="connsiteX1" fmla="*/ 0 w 17647"/>
                  <a:gd name="connsiteY1" fmla="*/ 56735 h 56735"/>
                </a:gdLst>
                <a:ahLst/>
                <a:cxnLst>
                  <a:cxn ang="0">
                    <a:pos x="connsiteX0" y="connsiteY0"/>
                  </a:cxn>
                  <a:cxn ang="0">
                    <a:pos x="connsiteX1" y="connsiteY1"/>
                  </a:cxn>
                </a:cxnLst>
                <a:rect l="l" t="t" r="r" b="b"/>
                <a:pathLst>
                  <a:path w="17647" h="56735">
                    <a:moveTo>
                      <a:pt x="0" y="0"/>
                    </a:moveTo>
                    <a:lnTo>
                      <a:pt x="0" y="56735"/>
                    </a:lnTo>
                  </a:path>
                </a:pathLst>
              </a:custGeom>
              <a:ln w="9624" cap="sq">
                <a:solidFill>
                  <a:srgbClr val="27377D"/>
                </a:solidFill>
                <a:prstDash val="solid"/>
                <a:miter/>
              </a:ln>
            </p:spPr>
            <p:txBody>
              <a:bodyPr rtlCol="0" anchor="ctr"/>
              <a:lstStyle/>
              <a:p>
                <a:endParaRPr lang="en-US" sz="1800" dirty="0"/>
              </a:p>
            </p:txBody>
          </p:sp>
          <p:sp>
            <p:nvSpPr>
              <p:cNvPr id="2459" name="Freeform 314">
                <a:extLst>
                  <a:ext uri="{FF2B5EF4-FFF2-40B4-BE49-F238E27FC236}">
                    <a16:creationId xmlns:a16="http://schemas.microsoft.com/office/drawing/2014/main" id="{366E5A7A-F1F3-9B64-F486-92C7F5C0C58B}"/>
                  </a:ext>
                </a:extLst>
              </p:cNvPr>
              <p:cNvSpPr/>
              <p:nvPr/>
            </p:nvSpPr>
            <p:spPr>
              <a:xfrm>
                <a:off x="3707750" y="2045917"/>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460" name="Freeform 315">
                <a:extLst>
                  <a:ext uri="{FF2B5EF4-FFF2-40B4-BE49-F238E27FC236}">
                    <a16:creationId xmlns:a16="http://schemas.microsoft.com/office/drawing/2014/main" id="{3457B322-A978-9FD3-112A-127897C959C9}"/>
                  </a:ext>
                </a:extLst>
              </p:cNvPr>
              <p:cNvSpPr/>
              <p:nvPr/>
            </p:nvSpPr>
            <p:spPr>
              <a:xfrm>
                <a:off x="3737168" y="2017559"/>
                <a:ext cx="17647" cy="56735"/>
              </a:xfrm>
              <a:custGeom>
                <a:avLst/>
                <a:gdLst>
                  <a:gd name="connsiteX0" fmla="*/ 0 w 17647"/>
                  <a:gd name="connsiteY0" fmla="*/ 0 h 56735"/>
                  <a:gd name="connsiteX1" fmla="*/ 0 w 17647"/>
                  <a:gd name="connsiteY1" fmla="*/ 56735 h 56735"/>
                </a:gdLst>
                <a:ahLst/>
                <a:cxnLst>
                  <a:cxn ang="0">
                    <a:pos x="connsiteX0" y="connsiteY0"/>
                  </a:cxn>
                  <a:cxn ang="0">
                    <a:pos x="connsiteX1" y="connsiteY1"/>
                  </a:cxn>
                </a:cxnLst>
                <a:rect l="l" t="t" r="r" b="b"/>
                <a:pathLst>
                  <a:path w="17647" h="56735">
                    <a:moveTo>
                      <a:pt x="0" y="0"/>
                    </a:moveTo>
                    <a:lnTo>
                      <a:pt x="0" y="56735"/>
                    </a:lnTo>
                  </a:path>
                </a:pathLst>
              </a:custGeom>
              <a:ln w="9624" cap="sq">
                <a:solidFill>
                  <a:srgbClr val="27377D"/>
                </a:solidFill>
                <a:prstDash val="solid"/>
                <a:miter/>
              </a:ln>
            </p:spPr>
            <p:txBody>
              <a:bodyPr rtlCol="0" anchor="ctr"/>
              <a:lstStyle/>
              <a:p>
                <a:endParaRPr lang="en-US" sz="1800" dirty="0"/>
              </a:p>
            </p:txBody>
          </p:sp>
          <p:sp>
            <p:nvSpPr>
              <p:cNvPr id="2461" name="Freeform 316">
                <a:extLst>
                  <a:ext uri="{FF2B5EF4-FFF2-40B4-BE49-F238E27FC236}">
                    <a16:creationId xmlns:a16="http://schemas.microsoft.com/office/drawing/2014/main" id="{44A97B03-C3E7-E9B1-B3AE-2BE66E521543}"/>
                  </a:ext>
                </a:extLst>
              </p:cNvPr>
              <p:cNvSpPr/>
              <p:nvPr/>
            </p:nvSpPr>
            <p:spPr>
              <a:xfrm>
                <a:off x="3719503" y="2055765"/>
                <a:ext cx="58852" cy="17647"/>
              </a:xfrm>
              <a:custGeom>
                <a:avLst/>
                <a:gdLst>
                  <a:gd name="connsiteX0" fmla="*/ 0 w 58852"/>
                  <a:gd name="connsiteY0" fmla="*/ 0 h 17647"/>
                  <a:gd name="connsiteX1" fmla="*/ 58853 w 58852"/>
                  <a:gd name="connsiteY1" fmla="*/ 0 h 17647"/>
                </a:gdLst>
                <a:ahLst/>
                <a:cxnLst>
                  <a:cxn ang="0">
                    <a:pos x="connsiteX0" y="connsiteY0"/>
                  </a:cxn>
                  <a:cxn ang="0">
                    <a:pos x="connsiteX1" y="connsiteY1"/>
                  </a:cxn>
                </a:cxnLst>
                <a:rect l="l" t="t" r="r" b="b"/>
                <a:pathLst>
                  <a:path w="58852" h="17647">
                    <a:moveTo>
                      <a:pt x="0" y="0"/>
                    </a:moveTo>
                    <a:lnTo>
                      <a:pt x="58853" y="0"/>
                    </a:lnTo>
                  </a:path>
                </a:pathLst>
              </a:custGeom>
              <a:ln w="9624" cap="sq">
                <a:solidFill>
                  <a:srgbClr val="27377D"/>
                </a:solidFill>
                <a:prstDash val="solid"/>
                <a:miter/>
              </a:ln>
            </p:spPr>
            <p:txBody>
              <a:bodyPr rtlCol="0" anchor="ctr"/>
              <a:lstStyle/>
              <a:p>
                <a:endParaRPr lang="en-US" sz="1800" dirty="0"/>
              </a:p>
            </p:txBody>
          </p:sp>
          <p:sp>
            <p:nvSpPr>
              <p:cNvPr id="2462" name="Freeform 317">
                <a:extLst>
                  <a:ext uri="{FF2B5EF4-FFF2-40B4-BE49-F238E27FC236}">
                    <a16:creationId xmlns:a16="http://schemas.microsoft.com/office/drawing/2014/main" id="{35D645E1-03FA-291D-83CE-91C7A46FC35D}"/>
                  </a:ext>
                </a:extLst>
              </p:cNvPr>
              <p:cNvSpPr/>
              <p:nvPr/>
            </p:nvSpPr>
            <p:spPr>
              <a:xfrm>
                <a:off x="3748939" y="2027388"/>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463" name="Freeform 318">
                <a:extLst>
                  <a:ext uri="{FF2B5EF4-FFF2-40B4-BE49-F238E27FC236}">
                    <a16:creationId xmlns:a16="http://schemas.microsoft.com/office/drawing/2014/main" id="{4A0B7592-DCE4-3868-CBDF-321EB6045C42}"/>
                  </a:ext>
                </a:extLst>
              </p:cNvPr>
              <p:cNvSpPr/>
              <p:nvPr/>
            </p:nvSpPr>
            <p:spPr>
              <a:xfrm>
                <a:off x="3854980" y="2144529"/>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464" name="Freeform 319">
                <a:extLst>
                  <a:ext uri="{FF2B5EF4-FFF2-40B4-BE49-F238E27FC236}">
                    <a16:creationId xmlns:a16="http://schemas.microsoft.com/office/drawing/2014/main" id="{AB7D5E91-AE5D-0509-8208-BCCCBAB29AB5}"/>
                  </a:ext>
                </a:extLst>
              </p:cNvPr>
              <p:cNvSpPr/>
              <p:nvPr/>
            </p:nvSpPr>
            <p:spPr>
              <a:xfrm>
                <a:off x="3884397" y="2116170"/>
                <a:ext cx="17647" cy="56735"/>
              </a:xfrm>
              <a:custGeom>
                <a:avLst/>
                <a:gdLst>
                  <a:gd name="connsiteX0" fmla="*/ 0 w 17647"/>
                  <a:gd name="connsiteY0" fmla="*/ 0 h 56735"/>
                  <a:gd name="connsiteX1" fmla="*/ 0 w 17647"/>
                  <a:gd name="connsiteY1" fmla="*/ 56735 h 56735"/>
                </a:gdLst>
                <a:ahLst/>
                <a:cxnLst>
                  <a:cxn ang="0">
                    <a:pos x="connsiteX0" y="connsiteY0"/>
                  </a:cxn>
                  <a:cxn ang="0">
                    <a:pos x="connsiteX1" y="connsiteY1"/>
                  </a:cxn>
                </a:cxnLst>
                <a:rect l="l" t="t" r="r" b="b"/>
                <a:pathLst>
                  <a:path w="17647" h="56735">
                    <a:moveTo>
                      <a:pt x="0" y="0"/>
                    </a:moveTo>
                    <a:lnTo>
                      <a:pt x="0" y="56735"/>
                    </a:lnTo>
                  </a:path>
                </a:pathLst>
              </a:custGeom>
              <a:ln w="9624" cap="sq">
                <a:solidFill>
                  <a:srgbClr val="27377D"/>
                </a:solidFill>
                <a:prstDash val="solid"/>
                <a:miter/>
              </a:ln>
            </p:spPr>
            <p:txBody>
              <a:bodyPr rtlCol="0" anchor="ctr"/>
              <a:lstStyle/>
              <a:p>
                <a:endParaRPr lang="en-US" sz="1800" dirty="0"/>
              </a:p>
            </p:txBody>
          </p:sp>
          <p:sp>
            <p:nvSpPr>
              <p:cNvPr id="2465" name="Freeform 320">
                <a:extLst>
                  <a:ext uri="{FF2B5EF4-FFF2-40B4-BE49-F238E27FC236}">
                    <a16:creationId xmlns:a16="http://schemas.microsoft.com/office/drawing/2014/main" id="{EDDFCA2F-F6A1-A9A6-1CE6-E932BA730BDA}"/>
                  </a:ext>
                </a:extLst>
              </p:cNvPr>
              <p:cNvSpPr/>
              <p:nvPr/>
            </p:nvSpPr>
            <p:spPr>
              <a:xfrm>
                <a:off x="3884521" y="2154500"/>
                <a:ext cx="58852" cy="17647"/>
              </a:xfrm>
              <a:custGeom>
                <a:avLst/>
                <a:gdLst>
                  <a:gd name="connsiteX0" fmla="*/ 0 w 58852"/>
                  <a:gd name="connsiteY0" fmla="*/ 0 h 17647"/>
                  <a:gd name="connsiteX1" fmla="*/ 58853 w 58852"/>
                  <a:gd name="connsiteY1" fmla="*/ 0 h 17647"/>
                </a:gdLst>
                <a:ahLst/>
                <a:cxnLst>
                  <a:cxn ang="0">
                    <a:pos x="connsiteX0" y="connsiteY0"/>
                  </a:cxn>
                  <a:cxn ang="0">
                    <a:pos x="connsiteX1" y="connsiteY1"/>
                  </a:cxn>
                </a:cxnLst>
                <a:rect l="l" t="t" r="r" b="b"/>
                <a:pathLst>
                  <a:path w="58852" h="17647">
                    <a:moveTo>
                      <a:pt x="0" y="0"/>
                    </a:moveTo>
                    <a:lnTo>
                      <a:pt x="58853" y="0"/>
                    </a:lnTo>
                  </a:path>
                </a:pathLst>
              </a:custGeom>
              <a:ln w="9624" cap="sq">
                <a:solidFill>
                  <a:srgbClr val="27377D"/>
                </a:solidFill>
                <a:prstDash val="solid"/>
                <a:miter/>
              </a:ln>
            </p:spPr>
            <p:txBody>
              <a:bodyPr rtlCol="0" anchor="ctr"/>
              <a:lstStyle/>
              <a:p>
                <a:endParaRPr lang="en-US" sz="1800" dirty="0"/>
              </a:p>
            </p:txBody>
          </p:sp>
          <p:sp>
            <p:nvSpPr>
              <p:cNvPr id="2466" name="Freeform 321">
                <a:extLst>
                  <a:ext uri="{FF2B5EF4-FFF2-40B4-BE49-F238E27FC236}">
                    <a16:creationId xmlns:a16="http://schemas.microsoft.com/office/drawing/2014/main" id="{ECAC419B-B522-EDEA-E9D5-AD2C7440BB03}"/>
                  </a:ext>
                </a:extLst>
              </p:cNvPr>
              <p:cNvSpPr/>
              <p:nvPr/>
            </p:nvSpPr>
            <p:spPr>
              <a:xfrm>
                <a:off x="3913938" y="2126123"/>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467" name="Freeform 322">
                <a:extLst>
                  <a:ext uri="{FF2B5EF4-FFF2-40B4-BE49-F238E27FC236}">
                    <a16:creationId xmlns:a16="http://schemas.microsoft.com/office/drawing/2014/main" id="{7DF21900-FA3C-09EE-484D-879FCDE807A9}"/>
                  </a:ext>
                </a:extLst>
              </p:cNvPr>
              <p:cNvSpPr/>
              <p:nvPr/>
            </p:nvSpPr>
            <p:spPr>
              <a:xfrm>
                <a:off x="3896291" y="2164453"/>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468" name="Freeform 323">
                <a:extLst>
                  <a:ext uri="{FF2B5EF4-FFF2-40B4-BE49-F238E27FC236}">
                    <a16:creationId xmlns:a16="http://schemas.microsoft.com/office/drawing/2014/main" id="{C67AB07D-31A1-F28B-A956-93730B4F0EE5}"/>
                  </a:ext>
                </a:extLst>
              </p:cNvPr>
              <p:cNvSpPr/>
              <p:nvPr/>
            </p:nvSpPr>
            <p:spPr>
              <a:xfrm>
                <a:off x="3925709" y="2136094"/>
                <a:ext cx="17647" cy="56735"/>
              </a:xfrm>
              <a:custGeom>
                <a:avLst/>
                <a:gdLst>
                  <a:gd name="connsiteX0" fmla="*/ 0 w 17647"/>
                  <a:gd name="connsiteY0" fmla="*/ 0 h 56735"/>
                  <a:gd name="connsiteX1" fmla="*/ 0 w 17647"/>
                  <a:gd name="connsiteY1" fmla="*/ 56735 h 56735"/>
                </a:gdLst>
                <a:ahLst/>
                <a:cxnLst>
                  <a:cxn ang="0">
                    <a:pos x="connsiteX0" y="connsiteY0"/>
                  </a:cxn>
                  <a:cxn ang="0">
                    <a:pos x="connsiteX1" y="connsiteY1"/>
                  </a:cxn>
                </a:cxnLst>
                <a:rect l="l" t="t" r="r" b="b"/>
                <a:pathLst>
                  <a:path w="17647" h="56735">
                    <a:moveTo>
                      <a:pt x="0" y="0"/>
                    </a:moveTo>
                    <a:lnTo>
                      <a:pt x="0" y="56735"/>
                    </a:lnTo>
                  </a:path>
                </a:pathLst>
              </a:custGeom>
              <a:ln w="9624" cap="sq">
                <a:solidFill>
                  <a:srgbClr val="27377D"/>
                </a:solidFill>
                <a:prstDash val="solid"/>
                <a:miter/>
              </a:ln>
            </p:spPr>
            <p:txBody>
              <a:bodyPr rtlCol="0" anchor="ctr"/>
              <a:lstStyle/>
              <a:p>
                <a:endParaRPr lang="en-US" sz="1800" dirty="0"/>
              </a:p>
            </p:txBody>
          </p:sp>
          <p:sp>
            <p:nvSpPr>
              <p:cNvPr id="2469" name="Freeform 324">
                <a:extLst>
                  <a:ext uri="{FF2B5EF4-FFF2-40B4-BE49-F238E27FC236}">
                    <a16:creationId xmlns:a16="http://schemas.microsoft.com/office/drawing/2014/main" id="{072AB7B5-9C38-EAAB-A281-F9E76ABDACEF}"/>
                  </a:ext>
                </a:extLst>
              </p:cNvPr>
              <p:cNvSpPr/>
              <p:nvPr/>
            </p:nvSpPr>
            <p:spPr>
              <a:xfrm>
                <a:off x="3896291" y="2164453"/>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470" name="Freeform 325">
                <a:extLst>
                  <a:ext uri="{FF2B5EF4-FFF2-40B4-BE49-F238E27FC236}">
                    <a16:creationId xmlns:a16="http://schemas.microsoft.com/office/drawing/2014/main" id="{29568C67-3FEE-0F54-869C-F026926C72C4}"/>
                  </a:ext>
                </a:extLst>
              </p:cNvPr>
              <p:cNvSpPr/>
              <p:nvPr/>
            </p:nvSpPr>
            <p:spPr>
              <a:xfrm>
                <a:off x="3925709" y="2136094"/>
                <a:ext cx="17647" cy="56735"/>
              </a:xfrm>
              <a:custGeom>
                <a:avLst/>
                <a:gdLst>
                  <a:gd name="connsiteX0" fmla="*/ 0 w 17647"/>
                  <a:gd name="connsiteY0" fmla="*/ 0 h 56735"/>
                  <a:gd name="connsiteX1" fmla="*/ 0 w 17647"/>
                  <a:gd name="connsiteY1" fmla="*/ 56735 h 56735"/>
                </a:gdLst>
                <a:ahLst/>
                <a:cxnLst>
                  <a:cxn ang="0">
                    <a:pos x="connsiteX0" y="connsiteY0"/>
                  </a:cxn>
                  <a:cxn ang="0">
                    <a:pos x="connsiteX1" y="connsiteY1"/>
                  </a:cxn>
                </a:cxnLst>
                <a:rect l="l" t="t" r="r" b="b"/>
                <a:pathLst>
                  <a:path w="17647" h="56735">
                    <a:moveTo>
                      <a:pt x="0" y="0"/>
                    </a:moveTo>
                    <a:lnTo>
                      <a:pt x="0" y="56735"/>
                    </a:lnTo>
                  </a:path>
                </a:pathLst>
              </a:custGeom>
              <a:ln w="9624" cap="sq">
                <a:solidFill>
                  <a:srgbClr val="27377D"/>
                </a:solidFill>
                <a:prstDash val="solid"/>
                <a:miter/>
              </a:ln>
            </p:spPr>
            <p:txBody>
              <a:bodyPr rtlCol="0" anchor="ctr"/>
              <a:lstStyle/>
              <a:p>
                <a:endParaRPr lang="en-US" sz="1800" dirty="0"/>
              </a:p>
            </p:txBody>
          </p:sp>
          <p:sp>
            <p:nvSpPr>
              <p:cNvPr id="2471" name="Freeform 326">
                <a:extLst>
                  <a:ext uri="{FF2B5EF4-FFF2-40B4-BE49-F238E27FC236}">
                    <a16:creationId xmlns:a16="http://schemas.microsoft.com/office/drawing/2014/main" id="{A20F3786-A120-5552-DBFD-E7995248520D}"/>
                  </a:ext>
                </a:extLst>
              </p:cNvPr>
              <p:cNvSpPr/>
              <p:nvPr/>
            </p:nvSpPr>
            <p:spPr>
              <a:xfrm>
                <a:off x="3931603" y="2174423"/>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472" name="Freeform 327">
                <a:extLst>
                  <a:ext uri="{FF2B5EF4-FFF2-40B4-BE49-F238E27FC236}">
                    <a16:creationId xmlns:a16="http://schemas.microsoft.com/office/drawing/2014/main" id="{2C954CA4-0F30-8825-68E7-5D1297CBC92A}"/>
                  </a:ext>
                </a:extLst>
              </p:cNvPr>
              <p:cNvSpPr/>
              <p:nvPr/>
            </p:nvSpPr>
            <p:spPr>
              <a:xfrm>
                <a:off x="3961021" y="2146047"/>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473" name="Freeform 328">
                <a:extLst>
                  <a:ext uri="{FF2B5EF4-FFF2-40B4-BE49-F238E27FC236}">
                    <a16:creationId xmlns:a16="http://schemas.microsoft.com/office/drawing/2014/main" id="{5DB38538-89AB-EAF8-8E4B-FC8740D93A0C}"/>
                  </a:ext>
                </a:extLst>
              </p:cNvPr>
              <p:cNvSpPr/>
              <p:nvPr/>
            </p:nvSpPr>
            <p:spPr>
              <a:xfrm>
                <a:off x="3943374" y="2174423"/>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474" name="Freeform 329">
                <a:extLst>
                  <a:ext uri="{FF2B5EF4-FFF2-40B4-BE49-F238E27FC236}">
                    <a16:creationId xmlns:a16="http://schemas.microsoft.com/office/drawing/2014/main" id="{527005F6-690F-FF8D-9B0E-63161793844C}"/>
                  </a:ext>
                </a:extLst>
              </p:cNvPr>
              <p:cNvSpPr/>
              <p:nvPr/>
            </p:nvSpPr>
            <p:spPr>
              <a:xfrm>
                <a:off x="3972791" y="2146047"/>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475" name="Freeform 330">
                <a:extLst>
                  <a:ext uri="{FF2B5EF4-FFF2-40B4-BE49-F238E27FC236}">
                    <a16:creationId xmlns:a16="http://schemas.microsoft.com/office/drawing/2014/main" id="{13C05A6A-2DD6-1017-CAF4-0C6000388872}"/>
                  </a:ext>
                </a:extLst>
              </p:cNvPr>
              <p:cNvSpPr/>
              <p:nvPr/>
            </p:nvSpPr>
            <p:spPr>
              <a:xfrm>
                <a:off x="3949250" y="2174423"/>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476" name="Freeform 331">
                <a:extLst>
                  <a:ext uri="{FF2B5EF4-FFF2-40B4-BE49-F238E27FC236}">
                    <a16:creationId xmlns:a16="http://schemas.microsoft.com/office/drawing/2014/main" id="{4C2EBC65-5843-748B-A136-781F4CB5B998}"/>
                  </a:ext>
                </a:extLst>
              </p:cNvPr>
              <p:cNvSpPr/>
              <p:nvPr/>
            </p:nvSpPr>
            <p:spPr>
              <a:xfrm>
                <a:off x="3978668" y="2146047"/>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477" name="Freeform 332">
                <a:extLst>
                  <a:ext uri="{FF2B5EF4-FFF2-40B4-BE49-F238E27FC236}">
                    <a16:creationId xmlns:a16="http://schemas.microsoft.com/office/drawing/2014/main" id="{603C3F37-80DD-7F41-2208-2A0771A8177E}"/>
                  </a:ext>
                </a:extLst>
              </p:cNvPr>
              <p:cNvSpPr/>
              <p:nvPr/>
            </p:nvSpPr>
            <p:spPr>
              <a:xfrm>
                <a:off x="3955126" y="2174423"/>
                <a:ext cx="58852" cy="17647"/>
              </a:xfrm>
              <a:custGeom>
                <a:avLst/>
                <a:gdLst>
                  <a:gd name="connsiteX0" fmla="*/ 0 w 58852"/>
                  <a:gd name="connsiteY0" fmla="*/ 0 h 17647"/>
                  <a:gd name="connsiteX1" fmla="*/ 58853 w 58852"/>
                  <a:gd name="connsiteY1" fmla="*/ 0 h 17647"/>
                </a:gdLst>
                <a:ahLst/>
                <a:cxnLst>
                  <a:cxn ang="0">
                    <a:pos x="connsiteX0" y="connsiteY0"/>
                  </a:cxn>
                  <a:cxn ang="0">
                    <a:pos x="connsiteX1" y="connsiteY1"/>
                  </a:cxn>
                </a:cxnLst>
                <a:rect l="l" t="t" r="r" b="b"/>
                <a:pathLst>
                  <a:path w="58852" h="17647">
                    <a:moveTo>
                      <a:pt x="0" y="0"/>
                    </a:moveTo>
                    <a:lnTo>
                      <a:pt x="58853" y="0"/>
                    </a:lnTo>
                  </a:path>
                </a:pathLst>
              </a:custGeom>
              <a:ln w="9624" cap="sq">
                <a:solidFill>
                  <a:srgbClr val="27377D"/>
                </a:solidFill>
                <a:prstDash val="solid"/>
                <a:miter/>
              </a:ln>
            </p:spPr>
            <p:txBody>
              <a:bodyPr rtlCol="0" anchor="ctr"/>
              <a:lstStyle/>
              <a:p>
                <a:endParaRPr lang="en-US" sz="1800" dirty="0"/>
              </a:p>
            </p:txBody>
          </p:sp>
          <p:sp>
            <p:nvSpPr>
              <p:cNvPr id="2478" name="Freeform 333">
                <a:extLst>
                  <a:ext uri="{FF2B5EF4-FFF2-40B4-BE49-F238E27FC236}">
                    <a16:creationId xmlns:a16="http://schemas.microsoft.com/office/drawing/2014/main" id="{31C2DD3D-04C7-3FC8-5A59-0AA0AECA495C}"/>
                  </a:ext>
                </a:extLst>
              </p:cNvPr>
              <p:cNvSpPr/>
              <p:nvPr/>
            </p:nvSpPr>
            <p:spPr>
              <a:xfrm>
                <a:off x="3984562" y="2146047"/>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479" name="Freeform 334">
                <a:extLst>
                  <a:ext uri="{FF2B5EF4-FFF2-40B4-BE49-F238E27FC236}">
                    <a16:creationId xmlns:a16="http://schemas.microsoft.com/office/drawing/2014/main" id="{E848FF65-8F1D-DCE2-5871-7FC671AE58DE}"/>
                  </a:ext>
                </a:extLst>
              </p:cNvPr>
              <p:cNvSpPr/>
              <p:nvPr/>
            </p:nvSpPr>
            <p:spPr>
              <a:xfrm>
                <a:off x="3990562" y="2205058"/>
                <a:ext cx="58852" cy="17647"/>
              </a:xfrm>
              <a:custGeom>
                <a:avLst/>
                <a:gdLst>
                  <a:gd name="connsiteX0" fmla="*/ 0 w 58852"/>
                  <a:gd name="connsiteY0" fmla="*/ 0 h 17647"/>
                  <a:gd name="connsiteX1" fmla="*/ 58853 w 58852"/>
                  <a:gd name="connsiteY1" fmla="*/ 0 h 17647"/>
                </a:gdLst>
                <a:ahLst/>
                <a:cxnLst>
                  <a:cxn ang="0">
                    <a:pos x="connsiteX0" y="connsiteY0"/>
                  </a:cxn>
                  <a:cxn ang="0">
                    <a:pos x="connsiteX1" y="connsiteY1"/>
                  </a:cxn>
                </a:cxnLst>
                <a:rect l="l" t="t" r="r" b="b"/>
                <a:pathLst>
                  <a:path w="58852" h="17647">
                    <a:moveTo>
                      <a:pt x="0" y="0"/>
                    </a:moveTo>
                    <a:lnTo>
                      <a:pt x="58853" y="0"/>
                    </a:lnTo>
                  </a:path>
                </a:pathLst>
              </a:custGeom>
              <a:ln w="9624" cap="sq">
                <a:solidFill>
                  <a:srgbClr val="27377D"/>
                </a:solidFill>
                <a:prstDash val="solid"/>
                <a:miter/>
              </a:ln>
            </p:spPr>
            <p:txBody>
              <a:bodyPr rtlCol="0" anchor="ctr"/>
              <a:lstStyle/>
              <a:p>
                <a:endParaRPr lang="en-US" sz="1800" dirty="0"/>
              </a:p>
            </p:txBody>
          </p:sp>
          <p:sp>
            <p:nvSpPr>
              <p:cNvPr id="2480" name="Freeform 335">
                <a:extLst>
                  <a:ext uri="{FF2B5EF4-FFF2-40B4-BE49-F238E27FC236}">
                    <a16:creationId xmlns:a16="http://schemas.microsoft.com/office/drawing/2014/main" id="{82A2C76E-546F-34D9-E95C-9CCE3DDADCC1}"/>
                  </a:ext>
                </a:extLst>
              </p:cNvPr>
              <p:cNvSpPr/>
              <p:nvPr/>
            </p:nvSpPr>
            <p:spPr>
              <a:xfrm>
                <a:off x="4019997" y="2176700"/>
                <a:ext cx="17647" cy="56735"/>
              </a:xfrm>
              <a:custGeom>
                <a:avLst/>
                <a:gdLst>
                  <a:gd name="connsiteX0" fmla="*/ 0 w 17647"/>
                  <a:gd name="connsiteY0" fmla="*/ 0 h 56735"/>
                  <a:gd name="connsiteX1" fmla="*/ 0 w 17647"/>
                  <a:gd name="connsiteY1" fmla="*/ 56735 h 56735"/>
                </a:gdLst>
                <a:ahLst/>
                <a:cxnLst>
                  <a:cxn ang="0">
                    <a:pos x="connsiteX0" y="connsiteY0"/>
                  </a:cxn>
                  <a:cxn ang="0">
                    <a:pos x="connsiteX1" y="connsiteY1"/>
                  </a:cxn>
                </a:cxnLst>
                <a:rect l="l" t="t" r="r" b="b"/>
                <a:pathLst>
                  <a:path w="17647" h="56735">
                    <a:moveTo>
                      <a:pt x="0" y="0"/>
                    </a:moveTo>
                    <a:lnTo>
                      <a:pt x="0" y="56735"/>
                    </a:lnTo>
                  </a:path>
                </a:pathLst>
              </a:custGeom>
              <a:ln w="9624" cap="sq">
                <a:solidFill>
                  <a:srgbClr val="27377D"/>
                </a:solidFill>
                <a:prstDash val="solid"/>
                <a:miter/>
              </a:ln>
            </p:spPr>
            <p:txBody>
              <a:bodyPr rtlCol="0" anchor="ctr"/>
              <a:lstStyle/>
              <a:p>
                <a:endParaRPr lang="en-US" sz="1800" dirty="0"/>
              </a:p>
            </p:txBody>
          </p:sp>
          <p:sp>
            <p:nvSpPr>
              <p:cNvPr id="2481" name="Freeform 336">
                <a:extLst>
                  <a:ext uri="{FF2B5EF4-FFF2-40B4-BE49-F238E27FC236}">
                    <a16:creationId xmlns:a16="http://schemas.microsoft.com/office/drawing/2014/main" id="{55AB4B3E-640B-4AA8-8E90-1E987C5FE9AD}"/>
                  </a:ext>
                </a:extLst>
              </p:cNvPr>
              <p:cNvSpPr/>
              <p:nvPr/>
            </p:nvSpPr>
            <p:spPr>
              <a:xfrm>
                <a:off x="4067062" y="2246052"/>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482" name="Freeform 337">
                <a:extLst>
                  <a:ext uri="{FF2B5EF4-FFF2-40B4-BE49-F238E27FC236}">
                    <a16:creationId xmlns:a16="http://schemas.microsoft.com/office/drawing/2014/main" id="{07B94CE6-3B50-B756-DE01-F08ECF9C236C}"/>
                  </a:ext>
                </a:extLst>
              </p:cNvPr>
              <p:cNvSpPr/>
              <p:nvPr/>
            </p:nvSpPr>
            <p:spPr>
              <a:xfrm>
                <a:off x="4096479" y="2217676"/>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483" name="Freeform 338">
                <a:extLst>
                  <a:ext uri="{FF2B5EF4-FFF2-40B4-BE49-F238E27FC236}">
                    <a16:creationId xmlns:a16="http://schemas.microsoft.com/office/drawing/2014/main" id="{EF83EFC1-1F11-B698-9571-BEC6D590604A}"/>
                  </a:ext>
                </a:extLst>
              </p:cNvPr>
              <p:cNvSpPr/>
              <p:nvPr/>
            </p:nvSpPr>
            <p:spPr>
              <a:xfrm>
                <a:off x="4096620" y="2246052"/>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484" name="Freeform 339">
                <a:extLst>
                  <a:ext uri="{FF2B5EF4-FFF2-40B4-BE49-F238E27FC236}">
                    <a16:creationId xmlns:a16="http://schemas.microsoft.com/office/drawing/2014/main" id="{65BFD590-9C42-B5E7-D82E-7DE4F1E09941}"/>
                  </a:ext>
                </a:extLst>
              </p:cNvPr>
              <p:cNvSpPr/>
              <p:nvPr/>
            </p:nvSpPr>
            <p:spPr>
              <a:xfrm>
                <a:off x="4126038" y="2217676"/>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485" name="Freeform 340">
                <a:extLst>
                  <a:ext uri="{FF2B5EF4-FFF2-40B4-BE49-F238E27FC236}">
                    <a16:creationId xmlns:a16="http://schemas.microsoft.com/office/drawing/2014/main" id="{3F837848-E679-8F3D-57A6-91CE662C8DD1}"/>
                  </a:ext>
                </a:extLst>
              </p:cNvPr>
              <p:cNvSpPr/>
              <p:nvPr/>
            </p:nvSpPr>
            <p:spPr>
              <a:xfrm>
                <a:off x="4137808" y="2380223"/>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486" name="Freeform 341">
                <a:extLst>
                  <a:ext uri="{FF2B5EF4-FFF2-40B4-BE49-F238E27FC236}">
                    <a16:creationId xmlns:a16="http://schemas.microsoft.com/office/drawing/2014/main" id="{E349AD04-E03C-E6DA-39B4-13CD7B785BE4}"/>
                  </a:ext>
                </a:extLst>
              </p:cNvPr>
              <p:cNvSpPr/>
              <p:nvPr/>
            </p:nvSpPr>
            <p:spPr>
              <a:xfrm>
                <a:off x="4167226" y="2351846"/>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487" name="Freeform 342">
                <a:extLst>
                  <a:ext uri="{FF2B5EF4-FFF2-40B4-BE49-F238E27FC236}">
                    <a16:creationId xmlns:a16="http://schemas.microsoft.com/office/drawing/2014/main" id="{628CA277-0B5E-7003-0E3F-1B9E93FFBBE3}"/>
                  </a:ext>
                </a:extLst>
              </p:cNvPr>
              <p:cNvSpPr/>
              <p:nvPr/>
            </p:nvSpPr>
            <p:spPr>
              <a:xfrm>
                <a:off x="4137808" y="2380223"/>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488" name="Freeform 343">
                <a:extLst>
                  <a:ext uri="{FF2B5EF4-FFF2-40B4-BE49-F238E27FC236}">
                    <a16:creationId xmlns:a16="http://schemas.microsoft.com/office/drawing/2014/main" id="{62BA4EEA-BF3D-DD13-A0C8-B1DBFE494FD1}"/>
                  </a:ext>
                </a:extLst>
              </p:cNvPr>
              <p:cNvSpPr/>
              <p:nvPr/>
            </p:nvSpPr>
            <p:spPr>
              <a:xfrm>
                <a:off x="4167226" y="2351846"/>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489" name="Freeform 344">
                <a:extLst>
                  <a:ext uri="{FF2B5EF4-FFF2-40B4-BE49-F238E27FC236}">
                    <a16:creationId xmlns:a16="http://schemas.microsoft.com/office/drawing/2014/main" id="{11EFB3F4-92FD-EA0C-DD26-45E4DC1B9F26}"/>
                  </a:ext>
                </a:extLst>
              </p:cNvPr>
              <p:cNvSpPr/>
              <p:nvPr/>
            </p:nvSpPr>
            <p:spPr>
              <a:xfrm>
                <a:off x="4149561" y="2390687"/>
                <a:ext cx="58852" cy="17647"/>
              </a:xfrm>
              <a:custGeom>
                <a:avLst/>
                <a:gdLst>
                  <a:gd name="connsiteX0" fmla="*/ 0 w 58852"/>
                  <a:gd name="connsiteY0" fmla="*/ 0 h 17647"/>
                  <a:gd name="connsiteX1" fmla="*/ 58853 w 58852"/>
                  <a:gd name="connsiteY1" fmla="*/ 0 h 17647"/>
                </a:gdLst>
                <a:ahLst/>
                <a:cxnLst>
                  <a:cxn ang="0">
                    <a:pos x="connsiteX0" y="connsiteY0"/>
                  </a:cxn>
                  <a:cxn ang="0">
                    <a:pos x="connsiteX1" y="connsiteY1"/>
                  </a:cxn>
                </a:cxnLst>
                <a:rect l="l" t="t" r="r" b="b"/>
                <a:pathLst>
                  <a:path w="58852" h="17647">
                    <a:moveTo>
                      <a:pt x="0" y="0"/>
                    </a:moveTo>
                    <a:lnTo>
                      <a:pt x="58853" y="0"/>
                    </a:lnTo>
                  </a:path>
                </a:pathLst>
              </a:custGeom>
              <a:ln w="9624" cap="sq">
                <a:solidFill>
                  <a:srgbClr val="27377D"/>
                </a:solidFill>
                <a:prstDash val="solid"/>
                <a:miter/>
              </a:ln>
            </p:spPr>
            <p:txBody>
              <a:bodyPr rtlCol="0" anchor="ctr"/>
              <a:lstStyle/>
              <a:p>
                <a:endParaRPr lang="en-US" sz="1800" dirty="0"/>
              </a:p>
            </p:txBody>
          </p:sp>
          <p:sp>
            <p:nvSpPr>
              <p:cNvPr id="2490" name="Freeform 345">
                <a:extLst>
                  <a:ext uri="{FF2B5EF4-FFF2-40B4-BE49-F238E27FC236}">
                    <a16:creationId xmlns:a16="http://schemas.microsoft.com/office/drawing/2014/main" id="{0A6E4263-2DB0-85DC-7366-35D47EB2AAE9}"/>
                  </a:ext>
                </a:extLst>
              </p:cNvPr>
              <p:cNvSpPr/>
              <p:nvPr/>
            </p:nvSpPr>
            <p:spPr>
              <a:xfrm>
                <a:off x="4178997" y="2362311"/>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491" name="Freeform 346">
                <a:extLst>
                  <a:ext uri="{FF2B5EF4-FFF2-40B4-BE49-F238E27FC236}">
                    <a16:creationId xmlns:a16="http://schemas.microsoft.com/office/drawing/2014/main" id="{5F6EA0F0-0D04-48CE-5BA4-E8B70B713C14}"/>
                  </a:ext>
                </a:extLst>
              </p:cNvPr>
              <p:cNvSpPr/>
              <p:nvPr/>
            </p:nvSpPr>
            <p:spPr>
              <a:xfrm>
                <a:off x="4161332" y="2401152"/>
                <a:ext cx="58852" cy="17647"/>
              </a:xfrm>
              <a:custGeom>
                <a:avLst/>
                <a:gdLst>
                  <a:gd name="connsiteX0" fmla="*/ 0 w 58852"/>
                  <a:gd name="connsiteY0" fmla="*/ 0 h 17647"/>
                  <a:gd name="connsiteX1" fmla="*/ 58853 w 58852"/>
                  <a:gd name="connsiteY1" fmla="*/ 0 h 17647"/>
                </a:gdLst>
                <a:ahLst/>
                <a:cxnLst>
                  <a:cxn ang="0">
                    <a:pos x="connsiteX0" y="connsiteY0"/>
                  </a:cxn>
                  <a:cxn ang="0">
                    <a:pos x="connsiteX1" y="connsiteY1"/>
                  </a:cxn>
                </a:cxnLst>
                <a:rect l="l" t="t" r="r" b="b"/>
                <a:pathLst>
                  <a:path w="58852" h="17647">
                    <a:moveTo>
                      <a:pt x="0" y="0"/>
                    </a:moveTo>
                    <a:lnTo>
                      <a:pt x="58853" y="0"/>
                    </a:lnTo>
                  </a:path>
                </a:pathLst>
              </a:custGeom>
              <a:ln w="9624" cap="sq">
                <a:solidFill>
                  <a:srgbClr val="27377D"/>
                </a:solidFill>
                <a:prstDash val="solid"/>
                <a:miter/>
              </a:ln>
            </p:spPr>
            <p:txBody>
              <a:bodyPr rtlCol="0" anchor="ctr"/>
              <a:lstStyle/>
              <a:p>
                <a:endParaRPr lang="en-US" sz="1800" dirty="0"/>
              </a:p>
            </p:txBody>
          </p:sp>
          <p:sp>
            <p:nvSpPr>
              <p:cNvPr id="2492" name="Freeform 347">
                <a:extLst>
                  <a:ext uri="{FF2B5EF4-FFF2-40B4-BE49-F238E27FC236}">
                    <a16:creationId xmlns:a16="http://schemas.microsoft.com/office/drawing/2014/main" id="{76972C40-C1A2-BA03-730D-1A6FC92702A4}"/>
                  </a:ext>
                </a:extLst>
              </p:cNvPr>
              <p:cNvSpPr/>
              <p:nvPr/>
            </p:nvSpPr>
            <p:spPr>
              <a:xfrm>
                <a:off x="4190750" y="2372776"/>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493" name="Freeform 348">
                <a:extLst>
                  <a:ext uri="{FF2B5EF4-FFF2-40B4-BE49-F238E27FC236}">
                    <a16:creationId xmlns:a16="http://schemas.microsoft.com/office/drawing/2014/main" id="{0F32979F-9323-C87C-EA43-4DA42C446985}"/>
                  </a:ext>
                </a:extLst>
              </p:cNvPr>
              <p:cNvSpPr/>
              <p:nvPr/>
            </p:nvSpPr>
            <p:spPr>
              <a:xfrm>
                <a:off x="4173103" y="2411617"/>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494" name="Freeform 349">
                <a:extLst>
                  <a:ext uri="{FF2B5EF4-FFF2-40B4-BE49-F238E27FC236}">
                    <a16:creationId xmlns:a16="http://schemas.microsoft.com/office/drawing/2014/main" id="{13BDFA2B-2689-EC1D-A88D-9F820DED7C0E}"/>
                  </a:ext>
                </a:extLst>
              </p:cNvPr>
              <p:cNvSpPr/>
              <p:nvPr/>
            </p:nvSpPr>
            <p:spPr>
              <a:xfrm>
                <a:off x="4202520" y="2383240"/>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495" name="Freeform 350">
                <a:extLst>
                  <a:ext uri="{FF2B5EF4-FFF2-40B4-BE49-F238E27FC236}">
                    <a16:creationId xmlns:a16="http://schemas.microsoft.com/office/drawing/2014/main" id="{4CEF9B35-2C03-99C7-CEF5-C2A9D71A7180}"/>
                  </a:ext>
                </a:extLst>
              </p:cNvPr>
              <p:cNvSpPr/>
              <p:nvPr/>
            </p:nvSpPr>
            <p:spPr>
              <a:xfrm>
                <a:off x="4190750" y="2411617"/>
                <a:ext cx="58852" cy="17647"/>
              </a:xfrm>
              <a:custGeom>
                <a:avLst/>
                <a:gdLst>
                  <a:gd name="connsiteX0" fmla="*/ 0 w 58852"/>
                  <a:gd name="connsiteY0" fmla="*/ 0 h 17647"/>
                  <a:gd name="connsiteX1" fmla="*/ 58853 w 58852"/>
                  <a:gd name="connsiteY1" fmla="*/ 0 h 17647"/>
                </a:gdLst>
                <a:ahLst/>
                <a:cxnLst>
                  <a:cxn ang="0">
                    <a:pos x="connsiteX0" y="connsiteY0"/>
                  </a:cxn>
                  <a:cxn ang="0">
                    <a:pos x="connsiteX1" y="connsiteY1"/>
                  </a:cxn>
                </a:cxnLst>
                <a:rect l="l" t="t" r="r" b="b"/>
                <a:pathLst>
                  <a:path w="58852" h="17647">
                    <a:moveTo>
                      <a:pt x="0" y="0"/>
                    </a:moveTo>
                    <a:lnTo>
                      <a:pt x="58853" y="0"/>
                    </a:lnTo>
                  </a:path>
                </a:pathLst>
              </a:custGeom>
              <a:ln w="9624" cap="sq">
                <a:solidFill>
                  <a:srgbClr val="27377D"/>
                </a:solidFill>
                <a:prstDash val="solid"/>
                <a:miter/>
              </a:ln>
            </p:spPr>
            <p:txBody>
              <a:bodyPr rtlCol="0" anchor="ctr"/>
              <a:lstStyle/>
              <a:p>
                <a:endParaRPr lang="en-US" sz="1800" dirty="0"/>
              </a:p>
            </p:txBody>
          </p:sp>
          <p:sp>
            <p:nvSpPr>
              <p:cNvPr id="2496" name="Freeform 351">
                <a:extLst>
                  <a:ext uri="{FF2B5EF4-FFF2-40B4-BE49-F238E27FC236}">
                    <a16:creationId xmlns:a16="http://schemas.microsoft.com/office/drawing/2014/main" id="{9F50DB1F-852F-A8FE-EA1E-422290000F32}"/>
                  </a:ext>
                </a:extLst>
              </p:cNvPr>
              <p:cNvSpPr/>
              <p:nvPr/>
            </p:nvSpPr>
            <p:spPr>
              <a:xfrm>
                <a:off x="4220185" y="2383240"/>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497" name="Freeform 352">
                <a:extLst>
                  <a:ext uri="{FF2B5EF4-FFF2-40B4-BE49-F238E27FC236}">
                    <a16:creationId xmlns:a16="http://schemas.microsoft.com/office/drawing/2014/main" id="{8EF43D25-E0C7-7EDE-95B1-C5C43DA15298}"/>
                  </a:ext>
                </a:extLst>
              </p:cNvPr>
              <p:cNvSpPr/>
              <p:nvPr/>
            </p:nvSpPr>
            <p:spPr>
              <a:xfrm>
                <a:off x="4296808" y="2432934"/>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498" name="Freeform 353">
                <a:extLst>
                  <a:ext uri="{FF2B5EF4-FFF2-40B4-BE49-F238E27FC236}">
                    <a16:creationId xmlns:a16="http://schemas.microsoft.com/office/drawing/2014/main" id="{609C5ED9-5FB7-67A7-3BE8-929003F27C68}"/>
                  </a:ext>
                </a:extLst>
              </p:cNvPr>
              <p:cNvSpPr/>
              <p:nvPr/>
            </p:nvSpPr>
            <p:spPr>
              <a:xfrm>
                <a:off x="4326226" y="2404558"/>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499" name="Freeform 354">
                <a:extLst>
                  <a:ext uri="{FF2B5EF4-FFF2-40B4-BE49-F238E27FC236}">
                    <a16:creationId xmlns:a16="http://schemas.microsoft.com/office/drawing/2014/main" id="{54C16A4C-BC1E-FEBE-B2A8-E1C67AA041FF}"/>
                  </a:ext>
                </a:extLst>
              </p:cNvPr>
              <p:cNvSpPr/>
              <p:nvPr/>
            </p:nvSpPr>
            <p:spPr>
              <a:xfrm>
                <a:off x="4332243" y="2454234"/>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500" name="Freeform 355">
                <a:extLst>
                  <a:ext uri="{FF2B5EF4-FFF2-40B4-BE49-F238E27FC236}">
                    <a16:creationId xmlns:a16="http://schemas.microsoft.com/office/drawing/2014/main" id="{CC1DEA92-30CD-1F2A-74E0-86EC1870DC29}"/>
                  </a:ext>
                </a:extLst>
              </p:cNvPr>
              <p:cNvSpPr/>
              <p:nvPr/>
            </p:nvSpPr>
            <p:spPr>
              <a:xfrm>
                <a:off x="4361661" y="2425876"/>
                <a:ext cx="17647" cy="56735"/>
              </a:xfrm>
              <a:custGeom>
                <a:avLst/>
                <a:gdLst>
                  <a:gd name="connsiteX0" fmla="*/ 0 w 17647"/>
                  <a:gd name="connsiteY0" fmla="*/ 0 h 56735"/>
                  <a:gd name="connsiteX1" fmla="*/ 0 w 17647"/>
                  <a:gd name="connsiteY1" fmla="*/ 56735 h 56735"/>
                </a:gdLst>
                <a:ahLst/>
                <a:cxnLst>
                  <a:cxn ang="0">
                    <a:pos x="connsiteX0" y="connsiteY0"/>
                  </a:cxn>
                  <a:cxn ang="0">
                    <a:pos x="connsiteX1" y="connsiteY1"/>
                  </a:cxn>
                </a:cxnLst>
                <a:rect l="l" t="t" r="r" b="b"/>
                <a:pathLst>
                  <a:path w="17647" h="56735">
                    <a:moveTo>
                      <a:pt x="0" y="0"/>
                    </a:moveTo>
                    <a:lnTo>
                      <a:pt x="0" y="56735"/>
                    </a:lnTo>
                  </a:path>
                </a:pathLst>
              </a:custGeom>
              <a:ln w="9624" cap="sq">
                <a:solidFill>
                  <a:srgbClr val="27377D"/>
                </a:solidFill>
                <a:prstDash val="solid"/>
                <a:miter/>
              </a:ln>
            </p:spPr>
            <p:txBody>
              <a:bodyPr rtlCol="0" anchor="ctr"/>
              <a:lstStyle/>
              <a:p>
                <a:endParaRPr lang="en-US" sz="1800" dirty="0"/>
              </a:p>
            </p:txBody>
          </p:sp>
          <p:sp>
            <p:nvSpPr>
              <p:cNvPr id="2501" name="Freeform 356">
                <a:extLst>
                  <a:ext uri="{FF2B5EF4-FFF2-40B4-BE49-F238E27FC236}">
                    <a16:creationId xmlns:a16="http://schemas.microsoft.com/office/drawing/2014/main" id="{2431C9FB-28A5-6318-BC30-6EC43C4FA822}"/>
                  </a:ext>
                </a:extLst>
              </p:cNvPr>
              <p:cNvSpPr/>
              <p:nvPr/>
            </p:nvSpPr>
            <p:spPr>
              <a:xfrm>
                <a:off x="4343996" y="2454234"/>
                <a:ext cx="58852" cy="17647"/>
              </a:xfrm>
              <a:custGeom>
                <a:avLst/>
                <a:gdLst>
                  <a:gd name="connsiteX0" fmla="*/ 0 w 58852"/>
                  <a:gd name="connsiteY0" fmla="*/ 0 h 17647"/>
                  <a:gd name="connsiteX1" fmla="*/ 58853 w 58852"/>
                  <a:gd name="connsiteY1" fmla="*/ 0 h 17647"/>
                </a:gdLst>
                <a:ahLst/>
                <a:cxnLst>
                  <a:cxn ang="0">
                    <a:pos x="connsiteX0" y="connsiteY0"/>
                  </a:cxn>
                  <a:cxn ang="0">
                    <a:pos x="connsiteX1" y="connsiteY1"/>
                  </a:cxn>
                </a:cxnLst>
                <a:rect l="l" t="t" r="r" b="b"/>
                <a:pathLst>
                  <a:path w="58852" h="17647">
                    <a:moveTo>
                      <a:pt x="0" y="0"/>
                    </a:moveTo>
                    <a:lnTo>
                      <a:pt x="58853" y="0"/>
                    </a:lnTo>
                  </a:path>
                </a:pathLst>
              </a:custGeom>
              <a:ln w="9624" cap="sq">
                <a:solidFill>
                  <a:srgbClr val="27377D"/>
                </a:solidFill>
                <a:prstDash val="solid"/>
                <a:miter/>
              </a:ln>
            </p:spPr>
            <p:txBody>
              <a:bodyPr rtlCol="0" anchor="ctr"/>
              <a:lstStyle/>
              <a:p>
                <a:endParaRPr lang="en-US" sz="1800" dirty="0"/>
              </a:p>
            </p:txBody>
          </p:sp>
          <p:sp>
            <p:nvSpPr>
              <p:cNvPr id="2502" name="Freeform 357">
                <a:extLst>
                  <a:ext uri="{FF2B5EF4-FFF2-40B4-BE49-F238E27FC236}">
                    <a16:creationId xmlns:a16="http://schemas.microsoft.com/office/drawing/2014/main" id="{85EB21AC-6DFB-E172-BAB8-5C6DAFDE4290}"/>
                  </a:ext>
                </a:extLst>
              </p:cNvPr>
              <p:cNvSpPr/>
              <p:nvPr/>
            </p:nvSpPr>
            <p:spPr>
              <a:xfrm>
                <a:off x="4373432" y="2425876"/>
                <a:ext cx="17647" cy="56735"/>
              </a:xfrm>
              <a:custGeom>
                <a:avLst/>
                <a:gdLst>
                  <a:gd name="connsiteX0" fmla="*/ 0 w 17647"/>
                  <a:gd name="connsiteY0" fmla="*/ 0 h 56735"/>
                  <a:gd name="connsiteX1" fmla="*/ 0 w 17647"/>
                  <a:gd name="connsiteY1" fmla="*/ 56735 h 56735"/>
                </a:gdLst>
                <a:ahLst/>
                <a:cxnLst>
                  <a:cxn ang="0">
                    <a:pos x="connsiteX0" y="connsiteY0"/>
                  </a:cxn>
                  <a:cxn ang="0">
                    <a:pos x="connsiteX1" y="connsiteY1"/>
                  </a:cxn>
                </a:cxnLst>
                <a:rect l="l" t="t" r="r" b="b"/>
                <a:pathLst>
                  <a:path w="17647" h="56735">
                    <a:moveTo>
                      <a:pt x="0" y="0"/>
                    </a:moveTo>
                    <a:lnTo>
                      <a:pt x="0" y="56735"/>
                    </a:lnTo>
                  </a:path>
                </a:pathLst>
              </a:custGeom>
              <a:ln w="9624" cap="sq">
                <a:solidFill>
                  <a:srgbClr val="27377D"/>
                </a:solidFill>
                <a:prstDash val="solid"/>
                <a:miter/>
              </a:ln>
            </p:spPr>
            <p:txBody>
              <a:bodyPr rtlCol="0" anchor="ctr"/>
              <a:lstStyle/>
              <a:p>
                <a:endParaRPr lang="en-US" sz="1800" dirty="0"/>
              </a:p>
            </p:txBody>
          </p:sp>
          <p:sp>
            <p:nvSpPr>
              <p:cNvPr id="2503" name="Freeform 358">
                <a:extLst>
                  <a:ext uri="{FF2B5EF4-FFF2-40B4-BE49-F238E27FC236}">
                    <a16:creationId xmlns:a16="http://schemas.microsoft.com/office/drawing/2014/main" id="{673DB2FF-512F-9C58-DE64-1F4FB58700B9}"/>
                  </a:ext>
                </a:extLst>
              </p:cNvPr>
              <p:cNvSpPr/>
              <p:nvPr/>
            </p:nvSpPr>
            <p:spPr>
              <a:xfrm>
                <a:off x="4361661" y="2465087"/>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504" name="Freeform 359">
                <a:extLst>
                  <a:ext uri="{FF2B5EF4-FFF2-40B4-BE49-F238E27FC236}">
                    <a16:creationId xmlns:a16="http://schemas.microsoft.com/office/drawing/2014/main" id="{6EC9FBF3-3FE0-C0B1-C2DC-AB35C37E43EE}"/>
                  </a:ext>
                </a:extLst>
              </p:cNvPr>
              <p:cNvSpPr/>
              <p:nvPr/>
            </p:nvSpPr>
            <p:spPr>
              <a:xfrm>
                <a:off x="4391079" y="2436711"/>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505" name="Freeform 360">
                <a:extLst>
                  <a:ext uri="{FF2B5EF4-FFF2-40B4-BE49-F238E27FC236}">
                    <a16:creationId xmlns:a16="http://schemas.microsoft.com/office/drawing/2014/main" id="{BC9D211A-95BE-01C2-A4EF-8D2086F5140B}"/>
                  </a:ext>
                </a:extLst>
              </p:cNvPr>
              <p:cNvSpPr/>
              <p:nvPr/>
            </p:nvSpPr>
            <p:spPr>
              <a:xfrm>
                <a:off x="4361661" y="2465087"/>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506" name="Freeform 361">
                <a:extLst>
                  <a:ext uri="{FF2B5EF4-FFF2-40B4-BE49-F238E27FC236}">
                    <a16:creationId xmlns:a16="http://schemas.microsoft.com/office/drawing/2014/main" id="{73684FCF-85EA-FC67-D166-16CFDD157DD6}"/>
                  </a:ext>
                </a:extLst>
              </p:cNvPr>
              <p:cNvSpPr/>
              <p:nvPr/>
            </p:nvSpPr>
            <p:spPr>
              <a:xfrm>
                <a:off x="4391079" y="2436711"/>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507" name="Freeform 362">
                <a:extLst>
                  <a:ext uri="{FF2B5EF4-FFF2-40B4-BE49-F238E27FC236}">
                    <a16:creationId xmlns:a16="http://schemas.microsoft.com/office/drawing/2014/main" id="{9E2DB43F-DA12-14C9-EF3F-DF89C568D285}"/>
                  </a:ext>
                </a:extLst>
              </p:cNvPr>
              <p:cNvSpPr/>
              <p:nvPr/>
            </p:nvSpPr>
            <p:spPr>
              <a:xfrm>
                <a:off x="4385184" y="2465087"/>
                <a:ext cx="58852" cy="17647"/>
              </a:xfrm>
              <a:custGeom>
                <a:avLst/>
                <a:gdLst>
                  <a:gd name="connsiteX0" fmla="*/ 0 w 58852"/>
                  <a:gd name="connsiteY0" fmla="*/ 0 h 17647"/>
                  <a:gd name="connsiteX1" fmla="*/ 58853 w 58852"/>
                  <a:gd name="connsiteY1" fmla="*/ 0 h 17647"/>
                </a:gdLst>
                <a:ahLst/>
                <a:cxnLst>
                  <a:cxn ang="0">
                    <a:pos x="connsiteX0" y="connsiteY0"/>
                  </a:cxn>
                  <a:cxn ang="0">
                    <a:pos x="connsiteX1" y="connsiteY1"/>
                  </a:cxn>
                </a:cxnLst>
                <a:rect l="l" t="t" r="r" b="b"/>
                <a:pathLst>
                  <a:path w="58852" h="17647">
                    <a:moveTo>
                      <a:pt x="0" y="0"/>
                    </a:moveTo>
                    <a:lnTo>
                      <a:pt x="58853" y="0"/>
                    </a:lnTo>
                  </a:path>
                </a:pathLst>
              </a:custGeom>
              <a:ln w="9624" cap="sq">
                <a:solidFill>
                  <a:srgbClr val="27377D"/>
                </a:solidFill>
                <a:prstDash val="solid"/>
                <a:miter/>
              </a:ln>
            </p:spPr>
            <p:txBody>
              <a:bodyPr rtlCol="0" anchor="ctr"/>
              <a:lstStyle/>
              <a:p>
                <a:endParaRPr lang="en-US" sz="1800" dirty="0"/>
              </a:p>
            </p:txBody>
          </p:sp>
          <p:sp>
            <p:nvSpPr>
              <p:cNvPr id="2508" name="Freeform 363">
                <a:extLst>
                  <a:ext uri="{FF2B5EF4-FFF2-40B4-BE49-F238E27FC236}">
                    <a16:creationId xmlns:a16="http://schemas.microsoft.com/office/drawing/2014/main" id="{AD2548CB-357B-9EE5-7E3E-BD6CDA75BE2F}"/>
                  </a:ext>
                </a:extLst>
              </p:cNvPr>
              <p:cNvSpPr/>
              <p:nvPr/>
            </p:nvSpPr>
            <p:spPr>
              <a:xfrm>
                <a:off x="4414620" y="2436711"/>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509" name="Freeform 364">
                <a:extLst>
                  <a:ext uri="{FF2B5EF4-FFF2-40B4-BE49-F238E27FC236}">
                    <a16:creationId xmlns:a16="http://schemas.microsoft.com/office/drawing/2014/main" id="{F04306CA-8909-8D92-5567-AACF3BC24DE9}"/>
                  </a:ext>
                </a:extLst>
              </p:cNvPr>
              <p:cNvSpPr/>
              <p:nvPr/>
            </p:nvSpPr>
            <p:spPr>
              <a:xfrm>
                <a:off x="4438284" y="2486899"/>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510" name="Freeform 365">
                <a:extLst>
                  <a:ext uri="{FF2B5EF4-FFF2-40B4-BE49-F238E27FC236}">
                    <a16:creationId xmlns:a16="http://schemas.microsoft.com/office/drawing/2014/main" id="{D98FCCE2-0E2E-D196-067B-0991FEA208D2}"/>
                  </a:ext>
                </a:extLst>
              </p:cNvPr>
              <p:cNvSpPr/>
              <p:nvPr/>
            </p:nvSpPr>
            <p:spPr>
              <a:xfrm>
                <a:off x="4467702" y="2458523"/>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511" name="Freeform 366">
                <a:extLst>
                  <a:ext uri="{FF2B5EF4-FFF2-40B4-BE49-F238E27FC236}">
                    <a16:creationId xmlns:a16="http://schemas.microsoft.com/office/drawing/2014/main" id="{8966219B-435B-77AD-0C3D-B982DD96338D}"/>
                  </a:ext>
                </a:extLst>
              </p:cNvPr>
              <p:cNvSpPr/>
              <p:nvPr/>
            </p:nvSpPr>
            <p:spPr>
              <a:xfrm>
                <a:off x="4473578" y="2486899"/>
                <a:ext cx="58852" cy="17647"/>
              </a:xfrm>
              <a:custGeom>
                <a:avLst/>
                <a:gdLst>
                  <a:gd name="connsiteX0" fmla="*/ 0 w 58852"/>
                  <a:gd name="connsiteY0" fmla="*/ 0 h 17647"/>
                  <a:gd name="connsiteX1" fmla="*/ 58853 w 58852"/>
                  <a:gd name="connsiteY1" fmla="*/ 0 h 17647"/>
                </a:gdLst>
                <a:ahLst/>
                <a:cxnLst>
                  <a:cxn ang="0">
                    <a:pos x="connsiteX0" y="connsiteY0"/>
                  </a:cxn>
                  <a:cxn ang="0">
                    <a:pos x="connsiteX1" y="connsiteY1"/>
                  </a:cxn>
                </a:cxnLst>
                <a:rect l="l" t="t" r="r" b="b"/>
                <a:pathLst>
                  <a:path w="58852" h="17647">
                    <a:moveTo>
                      <a:pt x="0" y="0"/>
                    </a:moveTo>
                    <a:lnTo>
                      <a:pt x="58853" y="0"/>
                    </a:lnTo>
                  </a:path>
                </a:pathLst>
              </a:custGeom>
              <a:ln w="9624" cap="sq">
                <a:solidFill>
                  <a:srgbClr val="27377D"/>
                </a:solidFill>
                <a:prstDash val="solid"/>
                <a:miter/>
              </a:ln>
            </p:spPr>
            <p:txBody>
              <a:bodyPr rtlCol="0" anchor="ctr"/>
              <a:lstStyle/>
              <a:p>
                <a:endParaRPr lang="en-US" sz="1800" dirty="0"/>
              </a:p>
            </p:txBody>
          </p:sp>
          <p:sp>
            <p:nvSpPr>
              <p:cNvPr id="2512" name="Freeform 367">
                <a:extLst>
                  <a:ext uri="{FF2B5EF4-FFF2-40B4-BE49-F238E27FC236}">
                    <a16:creationId xmlns:a16="http://schemas.microsoft.com/office/drawing/2014/main" id="{39E6E650-7F86-6101-FE42-0EF72DC2A3E6}"/>
                  </a:ext>
                </a:extLst>
              </p:cNvPr>
              <p:cNvSpPr/>
              <p:nvPr/>
            </p:nvSpPr>
            <p:spPr>
              <a:xfrm>
                <a:off x="4502996" y="2458523"/>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513" name="Freeform 368">
                <a:extLst>
                  <a:ext uri="{FF2B5EF4-FFF2-40B4-BE49-F238E27FC236}">
                    <a16:creationId xmlns:a16="http://schemas.microsoft.com/office/drawing/2014/main" id="{36939634-D29E-4718-FD39-561333E1E543}"/>
                  </a:ext>
                </a:extLst>
              </p:cNvPr>
              <p:cNvSpPr/>
              <p:nvPr/>
            </p:nvSpPr>
            <p:spPr>
              <a:xfrm>
                <a:off x="4561972" y="2486899"/>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514" name="Freeform 369">
                <a:extLst>
                  <a:ext uri="{FF2B5EF4-FFF2-40B4-BE49-F238E27FC236}">
                    <a16:creationId xmlns:a16="http://schemas.microsoft.com/office/drawing/2014/main" id="{212CC36E-FDF0-27DB-B44B-50A4ADB66CDC}"/>
                  </a:ext>
                </a:extLst>
              </p:cNvPr>
              <p:cNvSpPr/>
              <p:nvPr/>
            </p:nvSpPr>
            <p:spPr>
              <a:xfrm>
                <a:off x="4591390" y="2458523"/>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515" name="Freeform 370">
                <a:extLst>
                  <a:ext uri="{FF2B5EF4-FFF2-40B4-BE49-F238E27FC236}">
                    <a16:creationId xmlns:a16="http://schemas.microsoft.com/office/drawing/2014/main" id="{FF2322EC-9B11-213B-788B-B5DE8D614D48}"/>
                  </a:ext>
                </a:extLst>
              </p:cNvPr>
              <p:cNvSpPr/>
              <p:nvPr/>
            </p:nvSpPr>
            <p:spPr>
              <a:xfrm>
                <a:off x="4603161" y="2497999"/>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516" name="Freeform 371">
                <a:extLst>
                  <a:ext uri="{FF2B5EF4-FFF2-40B4-BE49-F238E27FC236}">
                    <a16:creationId xmlns:a16="http://schemas.microsoft.com/office/drawing/2014/main" id="{183DBE51-8271-361B-CC17-F86DFD062B57}"/>
                  </a:ext>
                </a:extLst>
              </p:cNvPr>
              <p:cNvSpPr/>
              <p:nvPr/>
            </p:nvSpPr>
            <p:spPr>
              <a:xfrm>
                <a:off x="4632578" y="2469623"/>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517" name="Freeform 372">
                <a:extLst>
                  <a:ext uri="{FF2B5EF4-FFF2-40B4-BE49-F238E27FC236}">
                    <a16:creationId xmlns:a16="http://schemas.microsoft.com/office/drawing/2014/main" id="{1C2506DC-219E-4C52-DF36-092071A42645}"/>
                  </a:ext>
                </a:extLst>
              </p:cNvPr>
              <p:cNvSpPr/>
              <p:nvPr/>
            </p:nvSpPr>
            <p:spPr>
              <a:xfrm>
                <a:off x="4609055" y="2497999"/>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518" name="Freeform 373">
                <a:extLst>
                  <a:ext uri="{FF2B5EF4-FFF2-40B4-BE49-F238E27FC236}">
                    <a16:creationId xmlns:a16="http://schemas.microsoft.com/office/drawing/2014/main" id="{45003B5C-8793-4CC5-0C44-43CCE9A93114}"/>
                  </a:ext>
                </a:extLst>
              </p:cNvPr>
              <p:cNvSpPr/>
              <p:nvPr/>
            </p:nvSpPr>
            <p:spPr>
              <a:xfrm>
                <a:off x="4638472" y="2469623"/>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519" name="Freeform 374">
                <a:extLst>
                  <a:ext uri="{FF2B5EF4-FFF2-40B4-BE49-F238E27FC236}">
                    <a16:creationId xmlns:a16="http://schemas.microsoft.com/office/drawing/2014/main" id="{0E69C0B8-D8D9-8D62-BBD3-0D9377D3922F}"/>
                  </a:ext>
                </a:extLst>
              </p:cNvPr>
              <p:cNvSpPr/>
              <p:nvPr/>
            </p:nvSpPr>
            <p:spPr>
              <a:xfrm>
                <a:off x="4614931" y="2509223"/>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520" name="Freeform 375">
                <a:extLst>
                  <a:ext uri="{FF2B5EF4-FFF2-40B4-BE49-F238E27FC236}">
                    <a16:creationId xmlns:a16="http://schemas.microsoft.com/office/drawing/2014/main" id="{32FEE3AF-C65B-A43C-371A-E4E258103A4A}"/>
                  </a:ext>
                </a:extLst>
              </p:cNvPr>
              <p:cNvSpPr/>
              <p:nvPr/>
            </p:nvSpPr>
            <p:spPr>
              <a:xfrm>
                <a:off x="4644349" y="2480846"/>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521" name="Freeform 376">
                <a:extLst>
                  <a:ext uri="{FF2B5EF4-FFF2-40B4-BE49-F238E27FC236}">
                    <a16:creationId xmlns:a16="http://schemas.microsoft.com/office/drawing/2014/main" id="{588C99F7-0AC2-638A-B6A6-D196F0E6D2B6}"/>
                  </a:ext>
                </a:extLst>
              </p:cNvPr>
              <p:cNvSpPr/>
              <p:nvPr/>
            </p:nvSpPr>
            <p:spPr>
              <a:xfrm>
                <a:off x="4632719" y="2565711"/>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522" name="Freeform 377">
                <a:extLst>
                  <a:ext uri="{FF2B5EF4-FFF2-40B4-BE49-F238E27FC236}">
                    <a16:creationId xmlns:a16="http://schemas.microsoft.com/office/drawing/2014/main" id="{EF82EFA6-29CC-1B14-7551-007259256713}"/>
                  </a:ext>
                </a:extLst>
              </p:cNvPr>
              <p:cNvSpPr/>
              <p:nvPr/>
            </p:nvSpPr>
            <p:spPr>
              <a:xfrm>
                <a:off x="4662137" y="2537352"/>
                <a:ext cx="17647" cy="56735"/>
              </a:xfrm>
              <a:custGeom>
                <a:avLst/>
                <a:gdLst>
                  <a:gd name="connsiteX0" fmla="*/ 0 w 17647"/>
                  <a:gd name="connsiteY0" fmla="*/ 0 h 56735"/>
                  <a:gd name="connsiteX1" fmla="*/ 0 w 17647"/>
                  <a:gd name="connsiteY1" fmla="*/ 56735 h 56735"/>
                </a:gdLst>
                <a:ahLst/>
                <a:cxnLst>
                  <a:cxn ang="0">
                    <a:pos x="connsiteX0" y="connsiteY0"/>
                  </a:cxn>
                  <a:cxn ang="0">
                    <a:pos x="connsiteX1" y="connsiteY1"/>
                  </a:cxn>
                </a:cxnLst>
                <a:rect l="l" t="t" r="r" b="b"/>
                <a:pathLst>
                  <a:path w="17647" h="56735">
                    <a:moveTo>
                      <a:pt x="0" y="0"/>
                    </a:moveTo>
                    <a:lnTo>
                      <a:pt x="0" y="56735"/>
                    </a:lnTo>
                  </a:path>
                </a:pathLst>
              </a:custGeom>
              <a:ln w="9624" cap="sq">
                <a:solidFill>
                  <a:srgbClr val="27377D"/>
                </a:solidFill>
                <a:prstDash val="solid"/>
                <a:miter/>
              </a:ln>
            </p:spPr>
            <p:txBody>
              <a:bodyPr rtlCol="0" anchor="ctr"/>
              <a:lstStyle/>
              <a:p>
                <a:endParaRPr lang="en-US" sz="1800" dirty="0"/>
              </a:p>
            </p:txBody>
          </p:sp>
          <p:sp>
            <p:nvSpPr>
              <p:cNvPr id="2523" name="Freeform 378">
                <a:extLst>
                  <a:ext uri="{FF2B5EF4-FFF2-40B4-BE49-F238E27FC236}">
                    <a16:creationId xmlns:a16="http://schemas.microsoft.com/office/drawing/2014/main" id="{06DAE111-AA79-9B1C-8CF0-0FAD7B00E6F3}"/>
                  </a:ext>
                </a:extLst>
              </p:cNvPr>
              <p:cNvSpPr/>
              <p:nvPr/>
            </p:nvSpPr>
            <p:spPr>
              <a:xfrm>
                <a:off x="4726990" y="2599769"/>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524" name="Freeform 379">
                <a:extLst>
                  <a:ext uri="{FF2B5EF4-FFF2-40B4-BE49-F238E27FC236}">
                    <a16:creationId xmlns:a16="http://schemas.microsoft.com/office/drawing/2014/main" id="{31D7F761-5C02-F64C-191D-8DBA195E0F3F}"/>
                  </a:ext>
                </a:extLst>
              </p:cNvPr>
              <p:cNvSpPr/>
              <p:nvPr/>
            </p:nvSpPr>
            <p:spPr>
              <a:xfrm>
                <a:off x="4756407" y="2571393"/>
                <a:ext cx="17647" cy="56735"/>
              </a:xfrm>
              <a:custGeom>
                <a:avLst/>
                <a:gdLst>
                  <a:gd name="connsiteX0" fmla="*/ 0 w 17647"/>
                  <a:gd name="connsiteY0" fmla="*/ 0 h 56735"/>
                  <a:gd name="connsiteX1" fmla="*/ 0 w 17647"/>
                  <a:gd name="connsiteY1" fmla="*/ 56735 h 56735"/>
                </a:gdLst>
                <a:ahLst/>
                <a:cxnLst>
                  <a:cxn ang="0">
                    <a:pos x="connsiteX0" y="connsiteY0"/>
                  </a:cxn>
                  <a:cxn ang="0">
                    <a:pos x="connsiteX1" y="connsiteY1"/>
                  </a:cxn>
                </a:cxnLst>
                <a:rect l="l" t="t" r="r" b="b"/>
                <a:pathLst>
                  <a:path w="17647" h="56735">
                    <a:moveTo>
                      <a:pt x="0" y="0"/>
                    </a:moveTo>
                    <a:lnTo>
                      <a:pt x="0" y="56735"/>
                    </a:lnTo>
                  </a:path>
                </a:pathLst>
              </a:custGeom>
              <a:ln w="9624" cap="sq">
                <a:solidFill>
                  <a:srgbClr val="27377D"/>
                </a:solidFill>
                <a:prstDash val="solid"/>
                <a:miter/>
              </a:ln>
            </p:spPr>
            <p:txBody>
              <a:bodyPr rtlCol="0" anchor="ctr"/>
              <a:lstStyle/>
              <a:p>
                <a:endParaRPr lang="en-US" sz="1800" dirty="0"/>
              </a:p>
            </p:txBody>
          </p:sp>
          <p:sp>
            <p:nvSpPr>
              <p:cNvPr id="2525" name="Freeform 380">
                <a:extLst>
                  <a:ext uri="{FF2B5EF4-FFF2-40B4-BE49-F238E27FC236}">
                    <a16:creationId xmlns:a16="http://schemas.microsoft.com/office/drawing/2014/main" id="{9E474E26-4174-A1E0-667D-58E088DFB294}"/>
                  </a:ext>
                </a:extLst>
              </p:cNvPr>
              <p:cNvSpPr/>
              <p:nvPr/>
            </p:nvSpPr>
            <p:spPr>
              <a:xfrm>
                <a:off x="4838925" y="2634058"/>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526" name="Freeform 381">
                <a:extLst>
                  <a:ext uri="{FF2B5EF4-FFF2-40B4-BE49-F238E27FC236}">
                    <a16:creationId xmlns:a16="http://schemas.microsoft.com/office/drawing/2014/main" id="{14013EF9-6EE6-AFC3-A4BD-B12117814489}"/>
                  </a:ext>
                </a:extLst>
              </p:cNvPr>
              <p:cNvSpPr/>
              <p:nvPr/>
            </p:nvSpPr>
            <p:spPr>
              <a:xfrm>
                <a:off x="4868342" y="2605699"/>
                <a:ext cx="17647" cy="56735"/>
              </a:xfrm>
              <a:custGeom>
                <a:avLst/>
                <a:gdLst>
                  <a:gd name="connsiteX0" fmla="*/ 0 w 17647"/>
                  <a:gd name="connsiteY0" fmla="*/ 0 h 56735"/>
                  <a:gd name="connsiteX1" fmla="*/ 0 w 17647"/>
                  <a:gd name="connsiteY1" fmla="*/ 56735 h 56735"/>
                </a:gdLst>
                <a:ahLst/>
                <a:cxnLst>
                  <a:cxn ang="0">
                    <a:pos x="connsiteX0" y="connsiteY0"/>
                  </a:cxn>
                  <a:cxn ang="0">
                    <a:pos x="connsiteX1" y="connsiteY1"/>
                  </a:cxn>
                </a:cxnLst>
                <a:rect l="l" t="t" r="r" b="b"/>
                <a:pathLst>
                  <a:path w="17647" h="56735">
                    <a:moveTo>
                      <a:pt x="0" y="0"/>
                    </a:moveTo>
                    <a:lnTo>
                      <a:pt x="0" y="56735"/>
                    </a:lnTo>
                  </a:path>
                </a:pathLst>
              </a:custGeom>
              <a:ln w="9624" cap="sq">
                <a:solidFill>
                  <a:srgbClr val="27377D"/>
                </a:solidFill>
                <a:prstDash val="solid"/>
                <a:miter/>
              </a:ln>
            </p:spPr>
            <p:txBody>
              <a:bodyPr rtlCol="0" anchor="ctr"/>
              <a:lstStyle/>
              <a:p>
                <a:endParaRPr lang="en-US" sz="1800" dirty="0"/>
              </a:p>
            </p:txBody>
          </p:sp>
          <p:sp>
            <p:nvSpPr>
              <p:cNvPr id="2527" name="Freeform 382">
                <a:extLst>
                  <a:ext uri="{FF2B5EF4-FFF2-40B4-BE49-F238E27FC236}">
                    <a16:creationId xmlns:a16="http://schemas.microsoft.com/office/drawing/2014/main" id="{90F9638C-D0F0-21E0-2830-D3C33C841CF1}"/>
                  </a:ext>
                </a:extLst>
              </p:cNvPr>
              <p:cNvSpPr/>
              <p:nvPr/>
            </p:nvSpPr>
            <p:spPr>
              <a:xfrm>
                <a:off x="4850678" y="2645546"/>
                <a:ext cx="58852" cy="17647"/>
              </a:xfrm>
              <a:custGeom>
                <a:avLst/>
                <a:gdLst>
                  <a:gd name="connsiteX0" fmla="*/ 0 w 58852"/>
                  <a:gd name="connsiteY0" fmla="*/ 0 h 17647"/>
                  <a:gd name="connsiteX1" fmla="*/ 58853 w 58852"/>
                  <a:gd name="connsiteY1" fmla="*/ 0 h 17647"/>
                </a:gdLst>
                <a:ahLst/>
                <a:cxnLst>
                  <a:cxn ang="0">
                    <a:pos x="connsiteX0" y="connsiteY0"/>
                  </a:cxn>
                  <a:cxn ang="0">
                    <a:pos x="connsiteX1" y="connsiteY1"/>
                  </a:cxn>
                </a:cxnLst>
                <a:rect l="l" t="t" r="r" b="b"/>
                <a:pathLst>
                  <a:path w="58852" h="17647">
                    <a:moveTo>
                      <a:pt x="0" y="0"/>
                    </a:moveTo>
                    <a:lnTo>
                      <a:pt x="58853" y="0"/>
                    </a:lnTo>
                  </a:path>
                </a:pathLst>
              </a:custGeom>
              <a:ln w="9624" cap="sq">
                <a:solidFill>
                  <a:srgbClr val="27377D"/>
                </a:solidFill>
                <a:prstDash val="solid"/>
                <a:miter/>
              </a:ln>
            </p:spPr>
            <p:txBody>
              <a:bodyPr rtlCol="0" anchor="ctr"/>
              <a:lstStyle/>
              <a:p>
                <a:endParaRPr lang="en-US" sz="1800" dirty="0"/>
              </a:p>
            </p:txBody>
          </p:sp>
          <p:sp>
            <p:nvSpPr>
              <p:cNvPr id="2528" name="Freeform 383">
                <a:extLst>
                  <a:ext uri="{FF2B5EF4-FFF2-40B4-BE49-F238E27FC236}">
                    <a16:creationId xmlns:a16="http://schemas.microsoft.com/office/drawing/2014/main" id="{0139F394-4989-6558-C977-378F794F5372}"/>
                  </a:ext>
                </a:extLst>
              </p:cNvPr>
              <p:cNvSpPr/>
              <p:nvPr/>
            </p:nvSpPr>
            <p:spPr>
              <a:xfrm>
                <a:off x="4880113" y="2617169"/>
                <a:ext cx="17647" cy="56735"/>
              </a:xfrm>
              <a:custGeom>
                <a:avLst/>
                <a:gdLst>
                  <a:gd name="connsiteX0" fmla="*/ 0 w 17647"/>
                  <a:gd name="connsiteY0" fmla="*/ 0 h 56735"/>
                  <a:gd name="connsiteX1" fmla="*/ 0 w 17647"/>
                  <a:gd name="connsiteY1" fmla="*/ 56735 h 56735"/>
                </a:gdLst>
                <a:ahLst/>
                <a:cxnLst>
                  <a:cxn ang="0">
                    <a:pos x="connsiteX0" y="connsiteY0"/>
                  </a:cxn>
                  <a:cxn ang="0">
                    <a:pos x="connsiteX1" y="connsiteY1"/>
                  </a:cxn>
                </a:cxnLst>
                <a:rect l="l" t="t" r="r" b="b"/>
                <a:pathLst>
                  <a:path w="17647" h="56735">
                    <a:moveTo>
                      <a:pt x="0" y="0"/>
                    </a:moveTo>
                    <a:lnTo>
                      <a:pt x="0" y="56735"/>
                    </a:lnTo>
                  </a:path>
                </a:pathLst>
              </a:custGeom>
              <a:ln w="9624" cap="sq">
                <a:solidFill>
                  <a:srgbClr val="27377D"/>
                </a:solidFill>
                <a:prstDash val="solid"/>
                <a:miter/>
              </a:ln>
            </p:spPr>
            <p:txBody>
              <a:bodyPr rtlCol="0" anchor="ctr"/>
              <a:lstStyle/>
              <a:p>
                <a:endParaRPr lang="en-US" sz="1800" dirty="0"/>
              </a:p>
            </p:txBody>
          </p:sp>
          <p:sp>
            <p:nvSpPr>
              <p:cNvPr id="2529" name="Freeform 384">
                <a:extLst>
                  <a:ext uri="{FF2B5EF4-FFF2-40B4-BE49-F238E27FC236}">
                    <a16:creationId xmlns:a16="http://schemas.microsoft.com/office/drawing/2014/main" id="{3A8E47C7-A3C5-B568-01A9-DD1217577B4A}"/>
                  </a:ext>
                </a:extLst>
              </p:cNvPr>
              <p:cNvSpPr/>
              <p:nvPr/>
            </p:nvSpPr>
            <p:spPr>
              <a:xfrm>
                <a:off x="4897760" y="2703163"/>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530" name="Freeform 385">
                <a:extLst>
                  <a:ext uri="{FF2B5EF4-FFF2-40B4-BE49-F238E27FC236}">
                    <a16:creationId xmlns:a16="http://schemas.microsoft.com/office/drawing/2014/main" id="{30FDDD9B-1753-2E0A-00D2-8E91D17801C6}"/>
                  </a:ext>
                </a:extLst>
              </p:cNvPr>
              <p:cNvSpPr/>
              <p:nvPr/>
            </p:nvSpPr>
            <p:spPr>
              <a:xfrm>
                <a:off x="4927178" y="2674787"/>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531" name="Freeform 386">
                <a:extLst>
                  <a:ext uri="{FF2B5EF4-FFF2-40B4-BE49-F238E27FC236}">
                    <a16:creationId xmlns:a16="http://schemas.microsoft.com/office/drawing/2014/main" id="{1E71783E-05C0-96F8-4A92-D6551A0A4697}"/>
                  </a:ext>
                </a:extLst>
              </p:cNvPr>
              <p:cNvSpPr/>
              <p:nvPr/>
            </p:nvSpPr>
            <p:spPr>
              <a:xfrm>
                <a:off x="5009678" y="2738104"/>
                <a:ext cx="58852" cy="17647"/>
              </a:xfrm>
              <a:custGeom>
                <a:avLst/>
                <a:gdLst>
                  <a:gd name="connsiteX0" fmla="*/ 0 w 58852"/>
                  <a:gd name="connsiteY0" fmla="*/ 0 h 17647"/>
                  <a:gd name="connsiteX1" fmla="*/ 58853 w 58852"/>
                  <a:gd name="connsiteY1" fmla="*/ 0 h 17647"/>
                </a:gdLst>
                <a:ahLst/>
                <a:cxnLst>
                  <a:cxn ang="0">
                    <a:pos x="connsiteX0" y="connsiteY0"/>
                  </a:cxn>
                  <a:cxn ang="0">
                    <a:pos x="connsiteX1" y="connsiteY1"/>
                  </a:cxn>
                </a:cxnLst>
                <a:rect l="l" t="t" r="r" b="b"/>
                <a:pathLst>
                  <a:path w="58852" h="17647">
                    <a:moveTo>
                      <a:pt x="0" y="0"/>
                    </a:moveTo>
                    <a:lnTo>
                      <a:pt x="58853" y="0"/>
                    </a:lnTo>
                  </a:path>
                </a:pathLst>
              </a:custGeom>
              <a:ln w="9624" cap="sq">
                <a:solidFill>
                  <a:srgbClr val="27377D"/>
                </a:solidFill>
                <a:prstDash val="solid"/>
                <a:miter/>
              </a:ln>
            </p:spPr>
            <p:txBody>
              <a:bodyPr rtlCol="0" anchor="ctr"/>
              <a:lstStyle/>
              <a:p>
                <a:endParaRPr lang="en-US" sz="1800" dirty="0"/>
              </a:p>
            </p:txBody>
          </p:sp>
          <p:sp>
            <p:nvSpPr>
              <p:cNvPr id="2532" name="Freeform 387">
                <a:extLst>
                  <a:ext uri="{FF2B5EF4-FFF2-40B4-BE49-F238E27FC236}">
                    <a16:creationId xmlns:a16="http://schemas.microsoft.com/office/drawing/2014/main" id="{946B7BC4-9E49-8A54-0BC1-7859118A1D30}"/>
                  </a:ext>
                </a:extLst>
              </p:cNvPr>
              <p:cNvSpPr/>
              <p:nvPr/>
            </p:nvSpPr>
            <p:spPr>
              <a:xfrm>
                <a:off x="5039113" y="2709728"/>
                <a:ext cx="17647" cy="56735"/>
              </a:xfrm>
              <a:custGeom>
                <a:avLst/>
                <a:gdLst>
                  <a:gd name="connsiteX0" fmla="*/ 0 w 17647"/>
                  <a:gd name="connsiteY0" fmla="*/ 0 h 56735"/>
                  <a:gd name="connsiteX1" fmla="*/ 0 w 17647"/>
                  <a:gd name="connsiteY1" fmla="*/ 56735 h 56735"/>
                </a:gdLst>
                <a:ahLst/>
                <a:cxnLst>
                  <a:cxn ang="0">
                    <a:pos x="connsiteX0" y="connsiteY0"/>
                  </a:cxn>
                  <a:cxn ang="0">
                    <a:pos x="connsiteX1" y="connsiteY1"/>
                  </a:cxn>
                </a:cxnLst>
                <a:rect l="l" t="t" r="r" b="b"/>
                <a:pathLst>
                  <a:path w="17647" h="56735">
                    <a:moveTo>
                      <a:pt x="0" y="0"/>
                    </a:moveTo>
                    <a:lnTo>
                      <a:pt x="0" y="56735"/>
                    </a:lnTo>
                  </a:path>
                </a:pathLst>
              </a:custGeom>
              <a:ln w="9624" cap="sq">
                <a:solidFill>
                  <a:srgbClr val="27377D"/>
                </a:solidFill>
                <a:prstDash val="solid"/>
                <a:miter/>
              </a:ln>
            </p:spPr>
            <p:txBody>
              <a:bodyPr rtlCol="0" anchor="ctr"/>
              <a:lstStyle/>
              <a:p>
                <a:endParaRPr lang="en-US" sz="1800" dirty="0"/>
              </a:p>
            </p:txBody>
          </p:sp>
          <p:sp>
            <p:nvSpPr>
              <p:cNvPr id="2533" name="Freeform 388">
                <a:extLst>
                  <a:ext uri="{FF2B5EF4-FFF2-40B4-BE49-F238E27FC236}">
                    <a16:creationId xmlns:a16="http://schemas.microsoft.com/office/drawing/2014/main" id="{B3705307-83A6-F83B-BD6F-49B48D7593CA}"/>
                  </a:ext>
                </a:extLst>
              </p:cNvPr>
              <p:cNvSpPr/>
              <p:nvPr/>
            </p:nvSpPr>
            <p:spPr>
              <a:xfrm>
                <a:off x="5009678" y="2738104"/>
                <a:ext cx="58852" cy="17647"/>
              </a:xfrm>
              <a:custGeom>
                <a:avLst/>
                <a:gdLst>
                  <a:gd name="connsiteX0" fmla="*/ 0 w 58852"/>
                  <a:gd name="connsiteY0" fmla="*/ 0 h 17647"/>
                  <a:gd name="connsiteX1" fmla="*/ 58853 w 58852"/>
                  <a:gd name="connsiteY1" fmla="*/ 0 h 17647"/>
                </a:gdLst>
                <a:ahLst/>
                <a:cxnLst>
                  <a:cxn ang="0">
                    <a:pos x="connsiteX0" y="connsiteY0"/>
                  </a:cxn>
                  <a:cxn ang="0">
                    <a:pos x="connsiteX1" y="connsiteY1"/>
                  </a:cxn>
                </a:cxnLst>
                <a:rect l="l" t="t" r="r" b="b"/>
                <a:pathLst>
                  <a:path w="58852" h="17647">
                    <a:moveTo>
                      <a:pt x="0" y="0"/>
                    </a:moveTo>
                    <a:lnTo>
                      <a:pt x="58853" y="0"/>
                    </a:lnTo>
                  </a:path>
                </a:pathLst>
              </a:custGeom>
              <a:ln w="9624" cap="sq">
                <a:solidFill>
                  <a:srgbClr val="27377D"/>
                </a:solidFill>
                <a:prstDash val="solid"/>
                <a:miter/>
              </a:ln>
            </p:spPr>
            <p:txBody>
              <a:bodyPr rtlCol="0" anchor="ctr"/>
              <a:lstStyle/>
              <a:p>
                <a:endParaRPr lang="en-US" sz="1800" dirty="0"/>
              </a:p>
            </p:txBody>
          </p:sp>
          <p:sp>
            <p:nvSpPr>
              <p:cNvPr id="2534" name="Freeform 389">
                <a:extLst>
                  <a:ext uri="{FF2B5EF4-FFF2-40B4-BE49-F238E27FC236}">
                    <a16:creationId xmlns:a16="http://schemas.microsoft.com/office/drawing/2014/main" id="{54BF8953-1C5B-F939-7579-CADD9E351CDA}"/>
                  </a:ext>
                </a:extLst>
              </p:cNvPr>
              <p:cNvSpPr/>
              <p:nvPr/>
            </p:nvSpPr>
            <p:spPr>
              <a:xfrm>
                <a:off x="5039113" y="2709728"/>
                <a:ext cx="17647" cy="56735"/>
              </a:xfrm>
              <a:custGeom>
                <a:avLst/>
                <a:gdLst>
                  <a:gd name="connsiteX0" fmla="*/ 0 w 17647"/>
                  <a:gd name="connsiteY0" fmla="*/ 0 h 56735"/>
                  <a:gd name="connsiteX1" fmla="*/ 0 w 17647"/>
                  <a:gd name="connsiteY1" fmla="*/ 56735 h 56735"/>
                </a:gdLst>
                <a:ahLst/>
                <a:cxnLst>
                  <a:cxn ang="0">
                    <a:pos x="connsiteX0" y="connsiteY0"/>
                  </a:cxn>
                  <a:cxn ang="0">
                    <a:pos x="connsiteX1" y="connsiteY1"/>
                  </a:cxn>
                </a:cxnLst>
                <a:rect l="l" t="t" r="r" b="b"/>
                <a:pathLst>
                  <a:path w="17647" h="56735">
                    <a:moveTo>
                      <a:pt x="0" y="0"/>
                    </a:moveTo>
                    <a:lnTo>
                      <a:pt x="0" y="56735"/>
                    </a:lnTo>
                  </a:path>
                </a:pathLst>
              </a:custGeom>
              <a:ln w="9624" cap="sq">
                <a:solidFill>
                  <a:srgbClr val="27377D"/>
                </a:solidFill>
                <a:prstDash val="solid"/>
                <a:miter/>
              </a:ln>
            </p:spPr>
            <p:txBody>
              <a:bodyPr rtlCol="0" anchor="ctr"/>
              <a:lstStyle/>
              <a:p>
                <a:endParaRPr lang="en-US" sz="1800" dirty="0"/>
              </a:p>
            </p:txBody>
          </p:sp>
          <p:sp>
            <p:nvSpPr>
              <p:cNvPr id="2535" name="Freeform 390">
                <a:extLst>
                  <a:ext uri="{FF2B5EF4-FFF2-40B4-BE49-F238E27FC236}">
                    <a16:creationId xmlns:a16="http://schemas.microsoft.com/office/drawing/2014/main" id="{CBCE609A-CDDF-15CE-CB35-F943F16EB20C}"/>
                  </a:ext>
                </a:extLst>
              </p:cNvPr>
              <p:cNvSpPr/>
              <p:nvPr/>
            </p:nvSpPr>
            <p:spPr>
              <a:xfrm>
                <a:off x="5056883" y="2738104"/>
                <a:ext cx="58852" cy="17647"/>
              </a:xfrm>
              <a:custGeom>
                <a:avLst/>
                <a:gdLst>
                  <a:gd name="connsiteX0" fmla="*/ 0 w 58852"/>
                  <a:gd name="connsiteY0" fmla="*/ 0 h 17647"/>
                  <a:gd name="connsiteX1" fmla="*/ 58853 w 58852"/>
                  <a:gd name="connsiteY1" fmla="*/ 0 h 17647"/>
                </a:gdLst>
                <a:ahLst/>
                <a:cxnLst>
                  <a:cxn ang="0">
                    <a:pos x="connsiteX0" y="connsiteY0"/>
                  </a:cxn>
                  <a:cxn ang="0">
                    <a:pos x="connsiteX1" y="connsiteY1"/>
                  </a:cxn>
                </a:cxnLst>
                <a:rect l="l" t="t" r="r" b="b"/>
                <a:pathLst>
                  <a:path w="58852" h="17647">
                    <a:moveTo>
                      <a:pt x="0" y="0"/>
                    </a:moveTo>
                    <a:lnTo>
                      <a:pt x="58853" y="0"/>
                    </a:lnTo>
                  </a:path>
                </a:pathLst>
              </a:custGeom>
              <a:ln w="9624" cap="sq">
                <a:solidFill>
                  <a:srgbClr val="27377D"/>
                </a:solidFill>
                <a:prstDash val="solid"/>
                <a:miter/>
              </a:ln>
            </p:spPr>
            <p:txBody>
              <a:bodyPr rtlCol="0" anchor="ctr"/>
              <a:lstStyle/>
              <a:p>
                <a:endParaRPr lang="en-US" sz="1800" dirty="0"/>
              </a:p>
            </p:txBody>
          </p:sp>
          <p:sp>
            <p:nvSpPr>
              <p:cNvPr id="2536" name="Freeform 391">
                <a:extLst>
                  <a:ext uri="{FF2B5EF4-FFF2-40B4-BE49-F238E27FC236}">
                    <a16:creationId xmlns:a16="http://schemas.microsoft.com/office/drawing/2014/main" id="{E772B97D-6143-8B5B-B015-8A380D39B0B8}"/>
                  </a:ext>
                </a:extLst>
              </p:cNvPr>
              <p:cNvSpPr/>
              <p:nvPr/>
            </p:nvSpPr>
            <p:spPr>
              <a:xfrm>
                <a:off x="5086301" y="2709728"/>
                <a:ext cx="17647" cy="56735"/>
              </a:xfrm>
              <a:custGeom>
                <a:avLst/>
                <a:gdLst>
                  <a:gd name="connsiteX0" fmla="*/ 0 w 17647"/>
                  <a:gd name="connsiteY0" fmla="*/ 0 h 56735"/>
                  <a:gd name="connsiteX1" fmla="*/ 0 w 17647"/>
                  <a:gd name="connsiteY1" fmla="*/ 56735 h 56735"/>
                </a:gdLst>
                <a:ahLst/>
                <a:cxnLst>
                  <a:cxn ang="0">
                    <a:pos x="connsiteX0" y="connsiteY0"/>
                  </a:cxn>
                  <a:cxn ang="0">
                    <a:pos x="connsiteX1" y="connsiteY1"/>
                  </a:cxn>
                </a:cxnLst>
                <a:rect l="l" t="t" r="r" b="b"/>
                <a:pathLst>
                  <a:path w="17647" h="56735">
                    <a:moveTo>
                      <a:pt x="0" y="0"/>
                    </a:moveTo>
                    <a:lnTo>
                      <a:pt x="0" y="56735"/>
                    </a:lnTo>
                  </a:path>
                </a:pathLst>
              </a:custGeom>
              <a:ln w="9624" cap="sq">
                <a:solidFill>
                  <a:srgbClr val="27377D"/>
                </a:solidFill>
                <a:prstDash val="solid"/>
                <a:miter/>
              </a:ln>
            </p:spPr>
            <p:txBody>
              <a:bodyPr rtlCol="0" anchor="ctr"/>
              <a:lstStyle/>
              <a:p>
                <a:endParaRPr lang="en-US" sz="1800" dirty="0"/>
              </a:p>
            </p:txBody>
          </p:sp>
          <p:sp>
            <p:nvSpPr>
              <p:cNvPr id="2537" name="Freeform 392">
                <a:extLst>
                  <a:ext uri="{FF2B5EF4-FFF2-40B4-BE49-F238E27FC236}">
                    <a16:creationId xmlns:a16="http://schemas.microsoft.com/office/drawing/2014/main" id="{EA83CFD2-EEB4-27DA-7E7D-98D2466DE249}"/>
                  </a:ext>
                </a:extLst>
              </p:cNvPr>
              <p:cNvSpPr/>
              <p:nvPr/>
            </p:nvSpPr>
            <p:spPr>
              <a:xfrm>
                <a:off x="5068654" y="2749946"/>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538" name="Freeform 393">
                <a:extLst>
                  <a:ext uri="{FF2B5EF4-FFF2-40B4-BE49-F238E27FC236}">
                    <a16:creationId xmlns:a16="http://schemas.microsoft.com/office/drawing/2014/main" id="{D2B5D82F-04F3-BA66-2088-7665FB900CC1}"/>
                  </a:ext>
                </a:extLst>
              </p:cNvPr>
              <p:cNvSpPr/>
              <p:nvPr/>
            </p:nvSpPr>
            <p:spPr>
              <a:xfrm>
                <a:off x="5098071" y="2721587"/>
                <a:ext cx="17647" cy="56735"/>
              </a:xfrm>
              <a:custGeom>
                <a:avLst/>
                <a:gdLst>
                  <a:gd name="connsiteX0" fmla="*/ 0 w 17647"/>
                  <a:gd name="connsiteY0" fmla="*/ 0 h 56735"/>
                  <a:gd name="connsiteX1" fmla="*/ 0 w 17647"/>
                  <a:gd name="connsiteY1" fmla="*/ 56735 h 56735"/>
                </a:gdLst>
                <a:ahLst/>
                <a:cxnLst>
                  <a:cxn ang="0">
                    <a:pos x="connsiteX0" y="connsiteY0"/>
                  </a:cxn>
                  <a:cxn ang="0">
                    <a:pos x="connsiteX1" y="connsiteY1"/>
                  </a:cxn>
                </a:cxnLst>
                <a:rect l="l" t="t" r="r" b="b"/>
                <a:pathLst>
                  <a:path w="17647" h="56735">
                    <a:moveTo>
                      <a:pt x="0" y="0"/>
                    </a:moveTo>
                    <a:lnTo>
                      <a:pt x="0" y="56735"/>
                    </a:lnTo>
                  </a:path>
                </a:pathLst>
              </a:custGeom>
              <a:ln w="9624" cap="sq">
                <a:solidFill>
                  <a:srgbClr val="27377D"/>
                </a:solidFill>
                <a:prstDash val="solid"/>
                <a:miter/>
              </a:ln>
            </p:spPr>
            <p:txBody>
              <a:bodyPr rtlCol="0" anchor="ctr"/>
              <a:lstStyle/>
              <a:p>
                <a:endParaRPr lang="en-US" sz="1800" dirty="0"/>
              </a:p>
            </p:txBody>
          </p:sp>
          <p:sp>
            <p:nvSpPr>
              <p:cNvPr id="2539" name="Freeform 394">
                <a:extLst>
                  <a:ext uri="{FF2B5EF4-FFF2-40B4-BE49-F238E27FC236}">
                    <a16:creationId xmlns:a16="http://schemas.microsoft.com/office/drawing/2014/main" id="{4B44D064-0FF3-9769-2378-7EA89FC2E15A}"/>
                  </a:ext>
                </a:extLst>
              </p:cNvPr>
              <p:cNvSpPr/>
              <p:nvPr/>
            </p:nvSpPr>
            <p:spPr>
              <a:xfrm>
                <a:off x="5103966" y="2773663"/>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540" name="Freeform 395">
                <a:extLst>
                  <a:ext uri="{FF2B5EF4-FFF2-40B4-BE49-F238E27FC236}">
                    <a16:creationId xmlns:a16="http://schemas.microsoft.com/office/drawing/2014/main" id="{6B13FD59-8EC2-E4BF-7D5B-E631B96CD3AF}"/>
                  </a:ext>
                </a:extLst>
              </p:cNvPr>
              <p:cNvSpPr/>
              <p:nvPr/>
            </p:nvSpPr>
            <p:spPr>
              <a:xfrm>
                <a:off x="5133383" y="2745287"/>
                <a:ext cx="17647" cy="56735"/>
              </a:xfrm>
              <a:custGeom>
                <a:avLst/>
                <a:gdLst>
                  <a:gd name="connsiteX0" fmla="*/ 0 w 17647"/>
                  <a:gd name="connsiteY0" fmla="*/ 0 h 56735"/>
                  <a:gd name="connsiteX1" fmla="*/ 0 w 17647"/>
                  <a:gd name="connsiteY1" fmla="*/ 56735 h 56735"/>
                </a:gdLst>
                <a:ahLst/>
                <a:cxnLst>
                  <a:cxn ang="0">
                    <a:pos x="connsiteX0" y="connsiteY0"/>
                  </a:cxn>
                  <a:cxn ang="0">
                    <a:pos x="connsiteX1" y="connsiteY1"/>
                  </a:cxn>
                </a:cxnLst>
                <a:rect l="l" t="t" r="r" b="b"/>
                <a:pathLst>
                  <a:path w="17647" h="56735">
                    <a:moveTo>
                      <a:pt x="0" y="0"/>
                    </a:moveTo>
                    <a:lnTo>
                      <a:pt x="0" y="56735"/>
                    </a:lnTo>
                  </a:path>
                </a:pathLst>
              </a:custGeom>
              <a:ln w="9624" cap="sq">
                <a:solidFill>
                  <a:srgbClr val="27377D"/>
                </a:solidFill>
                <a:prstDash val="solid"/>
                <a:miter/>
              </a:ln>
            </p:spPr>
            <p:txBody>
              <a:bodyPr rtlCol="0" anchor="ctr"/>
              <a:lstStyle/>
              <a:p>
                <a:endParaRPr lang="en-US" sz="1800" dirty="0"/>
              </a:p>
            </p:txBody>
          </p:sp>
          <p:sp>
            <p:nvSpPr>
              <p:cNvPr id="2541" name="Freeform 396">
                <a:extLst>
                  <a:ext uri="{FF2B5EF4-FFF2-40B4-BE49-F238E27FC236}">
                    <a16:creationId xmlns:a16="http://schemas.microsoft.com/office/drawing/2014/main" id="{AAC69406-A547-66C3-805A-A2A4A1A87819}"/>
                  </a:ext>
                </a:extLst>
              </p:cNvPr>
              <p:cNvSpPr/>
              <p:nvPr/>
            </p:nvSpPr>
            <p:spPr>
              <a:xfrm>
                <a:off x="5127489" y="2785769"/>
                <a:ext cx="58852" cy="17647"/>
              </a:xfrm>
              <a:custGeom>
                <a:avLst/>
                <a:gdLst>
                  <a:gd name="connsiteX0" fmla="*/ 0 w 58852"/>
                  <a:gd name="connsiteY0" fmla="*/ 0 h 17647"/>
                  <a:gd name="connsiteX1" fmla="*/ 58853 w 58852"/>
                  <a:gd name="connsiteY1" fmla="*/ 0 h 17647"/>
                </a:gdLst>
                <a:ahLst/>
                <a:cxnLst>
                  <a:cxn ang="0">
                    <a:pos x="connsiteX0" y="connsiteY0"/>
                  </a:cxn>
                  <a:cxn ang="0">
                    <a:pos x="connsiteX1" y="connsiteY1"/>
                  </a:cxn>
                </a:cxnLst>
                <a:rect l="l" t="t" r="r" b="b"/>
                <a:pathLst>
                  <a:path w="58852" h="17647">
                    <a:moveTo>
                      <a:pt x="0" y="0"/>
                    </a:moveTo>
                    <a:lnTo>
                      <a:pt x="58853" y="0"/>
                    </a:lnTo>
                  </a:path>
                </a:pathLst>
              </a:custGeom>
              <a:ln w="9624" cap="sq">
                <a:solidFill>
                  <a:srgbClr val="27377D"/>
                </a:solidFill>
                <a:prstDash val="solid"/>
                <a:miter/>
              </a:ln>
            </p:spPr>
            <p:txBody>
              <a:bodyPr rtlCol="0" anchor="ctr"/>
              <a:lstStyle/>
              <a:p>
                <a:endParaRPr lang="en-US" sz="1800" dirty="0"/>
              </a:p>
            </p:txBody>
          </p:sp>
          <p:sp>
            <p:nvSpPr>
              <p:cNvPr id="2542" name="Freeform 397">
                <a:extLst>
                  <a:ext uri="{FF2B5EF4-FFF2-40B4-BE49-F238E27FC236}">
                    <a16:creationId xmlns:a16="http://schemas.microsoft.com/office/drawing/2014/main" id="{BB1F86BA-6F57-ED91-30C0-924A9B18C457}"/>
                  </a:ext>
                </a:extLst>
              </p:cNvPr>
              <p:cNvSpPr/>
              <p:nvPr/>
            </p:nvSpPr>
            <p:spPr>
              <a:xfrm>
                <a:off x="5156924" y="2757393"/>
                <a:ext cx="17647" cy="56735"/>
              </a:xfrm>
              <a:custGeom>
                <a:avLst/>
                <a:gdLst>
                  <a:gd name="connsiteX0" fmla="*/ 0 w 17647"/>
                  <a:gd name="connsiteY0" fmla="*/ 0 h 56735"/>
                  <a:gd name="connsiteX1" fmla="*/ 0 w 17647"/>
                  <a:gd name="connsiteY1" fmla="*/ 56735 h 56735"/>
                </a:gdLst>
                <a:ahLst/>
                <a:cxnLst>
                  <a:cxn ang="0">
                    <a:pos x="connsiteX0" y="connsiteY0"/>
                  </a:cxn>
                  <a:cxn ang="0">
                    <a:pos x="connsiteX1" y="connsiteY1"/>
                  </a:cxn>
                </a:cxnLst>
                <a:rect l="l" t="t" r="r" b="b"/>
                <a:pathLst>
                  <a:path w="17647" h="56735">
                    <a:moveTo>
                      <a:pt x="0" y="0"/>
                    </a:moveTo>
                    <a:lnTo>
                      <a:pt x="0" y="56735"/>
                    </a:lnTo>
                  </a:path>
                </a:pathLst>
              </a:custGeom>
              <a:ln w="9624" cap="sq">
                <a:solidFill>
                  <a:srgbClr val="27377D"/>
                </a:solidFill>
                <a:prstDash val="solid"/>
                <a:miter/>
              </a:ln>
            </p:spPr>
            <p:txBody>
              <a:bodyPr rtlCol="0" anchor="ctr"/>
              <a:lstStyle/>
              <a:p>
                <a:endParaRPr lang="en-US" sz="1800" dirty="0"/>
              </a:p>
            </p:txBody>
          </p:sp>
          <p:sp>
            <p:nvSpPr>
              <p:cNvPr id="2543" name="Freeform 398">
                <a:extLst>
                  <a:ext uri="{FF2B5EF4-FFF2-40B4-BE49-F238E27FC236}">
                    <a16:creationId xmlns:a16="http://schemas.microsoft.com/office/drawing/2014/main" id="{890E700A-4E68-0F00-FF3B-D0119E54203D}"/>
                  </a:ext>
                </a:extLst>
              </p:cNvPr>
              <p:cNvSpPr/>
              <p:nvPr/>
            </p:nvSpPr>
            <p:spPr>
              <a:xfrm>
                <a:off x="5133383" y="2785769"/>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544" name="Freeform 399">
                <a:extLst>
                  <a:ext uri="{FF2B5EF4-FFF2-40B4-BE49-F238E27FC236}">
                    <a16:creationId xmlns:a16="http://schemas.microsoft.com/office/drawing/2014/main" id="{3B2366A9-2480-AC01-832E-352609492609}"/>
                  </a:ext>
                </a:extLst>
              </p:cNvPr>
              <p:cNvSpPr/>
              <p:nvPr/>
            </p:nvSpPr>
            <p:spPr>
              <a:xfrm>
                <a:off x="5162801" y="2757393"/>
                <a:ext cx="17647" cy="56735"/>
              </a:xfrm>
              <a:custGeom>
                <a:avLst/>
                <a:gdLst>
                  <a:gd name="connsiteX0" fmla="*/ 0 w 17647"/>
                  <a:gd name="connsiteY0" fmla="*/ 0 h 56735"/>
                  <a:gd name="connsiteX1" fmla="*/ 0 w 17647"/>
                  <a:gd name="connsiteY1" fmla="*/ 56735 h 56735"/>
                </a:gdLst>
                <a:ahLst/>
                <a:cxnLst>
                  <a:cxn ang="0">
                    <a:pos x="connsiteX0" y="connsiteY0"/>
                  </a:cxn>
                  <a:cxn ang="0">
                    <a:pos x="connsiteX1" y="connsiteY1"/>
                  </a:cxn>
                </a:cxnLst>
                <a:rect l="l" t="t" r="r" b="b"/>
                <a:pathLst>
                  <a:path w="17647" h="56735">
                    <a:moveTo>
                      <a:pt x="0" y="0"/>
                    </a:moveTo>
                    <a:lnTo>
                      <a:pt x="0" y="56735"/>
                    </a:lnTo>
                  </a:path>
                </a:pathLst>
              </a:custGeom>
              <a:ln w="9624" cap="sq">
                <a:solidFill>
                  <a:srgbClr val="27377D"/>
                </a:solidFill>
                <a:prstDash val="solid"/>
                <a:miter/>
              </a:ln>
            </p:spPr>
            <p:txBody>
              <a:bodyPr rtlCol="0" anchor="ctr"/>
              <a:lstStyle/>
              <a:p>
                <a:endParaRPr lang="en-US" sz="1800" dirty="0"/>
              </a:p>
            </p:txBody>
          </p:sp>
          <p:sp>
            <p:nvSpPr>
              <p:cNvPr id="2545" name="Freeform 400">
                <a:extLst>
                  <a:ext uri="{FF2B5EF4-FFF2-40B4-BE49-F238E27FC236}">
                    <a16:creationId xmlns:a16="http://schemas.microsoft.com/office/drawing/2014/main" id="{D96E1B1A-DEC1-7409-4023-63A5B2638551}"/>
                  </a:ext>
                </a:extLst>
              </p:cNvPr>
              <p:cNvSpPr/>
              <p:nvPr/>
            </p:nvSpPr>
            <p:spPr>
              <a:xfrm>
                <a:off x="5174695" y="2809981"/>
                <a:ext cx="58852" cy="17647"/>
              </a:xfrm>
              <a:custGeom>
                <a:avLst/>
                <a:gdLst>
                  <a:gd name="connsiteX0" fmla="*/ 0 w 58852"/>
                  <a:gd name="connsiteY0" fmla="*/ 0 h 17647"/>
                  <a:gd name="connsiteX1" fmla="*/ 58853 w 58852"/>
                  <a:gd name="connsiteY1" fmla="*/ 0 h 17647"/>
                </a:gdLst>
                <a:ahLst/>
                <a:cxnLst>
                  <a:cxn ang="0">
                    <a:pos x="connsiteX0" y="connsiteY0"/>
                  </a:cxn>
                  <a:cxn ang="0">
                    <a:pos x="connsiteX1" y="connsiteY1"/>
                  </a:cxn>
                </a:cxnLst>
                <a:rect l="l" t="t" r="r" b="b"/>
                <a:pathLst>
                  <a:path w="58852" h="17647">
                    <a:moveTo>
                      <a:pt x="0" y="0"/>
                    </a:moveTo>
                    <a:lnTo>
                      <a:pt x="58853" y="0"/>
                    </a:lnTo>
                  </a:path>
                </a:pathLst>
              </a:custGeom>
              <a:ln w="9624" cap="sq">
                <a:solidFill>
                  <a:srgbClr val="27377D"/>
                </a:solidFill>
                <a:prstDash val="solid"/>
                <a:miter/>
              </a:ln>
            </p:spPr>
            <p:txBody>
              <a:bodyPr rtlCol="0" anchor="ctr"/>
              <a:lstStyle/>
              <a:p>
                <a:endParaRPr lang="en-US" sz="1800" dirty="0"/>
              </a:p>
            </p:txBody>
          </p:sp>
          <p:sp>
            <p:nvSpPr>
              <p:cNvPr id="2546" name="Freeform 401">
                <a:extLst>
                  <a:ext uri="{FF2B5EF4-FFF2-40B4-BE49-F238E27FC236}">
                    <a16:creationId xmlns:a16="http://schemas.microsoft.com/office/drawing/2014/main" id="{215C1884-3E58-44EC-C32F-1E22F746DDCC}"/>
                  </a:ext>
                </a:extLst>
              </p:cNvPr>
              <p:cNvSpPr/>
              <p:nvPr/>
            </p:nvSpPr>
            <p:spPr>
              <a:xfrm>
                <a:off x="5204112" y="2781604"/>
                <a:ext cx="17647" cy="56735"/>
              </a:xfrm>
              <a:custGeom>
                <a:avLst/>
                <a:gdLst>
                  <a:gd name="connsiteX0" fmla="*/ 0 w 17647"/>
                  <a:gd name="connsiteY0" fmla="*/ 0 h 56735"/>
                  <a:gd name="connsiteX1" fmla="*/ 0 w 17647"/>
                  <a:gd name="connsiteY1" fmla="*/ 56735 h 56735"/>
                </a:gdLst>
                <a:ahLst/>
                <a:cxnLst>
                  <a:cxn ang="0">
                    <a:pos x="connsiteX0" y="connsiteY0"/>
                  </a:cxn>
                  <a:cxn ang="0">
                    <a:pos x="connsiteX1" y="connsiteY1"/>
                  </a:cxn>
                </a:cxnLst>
                <a:rect l="l" t="t" r="r" b="b"/>
                <a:pathLst>
                  <a:path w="17647" h="56735">
                    <a:moveTo>
                      <a:pt x="0" y="0"/>
                    </a:moveTo>
                    <a:lnTo>
                      <a:pt x="0" y="56735"/>
                    </a:lnTo>
                  </a:path>
                </a:pathLst>
              </a:custGeom>
              <a:ln w="9624" cap="sq">
                <a:solidFill>
                  <a:srgbClr val="27377D"/>
                </a:solidFill>
                <a:prstDash val="solid"/>
                <a:miter/>
              </a:ln>
            </p:spPr>
            <p:txBody>
              <a:bodyPr rtlCol="0" anchor="ctr"/>
              <a:lstStyle/>
              <a:p>
                <a:endParaRPr lang="en-US" sz="1800" dirty="0"/>
              </a:p>
            </p:txBody>
          </p:sp>
          <p:sp>
            <p:nvSpPr>
              <p:cNvPr id="2547" name="Freeform 402">
                <a:extLst>
                  <a:ext uri="{FF2B5EF4-FFF2-40B4-BE49-F238E27FC236}">
                    <a16:creationId xmlns:a16="http://schemas.microsoft.com/office/drawing/2014/main" id="{59884BE8-DD09-2F6F-222B-3FAE595FBB13}"/>
                  </a:ext>
                </a:extLst>
              </p:cNvPr>
              <p:cNvSpPr/>
              <p:nvPr/>
            </p:nvSpPr>
            <p:spPr>
              <a:xfrm>
                <a:off x="5292506" y="2809981"/>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548" name="Freeform 403">
                <a:extLst>
                  <a:ext uri="{FF2B5EF4-FFF2-40B4-BE49-F238E27FC236}">
                    <a16:creationId xmlns:a16="http://schemas.microsoft.com/office/drawing/2014/main" id="{60085AEB-5079-7FD5-8961-794F1B179B5B}"/>
                  </a:ext>
                </a:extLst>
              </p:cNvPr>
              <p:cNvSpPr/>
              <p:nvPr/>
            </p:nvSpPr>
            <p:spPr>
              <a:xfrm>
                <a:off x="5321924" y="2781604"/>
                <a:ext cx="17647" cy="56735"/>
              </a:xfrm>
              <a:custGeom>
                <a:avLst/>
                <a:gdLst>
                  <a:gd name="connsiteX0" fmla="*/ 0 w 17647"/>
                  <a:gd name="connsiteY0" fmla="*/ 0 h 56735"/>
                  <a:gd name="connsiteX1" fmla="*/ 0 w 17647"/>
                  <a:gd name="connsiteY1" fmla="*/ 56735 h 56735"/>
                </a:gdLst>
                <a:ahLst/>
                <a:cxnLst>
                  <a:cxn ang="0">
                    <a:pos x="connsiteX0" y="connsiteY0"/>
                  </a:cxn>
                  <a:cxn ang="0">
                    <a:pos x="connsiteX1" y="connsiteY1"/>
                  </a:cxn>
                </a:cxnLst>
                <a:rect l="l" t="t" r="r" b="b"/>
                <a:pathLst>
                  <a:path w="17647" h="56735">
                    <a:moveTo>
                      <a:pt x="0" y="0"/>
                    </a:moveTo>
                    <a:lnTo>
                      <a:pt x="0" y="56735"/>
                    </a:lnTo>
                  </a:path>
                </a:pathLst>
              </a:custGeom>
              <a:ln w="9624" cap="sq">
                <a:solidFill>
                  <a:srgbClr val="27377D"/>
                </a:solidFill>
                <a:prstDash val="solid"/>
                <a:miter/>
              </a:ln>
            </p:spPr>
            <p:txBody>
              <a:bodyPr rtlCol="0" anchor="ctr"/>
              <a:lstStyle/>
              <a:p>
                <a:endParaRPr lang="en-US" sz="1800" dirty="0"/>
              </a:p>
            </p:txBody>
          </p:sp>
          <p:sp>
            <p:nvSpPr>
              <p:cNvPr id="2549" name="Freeform 404">
                <a:extLst>
                  <a:ext uri="{FF2B5EF4-FFF2-40B4-BE49-F238E27FC236}">
                    <a16:creationId xmlns:a16="http://schemas.microsoft.com/office/drawing/2014/main" id="{1629400B-2929-EDA4-43FB-EF0565DED0C5}"/>
                  </a:ext>
                </a:extLst>
              </p:cNvPr>
              <p:cNvSpPr/>
              <p:nvPr/>
            </p:nvSpPr>
            <p:spPr>
              <a:xfrm>
                <a:off x="5298401" y="2809981"/>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550" name="Freeform 405">
                <a:extLst>
                  <a:ext uri="{FF2B5EF4-FFF2-40B4-BE49-F238E27FC236}">
                    <a16:creationId xmlns:a16="http://schemas.microsoft.com/office/drawing/2014/main" id="{F0FAF403-4851-6E9C-18C3-188EA6B4D770}"/>
                  </a:ext>
                </a:extLst>
              </p:cNvPr>
              <p:cNvSpPr/>
              <p:nvPr/>
            </p:nvSpPr>
            <p:spPr>
              <a:xfrm>
                <a:off x="5327818" y="2781604"/>
                <a:ext cx="17647" cy="56735"/>
              </a:xfrm>
              <a:custGeom>
                <a:avLst/>
                <a:gdLst>
                  <a:gd name="connsiteX0" fmla="*/ 0 w 17647"/>
                  <a:gd name="connsiteY0" fmla="*/ 0 h 56735"/>
                  <a:gd name="connsiteX1" fmla="*/ 0 w 17647"/>
                  <a:gd name="connsiteY1" fmla="*/ 56735 h 56735"/>
                </a:gdLst>
                <a:ahLst/>
                <a:cxnLst>
                  <a:cxn ang="0">
                    <a:pos x="connsiteX0" y="connsiteY0"/>
                  </a:cxn>
                  <a:cxn ang="0">
                    <a:pos x="connsiteX1" y="connsiteY1"/>
                  </a:cxn>
                </a:cxnLst>
                <a:rect l="l" t="t" r="r" b="b"/>
                <a:pathLst>
                  <a:path w="17647" h="56735">
                    <a:moveTo>
                      <a:pt x="0" y="0"/>
                    </a:moveTo>
                    <a:lnTo>
                      <a:pt x="0" y="56735"/>
                    </a:lnTo>
                  </a:path>
                </a:pathLst>
              </a:custGeom>
              <a:ln w="9624" cap="sq">
                <a:solidFill>
                  <a:srgbClr val="27377D"/>
                </a:solidFill>
                <a:prstDash val="solid"/>
                <a:miter/>
              </a:ln>
            </p:spPr>
            <p:txBody>
              <a:bodyPr rtlCol="0" anchor="ctr"/>
              <a:lstStyle/>
              <a:p>
                <a:endParaRPr lang="en-US" sz="1800" dirty="0"/>
              </a:p>
            </p:txBody>
          </p:sp>
          <p:sp>
            <p:nvSpPr>
              <p:cNvPr id="2551" name="Freeform 406">
                <a:extLst>
                  <a:ext uri="{FF2B5EF4-FFF2-40B4-BE49-F238E27FC236}">
                    <a16:creationId xmlns:a16="http://schemas.microsoft.com/office/drawing/2014/main" id="{AE427812-F9E9-F8D3-4404-290F62C808DF}"/>
                  </a:ext>
                </a:extLst>
              </p:cNvPr>
              <p:cNvSpPr/>
              <p:nvPr/>
            </p:nvSpPr>
            <p:spPr>
              <a:xfrm>
                <a:off x="5380900" y="2847181"/>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552" name="Freeform 407">
                <a:extLst>
                  <a:ext uri="{FF2B5EF4-FFF2-40B4-BE49-F238E27FC236}">
                    <a16:creationId xmlns:a16="http://schemas.microsoft.com/office/drawing/2014/main" id="{E2B775FD-C39B-C983-5FCF-68776A21C233}"/>
                  </a:ext>
                </a:extLst>
              </p:cNvPr>
              <p:cNvSpPr/>
              <p:nvPr/>
            </p:nvSpPr>
            <p:spPr>
              <a:xfrm>
                <a:off x="5410318" y="2818804"/>
                <a:ext cx="17647" cy="56735"/>
              </a:xfrm>
              <a:custGeom>
                <a:avLst/>
                <a:gdLst>
                  <a:gd name="connsiteX0" fmla="*/ 0 w 17647"/>
                  <a:gd name="connsiteY0" fmla="*/ 0 h 56735"/>
                  <a:gd name="connsiteX1" fmla="*/ 0 w 17647"/>
                  <a:gd name="connsiteY1" fmla="*/ 56735 h 56735"/>
                </a:gdLst>
                <a:ahLst/>
                <a:cxnLst>
                  <a:cxn ang="0">
                    <a:pos x="connsiteX0" y="connsiteY0"/>
                  </a:cxn>
                  <a:cxn ang="0">
                    <a:pos x="connsiteX1" y="connsiteY1"/>
                  </a:cxn>
                </a:cxnLst>
                <a:rect l="l" t="t" r="r" b="b"/>
                <a:pathLst>
                  <a:path w="17647" h="56735">
                    <a:moveTo>
                      <a:pt x="0" y="0"/>
                    </a:moveTo>
                    <a:lnTo>
                      <a:pt x="0" y="56735"/>
                    </a:lnTo>
                  </a:path>
                </a:pathLst>
              </a:custGeom>
              <a:ln w="9624" cap="sq">
                <a:solidFill>
                  <a:srgbClr val="27377D"/>
                </a:solidFill>
                <a:prstDash val="solid"/>
                <a:miter/>
              </a:ln>
            </p:spPr>
            <p:txBody>
              <a:bodyPr rtlCol="0" anchor="ctr"/>
              <a:lstStyle/>
              <a:p>
                <a:endParaRPr lang="en-US" sz="1800" dirty="0"/>
              </a:p>
            </p:txBody>
          </p:sp>
          <p:sp>
            <p:nvSpPr>
              <p:cNvPr id="2553" name="Freeform 408">
                <a:extLst>
                  <a:ext uri="{FF2B5EF4-FFF2-40B4-BE49-F238E27FC236}">
                    <a16:creationId xmlns:a16="http://schemas.microsoft.com/office/drawing/2014/main" id="{051A9E3F-4DB2-78C1-F6F0-812EA18777A9}"/>
                  </a:ext>
                </a:extLst>
              </p:cNvPr>
              <p:cNvSpPr/>
              <p:nvPr/>
            </p:nvSpPr>
            <p:spPr>
              <a:xfrm>
                <a:off x="5392671" y="2859657"/>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554" name="Freeform 409">
                <a:extLst>
                  <a:ext uri="{FF2B5EF4-FFF2-40B4-BE49-F238E27FC236}">
                    <a16:creationId xmlns:a16="http://schemas.microsoft.com/office/drawing/2014/main" id="{431D1C2C-77DA-9670-108F-79331D874314}"/>
                  </a:ext>
                </a:extLst>
              </p:cNvPr>
              <p:cNvSpPr/>
              <p:nvPr/>
            </p:nvSpPr>
            <p:spPr>
              <a:xfrm>
                <a:off x="5422089" y="2831281"/>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555" name="Freeform 410">
                <a:extLst>
                  <a:ext uri="{FF2B5EF4-FFF2-40B4-BE49-F238E27FC236}">
                    <a16:creationId xmlns:a16="http://schemas.microsoft.com/office/drawing/2014/main" id="{DA3CA404-01E7-C5BA-A176-4AFCBF187E22}"/>
                  </a:ext>
                </a:extLst>
              </p:cNvPr>
              <p:cNvSpPr/>
              <p:nvPr/>
            </p:nvSpPr>
            <p:spPr>
              <a:xfrm>
                <a:off x="5569318" y="2909845"/>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556" name="Freeform 411">
                <a:extLst>
                  <a:ext uri="{FF2B5EF4-FFF2-40B4-BE49-F238E27FC236}">
                    <a16:creationId xmlns:a16="http://schemas.microsoft.com/office/drawing/2014/main" id="{FB39C648-75B5-2F69-73C1-A468A7556DE2}"/>
                  </a:ext>
                </a:extLst>
              </p:cNvPr>
              <p:cNvSpPr/>
              <p:nvPr/>
            </p:nvSpPr>
            <p:spPr>
              <a:xfrm>
                <a:off x="5598735" y="2881469"/>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557" name="Freeform 412">
                <a:extLst>
                  <a:ext uri="{FF2B5EF4-FFF2-40B4-BE49-F238E27FC236}">
                    <a16:creationId xmlns:a16="http://schemas.microsoft.com/office/drawing/2014/main" id="{7BC9A6C3-03EA-FAB3-408C-8CEE8913ED59}"/>
                  </a:ext>
                </a:extLst>
              </p:cNvPr>
              <p:cNvSpPr/>
              <p:nvPr/>
            </p:nvSpPr>
            <p:spPr>
              <a:xfrm>
                <a:off x="5581212" y="2935186"/>
                <a:ext cx="58852" cy="17647"/>
              </a:xfrm>
              <a:custGeom>
                <a:avLst/>
                <a:gdLst>
                  <a:gd name="connsiteX0" fmla="*/ 0 w 58852"/>
                  <a:gd name="connsiteY0" fmla="*/ 0 h 17647"/>
                  <a:gd name="connsiteX1" fmla="*/ 58853 w 58852"/>
                  <a:gd name="connsiteY1" fmla="*/ 0 h 17647"/>
                </a:gdLst>
                <a:ahLst/>
                <a:cxnLst>
                  <a:cxn ang="0">
                    <a:pos x="connsiteX0" y="connsiteY0"/>
                  </a:cxn>
                  <a:cxn ang="0">
                    <a:pos x="connsiteX1" y="connsiteY1"/>
                  </a:cxn>
                </a:cxnLst>
                <a:rect l="l" t="t" r="r" b="b"/>
                <a:pathLst>
                  <a:path w="58852" h="17647">
                    <a:moveTo>
                      <a:pt x="0" y="0"/>
                    </a:moveTo>
                    <a:lnTo>
                      <a:pt x="58853" y="0"/>
                    </a:lnTo>
                  </a:path>
                </a:pathLst>
              </a:custGeom>
              <a:ln w="9624" cap="sq">
                <a:solidFill>
                  <a:srgbClr val="27377D"/>
                </a:solidFill>
                <a:prstDash val="solid"/>
                <a:miter/>
              </a:ln>
            </p:spPr>
            <p:txBody>
              <a:bodyPr rtlCol="0" anchor="ctr"/>
              <a:lstStyle/>
              <a:p>
                <a:endParaRPr lang="en-US" sz="1800" dirty="0"/>
              </a:p>
            </p:txBody>
          </p:sp>
          <p:sp>
            <p:nvSpPr>
              <p:cNvPr id="2558" name="Freeform 413">
                <a:extLst>
                  <a:ext uri="{FF2B5EF4-FFF2-40B4-BE49-F238E27FC236}">
                    <a16:creationId xmlns:a16="http://schemas.microsoft.com/office/drawing/2014/main" id="{90A734AE-03CE-9EF3-8C0E-659860A1B909}"/>
                  </a:ext>
                </a:extLst>
              </p:cNvPr>
              <p:cNvSpPr/>
              <p:nvPr/>
            </p:nvSpPr>
            <p:spPr>
              <a:xfrm>
                <a:off x="5610647" y="2906828"/>
                <a:ext cx="17647" cy="56735"/>
              </a:xfrm>
              <a:custGeom>
                <a:avLst/>
                <a:gdLst>
                  <a:gd name="connsiteX0" fmla="*/ 0 w 17647"/>
                  <a:gd name="connsiteY0" fmla="*/ 0 h 56735"/>
                  <a:gd name="connsiteX1" fmla="*/ 0 w 17647"/>
                  <a:gd name="connsiteY1" fmla="*/ 56735 h 56735"/>
                </a:gdLst>
                <a:ahLst/>
                <a:cxnLst>
                  <a:cxn ang="0">
                    <a:pos x="connsiteX0" y="connsiteY0"/>
                  </a:cxn>
                  <a:cxn ang="0">
                    <a:pos x="connsiteX1" y="connsiteY1"/>
                  </a:cxn>
                </a:cxnLst>
                <a:rect l="l" t="t" r="r" b="b"/>
                <a:pathLst>
                  <a:path w="17647" h="56735">
                    <a:moveTo>
                      <a:pt x="0" y="0"/>
                    </a:moveTo>
                    <a:lnTo>
                      <a:pt x="0" y="56735"/>
                    </a:lnTo>
                  </a:path>
                </a:pathLst>
              </a:custGeom>
              <a:ln w="9624" cap="sq">
                <a:solidFill>
                  <a:srgbClr val="27377D"/>
                </a:solidFill>
                <a:prstDash val="solid"/>
                <a:miter/>
              </a:ln>
            </p:spPr>
            <p:txBody>
              <a:bodyPr rtlCol="0" anchor="ctr"/>
              <a:lstStyle/>
              <a:p>
                <a:endParaRPr lang="en-US" sz="1800" dirty="0"/>
              </a:p>
            </p:txBody>
          </p:sp>
          <p:sp>
            <p:nvSpPr>
              <p:cNvPr id="2559" name="Freeform 414">
                <a:extLst>
                  <a:ext uri="{FF2B5EF4-FFF2-40B4-BE49-F238E27FC236}">
                    <a16:creationId xmlns:a16="http://schemas.microsoft.com/office/drawing/2014/main" id="{3725ACFA-2547-A2F6-0BD9-40981D834001}"/>
                  </a:ext>
                </a:extLst>
              </p:cNvPr>
              <p:cNvSpPr/>
              <p:nvPr/>
            </p:nvSpPr>
            <p:spPr>
              <a:xfrm>
                <a:off x="5587106" y="2935186"/>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560" name="Freeform 415">
                <a:extLst>
                  <a:ext uri="{FF2B5EF4-FFF2-40B4-BE49-F238E27FC236}">
                    <a16:creationId xmlns:a16="http://schemas.microsoft.com/office/drawing/2014/main" id="{378055BF-5E88-D846-08D4-2561D6499974}"/>
                  </a:ext>
                </a:extLst>
              </p:cNvPr>
              <p:cNvSpPr/>
              <p:nvPr/>
            </p:nvSpPr>
            <p:spPr>
              <a:xfrm>
                <a:off x="5616524" y="2906828"/>
                <a:ext cx="17647" cy="56735"/>
              </a:xfrm>
              <a:custGeom>
                <a:avLst/>
                <a:gdLst>
                  <a:gd name="connsiteX0" fmla="*/ 0 w 17647"/>
                  <a:gd name="connsiteY0" fmla="*/ 0 h 56735"/>
                  <a:gd name="connsiteX1" fmla="*/ 0 w 17647"/>
                  <a:gd name="connsiteY1" fmla="*/ 56735 h 56735"/>
                </a:gdLst>
                <a:ahLst/>
                <a:cxnLst>
                  <a:cxn ang="0">
                    <a:pos x="connsiteX0" y="connsiteY0"/>
                  </a:cxn>
                  <a:cxn ang="0">
                    <a:pos x="connsiteX1" y="connsiteY1"/>
                  </a:cxn>
                </a:cxnLst>
                <a:rect l="l" t="t" r="r" b="b"/>
                <a:pathLst>
                  <a:path w="17647" h="56735">
                    <a:moveTo>
                      <a:pt x="0" y="0"/>
                    </a:moveTo>
                    <a:lnTo>
                      <a:pt x="0" y="56735"/>
                    </a:lnTo>
                  </a:path>
                </a:pathLst>
              </a:custGeom>
              <a:ln w="9624" cap="sq">
                <a:solidFill>
                  <a:srgbClr val="27377D"/>
                </a:solidFill>
                <a:prstDash val="solid"/>
                <a:miter/>
              </a:ln>
            </p:spPr>
            <p:txBody>
              <a:bodyPr rtlCol="0" anchor="ctr"/>
              <a:lstStyle/>
              <a:p>
                <a:endParaRPr lang="en-US" sz="1800" dirty="0"/>
              </a:p>
            </p:txBody>
          </p:sp>
          <p:sp>
            <p:nvSpPr>
              <p:cNvPr id="2561" name="Freeform 416">
                <a:extLst>
                  <a:ext uri="{FF2B5EF4-FFF2-40B4-BE49-F238E27FC236}">
                    <a16:creationId xmlns:a16="http://schemas.microsoft.com/office/drawing/2014/main" id="{7B690FC8-6E8C-2E3D-960D-81EE6A7835C3}"/>
                  </a:ext>
                </a:extLst>
              </p:cNvPr>
              <p:cNvSpPr/>
              <p:nvPr/>
            </p:nvSpPr>
            <p:spPr>
              <a:xfrm>
                <a:off x="5592982" y="2948051"/>
                <a:ext cx="58852" cy="17647"/>
              </a:xfrm>
              <a:custGeom>
                <a:avLst/>
                <a:gdLst>
                  <a:gd name="connsiteX0" fmla="*/ 0 w 58852"/>
                  <a:gd name="connsiteY0" fmla="*/ 0 h 17647"/>
                  <a:gd name="connsiteX1" fmla="*/ 58853 w 58852"/>
                  <a:gd name="connsiteY1" fmla="*/ 0 h 17647"/>
                </a:gdLst>
                <a:ahLst/>
                <a:cxnLst>
                  <a:cxn ang="0">
                    <a:pos x="connsiteX0" y="connsiteY0"/>
                  </a:cxn>
                  <a:cxn ang="0">
                    <a:pos x="connsiteX1" y="connsiteY1"/>
                  </a:cxn>
                </a:cxnLst>
                <a:rect l="l" t="t" r="r" b="b"/>
                <a:pathLst>
                  <a:path w="58852" h="17647">
                    <a:moveTo>
                      <a:pt x="0" y="0"/>
                    </a:moveTo>
                    <a:lnTo>
                      <a:pt x="58853" y="0"/>
                    </a:lnTo>
                  </a:path>
                </a:pathLst>
              </a:custGeom>
              <a:ln w="9624" cap="sq">
                <a:solidFill>
                  <a:srgbClr val="27377D"/>
                </a:solidFill>
                <a:prstDash val="solid"/>
                <a:miter/>
              </a:ln>
            </p:spPr>
            <p:txBody>
              <a:bodyPr rtlCol="0" anchor="ctr"/>
              <a:lstStyle/>
              <a:p>
                <a:endParaRPr lang="en-US" sz="1800" dirty="0"/>
              </a:p>
            </p:txBody>
          </p:sp>
          <p:sp>
            <p:nvSpPr>
              <p:cNvPr id="2562" name="Freeform 417">
                <a:extLst>
                  <a:ext uri="{FF2B5EF4-FFF2-40B4-BE49-F238E27FC236}">
                    <a16:creationId xmlns:a16="http://schemas.microsoft.com/office/drawing/2014/main" id="{F84140D6-6305-20F4-7345-2032290EE350}"/>
                  </a:ext>
                </a:extLst>
              </p:cNvPr>
              <p:cNvSpPr/>
              <p:nvPr/>
            </p:nvSpPr>
            <p:spPr>
              <a:xfrm>
                <a:off x="5622400" y="2919692"/>
                <a:ext cx="17647" cy="56735"/>
              </a:xfrm>
              <a:custGeom>
                <a:avLst/>
                <a:gdLst>
                  <a:gd name="connsiteX0" fmla="*/ 0 w 17647"/>
                  <a:gd name="connsiteY0" fmla="*/ 0 h 56735"/>
                  <a:gd name="connsiteX1" fmla="*/ 0 w 17647"/>
                  <a:gd name="connsiteY1" fmla="*/ 56735 h 56735"/>
                </a:gdLst>
                <a:ahLst/>
                <a:cxnLst>
                  <a:cxn ang="0">
                    <a:pos x="connsiteX0" y="connsiteY0"/>
                  </a:cxn>
                  <a:cxn ang="0">
                    <a:pos x="connsiteX1" y="connsiteY1"/>
                  </a:cxn>
                </a:cxnLst>
                <a:rect l="l" t="t" r="r" b="b"/>
                <a:pathLst>
                  <a:path w="17647" h="56735">
                    <a:moveTo>
                      <a:pt x="0" y="0"/>
                    </a:moveTo>
                    <a:lnTo>
                      <a:pt x="0" y="56735"/>
                    </a:lnTo>
                  </a:path>
                </a:pathLst>
              </a:custGeom>
              <a:ln w="9624" cap="sq">
                <a:solidFill>
                  <a:srgbClr val="27377D"/>
                </a:solidFill>
                <a:prstDash val="solid"/>
                <a:miter/>
              </a:ln>
            </p:spPr>
            <p:txBody>
              <a:bodyPr rtlCol="0" anchor="ctr"/>
              <a:lstStyle/>
              <a:p>
                <a:endParaRPr lang="en-US" sz="1800" dirty="0"/>
              </a:p>
            </p:txBody>
          </p:sp>
          <p:sp>
            <p:nvSpPr>
              <p:cNvPr id="2563" name="Freeform 418">
                <a:extLst>
                  <a:ext uri="{FF2B5EF4-FFF2-40B4-BE49-F238E27FC236}">
                    <a16:creationId xmlns:a16="http://schemas.microsoft.com/office/drawing/2014/main" id="{844BBFE0-0F3D-D81C-20FF-9ECCE78EBE75}"/>
                  </a:ext>
                </a:extLst>
              </p:cNvPr>
              <p:cNvSpPr/>
              <p:nvPr/>
            </p:nvSpPr>
            <p:spPr>
              <a:xfrm>
                <a:off x="5592982" y="2948051"/>
                <a:ext cx="58852" cy="17647"/>
              </a:xfrm>
              <a:custGeom>
                <a:avLst/>
                <a:gdLst>
                  <a:gd name="connsiteX0" fmla="*/ 0 w 58852"/>
                  <a:gd name="connsiteY0" fmla="*/ 0 h 17647"/>
                  <a:gd name="connsiteX1" fmla="*/ 58853 w 58852"/>
                  <a:gd name="connsiteY1" fmla="*/ 0 h 17647"/>
                </a:gdLst>
                <a:ahLst/>
                <a:cxnLst>
                  <a:cxn ang="0">
                    <a:pos x="connsiteX0" y="connsiteY0"/>
                  </a:cxn>
                  <a:cxn ang="0">
                    <a:pos x="connsiteX1" y="connsiteY1"/>
                  </a:cxn>
                </a:cxnLst>
                <a:rect l="l" t="t" r="r" b="b"/>
                <a:pathLst>
                  <a:path w="58852" h="17647">
                    <a:moveTo>
                      <a:pt x="0" y="0"/>
                    </a:moveTo>
                    <a:lnTo>
                      <a:pt x="58853" y="0"/>
                    </a:lnTo>
                  </a:path>
                </a:pathLst>
              </a:custGeom>
              <a:ln w="9624" cap="sq">
                <a:solidFill>
                  <a:srgbClr val="27377D"/>
                </a:solidFill>
                <a:prstDash val="solid"/>
                <a:miter/>
              </a:ln>
            </p:spPr>
            <p:txBody>
              <a:bodyPr rtlCol="0" anchor="ctr"/>
              <a:lstStyle/>
              <a:p>
                <a:endParaRPr lang="en-US" sz="1800" dirty="0"/>
              </a:p>
            </p:txBody>
          </p:sp>
          <p:sp>
            <p:nvSpPr>
              <p:cNvPr id="2564" name="Freeform 419">
                <a:extLst>
                  <a:ext uri="{FF2B5EF4-FFF2-40B4-BE49-F238E27FC236}">
                    <a16:creationId xmlns:a16="http://schemas.microsoft.com/office/drawing/2014/main" id="{150B5008-6CED-1430-1495-83B8C74EA27F}"/>
                  </a:ext>
                </a:extLst>
              </p:cNvPr>
              <p:cNvSpPr/>
              <p:nvPr/>
            </p:nvSpPr>
            <p:spPr>
              <a:xfrm>
                <a:off x="5622400" y="2919692"/>
                <a:ext cx="17647" cy="56735"/>
              </a:xfrm>
              <a:custGeom>
                <a:avLst/>
                <a:gdLst>
                  <a:gd name="connsiteX0" fmla="*/ 0 w 17647"/>
                  <a:gd name="connsiteY0" fmla="*/ 0 h 56735"/>
                  <a:gd name="connsiteX1" fmla="*/ 0 w 17647"/>
                  <a:gd name="connsiteY1" fmla="*/ 56735 h 56735"/>
                </a:gdLst>
                <a:ahLst/>
                <a:cxnLst>
                  <a:cxn ang="0">
                    <a:pos x="connsiteX0" y="connsiteY0"/>
                  </a:cxn>
                  <a:cxn ang="0">
                    <a:pos x="connsiteX1" y="connsiteY1"/>
                  </a:cxn>
                </a:cxnLst>
                <a:rect l="l" t="t" r="r" b="b"/>
                <a:pathLst>
                  <a:path w="17647" h="56735">
                    <a:moveTo>
                      <a:pt x="0" y="0"/>
                    </a:moveTo>
                    <a:lnTo>
                      <a:pt x="0" y="56735"/>
                    </a:lnTo>
                  </a:path>
                </a:pathLst>
              </a:custGeom>
              <a:ln w="9624" cap="sq">
                <a:solidFill>
                  <a:srgbClr val="27377D"/>
                </a:solidFill>
                <a:prstDash val="solid"/>
                <a:miter/>
              </a:ln>
            </p:spPr>
            <p:txBody>
              <a:bodyPr rtlCol="0" anchor="ctr"/>
              <a:lstStyle/>
              <a:p>
                <a:endParaRPr lang="en-US" sz="1800" dirty="0"/>
              </a:p>
            </p:txBody>
          </p:sp>
          <p:sp>
            <p:nvSpPr>
              <p:cNvPr id="2565" name="Freeform 420">
                <a:extLst>
                  <a:ext uri="{FF2B5EF4-FFF2-40B4-BE49-F238E27FC236}">
                    <a16:creationId xmlns:a16="http://schemas.microsoft.com/office/drawing/2014/main" id="{3CDF686D-F4B1-F8DA-0848-A3159110B63A}"/>
                  </a:ext>
                </a:extLst>
              </p:cNvPr>
              <p:cNvSpPr/>
              <p:nvPr/>
            </p:nvSpPr>
            <p:spPr>
              <a:xfrm>
                <a:off x="5616524" y="2974151"/>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566" name="Freeform 421">
                <a:extLst>
                  <a:ext uri="{FF2B5EF4-FFF2-40B4-BE49-F238E27FC236}">
                    <a16:creationId xmlns:a16="http://schemas.microsoft.com/office/drawing/2014/main" id="{249AB097-869A-3211-3451-514C41E295B1}"/>
                  </a:ext>
                </a:extLst>
              </p:cNvPr>
              <p:cNvSpPr/>
              <p:nvPr/>
            </p:nvSpPr>
            <p:spPr>
              <a:xfrm>
                <a:off x="5645941" y="2945792"/>
                <a:ext cx="17647" cy="56735"/>
              </a:xfrm>
              <a:custGeom>
                <a:avLst/>
                <a:gdLst>
                  <a:gd name="connsiteX0" fmla="*/ 0 w 17647"/>
                  <a:gd name="connsiteY0" fmla="*/ 0 h 56735"/>
                  <a:gd name="connsiteX1" fmla="*/ 0 w 17647"/>
                  <a:gd name="connsiteY1" fmla="*/ 56735 h 56735"/>
                </a:gdLst>
                <a:ahLst/>
                <a:cxnLst>
                  <a:cxn ang="0">
                    <a:pos x="connsiteX0" y="connsiteY0"/>
                  </a:cxn>
                  <a:cxn ang="0">
                    <a:pos x="connsiteX1" y="connsiteY1"/>
                  </a:cxn>
                </a:cxnLst>
                <a:rect l="l" t="t" r="r" b="b"/>
                <a:pathLst>
                  <a:path w="17647" h="56735">
                    <a:moveTo>
                      <a:pt x="0" y="0"/>
                    </a:moveTo>
                    <a:lnTo>
                      <a:pt x="0" y="56735"/>
                    </a:lnTo>
                  </a:path>
                </a:pathLst>
              </a:custGeom>
              <a:ln w="9624" cap="sq">
                <a:solidFill>
                  <a:srgbClr val="27377D"/>
                </a:solidFill>
                <a:prstDash val="solid"/>
                <a:miter/>
              </a:ln>
            </p:spPr>
            <p:txBody>
              <a:bodyPr rtlCol="0" anchor="ctr"/>
              <a:lstStyle/>
              <a:p>
                <a:endParaRPr lang="en-US" sz="1800" dirty="0"/>
              </a:p>
            </p:txBody>
          </p:sp>
          <p:sp>
            <p:nvSpPr>
              <p:cNvPr id="2567" name="Freeform 422">
                <a:extLst>
                  <a:ext uri="{FF2B5EF4-FFF2-40B4-BE49-F238E27FC236}">
                    <a16:creationId xmlns:a16="http://schemas.microsoft.com/office/drawing/2014/main" id="{32A04904-4F2F-FE7B-138A-37D3C9B90C40}"/>
                  </a:ext>
                </a:extLst>
              </p:cNvPr>
              <p:cNvSpPr/>
              <p:nvPr/>
            </p:nvSpPr>
            <p:spPr>
              <a:xfrm>
                <a:off x="5616524" y="2974151"/>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568" name="Freeform 423">
                <a:extLst>
                  <a:ext uri="{FF2B5EF4-FFF2-40B4-BE49-F238E27FC236}">
                    <a16:creationId xmlns:a16="http://schemas.microsoft.com/office/drawing/2014/main" id="{06988B51-A774-BD97-EB34-48F70A59DE4E}"/>
                  </a:ext>
                </a:extLst>
              </p:cNvPr>
              <p:cNvSpPr/>
              <p:nvPr/>
            </p:nvSpPr>
            <p:spPr>
              <a:xfrm>
                <a:off x="5645941" y="2945792"/>
                <a:ext cx="17647" cy="56735"/>
              </a:xfrm>
              <a:custGeom>
                <a:avLst/>
                <a:gdLst>
                  <a:gd name="connsiteX0" fmla="*/ 0 w 17647"/>
                  <a:gd name="connsiteY0" fmla="*/ 0 h 56735"/>
                  <a:gd name="connsiteX1" fmla="*/ 0 w 17647"/>
                  <a:gd name="connsiteY1" fmla="*/ 56735 h 56735"/>
                </a:gdLst>
                <a:ahLst/>
                <a:cxnLst>
                  <a:cxn ang="0">
                    <a:pos x="connsiteX0" y="connsiteY0"/>
                  </a:cxn>
                  <a:cxn ang="0">
                    <a:pos x="connsiteX1" y="connsiteY1"/>
                  </a:cxn>
                </a:cxnLst>
                <a:rect l="l" t="t" r="r" b="b"/>
                <a:pathLst>
                  <a:path w="17647" h="56735">
                    <a:moveTo>
                      <a:pt x="0" y="0"/>
                    </a:moveTo>
                    <a:lnTo>
                      <a:pt x="0" y="56735"/>
                    </a:lnTo>
                  </a:path>
                </a:pathLst>
              </a:custGeom>
              <a:ln w="9624" cap="sq">
                <a:solidFill>
                  <a:srgbClr val="27377D"/>
                </a:solidFill>
                <a:prstDash val="solid"/>
                <a:miter/>
              </a:ln>
            </p:spPr>
            <p:txBody>
              <a:bodyPr rtlCol="0" anchor="ctr"/>
              <a:lstStyle/>
              <a:p>
                <a:endParaRPr lang="en-US" sz="1800" dirty="0"/>
              </a:p>
            </p:txBody>
          </p:sp>
          <p:sp>
            <p:nvSpPr>
              <p:cNvPr id="2569" name="Freeform 424">
                <a:extLst>
                  <a:ext uri="{FF2B5EF4-FFF2-40B4-BE49-F238E27FC236}">
                    <a16:creationId xmlns:a16="http://schemas.microsoft.com/office/drawing/2014/main" id="{5775F08E-8751-73F0-8148-ED83C33F540E}"/>
                  </a:ext>
                </a:extLst>
              </p:cNvPr>
              <p:cNvSpPr/>
              <p:nvPr/>
            </p:nvSpPr>
            <p:spPr>
              <a:xfrm>
                <a:off x="5628294" y="2987404"/>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570" name="Freeform 425">
                <a:extLst>
                  <a:ext uri="{FF2B5EF4-FFF2-40B4-BE49-F238E27FC236}">
                    <a16:creationId xmlns:a16="http://schemas.microsoft.com/office/drawing/2014/main" id="{F6E41F42-648C-BD30-B302-FB28C6730D1F}"/>
                  </a:ext>
                </a:extLst>
              </p:cNvPr>
              <p:cNvSpPr/>
              <p:nvPr/>
            </p:nvSpPr>
            <p:spPr>
              <a:xfrm>
                <a:off x="5657712" y="2959028"/>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571" name="Freeform 426">
                <a:extLst>
                  <a:ext uri="{FF2B5EF4-FFF2-40B4-BE49-F238E27FC236}">
                    <a16:creationId xmlns:a16="http://schemas.microsoft.com/office/drawing/2014/main" id="{686137BC-8475-D5EA-D88A-5AB284F1C4DC}"/>
                  </a:ext>
                </a:extLst>
              </p:cNvPr>
              <p:cNvSpPr/>
              <p:nvPr/>
            </p:nvSpPr>
            <p:spPr>
              <a:xfrm>
                <a:off x="5669482" y="2987404"/>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572" name="Freeform 427">
                <a:extLst>
                  <a:ext uri="{FF2B5EF4-FFF2-40B4-BE49-F238E27FC236}">
                    <a16:creationId xmlns:a16="http://schemas.microsoft.com/office/drawing/2014/main" id="{5B6AC1E8-A562-5700-3D91-B68B67101103}"/>
                  </a:ext>
                </a:extLst>
              </p:cNvPr>
              <p:cNvSpPr/>
              <p:nvPr/>
            </p:nvSpPr>
            <p:spPr>
              <a:xfrm>
                <a:off x="5698900" y="2959028"/>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573" name="Freeform 428">
                <a:extLst>
                  <a:ext uri="{FF2B5EF4-FFF2-40B4-BE49-F238E27FC236}">
                    <a16:creationId xmlns:a16="http://schemas.microsoft.com/office/drawing/2014/main" id="{D20A9572-1836-2475-1755-6106C039931A}"/>
                  </a:ext>
                </a:extLst>
              </p:cNvPr>
              <p:cNvSpPr/>
              <p:nvPr/>
            </p:nvSpPr>
            <p:spPr>
              <a:xfrm>
                <a:off x="5757876" y="3014386"/>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574" name="Freeform 429">
                <a:extLst>
                  <a:ext uri="{FF2B5EF4-FFF2-40B4-BE49-F238E27FC236}">
                    <a16:creationId xmlns:a16="http://schemas.microsoft.com/office/drawing/2014/main" id="{AA572F3D-C6C2-FEAB-3CC1-0133A808B183}"/>
                  </a:ext>
                </a:extLst>
              </p:cNvPr>
              <p:cNvSpPr/>
              <p:nvPr/>
            </p:nvSpPr>
            <p:spPr>
              <a:xfrm>
                <a:off x="5787294" y="2986010"/>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575" name="Freeform 430">
                <a:extLst>
                  <a:ext uri="{FF2B5EF4-FFF2-40B4-BE49-F238E27FC236}">
                    <a16:creationId xmlns:a16="http://schemas.microsoft.com/office/drawing/2014/main" id="{5A589DA5-9DA9-DA48-2AFF-280DDBA02A09}"/>
                  </a:ext>
                </a:extLst>
              </p:cNvPr>
              <p:cNvSpPr/>
              <p:nvPr/>
            </p:nvSpPr>
            <p:spPr>
              <a:xfrm>
                <a:off x="5805082" y="3014386"/>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576" name="Freeform 431">
                <a:extLst>
                  <a:ext uri="{FF2B5EF4-FFF2-40B4-BE49-F238E27FC236}">
                    <a16:creationId xmlns:a16="http://schemas.microsoft.com/office/drawing/2014/main" id="{E65BEDD7-C465-4A4D-7DD6-348BCF03B8C4}"/>
                  </a:ext>
                </a:extLst>
              </p:cNvPr>
              <p:cNvSpPr/>
              <p:nvPr/>
            </p:nvSpPr>
            <p:spPr>
              <a:xfrm>
                <a:off x="5834500" y="2986010"/>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577" name="Freeform 432">
                <a:extLst>
                  <a:ext uri="{FF2B5EF4-FFF2-40B4-BE49-F238E27FC236}">
                    <a16:creationId xmlns:a16="http://schemas.microsoft.com/office/drawing/2014/main" id="{324EFD7F-5F7E-0686-EF69-0BEB7F55F6B5}"/>
                  </a:ext>
                </a:extLst>
              </p:cNvPr>
              <p:cNvSpPr/>
              <p:nvPr/>
            </p:nvSpPr>
            <p:spPr>
              <a:xfrm>
                <a:off x="5828605" y="3014386"/>
                <a:ext cx="58852" cy="17647"/>
              </a:xfrm>
              <a:custGeom>
                <a:avLst/>
                <a:gdLst>
                  <a:gd name="connsiteX0" fmla="*/ 0 w 58852"/>
                  <a:gd name="connsiteY0" fmla="*/ 0 h 17647"/>
                  <a:gd name="connsiteX1" fmla="*/ 58853 w 58852"/>
                  <a:gd name="connsiteY1" fmla="*/ 0 h 17647"/>
                </a:gdLst>
                <a:ahLst/>
                <a:cxnLst>
                  <a:cxn ang="0">
                    <a:pos x="connsiteX0" y="connsiteY0"/>
                  </a:cxn>
                  <a:cxn ang="0">
                    <a:pos x="connsiteX1" y="connsiteY1"/>
                  </a:cxn>
                </a:cxnLst>
                <a:rect l="l" t="t" r="r" b="b"/>
                <a:pathLst>
                  <a:path w="58852" h="17647">
                    <a:moveTo>
                      <a:pt x="0" y="0"/>
                    </a:moveTo>
                    <a:lnTo>
                      <a:pt x="58853" y="0"/>
                    </a:lnTo>
                  </a:path>
                </a:pathLst>
              </a:custGeom>
              <a:ln w="9624" cap="sq">
                <a:solidFill>
                  <a:srgbClr val="27377D"/>
                </a:solidFill>
                <a:prstDash val="solid"/>
                <a:miter/>
              </a:ln>
            </p:spPr>
            <p:txBody>
              <a:bodyPr rtlCol="0" anchor="ctr"/>
              <a:lstStyle/>
              <a:p>
                <a:endParaRPr lang="en-US" sz="1800" dirty="0"/>
              </a:p>
            </p:txBody>
          </p:sp>
          <p:sp>
            <p:nvSpPr>
              <p:cNvPr id="2578" name="Freeform 433">
                <a:extLst>
                  <a:ext uri="{FF2B5EF4-FFF2-40B4-BE49-F238E27FC236}">
                    <a16:creationId xmlns:a16="http://schemas.microsoft.com/office/drawing/2014/main" id="{9F049C4A-D470-9324-A0FD-3F5863D4F98F}"/>
                  </a:ext>
                </a:extLst>
              </p:cNvPr>
              <p:cNvSpPr/>
              <p:nvPr/>
            </p:nvSpPr>
            <p:spPr>
              <a:xfrm>
                <a:off x="5858023" y="2986010"/>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579" name="Freeform 434">
                <a:extLst>
                  <a:ext uri="{FF2B5EF4-FFF2-40B4-BE49-F238E27FC236}">
                    <a16:creationId xmlns:a16="http://schemas.microsoft.com/office/drawing/2014/main" id="{CE0C9CD9-0E52-D54D-D0A5-B088AD939638}"/>
                  </a:ext>
                </a:extLst>
              </p:cNvPr>
              <p:cNvSpPr/>
              <p:nvPr/>
            </p:nvSpPr>
            <p:spPr>
              <a:xfrm>
                <a:off x="5828605" y="3014386"/>
                <a:ext cx="58852" cy="17647"/>
              </a:xfrm>
              <a:custGeom>
                <a:avLst/>
                <a:gdLst>
                  <a:gd name="connsiteX0" fmla="*/ 0 w 58852"/>
                  <a:gd name="connsiteY0" fmla="*/ 0 h 17647"/>
                  <a:gd name="connsiteX1" fmla="*/ 58853 w 58852"/>
                  <a:gd name="connsiteY1" fmla="*/ 0 h 17647"/>
                </a:gdLst>
                <a:ahLst/>
                <a:cxnLst>
                  <a:cxn ang="0">
                    <a:pos x="connsiteX0" y="connsiteY0"/>
                  </a:cxn>
                  <a:cxn ang="0">
                    <a:pos x="connsiteX1" y="connsiteY1"/>
                  </a:cxn>
                </a:cxnLst>
                <a:rect l="l" t="t" r="r" b="b"/>
                <a:pathLst>
                  <a:path w="58852" h="17647">
                    <a:moveTo>
                      <a:pt x="0" y="0"/>
                    </a:moveTo>
                    <a:lnTo>
                      <a:pt x="58853" y="0"/>
                    </a:lnTo>
                  </a:path>
                </a:pathLst>
              </a:custGeom>
              <a:ln w="9624" cap="sq">
                <a:solidFill>
                  <a:srgbClr val="27377D"/>
                </a:solidFill>
                <a:prstDash val="solid"/>
                <a:miter/>
              </a:ln>
            </p:spPr>
            <p:txBody>
              <a:bodyPr rtlCol="0" anchor="ctr"/>
              <a:lstStyle/>
              <a:p>
                <a:endParaRPr lang="en-US" sz="1800" dirty="0"/>
              </a:p>
            </p:txBody>
          </p:sp>
          <p:sp>
            <p:nvSpPr>
              <p:cNvPr id="2580" name="Freeform 435">
                <a:extLst>
                  <a:ext uri="{FF2B5EF4-FFF2-40B4-BE49-F238E27FC236}">
                    <a16:creationId xmlns:a16="http://schemas.microsoft.com/office/drawing/2014/main" id="{40CFFDF8-B223-117F-DE50-3A5B74FD2942}"/>
                  </a:ext>
                </a:extLst>
              </p:cNvPr>
              <p:cNvSpPr/>
              <p:nvPr/>
            </p:nvSpPr>
            <p:spPr>
              <a:xfrm>
                <a:off x="5858023" y="2986010"/>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581" name="Freeform 436">
                <a:extLst>
                  <a:ext uri="{FF2B5EF4-FFF2-40B4-BE49-F238E27FC236}">
                    <a16:creationId xmlns:a16="http://schemas.microsoft.com/office/drawing/2014/main" id="{572AB72C-68E9-C308-272C-874F250AC984}"/>
                  </a:ext>
                </a:extLst>
              </p:cNvPr>
              <p:cNvSpPr/>
              <p:nvPr/>
            </p:nvSpPr>
            <p:spPr>
              <a:xfrm>
                <a:off x="5840376" y="3014386"/>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582" name="Freeform 437">
                <a:extLst>
                  <a:ext uri="{FF2B5EF4-FFF2-40B4-BE49-F238E27FC236}">
                    <a16:creationId xmlns:a16="http://schemas.microsoft.com/office/drawing/2014/main" id="{77331639-C0F1-DFBF-FD00-31AAC09C6809}"/>
                  </a:ext>
                </a:extLst>
              </p:cNvPr>
              <p:cNvSpPr/>
              <p:nvPr/>
            </p:nvSpPr>
            <p:spPr>
              <a:xfrm>
                <a:off x="5869794" y="2986010"/>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583" name="Freeform 438">
                <a:extLst>
                  <a:ext uri="{FF2B5EF4-FFF2-40B4-BE49-F238E27FC236}">
                    <a16:creationId xmlns:a16="http://schemas.microsoft.com/office/drawing/2014/main" id="{6F67C555-055F-8DBB-C8BA-45C00CEA938C}"/>
                  </a:ext>
                </a:extLst>
              </p:cNvPr>
              <p:cNvSpPr/>
              <p:nvPr/>
            </p:nvSpPr>
            <p:spPr>
              <a:xfrm>
                <a:off x="5846270" y="3014386"/>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584" name="Freeform 439">
                <a:extLst>
                  <a:ext uri="{FF2B5EF4-FFF2-40B4-BE49-F238E27FC236}">
                    <a16:creationId xmlns:a16="http://schemas.microsoft.com/office/drawing/2014/main" id="{73A54458-FC58-72EC-3629-FE07B965785D}"/>
                  </a:ext>
                </a:extLst>
              </p:cNvPr>
              <p:cNvSpPr/>
              <p:nvPr/>
            </p:nvSpPr>
            <p:spPr>
              <a:xfrm>
                <a:off x="5875688" y="2986010"/>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585" name="Freeform 440">
                <a:extLst>
                  <a:ext uri="{FF2B5EF4-FFF2-40B4-BE49-F238E27FC236}">
                    <a16:creationId xmlns:a16="http://schemas.microsoft.com/office/drawing/2014/main" id="{4093ED16-2DA9-9B0B-3463-94D4E9A3AA7A}"/>
                  </a:ext>
                </a:extLst>
              </p:cNvPr>
              <p:cNvSpPr/>
              <p:nvPr/>
            </p:nvSpPr>
            <p:spPr>
              <a:xfrm>
                <a:off x="5858023" y="3014386"/>
                <a:ext cx="58852" cy="17647"/>
              </a:xfrm>
              <a:custGeom>
                <a:avLst/>
                <a:gdLst>
                  <a:gd name="connsiteX0" fmla="*/ 0 w 58852"/>
                  <a:gd name="connsiteY0" fmla="*/ 0 h 17647"/>
                  <a:gd name="connsiteX1" fmla="*/ 58853 w 58852"/>
                  <a:gd name="connsiteY1" fmla="*/ 0 h 17647"/>
                </a:gdLst>
                <a:ahLst/>
                <a:cxnLst>
                  <a:cxn ang="0">
                    <a:pos x="connsiteX0" y="connsiteY0"/>
                  </a:cxn>
                  <a:cxn ang="0">
                    <a:pos x="connsiteX1" y="connsiteY1"/>
                  </a:cxn>
                </a:cxnLst>
                <a:rect l="l" t="t" r="r" b="b"/>
                <a:pathLst>
                  <a:path w="58852" h="17647">
                    <a:moveTo>
                      <a:pt x="0" y="0"/>
                    </a:moveTo>
                    <a:lnTo>
                      <a:pt x="58853" y="0"/>
                    </a:lnTo>
                  </a:path>
                </a:pathLst>
              </a:custGeom>
              <a:ln w="9624" cap="sq">
                <a:solidFill>
                  <a:srgbClr val="27377D"/>
                </a:solidFill>
                <a:prstDash val="solid"/>
                <a:miter/>
              </a:ln>
            </p:spPr>
            <p:txBody>
              <a:bodyPr rtlCol="0" anchor="ctr"/>
              <a:lstStyle/>
              <a:p>
                <a:endParaRPr lang="en-US" sz="1800" dirty="0"/>
              </a:p>
            </p:txBody>
          </p:sp>
          <p:sp>
            <p:nvSpPr>
              <p:cNvPr id="2586" name="Freeform 441">
                <a:extLst>
                  <a:ext uri="{FF2B5EF4-FFF2-40B4-BE49-F238E27FC236}">
                    <a16:creationId xmlns:a16="http://schemas.microsoft.com/office/drawing/2014/main" id="{CF67F3EF-B838-C402-E623-C606E62B4A40}"/>
                  </a:ext>
                </a:extLst>
              </p:cNvPr>
              <p:cNvSpPr/>
              <p:nvPr/>
            </p:nvSpPr>
            <p:spPr>
              <a:xfrm>
                <a:off x="5887458" y="2986010"/>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587" name="Freeform 442">
                <a:extLst>
                  <a:ext uri="{FF2B5EF4-FFF2-40B4-BE49-F238E27FC236}">
                    <a16:creationId xmlns:a16="http://schemas.microsoft.com/office/drawing/2014/main" id="{447E0FC8-0F2B-4B17-A6D9-52D8F594B5EA}"/>
                  </a:ext>
                </a:extLst>
              </p:cNvPr>
              <p:cNvSpPr/>
              <p:nvPr/>
            </p:nvSpPr>
            <p:spPr>
              <a:xfrm>
                <a:off x="5863917" y="3014386"/>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588" name="Freeform 443">
                <a:extLst>
                  <a:ext uri="{FF2B5EF4-FFF2-40B4-BE49-F238E27FC236}">
                    <a16:creationId xmlns:a16="http://schemas.microsoft.com/office/drawing/2014/main" id="{4BA2315F-00EC-A3D6-60FB-5F4220971790}"/>
                  </a:ext>
                </a:extLst>
              </p:cNvPr>
              <p:cNvSpPr/>
              <p:nvPr/>
            </p:nvSpPr>
            <p:spPr>
              <a:xfrm>
                <a:off x="5893335" y="2986010"/>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589" name="Freeform 444">
                <a:extLst>
                  <a:ext uri="{FF2B5EF4-FFF2-40B4-BE49-F238E27FC236}">
                    <a16:creationId xmlns:a16="http://schemas.microsoft.com/office/drawing/2014/main" id="{C79A66C2-FA89-7772-455D-171B17B4FED2}"/>
                  </a:ext>
                </a:extLst>
              </p:cNvPr>
              <p:cNvSpPr/>
              <p:nvPr/>
            </p:nvSpPr>
            <p:spPr>
              <a:xfrm>
                <a:off x="5869794" y="3014386"/>
                <a:ext cx="58852" cy="17647"/>
              </a:xfrm>
              <a:custGeom>
                <a:avLst/>
                <a:gdLst>
                  <a:gd name="connsiteX0" fmla="*/ 0 w 58852"/>
                  <a:gd name="connsiteY0" fmla="*/ 0 h 17647"/>
                  <a:gd name="connsiteX1" fmla="*/ 58853 w 58852"/>
                  <a:gd name="connsiteY1" fmla="*/ 0 h 17647"/>
                </a:gdLst>
                <a:ahLst/>
                <a:cxnLst>
                  <a:cxn ang="0">
                    <a:pos x="connsiteX0" y="connsiteY0"/>
                  </a:cxn>
                  <a:cxn ang="0">
                    <a:pos x="connsiteX1" y="connsiteY1"/>
                  </a:cxn>
                </a:cxnLst>
                <a:rect l="l" t="t" r="r" b="b"/>
                <a:pathLst>
                  <a:path w="58852" h="17647">
                    <a:moveTo>
                      <a:pt x="0" y="0"/>
                    </a:moveTo>
                    <a:lnTo>
                      <a:pt x="58853" y="0"/>
                    </a:lnTo>
                  </a:path>
                </a:pathLst>
              </a:custGeom>
              <a:ln w="9624" cap="sq">
                <a:solidFill>
                  <a:srgbClr val="27377D"/>
                </a:solidFill>
                <a:prstDash val="solid"/>
                <a:miter/>
              </a:ln>
            </p:spPr>
            <p:txBody>
              <a:bodyPr rtlCol="0" anchor="ctr"/>
              <a:lstStyle/>
              <a:p>
                <a:endParaRPr lang="en-US" sz="1800" dirty="0"/>
              </a:p>
            </p:txBody>
          </p:sp>
          <p:sp>
            <p:nvSpPr>
              <p:cNvPr id="2590" name="Freeform 445">
                <a:extLst>
                  <a:ext uri="{FF2B5EF4-FFF2-40B4-BE49-F238E27FC236}">
                    <a16:creationId xmlns:a16="http://schemas.microsoft.com/office/drawing/2014/main" id="{4CE5B9DF-3041-BA4D-7D50-AAFA097EDE5C}"/>
                  </a:ext>
                </a:extLst>
              </p:cNvPr>
              <p:cNvSpPr/>
              <p:nvPr/>
            </p:nvSpPr>
            <p:spPr>
              <a:xfrm>
                <a:off x="5899211" y="2986010"/>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591" name="Freeform 446">
                <a:extLst>
                  <a:ext uri="{FF2B5EF4-FFF2-40B4-BE49-F238E27FC236}">
                    <a16:creationId xmlns:a16="http://schemas.microsoft.com/office/drawing/2014/main" id="{51282A25-639E-3688-F5E3-27997620FF87}"/>
                  </a:ext>
                </a:extLst>
              </p:cNvPr>
              <p:cNvSpPr/>
              <p:nvPr/>
            </p:nvSpPr>
            <p:spPr>
              <a:xfrm>
                <a:off x="5875688" y="3014386"/>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592" name="Freeform 447">
                <a:extLst>
                  <a:ext uri="{FF2B5EF4-FFF2-40B4-BE49-F238E27FC236}">
                    <a16:creationId xmlns:a16="http://schemas.microsoft.com/office/drawing/2014/main" id="{E3B5540A-4929-EBFE-9454-7FB0E9E437E5}"/>
                  </a:ext>
                </a:extLst>
              </p:cNvPr>
              <p:cNvSpPr/>
              <p:nvPr/>
            </p:nvSpPr>
            <p:spPr>
              <a:xfrm>
                <a:off x="5905105" y="2986010"/>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593" name="Freeform 448">
                <a:extLst>
                  <a:ext uri="{FF2B5EF4-FFF2-40B4-BE49-F238E27FC236}">
                    <a16:creationId xmlns:a16="http://schemas.microsoft.com/office/drawing/2014/main" id="{2C302825-AAAC-D974-E508-37130DFC8EA0}"/>
                  </a:ext>
                </a:extLst>
              </p:cNvPr>
              <p:cNvSpPr/>
              <p:nvPr/>
            </p:nvSpPr>
            <p:spPr>
              <a:xfrm>
                <a:off x="5993499" y="3029139"/>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594" name="Freeform 449">
                <a:extLst>
                  <a:ext uri="{FF2B5EF4-FFF2-40B4-BE49-F238E27FC236}">
                    <a16:creationId xmlns:a16="http://schemas.microsoft.com/office/drawing/2014/main" id="{C5A17FD4-E326-DA6E-55D3-560B1560365A}"/>
                  </a:ext>
                </a:extLst>
              </p:cNvPr>
              <p:cNvSpPr/>
              <p:nvPr/>
            </p:nvSpPr>
            <p:spPr>
              <a:xfrm>
                <a:off x="6022917" y="3000763"/>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595" name="Freeform 450">
                <a:extLst>
                  <a:ext uri="{FF2B5EF4-FFF2-40B4-BE49-F238E27FC236}">
                    <a16:creationId xmlns:a16="http://schemas.microsoft.com/office/drawing/2014/main" id="{736F460B-17A9-63E1-AD40-5A6B7AC3C488}"/>
                  </a:ext>
                </a:extLst>
              </p:cNvPr>
              <p:cNvSpPr/>
              <p:nvPr/>
            </p:nvSpPr>
            <p:spPr>
              <a:xfrm>
                <a:off x="6011270" y="3058769"/>
                <a:ext cx="58852" cy="17647"/>
              </a:xfrm>
              <a:custGeom>
                <a:avLst/>
                <a:gdLst>
                  <a:gd name="connsiteX0" fmla="*/ 0 w 58852"/>
                  <a:gd name="connsiteY0" fmla="*/ 0 h 17647"/>
                  <a:gd name="connsiteX1" fmla="*/ 58853 w 58852"/>
                  <a:gd name="connsiteY1" fmla="*/ 0 h 17647"/>
                </a:gdLst>
                <a:ahLst/>
                <a:cxnLst>
                  <a:cxn ang="0">
                    <a:pos x="connsiteX0" y="connsiteY0"/>
                  </a:cxn>
                  <a:cxn ang="0">
                    <a:pos x="connsiteX1" y="connsiteY1"/>
                  </a:cxn>
                </a:cxnLst>
                <a:rect l="l" t="t" r="r" b="b"/>
                <a:pathLst>
                  <a:path w="58852" h="17647">
                    <a:moveTo>
                      <a:pt x="0" y="0"/>
                    </a:moveTo>
                    <a:lnTo>
                      <a:pt x="58853" y="0"/>
                    </a:lnTo>
                  </a:path>
                </a:pathLst>
              </a:custGeom>
              <a:ln w="9624" cap="sq">
                <a:solidFill>
                  <a:srgbClr val="27377D"/>
                </a:solidFill>
                <a:prstDash val="solid"/>
                <a:miter/>
              </a:ln>
            </p:spPr>
            <p:txBody>
              <a:bodyPr rtlCol="0" anchor="ctr"/>
              <a:lstStyle/>
              <a:p>
                <a:endParaRPr lang="en-US" sz="1800" dirty="0"/>
              </a:p>
            </p:txBody>
          </p:sp>
          <p:sp>
            <p:nvSpPr>
              <p:cNvPr id="2596" name="Freeform 451">
                <a:extLst>
                  <a:ext uri="{FF2B5EF4-FFF2-40B4-BE49-F238E27FC236}">
                    <a16:creationId xmlns:a16="http://schemas.microsoft.com/office/drawing/2014/main" id="{EA459BAB-B52B-FFB4-868A-AC1FEB88393C}"/>
                  </a:ext>
                </a:extLst>
              </p:cNvPr>
              <p:cNvSpPr/>
              <p:nvPr/>
            </p:nvSpPr>
            <p:spPr>
              <a:xfrm>
                <a:off x="6040705" y="3030410"/>
                <a:ext cx="17647" cy="56735"/>
              </a:xfrm>
              <a:custGeom>
                <a:avLst/>
                <a:gdLst>
                  <a:gd name="connsiteX0" fmla="*/ 0 w 17647"/>
                  <a:gd name="connsiteY0" fmla="*/ 0 h 56735"/>
                  <a:gd name="connsiteX1" fmla="*/ 0 w 17647"/>
                  <a:gd name="connsiteY1" fmla="*/ 56735 h 56735"/>
                </a:gdLst>
                <a:ahLst/>
                <a:cxnLst>
                  <a:cxn ang="0">
                    <a:pos x="connsiteX0" y="connsiteY0"/>
                  </a:cxn>
                  <a:cxn ang="0">
                    <a:pos x="connsiteX1" y="connsiteY1"/>
                  </a:cxn>
                </a:cxnLst>
                <a:rect l="l" t="t" r="r" b="b"/>
                <a:pathLst>
                  <a:path w="17647" h="56735">
                    <a:moveTo>
                      <a:pt x="0" y="0"/>
                    </a:moveTo>
                    <a:lnTo>
                      <a:pt x="0" y="56735"/>
                    </a:lnTo>
                  </a:path>
                </a:pathLst>
              </a:custGeom>
              <a:ln w="9624" cap="sq">
                <a:solidFill>
                  <a:srgbClr val="27377D"/>
                </a:solidFill>
                <a:prstDash val="solid"/>
                <a:miter/>
              </a:ln>
            </p:spPr>
            <p:txBody>
              <a:bodyPr rtlCol="0" anchor="ctr"/>
              <a:lstStyle/>
              <a:p>
                <a:endParaRPr lang="en-US" sz="1800" dirty="0"/>
              </a:p>
            </p:txBody>
          </p:sp>
          <p:sp>
            <p:nvSpPr>
              <p:cNvPr id="2597" name="Freeform 452">
                <a:extLst>
                  <a:ext uri="{FF2B5EF4-FFF2-40B4-BE49-F238E27FC236}">
                    <a16:creationId xmlns:a16="http://schemas.microsoft.com/office/drawing/2014/main" id="{DAC8BF3D-8CCF-E388-BF46-1129E72AACA9}"/>
                  </a:ext>
                </a:extLst>
              </p:cNvPr>
              <p:cNvSpPr/>
              <p:nvPr/>
            </p:nvSpPr>
            <p:spPr>
              <a:xfrm>
                <a:off x="6052458" y="3073786"/>
                <a:ext cx="58852" cy="17647"/>
              </a:xfrm>
              <a:custGeom>
                <a:avLst/>
                <a:gdLst>
                  <a:gd name="connsiteX0" fmla="*/ 0 w 58852"/>
                  <a:gd name="connsiteY0" fmla="*/ 0 h 17647"/>
                  <a:gd name="connsiteX1" fmla="*/ 58853 w 58852"/>
                  <a:gd name="connsiteY1" fmla="*/ 0 h 17647"/>
                </a:gdLst>
                <a:ahLst/>
                <a:cxnLst>
                  <a:cxn ang="0">
                    <a:pos x="connsiteX0" y="connsiteY0"/>
                  </a:cxn>
                  <a:cxn ang="0">
                    <a:pos x="connsiteX1" y="connsiteY1"/>
                  </a:cxn>
                </a:cxnLst>
                <a:rect l="l" t="t" r="r" b="b"/>
                <a:pathLst>
                  <a:path w="58852" h="17647">
                    <a:moveTo>
                      <a:pt x="0" y="0"/>
                    </a:moveTo>
                    <a:lnTo>
                      <a:pt x="58853" y="0"/>
                    </a:lnTo>
                  </a:path>
                </a:pathLst>
              </a:custGeom>
              <a:ln w="9624" cap="sq">
                <a:solidFill>
                  <a:srgbClr val="27377D"/>
                </a:solidFill>
                <a:prstDash val="solid"/>
                <a:miter/>
              </a:ln>
            </p:spPr>
            <p:txBody>
              <a:bodyPr rtlCol="0" anchor="ctr"/>
              <a:lstStyle/>
              <a:p>
                <a:endParaRPr lang="en-US" sz="1800" dirty="0"/>
              </a:p>
            </p:txBody>
          </p:sp>
          <p:sp>
            <p:nvSpPr>
              <p:cNvPr id="2598" name="Freeform 453">
                <a:extLst>
                  <a:ext uri="{FF2B5EF4-FFF2-40B4-BE49-F238E27FC236}">
                    <a16:creationId xmlns:a16="http://schemas.microsoft.com/office/drawing/2014/main" id="{3D5534EA-E029-88AD-291B-ADBBC152FD29}"/>
                  </a:ext>
                </a:extLst>
              </p:cNvPr>
              <p:cNvSpPr/>
              <p:nvPr/>
            </p:nvSpPr>
            <p:spPr>
              <a:xfrm>
                <a:off x="6081893" y="3045410"/>
                <a:ext cx="17647" cy="56735"/>
              </a:xfrm>
              <a:custGeom>
                <a:avLst/>
                <a:gdLst>
                  <a:gd name="connsiteX0" fmla="*/ 0 w 17647"/>
                  <a:gd name="connsiteY0" fmla="*/ 0 h 56735"/>
                  <a:gd name="connsiteX1" fmla="*/ 0 w 17647"/>
                  <a:gd name="connsiteY1" fmla="*/ 56735 h 56735"/>
                </a:gdLst>
                <a:ahLst/>
                <a:cxnLst>
                  <a:cxn ang="0">
                    <a:pos x="connsiteX0" y="connsiteY0"/>
                  </a:cxn>
                  <a:cxn ang="0">
                    <a:pos x="connsiteX1" y="connsiteY1"/>
                  </a:cxn>
                </a:cxnLst>
                <a:rect l="l" t="t" r="r" b="b"/>
                <a:pathLst>
                  <a:path w="17647" h="56735">
                    <a:moveTo>
                      <a:pt x="0" y="0"/>
                    </a:moveTo>
                    <a:lnTo>
                      <a:pt x="0" y="56735"/>
                    </a:lnTo>
                  </a:path>
                </a:pathLst>
              </a:custGeom>
              <a:ln w="9624" cap="sq">
                <a:solidFill>
                  <a:srgbClr val="27377D"/>
                </a:solidFill>
                <a:prstDash val="solid"/>
                <a:miter/>
              </a:ln>
            </p:spPr>
            <p:txBody>
              <a:bodyPr rtlCol="0" anchor="ctr"/>
              <a:lstStyle/>
              <a:p>
                <a:endParaRPr lang="en-US" sz="1800" dirty="0"/>
              </a:p>
            </p:txBody>
          </p:sp>
          <p:sp>
            <p:nvSpPr>
              <p:cNvPr id="2599" name="Freeform 454">
                <a:extLst>
                  <a:ext uri="{FF2B5EF4-FFF2-40B4-BE49-F238E27FC236}">
                    <a16:creationId xmlns:a16="http://schemas.microsoft.com/office/drawing/2014/main" id="{CC611B41-AA5E-89FF-7EAC-22830ACCDB84}"/>
                  </a:ext>
                </a:extLst>
              </p:cNvPr>
              <p:cNvSpPr/>
              <p:nvPr/>
            </p:nvSpPr>
            <p:spPr>
              <a:xfrm>
                <a:off x="6058352" y="3073786"/>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600" name="Freeform 455">
                <a:extLst>
                  <a:ext uri="{FF2B5EF4-FFF2-40B4-BE49-F238E27FC236}">
                    <a16:creationId xmlns:a16="http://schemas.microsoft.com/office/drawing/2014/main" id="{BB6AA05B-EC0C-1EA1-BD30-FE38B2404736}"/>
                  </a:ext>
                </a:extLst>
              </p:cNvPr>
              <p:cNvSpPr/>
              <p:nvPr/>
            </p:nvSpPr>
            <p:spPr>
              <a:xfrm>
                <a:off x="6087770" y="3045410"/>
                <a:ext cx="17647" cy="56735"/>
              </a:xfrm>
              <a:custGeom>
                <a:avLst/>
                <a:gdLst>
                  <a:gd name="connsiteX0" fmla="*/ 0 w 17647"/>
                  <a:gd name="connsiteY0" fmla="*/ 0 h 56735"/>
                  <a:gd name="connsiteX1" fmla="*/ 0 w 17647"/>
                  <a:gd name="connsiteY1" fmla="*/ 56735 h 56735"/>
                </a:gdLst>
                <a:ahLst/>
                <a:cxnLst>
                  <a:cxn ang="0">
                    <a:pos x="connsiteX0" y="connsiteY0"/>
                  </a:cxn>
                  <a:cxn ang="0">
                    <a:pos x="connsiteX1" y="connsiteY1"/>
                  </a:cxn>
                </a:cxnLst>
                <a:rect l="l" t="t" r="r" b="b"/>
                <a:pathLst>
                  <a:path w="17647" h="56735">
                    <a:moveTo>
                      <a:pt x="0" y="0"/>
                    </a:moveTo>
                    <a:lnTo>
                      <a:pt x="0" y="56735"/>
                    </a:lnTo>
                  </a:path>
                </a:pathLst>
              </a:custGeom>
              <a:ln w="9624" cap="sq">
                <a:solidFill>
                  <a:srgbClr val="27377D"/>
                </a:solidFill>
                <a:prstDash val="solid"/>
                <a:miter/>
              </a:ln>
            </p:spPr>
            <p:txBody>
              <a:bodyPr rtlCol="0" anchor="ctr"/>
              <a:lstStyle/>
              <a:p>
                <a:endParaRPr lang="en-US" sz="1800" dirty="0"/>
              </a:p>
            </p:txBody>
          </p:sp>
          <p:sp>
            <p:nvSpPr>
              <p:cNvPr id="2601" name="Freeform 456">
                <a:extLst>
                  <a:ext uri="{FF2B5EF4-FFF2-40B4-BE49-F238E27FC236}">
                    <a16:creationId xmlns:a16="http://schemas.microsoft.com/office/drawing/2014/main" id="{5F94768A-5D38-2534-00E1-ECA84FD66045}"/>
                  </a:ext>
                </a:extLst>
              </p:cNvPr>
              <p:cNvSpPr/>
              <p:nvPr/>
            </p:nvSpPr>
            <p:spPr>
              <a:xfrm>
                <a:off x="6064229" y="3073786"/>
                <a:ext cx="58852" cy="17647"/>
              </a:xfrm>
              <a:custGeom>
                <a:avLst/>
                <a:gdLst>
                  <a:gd name="connsiteX0" fmla="*/ 0 w 58852"/>
                  <a:gd name="connsiteY0" fmla="*/ 0 h 17647"/>
                  <a:gd name="connsiteX1" fmla="*/ 58853 w 58852"/>
                  <a:gd name="connsiteY1" fmla="*/ 0 h 17647"/>
                </a:gdLst>
                <a:ahLst/>
                <a:cxnLst>
                  <a:cxn ang="0">
                    <a:pos x="connsiteX0" y="connsiteY0"/>
                  </a:cxn>
                  <a:cxn ang="0">
                    <a:pos x="connsiteX1" y="connsiteY1"/>
                  </a:cxn>
                </a:cxnLst>
                <a:rect l="l" t="t" r="r" b="b"/>
                <a:pathLst>
                  <a:path w="58852" h="17647">
                    <a:moveTo>
                      <a:pt x="0" y="0"/>
                    </a:moveTo>
                    <a:lnTo>
                      <a:pt x="58853" y="0"/>
                    </a:lnTo>
                  </a:path>
                </a:pathLst>
              </a:custGeom>
              <a:ln w="9624" cap="sq">
                <a:solidFill>
                  <a:srgbClr val="27377D"/>
                </a:solidFill>
                <a:prstDash val="solid"/>
                <a:miter/>
              </a:ln>
            </p:spPr>
            <p:txBody>
              <a:bodyPr rtlCol="0" anchor="ctr"/>
              <a:lstStyle/>
              <a:p>
                <a:endParaRPr lang="en-US" sz="1800" dirty="0"/>
              </a:p>
            </p:txBody>
          </p:sp>
          <p:sp>
            <p:nvSpPr>
              <p:cNvPr id="2602" name="Freeform 457">
                <a:extLst>
                  <a:ext uri="{FF2B5EF4-FFF2-40B4-BE49-F238E27FC236}">
                    <a16:creationId xmlns:a16="http://schemas.microsoft.com/office/drawing/2014/main" id="{1BE00822-985F-46EF-BAEC-BB9D01F20771}"/>
                  </a:ext>
                </a:extLst>
              </p:cNvPr>
              <p:cNvSpPr/>
              <p:nvPr/>
            </p:nvSpPr>
            <p:spPr>
              <a:xfrm>
                <a:off x="6093646" y="3045410"/>
                <a:ext cx="17647" cy="56735"/>
              </a:xfrm>
              <a:custGeom>
                <a:avLst/>
                <a:gdLst>
                  <a:gd name="connsiteX0" fmla="*/ 0 w 17647"/>
                  <a:gd name="connsiteY0" fmla="*/ 0 h 56735"/>
                  <a:gd name="connsiteX1" fmla="*/ 0 w 17647"/>
                  <a:gd name="connsiteY1" fmla="*/ 56735 h 56735"/>
                </a:gdLst>
                <a:ahLst/>
                <a:cxnLst>
                  <a:cxn ang="0">
                    <a:pos x="connsiteX0" y="connsiteY0"/>
                  </a:cxn>
                  <a:cxn ang="0">
                    <a:pos x="connsiteX1" y="connsiteY1"/>
                  </a:cxn>
                </a:cxnLst>
                <a:rect l="l" t="t" r="r" b="b"/>
                <a:pathLst>
                  <a:path w="17647" h="56735">
                    <a:moveTo>
                      <a:pt x="0" y="0"/>
                    </a:moveTo>
                    <a:lnTo>
                      <a:pt x="0" y="56735"/>
                    </a:lnTo>
                  </a:path>
                </a:pathLst>
              </a:custGeom>
              <a:ln w="9624" cap="sq">
                <a:solidFill>
                  <a:srgbClr val="27377D"/>
                </a:solidFill>
                <a:prstDash val="solid"/>
                <a:miter/>
              </a:ln>
            </p:spPr>
            <p:txBody>
              <a:bodyPr rtlCol="0" anchor="ctr"/>
              <a:lstStyle/>
              <a:p>
                <a:endParaRPr lang="en-US" sz="1800" dirty="0"/>
              </a:p>
            </p:txBody>
          </p:sp>
          <p:sp>
            <p:nvSpPr>
              <p:cNvPr id="2603" name="Freeform 458">
                <a:extLst>
                  <a:ext uri="{FF2B5EF4-FFF2-40B4-BE49-F238E27FC236}">
                    <a16:creationId xmlns:a16="http://schemas.microsoft.com/office/drawing/2014/main" id="{CFBAE961-25E8-9092-4B33-C6AB0026ADC6}"/>
                  </a:ext>
                </a:extLst>
              </p:cNvPr>
              <p:cNvSpPr/>
              <p:nvPr/>
            </p:nvSpPr>
            <p:spPr>
              <a:xfrm>
                <a:off x="6081893" y="3073786"/>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604" name="Freeform 459">
                <a:extLst>
                  <a:ext uri="{FF2B5EF4-FFF2-40B4-BE49-F238E27FC236}">
                    <a16:creationId xmlns:a16="http://schemas.microsoft.com/office/drawing/2014/main" id="{60864EC0-3E67-BACF-D589-58C78DF67902}"/>
                  </a:ext>
                </a:extLst>
              </p:cNvPr>
              <p:cNvSpPr/>
              <p:nvPr/>
            </p:nvSpPr>
            <p:spPr>
              <a:xfrm>
                <a:off x="6111311" y="3045410"/>
                <a:ext cx="17647" cy="56735"/>
              </a:xfrm>
              <a:custGeom>
                <a:avLst/>
                <a:gdLst>
                  <a:gd name="connsiteX0" fmla="*/ 0 w 17647"/>
                  <a:gd name="connsiteY0" fmla="*/ 0 h 56735"/>
                  <a:gd name="connsiteX1" fmla="*/ 0 w 17647"/>
                  <a:gd name="connsiteY1" fmla="*/ 56735 h 56735"/>
                </a:gdLst>
                <a:ahLst/>
                <a:cxnLst>
                  <a:cxn ang="0">
                    <a:pos x="connsiteX0" y="connsiteY0"/>
                  </a:cxn>
                  <a:cxn ang="0">
                    <a:pos x="connsiteX1" y="connsiteY1"/>
                  </a:cxn>
                </a:cxnLst>
                <a:rect l="l" t="t" r="r" b="b"/>
                <a:pathLst>
                  <a:path w="17647" h="56735">
                    <a:moveTo>
                      <a:pt x="0" y="0"/>
                    </a:moveTo>
                    <a:lnTo>
                      <a:pt x="0" y="56735"/>
                    </a:lnTo>
                  </a:path>
                </a:pathLst>
              </a:custGeom>
              <a:ln w="9624" cap="sq">
                <a:solidFill>
                  <a:srgbClr val="27377D"/>
                </a:solidFill>
                <a:prstDash val="solid"/>
                <a:miter/>
              </a:ln>
            </p:spPr>
            <p:txBody>
              <a:bodyPr rtlCol="0" anchor="ctr"/>
              <a:lstStyle/>
              <a:p>
                <a:endParaRPr lang="en-US" sz="1800" dirty="0"/>
              </a:p>
            </p:txBody>
          </p:sp>
          <p:sp>
            <p:nvSpPr>
              <p:cNvPr id="2605" name="Freeform 460">
                <a:extLst>
                  <a:ext uri="{FF2B5EF4-FFF2-40B4-BE49-F238E27FC236}">
                    <a16:creationId xmlns:a16="http://schemas.microsoft.com/office/drawing/2014/main" id="{ACC81A43-5C29-306A-178D-39DD1C0F8A41}"/>
                  </a:ext>
                </a:extLst>
              </p:cNvPr>
              <p:cNvSpPr/>
              <p:nvPr/>
            </p:nvSpPr>
            <p:spPr>
              <a:xfrm>
                <a:off x="6087770" y="3089298"/>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606" name="Freeform 461">
                <a:extLst>
                  <a:ext uri="{FF2B5EF4-FFF2-40B4-BE49-F238E27FC236}">
                    <a16:creationId xmlns:a16="http://schemas.microsoft.com/office/drawing/2014/main" id="{82948F6F-FC65-712F-3872-168EAAA070E0}"/>
                  </a:ext>
                </a:extLst>
              </p:cNvPr>
              <p:cNvSpPr/>
              <p:nvPr/>
            </p:nvSpPr>
            <p:spPr>
              <a:xfrm>
                <a:off x="6117187" y="3060922"/>
                <a:ext cx="17647" cy="56735"/>
              </a:xfrm>
              <a:custGeom>
                <a:avLst/>
                <a:gdLst>
                  <a:gd name="connsiteX0" fmla="*/ 0 w 17647"/>
                  <a:gd name="connsiteY0" fmla="*/ 0 h 56735"/>
                  <a:gd name="connsiteX1" fmla="*/ 0 w 17647"/>
                  <a:gd name="connsiteY1" fmla="*/ 56735 h 56735"/>
                </a:gdLst>
                <a:ahLst/>
                <a:cxnLst>
                  <a:cxn ang="0">
                    <a:pos x="connsiteX0" y="connsiteY0"/>
                  </a:cxn>
                  <a:cxn ang="0">
                    <a:pos x="connsiteX1" y="connsiteY1"/>
                  </a:cxn>
                </a:cxnLst>
                <a:rect l="l" t="t" r="r" b="b"/>
                <a:pathLst>
                  <a:path w="17647" h="56735">
                    <a:moveTo>
                      <a:pt x="0" y="0"/>
                    </a:moveTo>
                    <a:lnTo>
                      <a:pt x="0" y="56735"/>
                    </a:lnTo>
                  </a:path>
                </a:pathLst>
              </a:custGeom>
              <a:ln w="9624" cap="sq">
                <a:solidFill>
                  <a:srgbClr val="27377D"/>
                </a:solidFill>
                <a:prstDash val="solid"/>
                <a:miter/>
              </a:ln>
            </p:spPr>
            <p:txBody>
              <a:bodyPr rtlCol="0" anchor="ctr"/>
              <a:lstStyle/>
              <a:p>
                <a:endParaRPr lang="en-US" sz="1800" dirty="0"/>
              </a:p>
            </p:txBody>
          </p:sp>
          <p:sp>
            <p:nvSpPr>
              <p:cNvPr id="2607" name="Freeform 462">
                <a:extLst>
                  <a:ext uri="{FF2B5EF4-FFF2-40B4-BE49-F238E27FC236}">
                    <a16:creationId xmlns:a16="http://schemas.microsoft.com/office/drawing/2014/main" id="{94E37971-E20D-C2F0-60F7-23114FCED9E9}"/>
                  </a:ext>
                </a:extLst>
              </p:cNvPr>
              <p:cNvSpPr/>
              <p:nvPr/>
            </p:nvSpPr>
            <p:spPr>
              <a:xfrm>
                <a:off x="6087770" y="3089298"/>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608" name="Freeform 463">
                <a:extLst>
                  <a:ext uri="{FF2B5EF4-FFF2-40B4-BE49-F238E27FC236}">
                    <a16:creationId xmlns:a16="http://schemas.microsoft.com/office/drawing/2014/main" id="{461655DA-6B95-E340-374B-6335A799B675}"/>
                  </a:ext>
                </a:extLst>
              </p:cNvPr>
              <p:cNvSpPr/>
              <p:nvPr/>
            </p:nvSpPr>
            <p:spPr>
              <a:xfrm>
                <a:off x="6117187" y="3060922"/>
                <a:ext cx="17647" cy="56735"/>
              </a:xfrm>
              <a:custGeom>
                <a:avLst/>
                <a:gdLst>
                  <a:gd name="connsiteX0" fmla="*/ 0 w 17647"/>
                  <a:gd name="connsiteY0" fmla="*/ 0 h 56735"/>
                  <a:gd name="connsiteX1" fmla="*/ 0 w 17647"/>
                  <a:gd name="connsiteY1" fmla="*/ 56735 h 56735"/>
                </a:gdLst>
                <a:ahLst/>
                <a:cxnLst>
                  <a:cxn ang="0">
                    <a:pos x="connsiteX0" y="connsiteY0"/>
                  </a:cxn>
                  <a:cxn ang="0">
                    <a:pos x="connsiteX1" y="connsiteY1"/>
                  </a:cxn>
                </a:cxnLst>
                <a:rect l="l" t="t" r="r" b="b"/>
                <a:pathLst>
                  <a:path w="17647" h="56735">
                    <a:moveTo>
                      <a:pt x="0" y="0"/>
                    </a:moveTo>
                    <a:lnTo>
                      <a:pt x="0" y="56735"/>
                    </a:lnTo>
                  </a:path>
                </a:pathLst>
              </a:custGeom>
              <a:ln w="9624" cap="sq">
                <a:solidFill>
                  <a:srgbClr val="27377D"/>
                </a:solidFill>
                <a:prstDash val="solid"/>
                <a:miter/>
              </a:ln>
            </p:spPr>
            <p:txBody>
              <a:bodyPr rtlCol="0" anchor="ctr"/>
              <a:lstStyle/>
              <a:p>
                <a:endParaRPr lang="en-US" sz="1800" dirty="0"/>
              </a:p>
            </p:txBody>
          </p:sp>
          <p:sp>
            <p:nvSpPr>
              <p:cNvPr id="2609" name="Freeform 464">
                <a:extLst>
                  <a:ext uri="{FF2B5EF4-FFF2-40B4-BE49-F238E27FC236}">
                    <a16:creationId xmlns:a16="http://schemas.microsoft.com/office/drawing/2014/main" id="{E9584895-4452-2A33-60BF-2AC2FB0D1DC9}"/>
                  </a:ext>
                </a:extLst>
              </p:cNvPr>
              <p:cNvSpPr/>
              <p:nvPr/>
            </p:nvSpPr>
            <p:spPr>
              <a:xfrm>
                <a:off x="6087770" y="3089298"/>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610" name="Freeform 465">
                <a:extLst>
                  <a:ext uri="{FF2B5EF4-FFF2-40B4-BE49-F238E27FC236}">
                    <a16:creationId xmlns:a16="http://schemas.microsoft.com/office/drawing/2014/main" id="{78927741-C890-265E-2479-DF5D71AC0DAB}"/>
                  </a:ext>
                </a:extLst>
              </p:cNvPr>
              <p:cNvSpPr/>
              <p:nvPr/>
            </p:nvSpPr>
            <p:spPr>
              <a:xfrm>
                <a:off x="6117187" y="3060922"/>
                <a:ext cx="17647" cy="56735"/>
              </a:xfrm>
              <a:custGeom>
                <a:avLst/>
                <a:gdLst>
                  <a:gd name="connsiteX0" fmla="*/ 0 w 17647"/>
                  <a:gd name="connsiteY0" fmla="*/ 0 h 56735"/>
                  <a:gd name="connsiteX1" fmla="*/ 0 w 17647"/>
                  <a:gd name="connsiteY1" fmla="*/ 56735 h 56735"/>
                </a:gdLst>
                <a:ahLst/>
                <a:cxnLst>
                  <a:cxn ang="0">
                    <a:pos x="connsiteX0" y="connsiteY0"/>
                  </a:cxn>
                  <a:cxn ang="0">
                    <a:pos x="connsiteX1" y="connsiteY1"/>
                  </a:cxn>
                </a:cxnLst>
                <a:rect l="l" t="t" r="r" b="b"/>
                <a:pathLst>
                  <a:path w="17647" h="56735">
                    <a:moveTo>
                      <a:pt x="0" y="0"/>
                    </a:moveTo>
                    <a:lnTo>
                      <a:pt x="0" y="56735"/>
                    </a:lnTo>
                  </a:path>
                </a:pathLst>
              </a:custGeom>
              <a:ln w="9624" cap="sq">
                <a:solidFill>
                  <a:srgbClr val="27377D"/>
                </a:solidFill>
                <a:prstDash val="solid"/>
                <a:miter/>
              </a:ln>
            </p:spPr>
            <p:txBody>
              <a:bodyPr rtlCol="0" anchor="ctr"/>
              <a:lstStyle/>
              <a:p>
                <a:endParaRPr lang="en-US" sz="1800" dirty="0"/>
              </a:p>
            </p:txBody>
          </p:sp>
          <p:sp>
            <p:nvSpPr>
              <p:cNvPr id="2611" name="Freeform 466">
                <a:extLst>
                  <a:ext uri="{FF2B5EF4-FFF2-40B4-BE49-F238E27FC236}">
                    <a16:creationId xmlns:a16="http://schemas.microsoft.com/office/drawing/2014/main" id="{0D311029-2A3A-573C-3E39-CDC079B48413}"/>
                  </a:ext>
                </a:extLst>
              </p:cNvPr>
              <p:cNvSpPr/>
              <p:nvPr/>
            </p:nvSpPr>
            <p:spPr>
              <a:xfrm>
                <a:off x="6099540" y="3105427"/>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612" name="Freeform 467">
                <a:extLst>
                  <a:ext uri="{FF2B5EF4-FFF2-40B4-BE49-F238E27FC236}">
                    <a16:creationId xmlns:a16="http://schemas.microsoft.com/office/drawing/2014/main" id="{73F8C101-695C-E86E-24FB-4F1889AEE014}"/>
                  </a:ext>
                </a:extLst>
              </p:cNvPr>
              <p:cNvSpPr/>
              <p:nvPr/>
            </p:nvSpPr>
            <p:spPr>
              <a:xfrm>
                <a:off x="6128958" y="3077051"/>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613" name="Freeform 468">
                <a:extLst>
                  <a:ext uri="{FF2B5EF4-FFF2-40B4-BE49-F238E27FC236}">
                    <a16:creationId xmlns:a16="http://schemas.microsoft.com/office/drawing/2014/main" id="{FB5C9AB0-7371-D548-FA94-A1153C1B952C}"/>
                  </a:ext>
                </a:extLst>
              </p:cNvPr>
              <p:cNvSpPr/>
              <p:nvPr/>
            </p:nvSpPr>
            <p:spPr>
              <a:xfrm>
                <a:off x="6117329" y="3105427"/>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614" name="Freeform 469">
                <a:extLst>
                  <a:ext uri="{FF2B5EF4-FFF2-40B4-BE49-F238E27FC236}">
                    <a16:creationId xmlns:a16="http://schemas.microsoft.com/office/drawing/2014/main" id="{C1DD0FD2-EA8F-101A-DBB5-F8A4740EBA6F}"/>
                  </a:ext>
                </a:extLst>
              </p:cNvPr>
              <p:cNvSpPr/>
              <p:nvPr/>
            </p:nvSpPr>
            <p:spPr>
              <a:xfrm>
                <a:off x="6146746" y="3077051"/>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615" name="Freeform 470">
                <a:extLst>
                  <a:ext uri="{FF2B5EF4-FFF2-40B4-BE49-F238E27FC236}">
                    <a16:creationId xmlns:a16="http://schemas.microsoft.com/office/drawing/2014/main" id="{C4E9E00B-E2FB-CC3B-DABB-49C639670E2C}"/>
                  </a:ext>
                </a:extLst>
              </p:cNvPr>
              <p:cNvSpPr/>
              <p:nvPr/>
            </p:nvSpPr>
            <p:spPr>
              <a:xfrm>
                <a:off x="6117329" y="3105427"/>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616" name="Freeform 471">
                <a:extLst>
                  <a:ext uri="{FF2B5EF4-FFF2-40B4-BE49-F238E27FC236}">
                    <a16:creationId xmlns:a16="http://schemas.microsoft.com/office/drawing/2014/main" id="{F2A493DF-E1C7-CAAB-14FC-E8B1583E0F98}"/>
                  </a:ext>
                </a:extLst>
              </p:cNvPr>
              <p:cNvSpPr/>
              <p:nvPr/>
            </p:nvSpPr>
            <p:spPr>
              <a:xfrm>
                <a:off x="6146746" y="3077051"/>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617" name="Freeform 472">
                <a:extLst>
                  <a:ext uri="{FF2B5EF4-FFF2-40B4-BE49-F238E27FC236}">
                    <a16:creationId xmlns:a16="http://schemas.microsoft.com/office/drawing/2014/main" id="{D7AAB26E-9FB8-B6D6-138B-4025E25F46D4}"/>
                  </a:ext>
                </a:extLst>
              </p:cNvPr>
              <p:cNvSpPr/>
              <p:nvPr/>
            </p:nvSpPr>
            <p:spPr>
              <a:xfrm>
                <a:off x="6117329" y="3105427"/>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618" name="Freeform 473">
                <a:extLst>
                  <a:ext uri="{FF2B5EF4-FFF2-40B4-BE49-F238E27FC236}">
                    <a16:creationId xmlns:a16="http://schemas.microsoft.com/office/drawing/2014/main" id="{FBFF0F53-F73A-B488-1945-2C19299BF031}"/>
                  </a:ext>
                </a:extLst>
              </p:cNvPr>
              <p:cNvSpPr/>
              <p:nvPr/>
            </p:nvSpPr>
            <p:spPr>
              <a:xfrm>
                <a:off x="6146746" y="3077051"/>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619" name="Freeform 474">
                <a:extLst>
                  <a:ext uri="{FF2B5EF4-FFF2-40B4-BE49-F238E27FC236}">
                    <a16:creationId xmlns:a16="http://schemas.microsoft.com/office/drawing/2014/main" id="{35B0C373-2457-81B0-F31A-04F6F8E7D2CE}"/>
                  </a:ext>
                </a:extLst>
              </p:cNvPr>
              <p:cNvSpPr/>
              <p:nvPr/>
            </p:nvSpPr>
            <p:spPr>
              <a:xfrm>
                <a:off x="6123205" y="3105427"/>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620" name="Freeform 475">
                <a:extLst>
                  <a:ext uri="{FF2B5EF4-FFF2-40B4-BE49-F238E27FC236}">
                    <a16:creationId xmlns:a16="http://schemas.microsoft.com/office/drawing/2014/main" id="{410B1AC4-ABBD-8FE2-2992-A44B65CABB30}"/>
                  </a:ext>
                </a:extLst>
              </p:cNvPr>
              <p:cNvSpPr/>
              <p:nvPr/>
            </p:nvSpPr>
            <p:spPr>
              <a:xfrm>
                <a:off x="6152623" y="3077051"/>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621" name="Freeform 476">
                <a:extLst>
                  <a:ext uri="{FF2B5EF4-FFF2-40B4-BE49-F238E27FC236}">
                    <a16:creationId xmlns:a16="http://schemas.microsoft.com/office/drawing/2014/main" id="{60CFF15E-9C87-FEFC-4879-F76A4F0FC8A2}"/>
                  </a:ext>
                </a:extLst>
              </p:cNvPr>
              <p:cNvSpPr/>
              <p:nvPr/>
            </p:nvSpPr>
            <p:spPr>
              <a:xfrm>
                <a:off x="6129081" y="3105427"/>
                <a:ext cx="58852" cy="17647"/>
              </a:xfrm>
              <a:custGeom>
                <a:avLst/>
                <a:gdLst>
                  <a:gd name="connsiteX0" fmla="*/ 0 w 58852"/>
                  <a:gd name="connsiteY0" fmla="*/ 0 h 17647"/>
                  <a:gd name="connsiteX1" fmla="*/ 58853 w 58852"/>
                  <a:gd name="connsiteY1" fmla="*/ 0 h 17647"/>
                </a:gdLst>
                <a:ahLst/>
                <a:cxnLst>
                  <a:cxn ang="0">
                    <a:pos x="connsiteX0" y="connsiteY0"/>
                  </a:cxn>
                  <a:cxn ang="0">
                    <a:pos x="connsiteX1" y="connsiteY1"/>
                  </a:cxn>
                </a:cxnLst>
                <a:rect l="l" t="t" r="r" b="b"/>
                <a:pathLst>
                  <a:path w="58852" h="17647">
                    <a:moveTo>
                      <a:pt x="0" y="0"/>
                    </a:moveTo>
                    <a:lnTo>
                      <a:pt x="58853" y="0"/>
                    </a:lnTo>
                  </a:path>
                </a:pathLst>
              </a:custGeom>
              <a:ln w="9624" cap="sq">
                <a:solidFill>
                  <a:srgbClr val="27377D"/>
                </a:solidFill>
                <a:prstDash val="solid"/>
                <a:miter/>
              </a:ln>
            </p:spPr>
            <p:txBody>
              <a:bodyPr rtlCol="0" anchor="ctr"/>
              <a:lstStyle/>
              <a:p>
                <a:endParaRPr lang="en-US" sz="1800" dirty="0"/>
              </a:p>
            </p:txBody>
          </p:sp>
          <p:sp>
            <p:nvSpPr>
              <p:cNvPr id="2622" name="Freeform 477">
                <a:extLst>
                  <a:ext uri="{FF2B5EF4-FFF2-40B4-BE49-F238E27FC236}">
                    <a16:creationId xmlns:a16="http://schemas.microsoft.com/office/drawing/2014/main" id="{33C0E43D-7F5C-4697-937E-FA391A54EF3D}"/>
                  </a:ext>
                </a:extLst>
              </p:cNvPr>
              <p:cNvSpPr/>
              <p:nvPr/>
            </p:nvSpPr>
            <p:spPr>
              <a:xfrm>
                <a:off x="6158517" y="3077051"/>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623" name="Freeform 478">
                <a:extLst>
                  <a:ext uri="{FF2B5EF4-FFF2-40B4-BE49-F238E27FC236}">
                    <a16:creationId xmlns:a16="http://schemas.microsoft.com/office/drawing/2014/main" id="{8D552193-7145-FE4F-DB28-96F231551842}"/>
                  </a:ext>
                </a:extLst>
              </p:cNvPr>
              <p:cNvSpPr/>
              <p:nvPr/>
            </p:nvSpPr>
            <p:spPr>
              <a:xfrm>
                <a:off x="6129081" y="3105427"/>
                <a:ext cx="58852" cy="17647"/>
              </a:xfrm>
              <a:custGeom>
                <a:avLst/>
                <a:gdLst>
                  <a:gd name="connsiteX0" fmla="*/ 0 w 58852"/>
                  <a:gd name="connsiteY0" fmla="*/ 0 h 17647"/>
                  <a:gd name="connsiteX1" fmla="*/ 58853 w 58852"/>
                  <a:gd name="connsiteY1" fmla="*/ 0 h 17647"/>
                </a:gdLst>
                <a:ahLst/>
                <a:cxnLst>
                  <a:cxn ang="0">
                    <a:pos x="connsiteX0" y="connsiteY0"/>
                  </a:cxn>
                  <a:cxn ang="0">
                    <a:pos x="connsiteX1" y="connsiteY1"/>
                  </a:cxn>
                </a:cxnLst>
                <a:rect l="l" t="t" r="r" b="b"/>
                <a:pathLst>
                  <a:path w="58852" h="17647">
                    <a:moveTo>
                      <a:pt x="0" y="0"/>
                    </a:moveTo>
                    <a:lnTo>
                      <a:pt x="58853" y="0"/>
                    </a:lnTo>
                  </a:path>
                </a:pathLst>
              </a:custGeom>
              <a:ln w="9624" cap="sq">
                <a:solidFill>
                  <a:srgbClr val="27377D"/>
                </a:solidFill>
                <a:prstDash val="solid"/>
                <a:miter/>
              </a:ln>
            </p:spPr>
            <p:txBody>
              <a:bodyPr rtlCol="0" anchor="ctr"/>
              <a:lstStyle/>
              <a:p>
                <a:endParaRPr lang="en-US" sz="1800" dirty="0"/>
              </a:p>
            </p:txBody>
          </p:sp>
          <p:sp>
            <p:nvSpPr>
              <p:cNvPr id="2624" name="Freeform 479">
                <a:extLst>
                  <a:ext uri="{FF2B5EF4-FFF2-40B4-BE49-F238E27FC236}">
                    <a16:creationId xmlns:a16="http://schemas.microsoft.com/office/drawing/2014/main" id="{C4666EA6-0DFA-E774-7C68-9F079E6143FA}"/>
                  </a:ext>
                </a:extLst>
              </p:cNvPr>
              <p:cNvSpPr/>
              <p:nvPr/>
            </p:nvSpPr>
            <p:spPr>
              <a:xfrm>
                <a:off x="6158517" y="3077051"/>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625" name="Freeform 480">
                <a:extLst>
                  <a:ext uri="{FF2B5EF4-FFF2-40B4-BE49-F238E27FC236}">
                    <a16:creationId xmlns:a16="http://schemas.microsoft.com/office/drawing/2014/main" id="{97091F6D-1091-0E86-8997-77923A63DD6A}"/>
                  </a:ext>
                </a:extLst>
              </p:cNvPr>
              <p:cNvSpPr/>
              <p:nvPr/>
            </p:nvSpPr>
            <p:spPr>
              <a:xfrm>
                <a:off x="6152623" y="3105427"/>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626" name="Freeform 481">
                <a:extLst>
                  <a:ext uri="{FF2B5EF4-FFF2-40B4-BE49-F238E27FC236}">
                    <a16:creationId xmlns:a16="http://schemas.microsoft.com/office/drawing/2014/main" id="{3509475D-5A8C-429F-7C37-6179F592B0DC}"/>
                  </a:ext>
                </a:extLst>
              </p:cNvPr>
              <p:cNvSpPr/>
              <p:nvPr/>
            </p:nvSpPr>
            <p:spPr>
              <a:xfrm>
                <a:off x="6182040" y="3077051"/>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627" name="Freeform 482">
                <a:extLst>
                  <a:ext uri="{FF2B5EF4-FFF2-40B4-BE49-F238E27FC236}">
                    <a16:creationId xmlns:a16="http://schemas.microsoft.com/office/drawing/2014/main" id="{31585BBB-2452-C0EE-3152-CE507D5DA28D}"/>
                  </a:ext>
                </a:extLst>
              </p:cNvPr>
              <p:cNvSpPr/>
              <p:nvPr/>
            </p:nvSpPr>
            <p:spPr>
              <a:xfrm>
                <a:off x="6293975" y="3140492"/>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628" name="Freeform 483">
                <a:extLst>
                  <a:ext uri="{FF2B5EF4-FFF2-40B4-BE49-F238E27FC236}">
                    <a16:creationId xmlns:a16="http://schemas.microsoft.com/office/drawing/2014/main" id="{26F9D455-4135-A5F7-A41E-D9137CE124AE}"/>
                  </a:ext>
                </a:extLst>
              </p:cNvPr>
              <p:cNvSpPr/>
              <p:nvPr/>
            </p:nvSpPr>
            <p:spPr>
              <a:xfrm>
                <a:off x="6323393" y="3112116"/>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629" name="Freeform 484">
                <a:extLst>
                  <a:ext uri="{FF2B5EF4-FFF2-40B4-BE49-F238E27FC236}">
                    <a16:creationId xmlns:a16="http://schemas.microsoft.com/office/drawing/2014/main" id="{9ED6A48F-086D-7B43-10C5-9E48F49710A7}"/>
                  </a:ext>
                </a:extLst>
              </p:cNvPr>
              <p:cNvSpPr/>
              <p:nvPr/>
            </p:nvSpPr>
            <p:spPr>
              <a:xfrm>
                <a:off x="6293975" y="3140492"/>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630" name="Freeform 485">
                <a:extLst>
                  <a:ext uri="{FF2B5EF4-FFF2-40B4-BE49-F238E27FC236}">
                    <a16:creationId xmlns:a16="http://schemas.microsoft.com/office/drawing/2014/main" id="{B3F10C78-36F9-629D-0B3C-AD532C13F7BA}"/>
                  </a:ext>
                </a:extLst>
              </p:cNvPr>
              <p:cNvSpPr/>
              <p:nvPr/>
            </p:nvSpPr>
            <p:spPr>
              <a:xfrm>
                <a:off x="6323393" y="3112116"/>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631" name="Freeform 486">
                <a:extLst>
                  <a:ext uri="{FF2B5EF4-FFF2-40B4-BE49-F238E27FC236}">
                    <a16:creationId xmlns:a16="http://schemas.microsoft.com/office/drawing/2014/main" id="{0D1F53A3-4D69-6456-8B09-1E58F05BE8F1}"/>
                  </a:ext>
                </a:extLst>
              </p:cNvPr>
              <p:cNvSpPr/>
              <p:nvPr/>
            </p:nvSpPr>
            <p:spPr>
              <a:xfrm>
                <a:off x="6323393" y="3158386"/>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632" name="Freeform 487">
                <a:extLst>
                  <a:ext uri="{FF2B5EF4-FFF2-40B4-BE49-F238E27FC236}">
                    <a16:creationId xmlns:a16="http://schemas.microsoft.com/office/drawing/2014/main" id="{63D84AF0-C893-F710-E86A-940B30714A93}"/>
                  </a:ext>
                </a:extLst>
              </p:cNvPr>
              <p:cNvSpPr/>
              <p:nvPr/>
            </p:nvSpPr>
            <p:spPr>
              <a:xfrm>
                <a:off x="6352810" y="3130027"/>
                <a:ext cx="17647" cy="56735"/>
              </a:xfrm>
              <a:custGeom>
                <a:avLst/>
                <a:gdLst>
                  <a:gd name="connsiteX0" fmla="*/ 0 w 17647"/>
                  <a:gd name="connsiteY0" fmla="*/ 0 h 56735"/>
                  <a:gd name="connsiteX1" fmla="*/ 0 w 17647"/>
                  <a:gd name="connsiteY1" fmla="*/ 56735 h 56735"/>
                </a:gdLst>
                <a:ahLst/>
                <a:cxnLst>
                  <a:cxn ang="0">
                    <a:pos x="connsiteX0" y="connsiteY0"/>
                  </a:cxn>
                  <a:cxn ang="0">
                    <a:pos x="connsiteX1" y="connsiteY1"/>
                  </a:cxn>
                </a:cxnLst>
                <a:rect l="l" t="t" r="r" b="b"/>
                <a:pathLst>
                  <a:path w="17647" h="56735">
                    <a:moveTo>
                      <a:pt x="0" y="0"/>
                    </a:moveTo>
                    <a:lnTo>
                      <a:pt x="0" y="56735"/>
                    </a:lnTo>
                  </a:path>
                </a:pathLst>
              </a:custGeom>
              <a:ln w="9624" cap="sq">
                <a:solidFill>
                  <a:srgbClr val="27377D"/>
                </a:solidFill>
                <a:prstDash val="solid"/>
                <a:miter/>
              </a:ln>
            </p:spPr>
            <p:txBody>
              <a:bodyPr rtlCol="0" anchor="ctr"/>
              <a:lstStyle/>
              <a:p>
                <a:endParaRPr lang="en-US" sz="1800" dirty="0"/>
              </a:p>
            </p:txBody>
          </p:sp>
          <p:sp>
            <p:nvSpPr>
              <p:cNvPr id="2633" name="Freeform 488">
                <a:extLst>
                  <a:ext uri="{FF2B5EF4-FFF2-40B4-BE49-F238E27FC236}">
                    <a16:creationId xmlns:a16="http://schemas.microsoft.com/office/drawing/2014/main" id="{46E43868-6A07-C7E5-0C00-C85E40A03859}"/>
                  </a:ext>
                </a:extLst>
              </p:cNvPr>
              <p:cNvSpPr/>
              <p:nvPr/>
            </p:nvSpPr>
            <p:spPr>
              <a:xfrm>
                <a:off x="6329410" y="3158386"/>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634" name="Freeform 489">
                <a:extLst>
                  <a:ext uri="{FF2B5EF4-FFF2-40B4-BE49-F238E27FC236}">
                    <a16:creationId xmlns:a16="http://schemas.microsoft.com/office/drawing/2014/main" id="{13B3B74A-EE74-6F45-6D17-3B4EE6FC7C5F}"/>
                  </a:ext>
                </a:extLst>
              </p:cNvPr>
              <p:cNvSpPr/>
              <p:nvPr/>
            </p:nvSpPr>
            <p:spPr>
              <a:xfrm>
                <a:off x="6358828" y="3130027"/>
                <a:ext cx="17647" cy="56735"/>
              </a:xfrm>
              <a:custGeom>
                <a:avLst/>
                <a:gdLst>
                  <a:gd name="connsiteX0" fmla="*/ 0 w 17647"/>
                  <a:gd name="connsiteY0" fmla="*/ 0 h 56735"/>
                  <a:gd name="connsiteX1" fmla="*/ 0 w 17647"/>
                  <a:gd name="connsiteY1" fmla="*/ 56735 h 56735"/>
                </a:gdLst>
                <a:ahLst/>
                <a:cxnLst>
                  <a:cxn ang="0">
                    <a:pos x="connsiteX0" y="connsiteY0"/>
                  </a:cxn>
                  <a:cxn ang="0">
                    <a:pos x="connsiteX1" y="connsiteY1"/>
                  </a:cxn>
                </a:cxnLst>
                <a:rect l="l" t="t" r="r" b="b"/>
                <a:pathLst>
                  <a:path w="17647" h="56735">
                    <a:moveTo>
                      <a:pt x="0" y="0"/>
                    </a:moveTo>
                    <a:lnTo>
                      <a:pt x="0" y="56735"/>
                    </a:lnTo>
                  </a:path>
                </a:pathLst>
              </a:custGeom>
              <a:ln w="9624" cap="sq">
                <a:solidFill>
                  <a:srgbClr val="27377D"/>
                </a:solidFill>
                <a:prstDash val="solid"/>
                <a:miter/>
              </a:ln>
            </p:spPr>
            <p:txBody>
              <a:bodyPr rtlCol="0" anchor="ctr"/>
              <a:lstStyle/>
              <a:p>
                <a:endParaRPr lang="en-US" sz="1800" dirty="0"/>
              </a:p>
            </p:txBody>
          </p:sp>
          <p:sp>
            <p:nvSpPr>
              <p:cNvPr id="2635" name="Freeform 490">
                <a:extLst>
                  <a:ext uri="{FF2B5EF4-FFF2-40B4-BE49-F238E27FC236}">
                    <a16:creationId xmlns:a16="http://schemas.microsoft.com/office/drawing/2014/main" id="{EA3720EC-A231-EDC2-0042-C31F25783505}"/>
                  </a:ext>
                </a:extLst>
              </p:cNvPr>
              <p:cNvSpPr/>
              <p:nvPr/>
            </p:nvSpPr>
            <p:spPr>
              <a:xfrm>
                <a:off x="6329410" y="3158386"/>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636" name="Freeform 491">
                <a:extLst>
                  <a:ext uri="{FF2B5EF4-FFF2-40B4-BE49-F238E27FC236}">
                    <a16:creationId xmlns:a16="http://schemas.microsoft.com/office/drawing/2014/main" id="{D8FA5763-BB2A-0295-F93E-CD4E9E8BCCAD}"/>
                  </a:ext>
                </a:extLst>
              </p:cNvPr>
              <p:cNvSpPr/>
              <p:nvPr/>
            </p:nvSpPr>
            <p:spPr>
              <a:xfrm>
                <a:off x="6358828" y="3130027"/>
                <a:ext cx="17647" cy="56735"/>
              </a:xfrm>
              <a:custGeom>
                <a:avLst/>
                <a:gdLst>
                  <a:gd name="connsiteX0" fmla="*/ 0 w 17647"/>
                  <a:gd name="connsiteY0" fmla="*/ 0 h 56735"/>
                  <a:gd name="connsiteX1" fmla="*/ 0 w 17647"/>
                  <a:gd name="connsiteY1" fmla="*/ 56735 h 56735"/>
                </a:gdLst>
                <a:ahLst/>
                <a:cxnLst>
                  <a:cxn ang="0">
                    <a:pos x="connsiteX0" y="connsiteY0"/>
                  </a:cxn>
                  <a:cxn ang="0">
                    <a:pos x="connsiteX1" y="connsiteY1"/>
                  </a:cxn>
                </a:cxnLst>
                <a:rect l="l" t="t" r="r" b="b"/>
                <a:pathLst>
                  <a:path w="17647" h="56735">
                    <a:moveTo>
                      <a:pt x="0" y="0"/>
                    </a:moveTo>
                    <a:lnTo>
                      <a:pt x="0" y="56735"/>
                    </a:lnTo>
                  </a:path>
                </a:pathLst>
              </a:custGeom>
              <a:ln w="9624" cap="sq">
                <a:solidFill>
                  <a:srgbClr val="27377D"/>
                </a:solidFill>
                <a:prstDash val="solid"/>
                <a:miter/>
              </a:ln>
            </p:spPr>
            <p:txBody>
              <a:bodyPr rtlCol="0" anchor="ctr"/>
              <a:lstStyle/>
              <a:p>
                <a:endParaRPr lang="en-US" sz="1800" dirty="0"/>
              </a:p>
            </p:txBody>
          </p:sp>
          <p:sp>
            <p:nvSpPr>
              <p:cNvPr id="2637" name="Freeform 492">
                <a:extLst>
                  <a:ext uri="{FF2B5EF4-FFF2-40B4-BE49-F238E27FC236}">
                    <a16:creationId xmlns:a16="http://schemas.microsoft.com/office/drawing/2014/main" id="{814C256A-AC2D-15F1-E39E-416F63F95F5A}"/>
                  </a:ext>
                </a:extLst>
              </p:cNvPr>
              <p:cNvSpPr/>
              <p:nvPr/>
            </p:nvSpPr>
            <p:spPr>
              <a:xfrm>
                <a:off x="6411787" y="3158386"/>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638" name="Freeform 493">
                <a:extLst>
                  <a:ext uri="{FF2B5EF4-FFF2-40B4-BE49-F238E27FC236}">
                    <a16:creationId xmlns:a16="http://schemas.microsoft.com/office/drawing/2014/main" id="{7B9A484B-8415-2A18-019A-3B67069F59B4}"/>
                  </a:ext>
                </a:extLst>
              </p:cNvPr>
              <p:cNvSpPr/>
              <p:nvPr/>
            </p:nvSpPr>
            <p:spPr>
              <a:xfrm>
                <a:off x="6441204" y="3130027"/>
                <a:ext cx="17647" cy="56735"/>
              </a:xfrm>
              <a:custGeom>
                <a:avLst/>
                <a:gdLst>
                  <a:gd name="connsiteX0" fmla="*/ 0 w 17647"/>
                  <a:gd name="connsiteY0" fmla="*/ 0 h 56735"/>
                  <a:gd name="connsiteX1" fmla="*/ 0 w 17647"/>
                  <a:gd name="connsiteY1" fmla="*/ 56735 h 56735"/>
                </a:gdLst>
                <a:ahLst/>
                <a:cxnLst>
                  <a:cxn ang="0">
                    <a:pos x="connsiteX0" y="connsiteY0"/>
                  </a:cxn>
                  <a:cxn ang="0">
                    <a:pos x="connsiteX1" y="connsiteY1"/>
                  </a:cxn>
                </a:cxnLst>
                <a:rect l="l" t="t" r="r" b="b"/>
                <a:pathLst>
                  <a:path w="17647" h="56735">
                    <a:moveTo>
                      <a:pt x="0" y="0"/>
                    </a:moveTo>
                    <a:lnTo>
                      <a:pt x="0" y="56735"/>
                    </a:lnTo>
                  </a:path>
                </a:pathLst>
              </a:custGeom>
              <a:ln w="9624" cap="sq">
                <a:solidFill>
                  <a:srgbClr val="27377D"/>
                </a:solidFill>
                <a:prstDash val="solid"/>
                <a:miter/>
              </a:ln>
            </p:spPr>
            <p:txBody>
              <a:bodyPr rtlCol="0" anchor="ctr"/>
              <a:lstStyle/>
              <a:p>
                <a:endParaRPr lang="en-US" sz="1800" dirty="0"/>
              </a:p>
            </p:txBody>
          </p:sp>
          <p:sp>
            <p:nvSpPr>
              <p:cNvPr id="2639" name="Freeform 494">
                <a:extLst>
                  <a:ext uri="{FF2B5EF4-FFF2-40B4-BE49-F238E27FC236}">
                    <a16:creationId xmlns:a16="http://schemas.microsoft.com/office/drawing/2014/main" id="{D8FE5A63-4896-459B-C1CA-693D78125434}"/>
                  </a:ext>
                </a:extLst>
              </p:cNvPr>
              <p:cNvSpPr/>
              <p:nvPr/>
            </p:nvSpPr>
            <p:spPr>
              <a:xfrm>
                <a:off x="6411787" y="3158386"/>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640" name="Freeform 495">
                <a:extLst>
                  <a:ext uri="{FF2B5EF4-FFF2-40B4-BE49-F238E27FC236}">
                    <a16:creationId xmlns:a16="http://schemas.microsoft.com/office/drawing/2014/main" id="{FEA0A5E8-5D16-D5DA-3AE4-924506816ADF}"/>
                  </a:ext>
                </a:extLst>
              </p:cNvPr>
              <p:cNvSpPr/>
              <p:nvPr/>
            </p:nvSpPr>
            <p:spPr>
              <a:xfrm>
                <a:off x="6441204" y="3130027"/>
                <a:ext cx="17647" cy="56735"/>
              </a:xfrm>
              <a:custGeom>
                <a:avLst/>
                <a:gdLst>
                  <a:gd name="connsiteX0" fmla="*/ 0 w 17647"/>
                  <a:gd name="connsiteY0" fmla="*/ 0 h 56735"/>
                  <a:gd name="connsiteX1" fmla="*/ 0 w 17647"/>
                  <a:gd name="connsiteY1" fmla="*/ 56735 h 56735"/>
                </a:gdLst>
                <a:ahLst/>
                <a:cxnLst>
                  <a:cxn ang="0">
                    <a:pos x="connsiteX0" y="connsiteY0"/>
                  </a:cxn>
                  <a:cxn ang="0">
                    <a:pos x="connsiteX1" y="connsiteY1"/>
                  </a:cxn>
                </a:cxnLst>
                <a:rect l="l" t="t" r="r" b="b"/>
                <a:pathLst>
                  <a:path w="17647" h="56735">
                    <a:moveTo>
                      <a:pt x="0" y="0"/>
                    </a:moveTo>
                    <a:lnTo>
                      <a:pt x="0" y="56735"/>
                    </a:lnTo>
                  </a:path>
                </a:pathLst>
              </a:custGeom>
              <a:ln w="9624" cap="sq">
                <a:solidFill>
                  <a:srgbClr val="27377D"/>
                </a:solidFill>
                <a:prstDash val="solid"/>
                <a:miter/>
              </a:ln>
            </p:spPr>
            <p:txBody>
              <a:bodyPr rtlCol="0" anchor="ctr"/>
              <a:lstStyle/>
              <a:p>
                <a:endParaRPr lang="en-US" sz="1800" dirty="0"/>
              </a:p>
            </p:txBody>
          </p:sp>
          <p:sp>
            <p:nvSpPr>
              <p:cNvPr id="2641" name="Freeform 496">
                <a:extLst>
                  <a:ext uri="{FF2B5EF4-FFF2-40B4-BE49-F238E27FC236}">
                    <a16:creationId xmlns:a16="http://schemas.microsoft.com/office/drawing/2014/main" id="{65327241-BC3F-71CF-8973-37CD91474E80}"/>
                  </a:ext>
                </a:extLst>
              </p:cNvPr>
              <p:cNvSpPr/>
              <p:nvPr/>
            </p:nvSpPr>
            <p:spPr>
              <a:xfrm>
                <a:off x="6458993" y="3158386"/>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642" name="Freeform 497">
                <a:extLst>
                  <a:ext uri="{FF2B5EF4-FFF2-40B4-BE49-F238E27FC236}">
                    <a16:creationId xmlns:a16="http://schemas.microsoft.com/office/drawing/2014/main" id="{899E23C7-FD73-7DC4-7F1C-96232184B729}"/>
                  </a:ext>
                </a:extLst>
              </p:cNvPr>
              <p:cNvSpPr/>
              <p:nvPr/>
            </p:nvSpPr>
            <p:spPr>
              <a:xfrm>
                <a:off x="6488410" y="3130027"/>
                <a:ext cx="17647" cy="56735"/>
              </a:xfrm>
              <a:custGeom>
                <a:avLst/>
                <a:gdLst>
                  <a:gd name="connsiteX0" fmla="*/ 0 w 17647"/>
                  <a:gd name="connsiteY0" fmla="*/ 0 h 56735"/>
                  <a:gd name="connsiteX1" fmla="*/ 0 w 17647"/>
                  <a:gd name="connsiteY1" fmla="*/ 56735 h 56735"/>
                </a:gdLst>
                <a:ahLst/>
                <a:cxnLst>
                  <a:cxn ang="0">
                    <a:pos x="connsiteX0" y="connsiteY0"/>
                  </a:cxn>
                  <a:cxn ang="0">
                    <a:pos x="connsiteX1" y="connsiteY1"/>
                  </a:cxn>
                </a:cxnLst>
                <a:rect l="l" t="t" r="r" b="b"/>
                <a:pathLst>
                  <a:path w="17647" h="56735">
                    <a:moveTo>
                      <a:pt x="0" y="0"/>
                    </a:moveTo>
                    <a:lnTo>
                      <a:pt x="0" y="56735"/>
                    </a:lnTo>
                  </a:path>
                </a:pathLst>
              </a:custGeom>
              <a:ln w="9624" cap="sq">
                <a:solidFill>
                  <a:srgbClr val="27377D"/>
                </a:solidFill>
                <a:prstDash val="solid"/>
                <a:miter/>
              </a:ln>
            </p:spPr>
            <p:txBody>
              <a:bodyPr rtlCol="0" anchor="ctr"/>
              <a:lstStyle/>
              <a:p>
                <a:endParaRPr lang="en-US" sz="1800" dirty="0"/>
              </a:p>
            </p:txBody>
          </p:sp>
          <p:sp>
            <p:nvSpPr>
              <p:cNvPr id="2643" name="Freeform 498">
                <a:extLst>
                  <a:ext uri="{FF2B5EF4-FFF2-40B4-BE49-F238E27FC236}">
                    <a16:creationId xmlns:a16="http://schemas.microsoft.com/office/drawing/2014/main" id="{C3EDEFBC-AED6-FCF4-7DF3-B5CBC0627A9A}"/>
                  </a:ext>
                </a:extLst>
              </p:cNvPr>
              <p:cNvSpPr/>
              <p:nvPr/>
            </p:nvSpPr>
            <p:spPr>
              <a:xfrm>
                <a:off x="6553263" y="3158386"/>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644" name="Freeform 499">
                <a:extLst>
                  <a:ext uri="{FF2B5EF4-FFF2-40B4-BE49-F238E27FC236}">
                    <a16:creationId xmlns:a16="http://schemas.microsoft.com/office/drawing/2014/main" id="{66914C12-ECD3-7D5E-DD78-CEE0DBD5979B}"/>
                  </a:ext>
                </a:extLst>
              </p:cNvPr>
              <p:cNvSpPr/>
              <p:nvPr/>
            </p:nvSpPr>
            <p:spPr>
              <a:xfrm>
                <a:off x="6582681" y="3130027"/>
                <a:ext cx="17647" cy="56735"/>
              </a:xfrm>
              <a:custGeom>
                <a:avLst/>
                <a:gdLst>
                  <a:gd name="connsiteX0" fmla="*/ 0 w 17647"/>
                  <a:gd name="connsiteY0" fmla="*/ 0 h 56735"/>
                  <a:gd name="connsiteX1" fmla="*/ 0 w 17647"/>
                  <a:gd name="connsiteY1" fmla="*/ 56735 h 56735"/>
                </a:gdLst>
                <a:ahLst/>
                <a:cxnLst>
                  <a:cxn ang="0">
                    <a:pos x="connsiteX0" y="connsiteY0"/>
                  </a:cxn>
                  <a:cxn ang="0">
                    <a:pos x="connsiteX1" y="connsiteY1"/>
                  </a:cxn>
                </a:cxnLst>
                <a:rect l="l" t="t" r="r" b="b"/>
                <a:pathLst>
                  <a:path w="17647" h="56735">
                    <a:moveTo>
                      <a:pt x="0" y="0"/>
                    </a:moveTo>
                    <a:lnTo>
                      <a:pt x="0" y="56735"/>
                    </a:lnTo>
                  </a:path>
                </a:pathLst>
              </a:custGeom>
              <a:ln w="9624" cap="sq">
                <a:solidFill>
                  <a:srgbClr val="27377D"/>
                </a:solidFill>
                <a:prstDash val="solid"/>
                <a:miter/>
              </a:ln>
            </p:spPr>
            <p:txBody>
              <a:bodyPr rtlCol="0" anchor="ctr"/>
              <a:lstStyle/>
              <a:p>
                <a:endParaRPr lang="en-US" sz="1800" dirty="0"/>
              </a:p>
            </p:txBody>
          </p:sp>
          <p:sp>
            <p:nvSpPr>
              <p:cNvPr id="2645" name="Freeform 500">
                <a:extLst>
                  <a:ext uri="{FF2B5EF4-FFF2-40B4-BE49-F238E27FC236}">
                    <a16:creationId xmlns:a16="http://schemas.microsoft.com/office/drawing/2014/main" id="{94F13F32-F3CE-1170-5C76-CF86E3DA9080}"/>
                  </a:ext>
                </a:extLst>
              </p:cNvPr>
              <p:cNvSpPr/>
              <p:nvPr/>
            </p:nvSpPr>
            <p:spPr>
              <a:xfrm>
                <a:off x="6570910" y="3178063"/>
                <a:ext cx="58852" cy="17647"/>
              </a:xfrm>
              <a:custGeom>
                <a:avLst/>
                <a:gdLst>
                  <a:gd name="connsiteX0" fmla="*/ 0 w 58852"/>
                  <a:gd name="connsiteY0" fmla="*/ 0 h 17647"/>
                  <a:gd name="connsiteX1" fmla="*/ 58853 w 58852"/>
                  <a:gd name="connsiteY1" fmla="*/ 0 h 17647"/>
                </a:gdLst>
                <a:ahLst/>
                <a:cxnLst>
                  <a:cxn ang="0">
                    <a:pos x="connsiteX0" y="connsiteY0"/>
                  </a:cxn>
                  <a:cxn ang="0">
                    <a:pos x="connsiteX1" y="connsiteY1"/>
                  </a:cxn>
                </a:cxnLst>
                <a:rect l="l" t="t" r="r" b="b"/>
                <a:pathLst>
                  <a:path w="58852" h="17647">
                    <a:moveTo>
                      <a:pt x="0" y="0"/>
                    </a:moveTo>
                    <a:lnTo>
                      <a:pt x="58853" y="0"/>
                    </a:lnTo>
                  </a:path>
                </a:pathLst>
              </a:custGeom>
              <a:ln w="9624" cap="sq">
                <a:solidFill>
                  <a:srgbClr val="27377D"/>
                </a:solidFill>
                <a:prstDash val="solid"/>
                <a:miter/>
              </a:ln>
            </p:spPr>
            <p:txBody>
              <a:bodyPr rtlCol="0" anchor="ctr"/>
              <a:lstStyle/>
              <a:p>
                <a:endParaRPr lang="en-US" sz="1800" dirty="0"/>
              </a:p>
            </p:txBody>
          </p:sp>
          <p:sp>
            <p:nvSpPr>
              <p:cNvPr id="2646" name="Freeform 501">
                <a:extLst>
                  <a:ext uri="{FF2B5EF4-FFF2-40B4-BE49-F238E27FC236}">
                    <a16:creationId xmlns:a16="http://schemas.microsoft.com/office/drawing/2014/main" id="{EA3DB31C-CD26-0F7A-E5CA-2E1760DA646B}"/>
                  </a:ext>
                </a:extLst>
              </p:cNvPr>
              <p:cNvSpPr/>
              <p:nvPr/>
            </p:nvSpPr>
            <p:spPr>
              <a:xfrm>
                <a:off x="6600328" y="3149686"/>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647" name="Freeform 502">
                <a:extLst>
                  <a:ext uri="{FF2B5EF4-FFF2-40B4-BE49-F238E27FC236}">
                    <a16:creationId xmlns:a16="http://schemas.microsoft.com/office/drawing/2014/main" id="{F2DE2AE2-7C11-172D-69CF-13B7F297676D}"/>
                  </a:ext>
                </a:extLst>
              </p:cNvPr>
              <p:cNvSpPr/>
              <p:nvPr/>
            </p:nvSpPr>
            <p:spPr>
              <a:xfrm>
                <a:off x="6570910" y="3178063"/>
                <a:ext cx="58852" cy="17647"/>
              </a:xfrm>
              <a:custGeom>
                <a:avLst/>
                <a:gdLst>
                  <a:gd name="connsiteX0" fmla="*/ 0 w 58852"/>
                  <a:gd name="connsiteY0" fmla="*/ 0 h 17647"/>
                  <a:gd name="connsiteX1" fmla="*/ 58853 w 58852"/>
                  <a:gd name="connsiteY1" fmla="*/ 0 h 17647"/>
                </a:gdLst>
                <a:ahLst/>
                <a:cxnLst>
                  <a:cxn ang="0">
                    <a:pos x="connsiteX0" y="connsiteY0"/>
                  </a:cxn>
                  <a:cxn ang="0">
                    <a:pos x="connsiteX1" y="connsiteY1"/>
                  </a:cxn>
                </a:cxnLst>
                <a:rect l="l" t="t" r="r" b="b"/>
                <a:pathLst>
                  <a:path w="58852" h="17647">
                    <a:moveTo>
                      <a:pt x="0" y="0"/>
                    </a:moveTo>
                    <a:lnTo>
                      <a:pt x="58853" y="0"/>
                    </a:lnTo>
                  </a:path>
                </a:pathLst>
              </a:custGeom>
              <a:ln w="9624" cap="sq">
                <a:solidFill>
                  <a:srgbClr val="27377D"/>
                </a:solidFill>
                <a:prstDash val="solid"/>
                <a:miter/>
              </a:ln>
            </p:spPr>
            <p:txBody>
              <a:bodyPr rtlCol="0" anchor="ctr"/>
              <a:lstStyle/>
              <a:p>
                <a:endParaRPr lang="en-US" sz="1800" dirty="0"/>
              </a:p>
            </p:txBody>
          </p:sp>
          <p:sp>
            <p:nvSpPr>
              <p:cNvPr id="2648" name="Freeform 503">
                <a:extLst>
                  <a:ext uri="{FF2B5EF4-FFF2-40B4-BE49-F238E27FC236}">
                    <a16:creationId xmlns:a16="http://schemas.microsoft.com/office/drawing/2014/main" id="{4B801D48-9FB6-A4C0-C671-D6D8E7036E30}"/>
                  </a:ext>
                </a:extLst>
              </p:cNvPr>
              <p:cNvSpPr/>
              <p:nvPr/>
            </p:nvSpPr>
            <p:spPr>
              <a:xfrm>
                <a:off x="6600328" y="3149686"/>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649" name="Freeform 504">
                <a:extLst>
                  <a:ext uri="{FF2B5EF4-FFF2-40B4-BE49-F238E27FC236}">
                    <a16:creationId xmlns:a16="http://schemas.microsoft.com/office/drawing/2014/main" id="{9B90233E-CB52-15CF-A6EA-408149DC013E}"/>
                  </a:ext>
                </a:extLst>
              </p:cNvPr>
              <p:cNvSpPr/>
              <p:nvPr/>
            </p:nvSpPr>
            <p:spPr>
              <a:xfrm>
                <a:off x="6582681" y="3178063"/>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650" name="Freeform 505">
                <a:extLst>
                  <a:ext uri="{FF2B5EF4-FFF2-40B4-BE49-F238E27FC236}">
                    <a16:creationId xmlns:a16="http://schemas.microsoft.com/office/drawing/2014/main" id="{D983F87E-69FC-430F-431A-7FA7AFA972F3}"/>
                  </a:ext>
                </a:extLst>
              </p:cNvPr>
              <p:cNvSpPr/>
              <p:nvPr/>
            </p:nvSpPr>
            <p:spPr>
              <a:xfrm>
                <a:off x="6612098" y="3149686"/>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651" name="Freeform 506">
                <a:extLst>
                  <a:ext uri="{FF2B5EF4-FFF2-40B4-BE49-F238E27FC236}">
                    <a16:creationId xmlns:a16="http://schemas.microsoft.com/office/drawing/2014/main" id="{6F09FCB6-B8EF-0F92-64F3-C500A447E121}"/>
                  </a:ext>
                </a:extLst>
              </p:cNvPr>
              <p:cNvSpPr/>
              <p:nvPr/>
            </p:nvSpPr>
            <p:spPr>
              <a:xfrm>
                <a:off x="6582681" y="3178063"/>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652" name="Freeform 507">
                <a:extLst>
                  <a:ext uri="{FF2B5EF4-FFF2-40B4-BE49-F238E27FC236}">
                    <a16:creationId xmlns:a16="http://schemas.microsoft.com/office/drawing/2014/main" id="{233FDF00-F4F5-69CB-47D4-5DB7DAED7D08}"/>
                  </a:ext>
                </a:extLst>
              </p:cNvPr>
              <p:cNvSpPr/>
              <p:nvPr/>
            </p:nvSpPr>
            <p:spPr>
              <a:xfrm>
                <a:off x="6612098" y="3149686"/>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653" name="Freeform 508">
                <a:extLst>
                  <a:ext uri="{FF2B5EF4-FFF2-40B4-BE49-F238E27FC236}">
                    <a16:creationId xmlns:a16="http://schemas.microsoft.com/office/drawing/2014/main" id="{9DA588A8-50F4-C950-9726-43195C355655}"/>
                  </a:ext>
                </a:extLst>
              </p:cNvPr>
              <p:cNvSpPr/>
              <p:nvPr/>
            </p:nvSpPr>
            <p:spPr>
              <a:xfrm>
                <a:off x="6606222" y="3178063"/>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654" name="Freeform 509">
                <a:extLst>
                  <a:ext uri="{FF2B5EF4-FFF2-40B4-BE49-F238E27FC236}">
                    <a16:creationId xmlns:a16="http://schemas.microsoft.com/office/drawing/2014/main" id="{53E803E5-F057-444E-6335-9A69334EFF67}"/>
                  </a:ext>
                </a:extLst>
              </p:cNvPr>
              <p:cNvSpPr/>
              <p:nvPr/>
            </p:nvSpPr>
            <p:spPr>
              <a:xfrm>
                <a:off x="6635639" y="3149686"/>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655" name="Freeform 510">
                <a:extLst>
                  <a:ext uri="{FF2B5EF4-FFF2-40B4-BE49-F238E27FC236}">
                    <a16:creationId xmlns:a16="http://schemas.microsoft.com/office/drawing/2014/main" id="{1D7FBFB6-4924-4D8A-1D5E-4031F79142E7}"/>
                  </a:ext>
                </a:extLst>
              </p:cNvPr>
              <p:cNvSpPr/>
              <p:nvPr/>
            </p:nvSpPr>
            <p:spPr>
              <a:xfrm>
                <a:off x="6612098" y="3178063"/>
                <a:ext cx="58852" cy="17647"/>
              </a:xfrm>
              <a:custGeom>
                <a:avLst/>
                <a:gdLst>
                  <a:gd name="connsiteX0" fmla="*/ 0 w 58852"/>
                  <a:gd name="connsiteY0" fmla="*/ 0 h 17647"/>
                  <a:gd name="connsiteX1" fmla="*/ 58853 w 58852"/>
                  <a:gd name="connsiteY1" fmla="*/ 0 h 17647"/>
                </a:gdLst>
                <a:ahLst/>
                <a:cxnLst>
                  <a:cxn ang="0">
                    <a:pos x="connsiteX0" y="connsiteY0"/>
                  </a:cxn>
                  <a:cxn ang="0">
                    <a:pos x="connsiteX1" y="connsiteY1"/>
                  </a:cxn>
                </a:cxnLst>
                <a:rect l="l" t="t" r="r" b="b"/>
                <a:pathLst>
                  <a:path w="58852" h="17647">
                    <a:moveTo>
                      <a:pt x="0" y="0"/>
                    </a:moveTo>
                    <a:lnTo>
                      <a:pt x="58853" y="0"/>
                    </a:lnTo>
                  </a:path>
                </a:pathLst>
              </a:custGeom>
              <a:ln w="9624" cap="sq">
                <a:solidFill>
                  <a:srgbClr val="27377D"/>
                </a:solidFill>
                <a:prstDash val="solid"/>
                <a:miter/>
              </a:ln>
            </p:spPr>
            <p:txBody>
              <a:bodyPr rtlCol="0" anchor="ctr"/>
              <a:lstStyle/>
              <a:p>
                <a:endParaRPr lang="en-US" sz="1800" dirty="0"/>
              </a:p>
            </p:txBody>
          </p:sp>
          <p:sp>
            <p:nvSpPr>
              <p:cNvPr id="2656" name="Freeform 511">
                <a:extLst>
                  <a:ext uri="{FF2B5EF4-FFF2-40B4-BE49-F238E27FC236}">
                    <a16:creationId xmlns:a16="http://schemas.microsoft.com/office/drawing/2014/main" id="{FE8E5331-897D-F643-156B-5D3E8CB37205}"/>
                  </a:ext>
                </a:extLst>
              </p:cNvPr>
              <p:cNvSpPr/>
              <p:nvPr/>
            </p:nvSpPr>
            <p:spPr>
              <a:xfrm>
                <a:off x="6641516" y="3149686"/>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657" name="Freeform 512">
                <a:extLst>
                  <a:ext uri="{FF2B5EF4-FFF2-40B4-BE49-F238E27FC236}">
                    <a16:creationId xmlns:a16="http://schemas.microsoft.com/office/drawing/2014/main" id="{BB9D8C15-03AF-3689-BA02-991654EE791D}"/>
                  </a:ext>
                </a:extLst>
              </p:cNvPr>
              <p:cNvSpPr/>
              <p:nvPr/>
            </p:nvSpPr>
            <p:spPr>
              <a:xfrm>
                <a:off x="6612098" y="3178063"/>
                <a:ext cx="58852" cy="17647"/>
              </a:xfrm>
              <a:custGeom>
                <a:avLst/>
                <a:gdLst>
                  <a:gd name="connsiteX0" fmla="*/ 0 w 58852"/>
                  <a:gd name="connsiteY0" fmla="*/ 0 h 17647"/>
                  <a:gd name="connsiteX1" fmla="*/ 58853 w 58852"/>
                  <a:gd name="connsiteY1" fmla="*/ 0 h 17647"/>
                </a:gdLst>
                <a:ahLst/>
                <a:cxnLst>
                  <a:cxn ang="0">
                    <a:pos x="connsiteX0" y="connsiteY0"/>
                  </a:cxn>
                  <a:cxn ang="0">
                    <a:pos x="connsiteX1" y="connsiteY1"/>
                  </a:cxn>
                </a:cxnLst>
                <a:rect l="l" t="t" r="r" b="b"/>
                <a:pathLst>
                  <a:path w="58852" h="17647">
                    <a:moveTo>
                      <a:pt x="0" y="0"/>
                    </a:moveTo>
                    <a:lnTo>
                      <a:pt x="58853" y="0"/>
                    </a:lnTo>
                  </a:path>
                </a:pathLst>
              </a:custGeom>
              <a:ln w="9624" cap="sq">
                <a:solidFill>
                  <a:srgbClr val="27377D"/>
                </a:solidFill>
                <a:prstDash val="solid"/>
                <a:miter/>
              </a:ln>
            </p:spPr>
            <p:txBody>
              <a:bodyPr rtlCol="0" anchor="ctr"/>
              <a:lstStyle/>
              <a:p>
                <a:endParaRPr lang="en-US" sz="1800" dirty="0"/>
              </a:p>
            </p:txBody>
          </p:sp>
          <p:sp>
            <p:nvSpPr>
              <p:cNvPr id="2658" name="Freeform 513">
                <a:extLst>
                  <a:ext uri="{FF2B5EF4-FFF2-40B4-BE49-F238E27FC236}">
                    <a16:creationId xmlns:a16="http://schemas.microsoft.com/office/drawing/2014/main" id="{E4337F7D-221E-3E1E-1278-C81FCA6DE8DC}"/>
                  </a:ext>
                </a:extLst>
              </p:cNvPr>
              <p:cNvSpPr/>
              <p:nvPr/>
            </p:nvSpPr>
            <p:spPr>
              <a:xfrm>
                <a:off x="6641516" y="3149686"/>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659" name="Freeform 514">
                <a:extLst>
                  <a:ext uri="{FF2B5EF4-FFF2-40B4-BE49-F238E27FC236}">
                    <a16:creationId xmlns:a16="http://schemas.microsoft.com/office/drawing/2014/main" id="{20EAFD4B-8B4B-81F6-741B-31D868239C96}"/>
                  </a:ext>
                </a:extLst>
              </p:cNvPr>
              <p:cNvSpPr/>
              <p:nvPr/>
            </p:nvSpPr>
            <p:spPr>
              <a:xfrm>
                <a:off x="6617992" y="3178063"/>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660" name="Freeform 515">
                <a:extLst>
                  <a:ext uri="{FF2B5EF4-FFF2-40B4-BE49-F238E27FC236}">
                    <a16:creationId xmlns:a16="http://schemas.microsoft.com/office/drawing/2014/main" id="{4E6CD97F-A311-D8AB-B3C8-61CAF4A51655}"/>
                  </a:ext>
                </a:extLst>
              </p:cNvPr>
              <p:cNvSpPr/>
              <p:nvPr/>
            </p:nvSpPr>
            <p:spPr>
              <a:xfrm>
                <a:off x="6647410" y="3149686"/>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661" name="Freeform 516">
                <a:extLst>
                  <a:ext uri="{FF2B5EF4-FFF2-40B4-BE49-F238E27FC236}">
                    <a16:creationId xmlns:a16="http://schemas.microsoft.com/office/drawing/2014/main" id="{8CC2A9B6-DA81-9208-A8B3-DC53E76225A9}"/>
                  </a:ext>
                </a:extLst>
              </p:cNvPr>
              <p:cNvSpPr/>
              <p:nvPr/>
            </p:nvSpPr>
            <p:spPr>
              <a:xfrm>
                <a:off x="6623869" y="3178063"/>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662" name="Freeform 517">
                <a:extLst>
                  <a:ext uri="{FF2B5EF4-FFF2-40B4-BE49-F238E27FC236}">
                    <a16:creationId xmlns:a16="http://schemas.microsoft.com/office/drawing/2014/main" id="{D2D1C4C2-E806-E63E-8897-545B8BC9F4CE}"/>
                  </a:ext>
                </a:extLst>
              </p:cNvPr>
              <p:cNvSpPr/>
              <p:nvPr/>
            </p:nvSpPr>
            <p:spPr>
              <a:xfrm>
                <a:off x="6653286" y="3149686"/>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663" name="Freeform 518">
                <a:extLst>
                  <a:ext uri="{FF2B5EF4-FFF2-40B4-BE49-F238E27FC236}">
                    <a16:creationId xmlns:a16="http://schemas.microsoft.com/office/drawing/2014/main" id="{6472FF84-4216-0AFC-5752-6F54A1407CA0}"/>
                  </a:ext>
                </a:extLst>
              </p:cNvPr>
              <p:cNvSpPr/>
              <p:nvPr/>
            </p:nvSpPr>
            <p:spPr>
              <a:xfrm>
                <a:off x="6700492" y="3178063"/>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664" name="Freeform 519">
                <a:extLst>
                  <a:ext uri="{FF2B5EF4-FFF2-40B4-BE49-F238E27FC236}">
                    <a16:creationId xmlns:a16="http://schemas.microsoft.com/office/drawing/2014/main" id="{0DE46CA6-DFD5-9E1D-CEFF-A9208A0D7302}"/>
                  </a:ext>
                </a:extLst>
              </p:cNvPr>
              <p:cNvSpPr/>
              <p:nvPr/>
            </p:nvSpPr>
            <p:spPr>
              <a:xfrm>
                <a:off x="6729910" y="3149686"/>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665" name="Freeform 520">
                <a:extLst>
                  <a:ext uri="{FF2B5EF4-FFF2-40B4-BE49-F238E27FC236}">
                    <a16:creationId xmlns:a16="http://schemas.microsoft.com/office/drawing/2014/main" id="{03969D4F-5F70-BEDB-C7AD-1121B2113866}"/>
                  </a:ext>
                </a:extLst>
              </p:cNvPr>
              <p:cNvSpPr/>
              <p:nvPr/>
            </p:nvSpPr>
            <p:spPr>
              <a:xfrm>
                <a:off x="6718139" y="3178063"/>
                <a:ext cx="58852" cy="17647"/>
              </a:xfrm>
              <a:custGeom>
                <a:avLst/>
                <a:gdLst>
                  <a:gd name="connsiteX0" fmla="*/ 0 w 58852"/>
                  <a:gd name="connsiteY0" fmla="*/ 0 h 17647"/>
                  <a:gd name="connsiteX1" fmla="*/ 58853 w 58852"/>
                  <a:gd name="connsiteY1" fmla="*/ 0 h 17647"/>
                </a:gdLst>
                <a:ahLst/>
                <a:cxnLst>
                  <a:cxn ang="0">
                    <a:pos x="connsiteX0" y="connsiteY0"/>
                  </a:cxn>
                  <a:cxn ang="0">
                    <a:pos x="connsiteX1" y="connsiteY1"/>
                  </a:cxn>
                </a:cxnLst>
                <a:rect l="l" t="t" r="r" b="b"/>
                <a:pathLst>
                  <a:path w="58852" h="17647">
                    <a:moveTo>
                      <a:pt x="0" y="0"/>
                    </a:moveTo>
                    <a:lnTo>
                      <a:pt x="58853" y="0"/>
                    </a:lnTo>
                  </a:path>
                </a:pathLst>
              </a:custGeom>
              <a:ln w="9624" cap="sq">
                <a:solidFill>
                  <a:srgbClr val="27377D"/>
                </a:solidFill>
                <a:prstDash val="solid"/>
                <a:miter/>
              </a:ln>
            </p:spPr>
            <p:txBody>
              <a:bodyPr rtlCol="0" anchor="ctr"/>
              <a:lstStyle/>
              <a:p>
                <a:endParaRPr lang="en-US" sz="1800" dirty="0"/>
              </a:p>
            </p:txBody>
          </p:sp>
          <p:sp>
            <p:nvSpPr>
              <p:cNvPr id="2666" name="Freeform 521">
                <a:extLst>
                  <a:ext uri="{FF2B5EF4-FFF2-40B4-BE49-F238E27FC236}">
                    <a16:creationId xmlns:a16="http://schemas.microsoft.com/office/drawing/2014/main" id="{4E6E05E8-5970-8025-F118-8C517B4F32B4}"/>
                  </a:ext>
                </a:extLst>
              </p:cNvPr>
              <p:cNvSpPr/>
              <p:nvPr/>
            </p:nvSpPr>
            <p:spPr>
              <a:xfrm>
                <a:off x="6747574" y="3149686"/>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667" name="Freeform 522">
                <a:extLst>
                  <a:ext uri="{FF2B5EF4-FFF2-40B4-BE49-F238E27FC236}">
                    <a16:creationId xmlns:a16="http://schemas.microsoft.com/office/drawing/2014/main" id="{013FD0EA-B3B3-810C-93D7-0740CC035AE4}"/>
                  </a:ext>
                </a:extLst>
              </p:cNvPr>
              <p:cNvSpPr/>
              <p:nvPr/>
            </p:nvSpPr>
            <p:spPr>
              <a:xfrm>
                <a:off x="6788886" y="3201145"/>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668" name="Freeform 523">
                <a:extLst>
                  <a:ext uri="{FF2B5EF4-FFF2-40B4-BE49-F238E27FC236}">
                    <a16:creationId xmlns:a16="http://schemas.microsoft.com/office/drawing/2014/main" id="{25BE26C1-D4AD-21BA-CFF5-E67F10E995E3}"/>
                  </a:ext>
                </a:extLst>
              </p:cNvPr>
              <p:cNvSpPr/>
              <p:nvPr/>
            </p:nvSpPr>
            <p:spPr>
              <a:xfrm>
                <a:off x="6818304" y="3172768"/>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669" name="Freeform 524">
                <a:extLst>
                  <a:ext uri="{FF2B5EF4-FFF2-40B4-BE49-F238E27FC236}">
                    <a16:creationId xmlns:a16="http://schemas.microsoft.com/office/drawing/2014/main" id="{4C4D7E7F-D67A-46B8-91A2-309A53EB1D53}"/>
                  </a:ext>
                </a:extLst>
              </p:cNvPr>
              <p:cNvSpPr/>
              <p:nvPr/>
            </p:nvSpPr>
            <p:spPr>
              <a:xfrm>
                <a:off x="6912574" y="3224598"/>
                <a:ext cx="58852" cy="17647"/>
              </a:xfrm>
              <a:custGeom>
                <a:avLst/>
                <a:gdLst>
                  <a:gd name="connsiteX0" fmla="*/ 0 w 58852"/>
                  <a:gd name="connsiteY0" fmla="*/ 0 h 17647"/>
                  <a:gd name="connsiteX1" fmla="*/ 58853 w 58852"/>
                  <a:gd name="connsiteY1" fmla="*/ 0 h 17647"/>
                </a:gdLst>
                <a:ahLst/>
                <a:cxnLst>
                  <a:cxn ang="0">
                    <a:pos x="connsiteX0" y="connsiteY0"/>
                  </a:cxn>
                  <a:cxn ang="0">
                    <a:pos x="connsiteX1" y="connsiteY1"/>
                  </a:cxn>
                </a:cxnLst>
                <a:rect l="l" t="t" r="r" b="b"/>
                <a:pathLst>
                  <a:path w="58852" h="17647">
                    <a:moveTo>
                      <a:pt x="0" y="0"/>
                    </a:moveTo>
                    <a:lnTo>
                      <a:pt x="58853" y="0"/>
                    </a:lnTo>
                  </a:path>
                </a:pathLst>
              </a:custGeom>
              <a:ln w="9624" cap="sq">
                <a:solidFill>
                  <a:srgbClr val="27377D"/>
                </a:solidFill>
                <a:prstDash val="solid"/>
                <a:miter/>
              </a:ln>
            </p:spPr>
            <p:txBody>
              <a:bodyPr rtlCol="0" anchor="ctr"/>
              <a:lstStyle/>
              <a:p>
                <a:endParaRPr lang="en-US" sz="1800" dirty="0"/>
              </a:p>
            </p:txBody>
          </p:sp>
          <p:sp>
            <p:nvSpPr>
              <p:cNvPr id="2670" name="Freeform 525">
                <a:extLst>
                  <a:ext uri="{FF2B5EF4-FFF2-40B4-BE49-F238E27FC236}">
                    <a16:creationId xmlns:a16="http://schemas.microsoft.com/office/drawing/2014/main" id="{6581DC56-2E6F-4D82-A082-346761C67BE1}"/>
                  </a:ext>
                </a:extLst>
              </p:cNvPr>
              <p:cNvSpPr/>
              <p:nvPr/>
            </p:nvSpPr>
            <p:spPr>
              <a:xfrm>
                <a:off x="6942009" y="3196221"/>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671" name="Freeform 526">
                <a:extLst>
                  <a:ext uri="{FF2B5EF4-FFF2-40B4-BE49-F238E27FC236}">
                    <a16:creationId xmlns:a16="http://schemas.microsoft.com/office/drawing/2014/main" id="{26A35362-456F-5F90-E29D-D9F6AFF36409}"/>
                  </a:ext>
                </a:extLst>
              </p:cNvPr>
              <p:cNvSpPr/>
              <p:nvPr/>
            </p:nvSpPr>
            <p:spPr>
              <a:xfrm>
                <a:off x="6989198" y="3224598"/>
                <a:ext cx="58852" cy="17647"/>
              </a:xfrm>
              <a:custGeom>
                <a:avLst/>
                <a:gdLst>
                  <a:gd name="connsiteX0" fmla="*/ 0 w 58852"/>
                  <a:gd name="connsiteY0" fmla="*/ 0 h 17647"/>
                  <a:gd name="connsiteX1" fmla="*/ 58853 w 58852"/>
                  <a:gd name="connsiteY1" fmla="*/ 0 h 17647"/>
                </a:gdLst>
                <a:ahLst/>
                <a:cxnLst>
                  <a:cxn ang="0">
                    <a:pos x="connsiteX0" y="connsiteY0"/>
                  </a:cxn>
                  <a:cxn ang="0">
                    <a:pos x="connsiteX1" y="connsiteY1"/>
                  </a:cxn>
                </a:cxnLst>
                <a:rect l="l" t="t" r="r" b="b"/>
                <a:pathLst>
                  <a:path w="58852" h="17647">
                    <a:moveTo>
                      <a:pt x="0" y="0"/>
                    </a:moveTo>
                    <a:lnTo>
                      <a:pt x="58853" y="0"/>
                    </a:lnTo>
                  </a:path>
                </a:pathLst>
              </a:custGeom>
              <a:ln w="9624" cap="sq">
                <a:solidFill>
                  <a:srgbClr val="27377D"/>
                </a:solidFill>
                <a:prstDash val="solid"/>
                <a:miter/>
              </a:ln>
            </p:spPr>
            <p:txBody>
              <a:bodyPr rtlCol="0" anchor="ctr"/>
              <a:lstStyle/>
              <a:p>
                <a:endParaRPr lang="en-US" sz="1800" dirty="0"/>
              </a:p>
            </p:txBody>
          </p:sp>
          <p:sp>
            <p:nvSpPr>
              <p:cNvPr id="2672" name="Freeform 527">
                <a:extLst>
                  <a:ext uri="{FF2B5EF4-FFF2-40B4-BE49-F238E27FC236}">
                    <a16:creationId xmlns:a16="http://schemas.microsoft.com/office/drawing/2014/main" id="{DAC7BEAA-CCE1-9891-0D28-5A764EAA0037}"/>
                  </a:ext>
                </a:extLst>
              </p:cNvPr>
              <p:cNvSpPr/>
              <p:nvPr/>
            </p:nvSpPr>
            <p:spPr>
              <a:xfrm>
                <a:off x="7018615" y="3196221"/>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673" name="Freeform 528">
                <a:extLst>
                  <a:ext uri="{FF2B5EF4-FFF2-40B4-BE49-F238E27FC236}">
                    <a16:creationId xmlns:a16="http://schemas.microsoft.com/office/drawing/2014/main" id="{6358D133-9EFC-5866-C303-2DB226388D0D}"/>
                  </a:ext>
                </a:extLst>
              </p:cNvPr>
              <p:cNvSpPr/>
              <p:nvPr/>
            </p:nvSpPr>
            <p:spPr>
              <a:xfrm>
                <a:off x="7000968" y="3224598"/>
                <a:ext cx="58852" cy="17647"/>
              </a:xfrm>
              <a:custGeom>
                <a:avLst/>
                <a:gdLst>
                  <a:gd name="connsiteX0" fmla="*/ 0 w 58852"/>
                  <a:gd name="connsiteY0" fmla="*/ 0 h 17647"/>
                  <a:gd name="connsiteX1" fmla="*/ 58853 w 58852"/>
                  <a:gd name="connsiteY1" fmla="*/ 0 h 17647"/>
                </a:gdLst>
                <a:ahLst/>
                <a:cxnLst>
                  <a:cxn ang="0">
                    <a:pos x="connsiteX0" y="connsiteY0"/>
                  </a:cxn>
                  <a:cxn ang="0">
                    <a:pos x="connsiteX1" y="connsiteY1"/>
                  </a:cxn>
                </a:cxnLst>
                <a:rect l="l" t="t" r="r" b="b"/>
                <a:pathLst>
                  <a:path w="58852" h="17647">
                    <a:moveTo>
                      <a:pt x="0" y="0"/>
                    </a:moveTo>
                    <a:lnTo>
                      <a:pt x="58853" y="0"/>
                    </a:lnTo>
                  </a:path>
                </a:pathLst>
              </a:custGeom>
              <a:ln w="9624" cap="sq">
                <a:solidFill>
                  <a:srgbClr val="27377D"/>
                </a:solidFill>
                <a:prstDash val="solid"/>
                <a:miter/>
              </a:ln>
            </p:spPr>
            <p:txBody>
              <a:bodyPr rtlCol="0" anchor="ctr"/>
              <a:lstStyle/>
              <a:p>
                <a:endParaRPr lang="en-US" sz="1800" dirty="0"/>
              </a:p>
            </p:txBody>
          </p:sp>
          <p:sp>
            <p:nvSpPr>
              <p:cNvPr id="2674" name="Freeform 529">
                <a:extLst>
                  <a:ext uri="{FF2B5EF4-FFF2-40B4-BE49-F238E27FC236}">
                    <a16:creationId xmlns:a16="http://schemas.microsoft.com/office/drawing/2014/main" id="{F9D6FB7A-0979-0CCB-A574-245898779523}"/>
                  </a:ext>
                </a:extLst>
              </p:cNvPr>
              <p:cNvSpPr/>
              <p:nvPr/>
            </p:nvSpPr>
            <p:spPr>
              <a:xfrm>
                <a:off x="7030386" y="3196221"/>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675" name="Freeform 530">
                <a:extLst>
                  <a:ext uri="{FF2B5EF4-FFF2-40B4-BE49-F238E27FC236}">
                    <a16:creationId xmlns:a16="http://schemas.microsoft.com/office/drawing/2014/main" id="{C238B780-FD3C-DE26-DE5A-571E86547D50}"/>
                  </a:ext>
                </a:extLst>
              </p:cNvPr>
              <p:cNvSpPr/>
              <p:nvPr/>
            </p:nvSpPr>
            <p:spPr>
              <a:xfrm>
                <a:off x="7006862" y="3224598"/>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676" name="Freeform 531">
                <a:extLst>
                  <a:ext uri="{FF2B5EF4-FFF2-40B4-BE49-F238E27FC236}">
                    <a16:creationId xmlns:a16="http://schemas.microsoft.com/office/drawing/2014/main" id="{D5682A62-DABB-12EA-D93E-D5F3F5930DD1}"/>
                  </a:ext>
                </a:extLst>
              </p:cNvPr>
              <p:cNvSpPr/>
              <p:nvPr/>
            </p:nvSpPr>
            <p:spPr>
              <a:xfrm>
                <a:off x="7036280" y="3196221"/>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677" name="Freeform 532">
                <a:extLst>
                  <a:ext uri="{FF2B5EF4-FFF2-40B4-BE49-F238E27FC236}">
                    <a16:creationId xmlns:a16="http://schemas.microsoft.com/office/drawing/2014/main" id="{7A30430A-3641-9657-3738-F7CFDD72D3D9}"/>
                  </a:ext>
                </a:extLst>
              </p:cNvPr>
              <p:cNvSpPr/>
              <p:nvPr/>
            </p:nvSpPr>
            <p:spPr>
              <a:xfrm>
                <a:off x="7030386" y="3249692"/>
                <a:ext cx="58852" cy="17647"/>
              </a:xfrm>
              <a:custGeom>
                <a:avLst/>
                <a:gdLst>
                  <a:gd name="connsiteX0" fmla="*/ 0 w 58852"/>
                  <a:gd name="connsiteY0" fmla="*/ 0 h 17647"/>
                  <a:gd name="connsiteX1" fmla="*/ 58853 w 58852"/>
                  <a:gd name="connsiteY1" fmla="*/ 0 h 17647"/>
                </a:gdLst>
                <a:ahLst/>
                <a:cxnLst>
                  <a:cxn ang="0">
                    <a:pos x="connsiteX0" y="connsiteY0"/>
                  </a:cxn>
                  <a:cxn ang="0">
                    <a:pos x="connsiteX1" y="connsiteY1"/>
                  </a:cxn>
                </a:cxnLst>
                <a:rect l="l" t="t" r="r" b="b"/>
                <a:pathLst>
                  <a:path w="58852" h="17647">
                    <a:moveTo>
                      <a:pt x="0" y="0"/>
                    </a:moveTo>
                    <a:lnTo>
                      <a:pt x="58853" y="0"/>
                    </a:lnTo>
                  </a:path>
                </a:pathLst>
              </a:custGeom>
              <a:ln w="9624" cap="sq">
                <a:solidFill>
                  <a:srgbClr val="27377D"/>
                </a:solidFill>
                <a:prstDash val="solid"/>
                <a:miter/>
              </a:ln>
            </p:spPr>
            <p:txBody>
              <a:bodyPr rtlCol="0" anchor="ctr"/>
              <a:lstStyle/>
              <a:p>
                <a:endParaRPr lang="en-US" sz="1800" dirty="0"/>
              </a:p>
            </p:txBody>
          </p:sp>
          <p:sp>
            <p:nvSpPr>
              <p:cNvPr id="2678" name="Freeform 533">
                <a:extLst>
                  <a:ext uri="{FF2B5EF4-FFF2-40B4-BE49-F238E27FC236}">
                    <a16:creationId xmlns:a16="http://schemas.microsoft.com/office/drawing/2014/main" id="{1F9D6BC4-E2A2-6B5E-0B9F-1D4E8E6166B4}"/>
                  </a:ext>
                </a:extLst>
              </p:cNvPr>
              <p:cNvSpPr/>
              <p:nvPr/>
            </p:nvSpPr>
            <p:spPr>
              <a:xfrm>
                <a:off x="7059821" y="3221315"/>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679" name="Freeform 534">
                <a:extLst>
                  <a:ext uri="{FF2B5EF4-FFF2-40B4-BE49-F238E27FC236}">
                    <a16:creationId xmlns:a16="http://schemas.microsoft.com/office/drawing/2014/main" id="{42976938-1586-2C0F-DB03-08375BD84C6D}"/>
                  </a:ext>
                </a:extLst>
              </p:cNvPr>
              <p:cNvSpPr/>
              <p:nvPr/>
            </p:nvSpPr>
            <p:spPr>
              <a:xfrm>
                <a:off x="7036280" y="3249692"/>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680" name="Freeform 535">
                <a:extLst>
                  <a:ext uri="{FF2B5EF4-FFF2-40B4-BE49-F238E27FC236}">
                    <a16:creationId xmlns:a16="http://schemas.microsoft.com/office/drawing/2014/main" id="{8F120A9F-ACCA-7AB7-8E03-D6E2ED88A4B0}"/>
                  </a:ext>
                </a:extLst>
              </p:cNvPr>
              <p:cNvSpPr/>
              <p:nvPr/>
            </p:nvSpPr>
            <p:spPr>
              <a:xfrm>
                <a:off x="7065697" y="3221315"/>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681" name="Freeform 536">
                <a:extLst>
                  <a:ext uri="{FF2B5EF4-FFF2-40B4-BE49-F238E27FC236}">
                    <a16:creationId xmlns:a16="http://schemas.microsoft.com/office/drawing/2014/main" id="{18380685-7D02-B86C-CAA5-8A9390AB66BC}"/>
                  </a:ext>
                </a:extLst>
              </p:cNvPr>
              <p:cNvSpPr/>
              <p:nvPr/>
            </p:nvSpPr>
            <p:spPr>
              <a:xfrm>
                <a:off x="7065697" y="3249692"/>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682" name="Freeform 537">
                <a:extLst>
                  <a:ext uri="{FF2B5EF4-FFF2-40B4-BE49-F238E27FC236}">
                    <a16:creationId xmlns:a16="http://schemas.microsoft.com/office/drawing/2014/main" id="{DF2254D3-932E-B60F-9A49-9E93799E5B1C}"/>
                  </a:ext>
                </a:extLst>
              </p:cNvPr>
              <p:cNvSpPr/>
              <p:nvPr/>
            </p:nvSpPr>
            <p:spPr>
              <a:xfrm>
                <a:off x="7095115" y="3221315"/>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683" name="Freeform 538">
                <a:extLst>
                  <a:ext uri="{FF2B5EF4-FFF2-40B4-BE49-F238E27FC236}">
                    <a16:creationId xmlns:a16="http://schemas.microsoft.com/office/drawing/2014/main" id="{86E123E8-2288-79A9-740C-8ABC2AE4BD53}"/>
                  </a:ext>
                </a:extLst>
              </p:cNvPr>
              <p:cNvSpPr/>
              <p:nvPr/>
            </p:nvSpPr>
            <p:spPr>
              <a:xfrm>
                <a:off x="7071574" y="3249692"/>
                <a:ext cx="58852" cy="17647"/>
              </a:xfrm>
              <a:custGeom>
                <a:avLst/>
                <a:gdLst>
                  <a:gd name="connsiteX0" fmla="*/ 0 w 58852"/>
                  <a:gd name="connsiteY0" fmla="*/ 0 h 17647"/>
                  <a:gd name="connsiteX1" fmla="*/ 58853 w 58852"/>
                  <a:gd name="connsiteY1" fmla="*/ 0 h 17647"/>
                </a:gdLst>
                <a:ahLst/>
                <a:cxnLst>
                  <a:cxn ang="0">
                    <a:pos x="connsiteX0" y="connsiteY0"/>
                  </a:cxn>
                  <a:cxn ang="0">
                    <a:pos x="connsiteX1" y="connsiteY1"/>
                  </a:cxn>
                </a:cxnLst>
                <a:rect l="l" t="t" r="r" b="b"/>
                <a:pathLst>
                  <a:path w="58852" h="17647">
                    <a:moveTo>
                      <a:pt x="0" y="0"/>
                    </a:moveTo>
                    <a:lnTo>
                      <a:pt x="58853" y="0"/>
                    </a:lnTo>
                  </a:path>
                </a:pathLst>
              </a:custGeom>
              <a:ln w="9624" cap="sq">
                <a:solidFill>
                  <a:srgbClr val="27377D"/>
                </a:solidFill>
                <a:prstDash val="solid"/>
                <a:miter/>
              </a:ln>
            </p:spPr>
            <p:txBody>
              <a:bodyPr rtlCol="0" anchor="ctr"/>
              <a:lstStyle/>
              <a:p>
                <a:endParaRPr lang="en-US" sz="1800" dirty="0"/>
              </a:p>
            </p:txBody>
          </p:sp>
          <p:sp>
            <p:nvSpPr>
              <p:cNvPr id="2684" name="Freeform 539">
                <a:extLst>
                  <a:ext uri="{FF2B5EF4-FFF2-40B4-BE49-F238E27FC236}">
                    <a16:creationId xmlns:a16="http://schemas.microsoft.com/office/drawing/2014/main" id="{27A8D13C-02B5-D806-2E55-8DAA356FD231}"/>
                  </a:ext>
                </a:extLst>
              </p:cNvPr>
              <p:cNvSpPr/>
              <p:nvPr/>
            </p:nvSpPr>
            <p:spPr>
              <a:xfrm>
                <a:off x="7101009" y="3221315"/>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685" name="Freeform 540">
                <a:extLst>
                  <a:ext uri="{FF2B5EF4-FFF2-40B4-BE49-F238E27FC236}">
                    <a16:creationId xmlns:a16="http://schemas.microsoft.com/office/drawing/2014/main" id="{1A708F57-0966-0AE4-2DC3-674E3CF45F41}"/>
                  </a:ext>
                </a:extLst>
              </p:cNvPr>
              <p:cNvSpPr/>
              <p:nvPr/>
            </p:nvSpPr>
            <p:spPr>
              <a:xfrm>
                <a:off x="7089362" y="3249692"/>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686" name="Freeform 541">
                <a:extLst>
                  <a:ext uri="{FF2B5EF4-FFF2-40B4-BE49-F238E27FC236}">
                    <a16:creationId xmlns:a16="http://schemas.microsoft.com/office/drawing/2014/main" id="{3C6F28DD-42BD-F2DA-443F-8F73612AFFD6}"/>
                  </a:ext>
                </a:extLst>
              </p:cNvPr>
              <p:cNvSpPr/>
              <p:nvPr/>
            </p:nvSpPr>
            <p:spPr>
              <a:xfrm>
                <a:off x="7118780" y="3221315"/>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687" name="Freeform 542">
                <a:extLst>
                  <a:ext uri="{FF2B5EF4-FFF2-40B4-BE49-F238E27FC236}">
                    <a16:creationId xmlns:a16="http://schemas.microsoft.com/office/drawing/2014/main" id="{E4733C76-58DA-AEC7-594F-2944B154818E}"/>
                  </a:ext>
                </a:extLst>
              </p:cNvPr>
              <p:cNvSpPr/>
              <p:nvPr/>
            </p:nvSpPr>
            <p:spPr>
              <a:xfrm>
                <a:off x="7136427" y="3249692"/>
                <a:ext cx="58852" cy="17647"/>
              </a:xfrm>
              <a:custGeom>
                <a:avLst/>
                <a:gdLst>
                  <a:gd name="connsiteX0" fmla="*/ 0 w 58852"/>
                  <a:gd name="connsiteY0" fmla="*/ 0 h 17647"/>
                  <a:gd name="connsiteX1" fmla="*/ 58853 w 58852"/>
                  <a:gd name="connsiteY1" fmla="*/ 0 h 17647"/>
                </a:gdLst>
                <a:ahLst/>
                <a:cxnLst>
                  <a:cxn ang="0">
                    <a:pos x="connsiteX0" y="connsiteY0"/>
                  </a:cxn>
                  <a:cxn ang="0">
                    <a:pos x="connsiteX1" y="connsiteY1"/>
                  </a:cxn>
                </a:cxnLst>
                <a:rect l="l" t="t" r="r" b="b"/>
                <a:pathLst>
                  <a:path w="58852" h="17647">
                    <a:moveTo>
                      <a:pt x="0" y="0"/>
                    </a:moveTo>
                    <a:lnTo>
                      <a:pt x="58853" y="0"/>
                    </a:lnTo>
                  </a:path>
                </a:pathLst>
              </a:custGeom>
              <a:ln w="9624" cap="sq">
                <a:solidFill>
                  <a:srgbClr val="27377D"/>
                </a:solidFill>
                <a:prstDash val="solid"/>
                <a:miter/>
              </a:ln>
            </p:spPr>
            <p:txBody>
              <a:bodyPr rtlCol="0" anchor="ctr"/>
              <a:lstStyle/>
              <a:p>
                <a:endParaRPr lang="en-US" sz="1800" dirty="0"/>
              </a:p>
            </p:txBody>
          </p:sp>
          <p:sp>
            <p:nvSpPr>
              <p:cNvPr id="2688" name="Freeform 543">
                <a:extLst>
                  <a:ext uri="{FF2B5EF4-FFF2-40B4-BE49-F238E27FC236}">
                    <a16:creationId xmlns:a16="http://schemas.microsoft.com/office/drawing/2014/main" id="{BAD25550-2553-EC93-DB9B-FF111A162A52}"/>
                  </a:ext>
                </a:extLst>
              </p:cNvPr>
              <p:cNvSpPr/>
              <p:nvPr/>
            </p:nvSpPr>
            <p:spPr>
              <a:xfrm>
                <a:off x="7165862" y="3221315"/>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689" name="Freeform 544">
                <a:extLst>
                  <a:ext uri="{FF2B5EF4-FFF2-40B4-BE49-F238E27FC236}">
                    <a16:creationId xmlns:a16="http://schemas.microsoft.com/office/drawing/2014/main" id="{529ED8AB-FBDE-996C-66AD-BC9FA83FFA38}"/>
                  </a:ext>
                </a:extLst>
              </p:cNvPr>
              <p:cNvSpPr/>
              <p:nvPr/>
            </p:nvSpPr>
            <p:spPr>
              <a:xfrm>
                <a:off x="7165862" y="3277945"/>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690" name="Freeform 545">
                <a:extLst>
                  <a:ext uri="{FF2B5EF4-FFF2-40B4-BE49-F238E27FC236}">
                    <a16:creationId xmlns:a16="http://schemas.microsoft.com/office/drawing/2014/main" id="{C8A5BF56-4DE8-7E21-9D5F-D69983491F99}"/>
                  </a:ext>
                </a:extLst>
              </p:cNvPr>
              <p:cNvSpPr/>
              <p:nvPr/>
            </p:nvSpPr>
            <p:spPr>
              <a:xfrm>
                <a:off x="7195280" y="3249568"/>
                <a:ext cx="17647" cy="56735"/>
              </a:xfrm>
              <a:custGeom>
                <a:avLst/>
                <a:gdLst>
                  <a:gd name="connsiteX0" fmla="*/ 0 w 17647"/>
                  <a:gd name="connsiteY0" fmla="*/ 0 h 56735"/>
                  <a:gd name="connsiteX1" fmla="*/ 0 w 17647"/>
                  <a:gd name="connsiteY1" fmla="*/ 56735 h 56735"/>
                </a:gdLst>
                <a:ahLst/>
                <a:cxnLst>
                  <a:cxn ang="0">
                    <a:pos x="connsiteX0" y="connsiteY0"/>
                  </a:cxn>
                  <a:cxn ang="0">
                    <a:pos x="connsiteX1" y="connsiteY1"/>
                  </a:cxn>
                </a:cxnLst>
                <a:rect l="l" t="t" r="r" b="b"/>
                <a:pathLst>
                  <a:path w="17647" h="56735">
                    <a:moveTo>
                      <a:pt x="0" y="0"/>
                    </a:moveTo>
                    <a:lnTo>
                      <a:pt x="0" y="56735"/>
                    </a:lnTo>
                  </a:path>
                </a:pathLst>
              </a:custGeom>
              <a:ln w="9624" cap="sq">
                <a:solidFill>
                  <a:srgbClr val="27377D"/>
                </a:solidFill>
                <a:prstDash val="solid"/>
                <a:miter/>
              </a:ln>
            </p:spPr>
            <p:txBody>
              <a:bodyPr rtlCol="0" anchor="ctr"/>
              <a:lstStyle/>
              <a:p>
                <a:endParaRPr lang="en-US" sz="1800" dirty="0"/>
              </a:p>
            </p:txBody>
          </p:sp>
          <p:sp>
            <p:nvSpPr>
              <p:cNvPr id="2691" name="Freeform 546">
                <a:extLst>
                  <a:ext uri="{FF2B5EF4-FFF2-40B4-BE49-F238E27FC236}">
                    <a16:creationId xmlns:a16="http://schemas.microsoft.com/office/drawing/2014/main" id="{8A8349F3-A6DA-E8EB-8764-BB190A17AD50}"/>
                  </a:ext>
                </a:extLst>
              </p:cNvPr>
              <p:cNvSpPr/>
              <p:nvPr/>
            </p:nvSpPr>
            <p:spPr>
              <a:xfrm>
                <a:off x="7242485" y="3277945"/>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692" name="Freeform 547">
                <a:extLst>
                  <a:ext uri="{FF2B5EF4-FFF2-40B4-BE49-F238E27FC236}">
                    <a16:creationId xmlns:a16="http://schemas.microsoft.com/office/drawing/2014/main" id="{FA95791B-D704-3D69-370D-09B7B7B6F02F}"/>
                  </a:ext>
                </a:extLst>
              </p:cNvPr>
              <p:cNvSpPr/>
              <p:nvPr/>
            </p:nvSpPr>
            <p:spPr>
              <a:xfrm>
                <a:off x="7271903" y="3249568"/>
                <a:ext cx="17647" cy="56735"/>
              </a:xfrm>
              <a:custGeom>
                <a:avLst/>
                <a:gdLst>
                  <a:gd name="connsiteX0" fmla="*/ 0 w 17647"/>
                  <a:gd name="connsiteY0" fmla="*/ 0 h 56735"/>
                  <a:gd name="connsiteX1" fmla="*/ 0 w 17647"/>
                  <a:gd name="connsiteY1" fmla="*/ 56735 h 56735"/>
                </a:gdLst>
                <a:ahLst/>
                <a:cxnLst>
                  <a:cxn ang="0">
                    <a:pos x="connsiteX0" y="connsiteY0"/>
                  </a:cxn>
                  <a:cxn ang="0">
                    <a:pos x="connsiteX1" y="connsiteY1"/>
                  </a:cxn>
                </a:cxnLst>
                <a:rect l="l" t="t" r="r" b="b"/>
                <a:pathLst>
                  <a:path w="17647" h="56735">
                    <a:moveTo>
                      <a:pt x="0" y="0"/>
                    </a:moveTo>
                    <a:lnTo>
                      <a:pt x="0" y="56735"/>
                    </a:lnTo>
                  </a:path>
                </a:pathLst>
              </a:custGeom>
              <a:ln w="9624" cap="sq">
                <a:solidFill>
                  <a:srgbClr val="27377D"/>
                </a:solidFill>
                <a:prstDash val="solid"/>
                <a:miter/>
              </a:ln>
            </p:spPr>
            <p:txBody>
              <a:bodyPr rtlCol="0" anchor="ctr"/>
              <a:lstStyle/>
              <a:p>
                <a:endParaRPr lang="en-US" sz="1800" dirty="0"/>
              </a:p>
            </p:txBody>
          </p:sp>
          <p:sp>
            <p:nvSpPr>
              <p:cNvPr id="2693" name="Freeform 548">
                <a:extLst>
                  <a:ext uri="{FF2B5EF4-FFF2-40B4-BE49-F238E27FC236}">
                    <a16:creationId xmlns:a16="http://schemas.microsoft.com/office/drawing/2014/main" id="{A23E7E67-9C7C-214B-1DC2-B3D6D13C2239}"/>
                  </a:ext>
                </a:extLst>
              </p:cNvPr>
              <p:cNvSpPr/>
              <p:nvPr/>
            </p:nvSpPr>
            <p:spPr>
              <a:xfrm>
                <a:off x="7260132" y="3277945"/>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694" name="Freeform 549">
                <a:extLst>
                  <a:ext uri="{FF2B5EF4-FFF2-40B4-BE49-F238E27FC236}">
                    <a16:creationId xmlns:a16="http://schemas.microsoft.com/office/drawing/2014/main" id="{857BFE6E-9834-DC98-4A99-8B84FE0D2231}"/>
                  </a:ext>
                </a:extLst>
              </p:cNvPr>
              <p:cNvSpPr/>
              <p:nvPr/>
            </p:nvSpPr>
            <p:spPr>
              <a:xfrm>
                <a:off x="7289550" y="3249568"/>
                <a:ext cx="17647" cy="56735"/>
              </a:xfrm>
              <a:custGeom>
                <a:avLst/>
                <a:gdLst>
                  <a:gd name="connsiteX0" fmla="*/ 0 w 17647"/>
                  <a:gd name="connsiteY0" fmla="*/ 0 h 56735"/>
                  <a:gd name="connsiteX1" fmla="*/ 0 w 17647"/>
                  <a:gd name="connsiteY1" fmla="*/ 56735 h 56735"/>
                </a:gdLst>
                <a:ahLst/>
                <a:cxnLst>
                  <a:cxn ang="0">
                    <a:pos x="connsiteX0" y="connsiteY0"/>
                  </a:cxn>
                  <a:cxn ang="0">
                    <a:pos x="connsiteX1" y="connsiteY1"/>
                  </a:cxn>
                </a:cxnLst>
                <a:rect l="l" t="t" r="r" b="b"/>
                <a:pathLst>
                  <a:path w="17647" h="56735">
                    <a:moveTo>
                      <a:pt x="0" y="0"/>
                    </a:moveTo>
                    <a:lnTo>
                      <a:pt x="0" y="56735"/>
                    </a:lnTo>
                  </a:path>
                </a:pathLst>
              </a:custGeom>
              <a:ln w="9624" cap="sq">
                <a:solidFill>
                  <a:srgbClr val="27377D"/>
                </a:solidFill>
                <a:prstDash val="solid"/>
                <a:miter/>
              </a:ln>
            </p:spPr>
            <p:txBody>
              <a:bodyPr rtlCol="0" anchor="ctr"/>
              <a:lstStyle/>
              <a:p>
                <a:endParaRPr lang="en-US" sz="1800" dirty="0"/>
              </a:p>
            </p:txBody>
          </p:sp>
          <p:sp>
            <p:nvSpPr>
              <p:cNvPr id="2695" name="Freeform 550">
                <a:extLst>
                  <a:ext uri="{FF2B5EF4-FFF2-40B4-BE49-F238E27FC236}">
                    <a16:creationId xmlns:a16="http://schemas.microsoft.com/office/drawing/2014/main" id="{3C653ACE-56A7-42D8-BDBA-29DF160D9ECA}"/>
                  </a:ext>
                </a:extLst>
              </p:cNvPr>
              <p:cNvSpPr/>
              <p:nvPr/>
            </p:nvSpPr>
            <p:spPr>
              <a:xfrm>
                <a:off x="7295568" y="3277945"/>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696" name="Freeform 551">
                <a:extLst>
                  <a:ext uri="{FF2B5EF4-FFF2-40B4-BE49-F238E27FC236}">
                    <a16:creationId xmlns:a16="http://schemas.microsoft.com/office/drawing/2014/main" id="{74AC2C42-0DEF-CDE8-32D4-3758D59A15F2}"/>
                  </a:ext>
                </a:extLst>
              </p:cNvPr>
              <p:cNvSpPr/>
              <p:nvPr/>
            </p:nvSpPr>
            <p:spPr>
              <a:xfrm>
                <a:off x="7324985" y="3249568"/>
                <a:ext cx="17647" cy="56735"/>
              </a:xfrm>
              <a:custGeom>
                <a:avLst/>
                <a:gdLst>
                  <a:gd name="connsiteX0" fmla="*/ 0 w 17647"/>
                  <a:gd name="connsiteY0" fmla="*/ 0 h 56735"/>
                  <a:gd name="connsiteX1" fmla="*/ 0 w 17647"/>
                  <a:gd name="connsiteY1" fmla="*/ 56735 h 56735"/>
                </a:gdLst>
                <a:ahLst/>
                <a:cxnLst>
                  <a:cxn ang="0">
                    <a:pos x="connsiteX0" y="connsiteY0"/>
                  </a:cxn>
                  <a:cxn ang="0">
                    <a:pos x="connsiteX1" y="connsiteY1"/>
                  </a:cxn>
                </a:cxnLst>
                <a:rect l="l" t="t" r="r" b="b"/>
                <a:pathLst>
                  <a:path w="17647" h="56735">
                    <a:moveTo>
                      <a:pt x="0" y="0"/>
                    </a:moveTo>
                    <a:lnTo>
                      <a:pt x="0" y="56735"/>
                    </a:lnTo>
                  </a:path>
                </a:pathLst>
              </a:custGeom>
              <a:ln w="9624" cap="sq">
                <a:solidFill>
                  <a:srgbClr val="27377D"/>
                </a:solidFill>
                <a:prstDash val="solid"/>
                <a:miter/>
              </a:ln>
            </p:spPr>
            <p:txBody>
              <a:bodyPr rtlCol="0" anchor="ctr"/>
              <a:lstStyle/>
              <a:p>
                <a:endParaRPr lang="en-US" sz="1800" dirty="0"/>
              </a:p>
            </p:txBody>
          </p:sp>
          <p:sp>
            <p:nvSpPr>
              <p:cNvPr id="2697" name="Freeform 552">
                <a:extLst>
                  <a:ext uri="{FF2B5EF4-FFF2-40B4-BE49-F238E27FC236}">
                    <a16:creationId xmlns:a16="http://schemas.microsoft.com/office/drawing/2014/main" id="{DFC5A57A-17F4-2FDC-0271-A347360CB27C}"/>
                  </a:ext>
                </a:extLst>
              </p:cNvPr>
              <p:cNvSpPr/>
              <p:nvPr/>
            </p:nvSpPr>
            <p:spPr>
              <a:xfrm>
                <a:off x="7301444" y="3308703"/>
                <a:ext cx="58852" cy="17647"/>
              </a:xfrm>
              <a:custGeom>
                <a:avLst/>
                <a:gdLst>
                  <a:gd name="connsiteX0" fmla="*/ 0 w 58852"/>
                  <a:gd name="connsiteY0" fmla="*/ 0 h 17647"/>
                  <a:gd name="connsiteX1" fmla="*/ 58853 w 58852"/>
                  <a:gd name="connsiteY1" fmla="*/ 0 h 17647"/>
                </a:gdLst>
                <a:ahLst/>
                <a:cxnLst>
                  <a:cxn ang="0">
                    <a:pos x="connsiteX0" y="connsiteY0"/>
                  </a:cxn>
                  <a:cxn ang="0">
                    <a:pos x="connsiteX1" y="connsiteY1"/>
                  </a:cxn>
                </a:cxnLst>
                <a:rect l="l" t="t" r="r" b="b"/>
                <a:pathLst>
                  <a:path w="58852" h="17647">
                    <a:moveTo>
                      <a:pt x="0" y="0"/>
                    </a:moveTo>
                    <a:lnTo>
                      <a:pt x="58853" y="0"/>
                    </a:lnTo>
                  </a:path>
                </a:pathLst>
              </a:custGeom>
              <a:ln w="9624" cap="sq">
                <a:solidFill>
                  <a:srgbClr val="27377D"/>
                </a:solidFill>
                <a:prstDash val="solid"/>
                <a:miter/>
              </a:ln>
            </p:spPr>
            <p:txBody>
              <a:bodyPr rtlCol="0" anchor="ctr"/>
              <a:lstStyle/>
              <a:p>
                <a:endParaRPr lang="en-US" sz="1800" dirty="0"/>
              </a:p>
            </p:txBody>
          </p:sp>
          <p:sp>
            <p:nvSpPr>
              <p:cNvPr id="2698" name="Freeform 553">
                <a:extLst>
                  <a:ext uri="{FF2B5EF4-FFF2-40B4-BE49-F238E27FC236}">
                    <a16:creationId xmlns:a16="http://schemas.microsoft.com/office/drawing/2014/main" id="{98DB964E-BF4C-DBFC-C29A-BA61DA16280F}"/>
                  </a:ext>
                </a:extLst>
              </p:cNvPr>
              <p:cNvSpPr/>
              <p:nvPr/>
            </p:nvSpPr>
            <p:spPr>
              <a:xfrm>
                <a:off x="7330862" y="3280327"/>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699" name="Freeform 554">
                <a:extLst>
                  <a:ext uri="{FF2B5EF4-FFF2-40B4-BE49-F238E27FC236}">
                    <a16:creationId xmlns:a16="http://schemas.microsoft.com/office/drawing/2014/main" id="{A0E2984D-D5EE-A54E-8CE3-D23F031DEC3A}"/>
                  </a:ext>
                </a:extLst>
              </p:cNvPr>
              <p:cNvSpPr/>
              <p:nvPr/>
            </p:nvSpPr>
            <p:spPr>
              <a:xfrm>
                <a:off x="7330862" y="3340239"/>
                <a:ext cx="58852" cy="17647"/>
              </a:xfrm>
              <a:custGeom>
                <a:avLst/>
                <a:gdLst>
                  <a:gd name="connsiteX0" fmla="*/ 0 w 58852"/>
                  <a:gd name="connsiteY0" fmla="*/ 0 h 17647"/>
                  <a:gd name="connsiteX1" fmla="*/ 58853 w 58852"/>
                  <a:gd name="connsiteY1" fmla="*/ 0 h 17647"/>
                </a:gdLst>
                <a:ahLst/>
                <a:cxnLst>
                  <a:cxn ang="0">
                    <a:pos x="connsiteX0" y="connsiteY0"/>
                  </a:cxn>
                  <a:cxn ang="0">
                    <a:pos x="connsiteX1" y="connsiteY1"/>
                  </a:cxn>
                </a:cxnLst>
                <a:rect l="l" t="t" r="r" b="b"/>
                <a:pathLst>
                  <a:path w="58852" h="17647">
                    <a:moveTo>
                      <a:pt x="0" y="0"/>
                    </a:moveTo>
                    <a:lnTo>
                      <a:pt x="58853" y="0"/>
                    </a:lnTo>
                  </a:path>
                </a:pathLst>
              </a:custGeom>
              <a:ln w="9624" cap="sq">
                <a:solidFill>
                  <a:srgbClr val="27377D"/>
                </a:solidFill>
                <a:prstDash val="solid"/>
                <a:miter/>
              </a:ln>
            </p:spPr>
            <p:txBody>
              <a:bodyPr rtlCol="0" anchor="ctr"/>
              <a:lstStyle/>
              <a:p>
                <a:endParaRPr lang="en-US" sz="1800" dirty="0"/>
              </a:p>
            </p:txBody>
          </p:sp>
          <p:sp>
            <p:nvSpPr>
              <p:cNvPr id="2700" name="Freeform 555">
                <a:extLst>
                  <a:ext uri="{FF2B5EF4-FFF2-40B4-BE49-F238E27FC236}">
                    <a16:creationId xmlns:a16="http://schemas.microsoft.com/office/drawing/2014/main" id="{DDFD0E04-13B7-BA98-315F-46805A9C821A}"/>
                  </a:ext>
                </a:extLst>
              </p:cNvPr>
              <p:cNvSpPr/>
              <p:nvPr/>
            </p:nvSpPr>
            <p:spPr>
              <a:xfrm>
                <a:off x="7360297" y="3311862"/>
                <a:ext cx="17647" cy="56735"/>
              </a:xfrm>
              <a:custGeom>
                <a:avLst/>
                <a:gdLst>
                  <a:gd name="connsiteX0" fmla="*/ 0 w 17647"/>
                  <a:gd name="connsiteY0" fmla="*/ 0 h 56735"/>
                  <a:gd name="connsiteX1" fmla="*/ 0 w 17647"/>
                  <a:gd name="connsiteY1" fmla="*/ 56735 h 56735"/>
                </a:gdLst>
                <a:ahLst/>
                <a:cxnLst>
                  <a:cxn ang="0">
                    <a:pos x="connsiteX0" y="connsiteY0"/>
                  </a:cxn>
                  <a:cxn ang="0">
                    <a:pos x="connsiteX1" y="connsiteY1"/>
                  </a:cxn>
                </a:cxnLst>
                <a:rect l="l" t="t" r="r" b="b"/>
                <a:pathLst>
                  <a:path w="17647" h="56735">
                    <a:moveTo>
                      <a:pt x="0" y="0"/>
                    </a:moveTo>
                    <a:lnTo>
                      <a:pt x="0" y="56735"/>
                    </a:lnTo>
                  </a:path>
                </a:pathLst>
              </a:custGeom>
              <a:ln w="9624" cap="sq">
                <a:solidFill>
                  <a:srgbClr val="27377D"/>
                </a:solidFill>
                <a:prstDash val="solid"/>
                <a:miter/>
              </a:ln>
            </p:spPr>
            <p:txBody>
              <a:bodyPr rtlCol="0" anchor="ctr"/>
              <a:lstStyle/>
              <a:p>
                <a:endParaRPr lang="en-US" sz="1800" dirty="0"/>
              </a:p>
            </p:txBody>
          </p:sp>
          <p:sp>
            <p:nvSpPr>
              <p:cNvPr id="2701" name="Freeform 556">
                <a:extLst>
                  <a:ext uri="{FF2B5EF4-FFF2-40B4-BE49-F238E27FC236}">
                    <a16:creationId xmlns:a16="http://schemas.microsoft.com/office/drawing/2014/main" id="{9BB7D49D-A6E4-C053-9EDC-BEDBD7D45E45}"/>
                  </a:ext>
                </a:extLst>
              </p:cNvPr>
              <p:cNvSpPr/>
              <p:nvPr/>
            </p:nvSpPr>
            <p:spPr>
              <a:xfrm>
                <a:off x="7354403" y="3340239"/>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702" name="Freeform 557">
                <a:extLst>
                  <a:ext uri="{FF2B5EF4-FFF2-40B4-BE49-F238E27FC236}">
                    <a16:creationId xmlns:a16="http://schemas.microsoft.com/office/drawing/2014/main" id="{67287016-50D1-C680-1EED-255438C087DA}"/>
                  </a:ext>
                </a:extLst>
              </p:cNvPr>
              <p:cNvSpPr/>
              <p:nvPr/>
            </p:nvSpPr>
            <p:spPr>
              <a:xfrm>
                <a:off x="7383820" y="3311862"/>
                <a:ext cx="17647" cy="56735"/>
              </a:xfrm>
              <a:custGeom>
                <a:avLst/>
                <a:gdLst>
                  <a:gd name="connsiteX0" fmla="*/ 0 w 17647"/>
                  <a:gd name="connsiteY0" fmla="*/ 0 h 56735"/>
                  <a:gd name="connsiteX1" fmla="*/ 0 w 17647"/>
                  <a:gd name="connsiteY1" fmla="*/ 56735 h 56735"/>
                </a:gdLst>
                <a:ahLst/>
                <a:cxnLst>
                  <a:cxn ang="0">
                    <a:pos x="connsiteX0" y="connsiteY0"/>
                  </a:cxn>
                  <a:cxn ang="0">
                    <a:pos x="connsiteX1" y="connsiteY1"/>
                  </a:cxn>
                </a:cxnLst>
                <a:rect l="l" t="t" r="r" b="b"/>
                <a:pathLst>
                  <a:path w="17647" h="56735">
                    <a:moveTo>
                      <a:pt x="0" y="0"/>
                    </a:moveTo>
                    <a:lnTo>
                      <a:pt x="0" y="56735"/>
                    </a:lnTo>
                  </a:path>
                </a:pathLst>
              </a:custGeom>
              <a:ln w="9624" cap="sq">
                <a:solidFill>
                  <a:srgbClr val="27377D"/>
                </a:solidFill>
                <a:prstDash val="solid"/>
                <a:miter/>
              </a:ln>
            </p:spPr>
            <p:txBody>
              <a:bodyPr rtlCol="0" anchor="ctr"/>
              <a:lstStyle/>
              <a:p>
                <a:endParaRPr lang="en-US" sz="1800" dirty="0"/>
              </a:p>
            </p:txBody>
          </p:sp>
          <p:sp>
            <p:nvSpPr>
              <p:cNvPr id="2703" name="Freeform 558">
                <a:extLst>
                  <a:ext uri="{FF2B5EF4-FFF2-40B4-BE49-F238E27FC236}">
                    <a16:creationId xmlns:a16="http://schemas.microsoft.com/office/drawing/2014/main" id="{E12A4E1A-7A5D-84B8-9530-769E80191240}"/>
                  </a:ext>
                </a:extLst>
              </p:cNvPr>
              <p:cNvSpPr/>
              <p:nvPr/>
            </p:nvSpPr>
            <p:spPr>
              <a:xfrm>
                <a:off x="7354403" y="3340239"/>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704" name="Freeform 559">
                <a:extLst>
                  <a:ext uri="{FF2B5EF4-FFF2-40B4-BE49-F238E27FC236}">
                    <a16:creationId xmlns:a16="http://schemas.microsoft.com/office/drawing/2014/main" id="{5A7742DB-1A5C-03B9-2F6B-9F69D661D9EC}"/>
                  </a:ext>
                </a:extLst>
              </p:cNvPr>
              <p:cNvSpPr/>
              <p:nvPr/>
            </p:nvSpPr>
            <p:spPr>
              <a:xfrm>
                <a:off x="7383820" y="3311862"/>
                <a:ext cx="17647" cy="56735"/>
              </a:xfrm>
              <a:custGeom>
                <a:avLst/>
                <a:gdLst>
                  <a:gd name="connsiteX0" fmla="*/ 0 w 17647"/>
                  <a:gd name="connsiteY0" fmla="*/ 0 h 56735"/>
                  <a:gd name="connsiteX1" fmla="*/ 0 w 17647"/>
                  <a:gd name="connsiteY1" fmla="*/ 56735 h 56735"/>
                </a:gdLst>
                <a:ahLst/>
                <a:cxnLst>
                  <a:cxn ang="0">
                    <a:pos x="connsiteX0" y="connsiteY0"/>
                  </a:cxn>
                  <a:cxn ang="0">
                    <a:pos x="connsiteX1" y="connsiteY1"/>
                  </a:cxn>
                </a:cxnLst>
                <a:rect l="l" t="t" r="r" b="b"/>
                <a:pathLst>
                  <a:path w="17647" h="56735">
                    <a:moveTo>
                      <a:pt x="0" y="0"/>
                    </a:moveTo>
                    <a:lnTo>
                      <a:pt x="0" y="56735"/>
                    </a:lnTo>
                  </a:path>
                </a:pathLst>
              </a:custGeom>
              <a:ln w="9624" cap="sq">
                <a:solidFill>
                  <a:srgbClr val="27377D"/>
                </a:solidFill>
                <a:prstDash val="solid"/>
                <a:miter/>
              </a:ln>
            </p:spPr>
            <p:txBody>
              <a:bodyPr rtlCol="0" anchor="ctr"/>
              <a:lstStyle/>
              <a:p>
                <a:endParaRPr lang="en-US" sz="1800" dirty="0"/>
              </a:p>
            </p:txBody>
          </p:sp>
          <p:sp>
            <p:nvSpPr>
              <p:cNvPr id="2705" name="Freeform 560">
                <a:extLst>
                  <a:ext uri="{FF2B5EF4-FFF2-40B4-BE49-F238E27FC236}">
                    <a16:creationId xmlns:a16="http://schemas.microsoft.com/office/drawing/2014/main" id="{6A0783F2-60A2-6E0F-DBA4-285F7911905C}"/>
                  </a:ext>
                </a:extLst>
              </p:cNvPr>
              <p:cNvSpPr/>
              <p:nvPr/>
            </p:nvSpPr>
            <p:spPr>
              <a:xfrm>
                <a:off x="7472214" y="3340239"/>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706" name="Freeform 561">
                <a:extLst>
                  <a:ext uri="{FF2B5EF4-FFF2-40B4-BE49-F238E27FC236}">
                    <a16:creationId xmlns:a16="http://schemas.microsoft.com/office/drawing/2014/main" id="{BC632AF7-E87C-5E19-9B04-CB6D0B63CA88}"/>
                  </a:ext>
                </a:extLst>
              </p:cNvPr>
              <p:cNvSpPr/>
              <p:nvPr/>
            </p:nvSpPr>
            <p:spPr>
              <a:xfrm>
                <a:off x="7501632" y="3311862"/>
                <a:ext cx="17647" cy="56735"/>
              </a:xfrm>
              <a:custGeom>
                <a:avLst/>
                <a:gdLst>
                  <a:gd name="connsiteX0" fmla="*/ 0 w 17647"/>
                  <a:gd name="connsiteY0" fmla="*/ 0 h 56735"/>
                  <a:gd name="connsiteX1" fmla="*/ 0 w 17647"/>
                  <a:gd name="connsiteY1" fmla="*/ 56735 h 56735"/>
                </a:gdLst>
                <a:ahLst/>
                <a:cxnLst>
                  <a:cxn ang="0">
                    <a:pos x="connsiteX0" y="connsiteY0"/>
                  </a:cxn>
                  <a:cxn ang="0">
                    <a:pos x="connsiteX1" y="connsiteY1"/>
                  </a:cxn>
                </a:cxnLst>
                <a:rect l="l" t="t" r="r" b="b"/>
                <a:pathLst>
                  <a:path w="17647" h="56735">
                    <a:moveTo>
                      <a:pt x="0" y="0"/>
                    </a:moveTo>
                    <a:lnTo>
                      <a:pt x="0" y="56735"/>
                    </a:lnTo>
                  </a:path>
                </a:pathLst>
              </a:custGeom>
              <a:ln w="9624" cap="sq">
                <a:solidFill>
                  <a:srgbClr val="27377D"/>
                </a:solidFill>
                <a:prstDash val="solid"/>
                <a:miter/>
              </a:ln>
            </p:spPr>
            <p:txBody>
              <a:bodyPr rtlCol="0" anchor="ctr"/>
              <a:lstStyle/>
              <a:p>
                <a:endParaRPr lang="en-US" sz="1800" dirty="0"/>
              </a:p>
            </p:txBody>
          </p:sp>
          <p:sp>
            <p:nvSpPr>
              <p:cNvPr id="2707" name="Freeform 562">
                <a:extLst>
                  <a:ext uri="{FF2B5EF4-FFF2-40B4-BE49-F238E27FC236}">
                    <a16:creationId xmlns:a16="http://schemas.microsoft.com/office/drawing/2014/main" id="{7B84DE87-E9A6-827C-E8DA-28EB1FD5F9B4}"/>
                  </a:ext>
                </a:extLst>
              </p:cNvPr>
              <p:cNvSpPr/>
              <p:nvPr/>
            </p:nvSpPr>
            <p:spPr>
              <a:xfrm>
                <a:off x="7537067" y="3340239"/>
                <a:ext cx="58852" cy="17647"/>
              </a:xfrm>
              <a:custGeom>
                <a:avLst/>
                <a:gdLst>
                  <a:gd name="connsiteX0" fmla="*/ 0 w 58852"/>
                  <a:gd name="connsiteY0" fmla="*/ 0 h 17647"/>
                  <a:gd name="connsiteX1" fmla="*/ 58853 w 58852"/>
                  <a:gd name="connsiteY1" fmla="*/ 0 h 17647"/>
                </a:gdLst>
                <a:ahLst/>
                <a:cxnLst>
                  <a:cxn ang="0">
                    <a:pos x="connsiteX0" y="connsiteY0"/>
                  </a:cxn>
                  <a:cxn ang="0">
                    <a:pos x="connsiteX1" y="connsiteY1"/>
                  </a:cxn>
                </a:cxnLst>
                <a:rect l="l" t="t" r="r" b="b"/>
                <a:pathLst>
                  <a:path w="58852" h="17647">
                    <a:moveTo>
                      <a:pt x="0" y="0"/>
                    </a:moveTo>
                    <a:lnTo>
                      <a:pt x="58853" y="0"/>
                    </a:lnTo>
                  </a:path>
                </a:pathLst>
              </a:custGeom>
              <a:ln w="9624" cap="sq">
                <a:solidFill>
                  <a:srgbClr val="27377D"/>
                </a:solidFill>
                <a:prstDash val="solid"/>
                <a:miter/>
              </a:ln>
            </p:spPr>
            <p:txBody>
              <a:bodyPr rtlCol="0" anchor="ctr"/>
              <a:lstStyle/>
              <a:p>
                <a:endParaRPr lang="en-US" sz="1800" dirty="0"/>
              </a:p>
            </p:txBody>
          </p:sp>
          <p:sp>
            <p:nvSpPr>
              <p:cNvPr id="2708" name="Freeform 563">
                <a:extLst>
                  <a:ext uri="{FF2B5EF4-FFF2-40B4-BE49-F238E27FC236}">
                    <a16:creationId xmlns:a16="http://schemas.microsoft.com/office/drawing/2014/main" id="{A415C024-22EE-AFB0-491F-6E25E4B57A60}"/>
                  </a:ext>
                </a:extLst>
              </p:cNvPr>
              <p:cNvSpPr/>
              <p:nvPr/>
            </p:nvSpPr>
            <p:spPr>
              <a:xfrm>
                <a:off x="7566485" y="3311862"/>
                <a:ext cx="17647" cy="56735"/>
              </a:xfrm>
              <a:custGeom>
                <a:avLst/>
                <a:gdLst>
                  <a:gd name="connsiteX0" fmla="*/ 0 w 17647"/>
                  <a:gd name="connsiteY0" fmla="*/ 0 h 56735"/>
                  <a:gd name="connsiteX1" fmla="*/ 0 w 17647"/>
                  <a:gd name="connsiteY1" fmla="*/ 56735 h 56735"/>
                </a:gdLst>
                <a:ahLst/>
                <a:cxnLst>
                  <a:cxn ang="0">
                    <a:pos x="connsiteX0" y="connsiteY0"/>
                  </a:cxn>
                  <a:cxn ang="0">
                    <a:pos x="connsiteX1" y="connsiteY1"/>
                  </a:cxn>
                </a:cxnLst>
                <a:rect l="l" t="t" r="r" b="b"/>
                <a:pathLst>
                  <a:path w="17647" h="56735">
                    <a:moveTo>
                      <a:pt x="0" y="0"/>
                    </a:moveTo>
                    <a:lnTo>
                      <a:pt x="0" y="56735"/>
                    </a:lnTo>
                  </a:path>
                </a:pathLst>
              </a:custGeom>
              <a:ln w="9624" cap="sq">
                <a:solidFill>
                  <a:srgbClr val="27377D"/>
                </a:solidFill>
                <a:prstDash val="solid"/>
                <a:miter/>
              </a:ln>
            </p:spPr>
            <p:txBody>
              <a:bodyPr rtlCol="0" anchor="ctr"/>
              <a:lstStyle/>
              <a:p>
                <a:endParaRPr lang="en-US" sz="1800" dirty="0"/>
              </a:p>
            </p:txBody>
          </p:sp>
          <p:sp>
            <p:nvSpPr>
              <p:cNvPr id="2709" name="Freeform 564">
                <a:extLst>
                  <a:ext uri="{FF2B5EF4-FFF2-40B4-BE49-F238E27FC236}">
                    <a16:creationId xmlns:a16="http://schemas.microsoft.com/office/drawing/2014/main" id="{E98EC654-79C1-497F-A1F6-A2A3C699E221}"/>
                  </a:ext>
                </a:extLst>
              </p:cNvPr>
              <p:cNvSpPr/>
              <p:nvPr/>
            </p:nvSpPr>
            <p:spPr>
              <a:xfrm>
                <a:off x="7560608" y="3340239"/>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710" name="Freeform 565">
                <a:extLst>
                  <a:ext uri="{FF2B5EF4-FFF2-40B4-BE49-F238E27FC236}">
                    <a16:creationId xmlns:a16="http://schemas.microsoft.com/office/drawing/2014/main" id="{A6D30F55-21D0-F03D-91A0-EED58D7A90B6}"/>
                  </a:ext>
                </a:extLst>
              </p:cNvPr>
              <p:cNvSpPr/>
              <p:nvPr/>
            </p:nvSpPr>
            <p:spPr>
              <a:xfrm>
                <a:off x="7590026" y="3311862"/>
                <a:ext cx="17647" cy="56735"/>
              </a:xfrm>
              <a:custGeom>
                <a:avLst/>
                <a:gdLst>
                  <a:gd name="connsiteX0" fmla="*/ 0 w 17647"/>
                  <a:gd name="connsiteY0" fmla="*/ 0 h 56735"/>
                  <a:gd name="connsiteX1" fmla="*/ 0 w 17647"/>
                  <a:gd name="connsiteY1" fmla="*/ 56735 h 56735"/>
                </a:gdLst>
                <a:ahLst/>
                <a:cxnLst>
                  <a:cxn ang="0">
                    <a:pos x="connsiteX0" y="connsiteY0"/>
                  </a:cxn>
                  <a:cxn ang="0">
                    <a:pos x="connsiteX1" y="connsiteY1"/>
                  </a:cxn>
                </a:cxnLst>
                <a:rect l="l" t="t" r="r" b="b"/>
                <a:pathLst>
                  <a:path w="17647" h="56735">
                    <a:moveTo>
                      <a:pt x="0" y="0"/>
                    </a:moveTo>
                    <a:lnTo>
                      <a:pt x="0" y="56735"/>
                    </a:lnTo>
                  </a:path>
                </a:pathLst>
              </a:custGeom>
              <a:ln w="9624" cap="sq">
                <a:solidFill>
                  <a:srgbClr val="27377D"/>
                </a:solidFill>
                <a:prstDash val="solid"/>
                <a:miter/>
              </a:ln>
            </p:spPr>
            <p:txBody>
              <a:bodyPr rtlCol="0" anchor="ctr"/>
              <a:lstStyle/>
              <a:p>
                <a:endParaRPr lang="en-US" sz="1800" dirty="0"/>
              </a:p>
            </p:txBody>
          </p:sp>
          <p:sp>
            <p:nvSpPr>
              <p:cNvPr id="2711" name="Freeform 566">
                <a:extLst>
                  <a:ext uri="{FF2B5EF4-FFF2-40B4-BE49-F238E27FC236}">
                    <a16:creationId xmlns:a16="http://schemas.microsoft.com/office/drawing/2014/main" id="{4FF23768-C27B-5759-008E-50AC5A7BC219}"/>
                  </a:ext>
                </a:extLst>
              </p:cNvPr>
              <p:cNvSpPr/>
              <p:nvPr/>
            </p:nvSpPr>
            <p:spPr>
              <a:xfrm>
                <a:off x="7572379" y="3340239"/>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712" name="Freeform 567">
                <a:extLst>
                  <a:ext uri="{FF2B5EF4-FFF2-40B4-BE49-F238E27FC236}">
                    <a16:creationId xmlns:a16="http://schemas.microsoft.com/office/drawing/2014/main" id="{87A8162E-FAED-C68D-4C2C-A75130C0D552}"/>
                  </a:ext>
                </a:extLst>
              </p:cNvPr>
              <p:cNvSpPr/>
              <p:nvPr/>
            </p:nvSpPr>
            <p:spPr>
              <a:xfrm>
                <a:off x="7601796" y="3311862"/>
                <a:ext cx="17647" cy="56735"/>
              </a:xfrm>
              <a:custGeom>
                <a:avLst/>
                <a:gdLst>
                  <a:gd name="connsiteX0" fmla="*/ 0 w 17647"/>
                  <a:gd name="connsiteY0" fmla="*/ 0 h 56735"/>
                  <a:gd name="connsiteX1" fmla="*/ 0 w 17647"/>
                  <a:gd name="connsiteY1" fmla="*/ 56735 h 56735"/>
                </a:gdLst>
                <a:ahLst/>
                <a:cxnLst>
                  <a:cxn ang="0">
                    <a:pos x="connsiteX0" y="connsiteY0"/>
                  </a:cxn>
                  <a:cxn ang="0">
                    <a:pos x="connsiteX1" y="connsiteY1"/>
                  </a:cxn>
                </a:cxnLst>
                <a:rect l="l" t="t" r="r" b="b"/>
                <a:pathLst>
                  <a:path w="17647" h="56735">
                    <a:moveTo>
                      <a:pt x="0" y="0"/>
                    </a:moveTo>
                    <a:lnTo>
                      <a:pt x="0" y="56735"/>
                    </a:lnTo>
                  </a:path>
                </a:pathLst>
              </a:custGeom>
              <a:ln w="9624" cap="sq">
                <a:solidFill>
                  <a:srgbClr val="27377D"/>
                </a:solidFill>
                <a:prstDash val="solid"/>
                <a:miter/>
              </a:ln>
            </p:spPr>
            <p:txBody>
              <a:bodyPr rtlCol="0" anchor="ctr"/>
              <a:lstStyle/>
              <a:p>
                <a:endParaRPr lang="en-US" sz="1800" dirty="0"/>
              </a:p>
            </p:txBody>
          </p:sp>
          <p:sp>
            <p:nvSpPr>
              <p:cNvPr id="2713" name="Freeform 568">
                <a:extLst>
                  <a:ext uri="{FF2B5EF4-FFF2-40B4-BE49-F238E27FC236}">
                    <a16:creationId xmlns:a16="http://schemas.microsoft.com/office/drawing/2014/main" id="{0B3BDE56-4B16-0D6F-1D15-0DE0B0FB1C2F}"/>
                  </a:ext>
                </a:extLst>
              </p:cNvPr>
              <p:cNvSpPr/>
              <p:nvPr/>
            </p:nvSpPr>
            <p:spPr>
              <a:xfrm>
                <a:off x="7584149" y="3340239"/>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714" name="Freeform 569">
                <a:extLst>
                  <a:ext uri="{FF2B5EF4-FFF2-40B4-BE49-F238E27FC236}">
                    <a16:creationId xmlns:a16="http://schemas.microsoft.com/office/drawing/2014/main" id="{E789E82E-7853-C760-BE3D-0478016FE1F5}"/>
                  </a:ext>
                </a:extLst>
              </p:cNvPr>
              <p:cNvSpPr/>
              <p:nvPr/>
            </p:nvSpPr>
            <p:spPr>
              <a:xfrm>
                <a:off x="7613567" y="3311862"/>
                <a:ext cx="17647" cy="56735"/>
              </a:xfrm>
              <a:custGeom>
                <a:avLst/>
                <a:gdLst>
                  <a:gd name="connsiteX0" fmla="*/ 0 w 17647"/>
                  <a:gd name="connsiteY0" fmla="*/ 0 h 56735"/>
                  <a:gd name="connsiteX1" fmla="*/ 0 w 17647"/>
                  <a:gd name="connsiteY1" fmla="*/ 56735 h 56735"/>
                </a:gdLst>
                <a:ahLst/>
                <a:cxnLst>
                  <a:cxn ang="0">
                    <a:pos x="connsiteX0" y="connsiteY0"/>
                  </a:cxn>
                  <a:cxn ang="0">
                    <a:pos x="connsiteX1" y="connsiteY1"/>
                  </a:cxn>
                </a:cxnLst>
                <a:rect l="l" t="t" r="r" b="b"/>
                <a:pathLst>
                  <a:path w="17647" h="56735">
                    <a:moveTo>
                      <a:pt x="0" y="0"/>
                    </a:moveTo>
                    <a:lnTo>
                      <a:pt x="0" y="56735"/>
                    </a:lnTo>
                  </a:path>
                </a:pathLst>
              </a:custGeom>
              <a:ln w="9624" cap="sq">
                <a:solidFill>
                  <a:srgbClr val="27377D"/>
                </a:solidFill>
                <a:prstDash val="solid"/>
                <a:miter/>
              </a:ln>
            </p:spPr>
            <p:txBody>
              <a:bodyPr rtlCol="0" anchor="ctr"/>
              <a:lstStyle/>
              <a:p>
                <a:endParaRPr lang="en-US" sz="1800" dirty="0"/>
              </a:p>
            </p:txBody>
          </p:sp>
          <p:sp>
            <p:nvSpPr>
              <p:cNvPr id="2715" name="Freeform 570">
                <a:extLst>
                  <a:ext uri="{FF2B5EF4-FFF2-40B4-BE49-F238E27FC236}">
                    <a16:creationId xmlns:a16="http://schemas.microsoft.com/office/drawing/2014/main" id="{74E77FB5-86D0-30FF-4626-BEF1BAD6CDBD}"/>
                  </a:ext>
                </a:extLst>
              </p:cNvPr>
              <p:cNvSpPr/>
              <p:nvPr/>
            </p:nvSpPr>
            <p:spPr>
              <a:xfrm>
                <a:off x="7619585" y="3340239"/>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716" name="Freeform 571">
                <a:extLst>
                  <a:ext uri="{FF2B5EF4-FFF2-40B4-BE49-F238E27FC236}">
                    <a16:creationId xmlns:a16="http://schemas.microsoft.com/office/drawing/2014/main" id="{D063F7F2-80A0-7CC7-8159-A45E29B95707}"/>
                  </a:ext>
                </a:extLst>
              </p:cNvPr>
              <p:cNvSpPr/>
              <p:nvPr/>
            </p:nvSpPr>
            <p:spPr>
              <a:xfrm>
                <a:off x="7649002" y="3311862"/>
                <a:ext cx="17647" cy="56735"/>
              </a:xfrm>
              <a:custGeom>
                <a:avLst/>
                <a:gdLst>
                  <a:gd name="connsiteX0" fmla="*/ 0 w 17647"/>
                  <a:gd name="connsiteY0" fmla="*/ 0 h 56735"/>
                  <a:gd name="connsiteX1" fmla="*/ 0 w 17647"/>
                  <a:gd name="connsiteY1" fmla="*/ 56735 h 56735"/>
                </a:gdLst>
                <a:ahLst/>
                <a:cxnLst>
                  <a:cxn ang="0">
                    <a:pos x="connsiteX0" y="connsiteY0"/>
                  </a:cxn>
                  <a:cxn ang="0">
                    <a:pos x="connsiteX1" y="connsiteY1"/>
                  </a:cxn>
                </a:cxnLst>
                <a:rect l="l" t="t" r="r" b="b"/>
                <a:pathLst>
                  <a:path w="17647" h="56735">
                    <a:moveTo>
                      <a:pt x="0" y="0"/>
                    </a:moveTo>
                    <a:lnTo>
                      <a:pt x="0" y="56735"/>
                    </a:lnTo>
                  </a:path>
                </a:pathLst>
              </a:custGeom>
              <a:ln w="9624" cap="sq">
                <a:solidFill>
                  <a:srgbClr val="27377D"/>
                </a:solidFill>
                <a:prstDash val="solid"/>
                <a:miter/>
              </a:ln>
            </p:spPr>
            <p:txBody>
              <a:bodyPr rtlCol="0" anchor="ctr"/>
              <a:lstStyle/>
              <a:p>
                <a:endParaRPr lang="en-US" sz="1800" dirty="0"/>
              </a:p>
            </p:txBody>
          </p:sp>
          <p:sp>
            <p:nvSpPr>
              <p:cNvPr id="2717" name="Freeform 572">
                <a:extLst>
                  <a:ext uri="{FF2B5EF4-FFF2-40B4-BE49-F238E27FC236}">
                    <a16:creationId xmlns:a16="http://schemas.microsoft.com/office/drawing/2014/main" id="{5E5935FD-A174-DAC3-42D1-2D03744DAA02}"/>
                  </a:ext>
                </a:extLst>
              </p:cNvPr>
              <p:cNvSpPr/>
              <p:nvPr/>
            </p:nvSpPr>
            <p:spPr>
              <a:xfrm>
                <a:off x="7802108" y="3380580"/>
                <a:ext cx="58852" cy="17647"/>
              </a:xfrm>
              <a:custGeom>
                <a:avLst/>
                <a:gdLst>
                  <a:gd name="connsiteX0" fmla="*/ 0 w 58852"/>
                  <a:gd name="connsiteY0" fmla="*/ 0 h 17647"/>
                  <a:gd name="connsiteX1" fmla="*/ 58853 w 58852"/>
                  <a:gd name="connsiteY1" fmla="*/ 0 h 17647"/>
                </a:gdLst>
                <a:ahLst/>
                <a:cxnLst>
                  <a:cxn ang="0">
                    <a:pos x="connsiteX0" y="connsiteY0"/>
                  </a:cxn>
                  <a:cxn ang="0">
                    <a:pos x="connsiteX1" y="connsiteY1"/>
                  </a:cxn>
                </a:cxnLst>
                <a:rect l="l" t="t" r="r" b="b"/>
                <a:pathLst>
                  <a:path w="58852" h="17647">
                    <a:moveTo>
                      <a:pt x="0" y="0"/>
                    </a:moveTo>
                    <a:lnTo>
                      <a:pt x="58853" y="0"/>
                    </a:lnTo>
                  </a:path>
                </a:pathLst>
              </a:custGeom>
              <a:ln w="9624" cap="sq">
                <a:solidFill>
                  <a:srgbClr val="27377D"/>
                </a:solidFill>
                <a:prstDash val="solid"/>
                <a:miter/>
              </a:ln>
            </p:spPr>
            <p:txBody>
              <a:bodyPr rtlCol="0" anchor="ctr"/>
              <a:lstStyle/>
              <a:p>
                <a:endParaRPr lang="en-US" sz="1800" dirty="0"/>
              </a:p>
            </p:txBody>
          </p:sp>
          <p:sp>
            <p:nvSpPr>
              <p:cNvPr id="2718" name="Freeform 573">
                <a:extLst>
                  <a:ext uri="{FF2B5EF4-FFF2-40B4-BE49-F238E27FC236}">
                    <a16:creationId xmlns:a16="http://schemas.microsoft.com/office/drawing/2014/main" id="{14A2518E-53F7-0B53-82CD-5A8FEECD35D7}"/>
                  </a:ext>
                </a:extLst>
              </p:cNvPr>
              <p:cNvSpPr/>
              <p:nvPr/>
            </p:nvSpPr>
            <p:spPr>
              <a:xfrm>
                <a:off x="7831543" y="3352221"/>
                <a:ext cx="17647" cy="56735"/>
              </a:xfrm>
              <a:custGeom>
                <a:avLst/>
                <a:gdLst>
                  <a:gd name="connsiteX0" fmla="*/ 0 w 17647"/>
                  <a:gd name="connsiteY0" fmla="*/ 0 h 56735"/>
                  <a:gd name="connsiteX1" fmla="*/ 0 w 17647"/>
                  <a:gd name="connsiteY1" fmla="*/ 56735 h 56735"/>
                </a:gdLst>
                <a:ahLst/>
                <a:cxnLst>
                  <a:cxn ang="0">
                    <a:pos x="connsiteX0" y="connsiteY0"/>
                  </a:cxn>
                  <a:cxn ang="0">
                    <a:pos x="connsiteX1" y="connsiteY1"/>
                  </a:cxn>
                </a:cxnLst>
                <a:rect l="l" t="t" r="r" b="b"/>
                <a:pathLst>
                  <a:path w="17647" h="56735">
                    <a:moveTo>
                      <a:pt x="0" y="0"/>
                    </a:moveTo>
                    <a:lnTo>
                      <a:pt x="0" y="56735"/>
                    </a:lnTo>
                  </a:path>
                </a:pathLst>
              </a:custGeom>
              <a:ln w="9624" cap="sq">
                <a:solidFill>
                  <a:srgbClr val="27377D"/>
                </a:solidFill>
                <a:prstDash val="solid"/>
                <a:miter/>
              </a:ln>
            </p:spPr>
            <p:txBody>
              <a:bodyPr rtlCol="0" anchor="ctr"/>
              <a:lstStyle/>
              <a:p>
                <a:endParaRPr lang="en-US" sz="1800" dirty="0"/>
              </a:p>
            </p:txBody>
          </p:sp>
          <p:sp>
            <p:nvSpPr>
              <p:cNvPr id="2719" name="Freeform 574">
                <a:extLst>
                  <a:ext uri="{FF2B5EF4-FFF2-40B4-BE49-F238E27FC236}">
                    <a16:creationId xmlns:a16="http://schemas.microsoft.com/office/drawing/2014/main" id="{E78CCA4D-231F-5F06-8021-B20BAB070DBB}"/>
                  </a:ext>
                </a:extLst>
              </p:cNvPr>
              <p:cNvSpPr/>
              <p:nvPr/>
            </p:nvSpPr>
            <p:spPr>
              <a:xfrm>
                <a:off x="7837543" y="3380580"/>
                <a:ext cx="58852" cy="17647"/>
              </a:xfrm>
              <a:custGeom>
                <a:avLst/>
                <a:gdLst>
                  <a:gd name="connsiteX0" fmla="*/ 0 w 58852"/>
                  <a:gd name="connsiteY0" fmla="*/ 0 h 17647"/>
                  <a:gd name="connsiteX1" fmla="*/ 58853 w 58852"/>
                  <a:gd name="connsiteY1" fmla="*/ 0 h 17647"/>
                </a:gdLst>
                <a:ahLst/>
                <a:cxnLst>
                  <a:cxn ang="0">
                    <a:pos x="connsiteX0" y="connsiteY0"/>
                  </a:cxn>
                  <a:cxn ang="0">
                    <a:pos x="connsiteX1" y="connsiteY1"/>
                  </a:cxn>
                </a:cxnLst>
                <a:rect l="l" t="t" r="r" b="b"/>
                <a:pathLst>
                  <a:path w="58852" h="17647">
                    <a:moveTo>
                      <a:pt x="0" y="0"/>
                    </a:moveTo>
                    <a:lnTo>
                      <a:pt x="58853" y="0"/>
                    </a:lnTo>
                  </a:path>
                </a:pathLst>
              </a:custGeom>
              <a:ln w="9624" cap="sq">
                <a:solidFill>
                  <a:srgbClr val="27377D"/>
                </a:solidFill>
                <a:prstDash val="solid"/>
                <a:miter/>
              </a:ln>
            </p:spPr>
            <p:txBody>
              <a:bodyPr rtlCol="0" anchor="ctr"/>
              <a:lstStyle/>
              <a:p>
                <a:endParaRPr lang="en-US" sz="1800" dirty="0"/>
              </a:p>
            </p:txBody>
          </p:sp>
          <p:sp>
            <p:nvSpPr>
              <p:cNvPr id="2720" name="Freeform 575">
                <a:extLst>
                  <a:ext uri="{FF2B5EF4-FFF2-40B4-BE49-F238E27FC236}">
                    <a16:creationId xmlns:a16="http://schemas.microsoft.com/office/drawing/2014/main" id="{596372F8-F943-CD2E-76BD-F9F5AE714B0D}"/>
                  </a:ext>
                </a:extLst>
              </p:cNvPr>
              <p:cNvSpPr/>
              <p:nvPr/>
            </p:nvSpPr>
            <p:spPr>
              <a:xfrm>
                <a:off x="7866978" y="3352221"/>
                <a:ext cx="17647" cy="56735"/>
              </a:xfrm>
              <a:custGeom>
                <a:avLst/>
                <a:gdLst>
                  <a:gd name="connsiteX0" fmla="*/ 0 w 17647"/>
                  <a:gd name="connsiteY0" fmla="*/ 0 h 56735"/>
                  <a:gd name="connsiteX1" fmla="*/ 0 w 17647"/>
                  <a:gd name="connsiteY1" fmla="*/ 56735 h 56735"/>
                </a:gdLst>
                <a:ahLst/>
                <a:cxnLst>
                  <a:cxn ang="0">
                    <a:pos x="connsiteX0" y="connsiteY0"/>
                  </a:cxn>
                  <a:cxn ang="0">
                    <a:pos x="connsiteX1" y="connsiteY1"/>
                  </a:cxn>
                </a:cxnLst>
                <a:rect l="l" t="t" r="r" b="b"/>
                <a:pathLst>
                  <a:path w="17647" h="56735">
                    <a:moveTo>
                      <a:pt x="0" y="0"/>
                    </a:moveTo>
                    <a:lnTo>
                      <a:pt x="0" y="56735"/>
                    </a:lnTo>
                  </a:path>
                </a:pathLst>
              </a:custGeom>
              <a:ln w="9624" cap="sq">
                <a:solidFill>
                  <a:srgbClr val="27377D"/>
                </a:solidFill>
                <a:prstDash val="solid"/>
                <a:miter/>
              </a:ln>
            </p:spPr>
            <p:txBody>
              <a:bodyPr rtlCol="0" anchor="ctr"/>
              <a:lstStyle/>
              <a:p>
                <a:endParaRPr lang="en-US" sz="1800" dirty="0"/>
              </a:p>
            </p:txBody>
          </p:sp>
          <p:sp>
            <p:nvSpPr>
              <p:cNvPr id="2721" name="Freeform 576">
                <a:extLst>
                  <a:ext uri="{FF2B5EF4-FFF2-40B4-BE49-F238E27FC236}">
                    <a16:creationId xmlns:a16="http://schemas.microsoft.com/office/drawing/2014/main" id="{D9A3908D-F024-C811-49F6-D1BD276C2B94}"/>
                  </a:ext>
                </a:extLst>
              </p:cNvPr>
              <p:cNvSpPr/>
              <p:nvPr/>
            </p:nvSpPr>
            <p:spPr>
              <a:xfrm>
                <a:off x="7843437" y="3380580"/>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722" name="Freeform 577">
                <a:extLst>
                  <a:ext uri="{FF2B5EF4-FFF2-40B4-BE49-F238E27FC236}">
                    <a16:creationId xmlns:a16="http://schemas.microsoft.com/office/drawing/2014/main" id="{229D4CD8-0CD7-0928-C602-7D178AE48ADE}"/>
                  </a:ext>
                </a:extLst>
              </p:cNvPr>
              <p:cNvSpPr/>
              <p:nvPr/>
            </p:nvSpPr>
            <p:spPr>
              <a:xfrm>
                <a:off x="7872855" y="3352221"/>
                <a:ext cx="17647" cy="56735"/>
              </a:xfrm>
              <a:custGeom>
                <a:avLst/>
                <a:gdLst>
                  <a:gd name="connsiteX0" fmla="*/ 0 w 17647"/>
                  <a:gd name="connsiteY0" fmla="*/ 0 h 56735"/>
                  <a:gd name="connsiteX1" fmla="*/ 0 w 17647"/>
                  <a:gd name="connsiteY1" fmla="*/ 56735 h 56735"/>
                </a:gdLst>
                <a:ahLst/>
                <a:cxnLst>
                  <a:cxn ang="0">
                    <a:pos x="connsiteX0" y="connsiteY0"/>
                  </a:cxn>
                  <a:cxn ang="0">
                    <a:pos x="connsiteX1" y="connsiteY1"/>
                  </a:cxn>
                </a:cxnLst>
                <a:rect l="l" t="t" r="r" b="b"/>
                <a:pathLst>
                  <a:path w="17647" h="56735">
                    <a:moveTo>
                      <a:pt x="0" y="0"/>
                    </a:moveTo>
                    <a:lnTo>
                      <a:pt x="0" y="56735"/>
                    </a:lnTo>
                  </a:path>
                </a:pathLst>
              </a:custGeom>
              <a:ln w="9624" cap="sq">
                <a:solidFill>
                  <a:srgbClr val="27377D"/>
                </a:solidFill>
                <a:prstDash val="solid"/>
                <a:miter/>
              </a:ln>
            </p:spPr>
            <p:txBody>
              <a:bodyPr rtlCol="0" anchor="ctr"/>
              <a:lstStyle/>
              <a:p>
                <a:endParaRPr lang="en-US" sz="1800" dirty="0"/>
              </a:p>
            </p:txBody>
          </p:sp>
          <p:sp>
            <p:nvSpPr>
              <p:cNvPr id="2723" name="Freeform 578">
                <a:extLst>
                  <a:ext uri="{FF2B5EF4-FFF2-40B4-BE49-F238E27FC236}">
                    <a16:creationId xmlns:a16="http://schemas.microsoft.com/office/drawing/2014/main" id="{A1ED4945-749C-8D8C-E1B6-363A0F8543EB}"/>
                  </a:ext>
                </a:extLst>
              </p:cNvPr>
              <p:cNvSpPr/>
              <p:nvPr/>
            </p:nvSpPr>
            <p:spPr>
              <a:xfrm>
                <a:off x="7849314" y="3380580"/>
                <a:ext cx="58852" cy="17647"/>
              </a:xfrm>
              <a:custGeom>
                <a:avLst/>
                <a:gdLst>
                  <a:gd name="connsiteX0" fmla="*/ 0 w 58852"/>
                  <a:gd name="connsiteY0" fmla="*/ 0 h 17647"/>
                  <a:gd name="connsiteX1" fmla="*/ 58853 w 58852"/>
                  <a:gd name="connsiteY1" fmla="*/ 0 h 17647"/>
                </a:gdLst>
                <a:ahLst/>
                <a:cxnLst>
                  <a:cxn ang="0">
                    <a:pos x="connsiteX0" y="connsiteY0"/>
                  </a:cxn>
                  <a:cxn ang="0">
                    <a:pos x="connsiteX1" y="connsiteY1"/>
                  </a:cxn>
                </a:cxnLst>
                <a:rect l="l" t="t" r="r" b="b"/>
                <a:pathLst>
                  <a:path w="58852" h="17647">
                    <a:moveTo>
                      <a:pt x="0" y="0"/>
                    </a:moveTo>
                    <a:lnTo>
                      <a:pt x="58853" y="0"/>
                    </a:lnTo>
                  </a:path>
                </a:pathLst>
              </a:custGeom>
              <a:ln w="9624" cap="sq">
                <a:solidFill>
                  <a:srgbClr val="27377D"/>
                </a:solidFill>
                <a:prstDash val="solid"/>
                <a:miter/>
              </a:ln>
            </p:spPr>
            <p:txBody>
              <a:bodyPr rtlCol="0" anchor="ctr"/>
              <a:lstStyle/>
              <a:p>
                <a:endParaRPr lang="en-US" sz="1800" dirty="0"/>
              </a:p>
            </p:txBody>
          </p:sp>
          <p:sp>
            <p:nvSpPr>
              <p:cNvPr id="2724" name="Freeform 579">
                <a:extLst>
                  <a:ext uri="{FF2B5EF4-FFF2-40B4-BE49-F238E27FC236}">
                    <a16:creationId xmlns:a16="http://schemas.microsoft.com/office/drawing/2014/main" id="{C2A7EC59-878B-B3CC-62FC-FC16553C88FE}"/>
                  </a:ext>
                </a:extLst>
              </p:cNvPr>
              <p:cNvSpPr/>
              <p:nvPr/>
            </p:nvSpPr>
            <p:spPr>
              <a:xfrm>
                <a:off x="7878731" y="3352221"/>
                <a:ext cx="17647" cy="56735"/>
              </a:xfrm>
              <a:custGeom>
                <a:avLst/>
                <a:gdLst>
                  <a:gd name="connsiteX0" fmla="*/ 0 w 17647"/>
                  <a:gd name="connsiteY0" fmla="*/ 0 h 56735"/>
                  <a:gd name="connsiteX1" fmla="*/ 0 w 17647"/>
                  <a:gd name="connsiteY1" fmla="*/ 56735 h 56735"/>
                </a:gdLst>
                <a:ahLst/>
                <a:cxnLst>
                  <a:cxn ang="0">
                    <a:pos x="connsiteX0" y="connsiteY0"/>
                  </a:cxn>
                  <a:cxn ang="0">
                    <a:pos x="connsiteX1" y="connsiteY1"/>
                  </a:cxn>
                </a:cxnLst>
                <a:rect l="l" t="t" r="r" b="b"/>
                <a:pathLst>
                  <a:path w="17647" h="56735">
                    <a:moveTo>
                      <a:pt x="0" y="0"/>
                    </a:moveTo>
                    <a:lnTo>
                      <a:pt x="0" y="56735"/>
                    </a:lnTo>
                  </a:path>
                </a:pathLst>
              </a:custGeom>
              <a:ln w="9624" cap="sq">
                <a:solidFill>
                  <a:srgbClr val="27377D"/>
                </a:solidFill>
                <a:prstDash val="solid"/>
                <a:miter/>
              </a:ln>
            </p:spPr>
            <p:txBody>
              <a:bodyPr rtlCol="0" anchor="ctr"/>
              <a:lstStyle/>
              <a:p>
                <a:endParaRPr lang="en-US" sz="1800" dirty="0"/>
              </a:p>
            </p:txBody>
          </p:sp>
          <p:sp>
            <p:nvSpPr>
              <p:cNvPr id="2725" name="Freeform 580">
                <a:extLst>
                  <a:ext uri="{FF2B5EF4-FFF2-40B4-BE49-F238E27FC236}">
                    <a16:creationId xmlns:a16="http://schemas.microsoft.com/office/drawing/2014/main" id="{E240D83E-6FDE-3202-E138-97F581ADD416}"/>
                  </a:ext>
                </a:extLst>
              </p:cNvPr>
              <p:cNvSpPr/>
              <p:nvPr/>
            </p:nvSpPr>
            <p:spPr>
              <a:xfrm>
                <a:off x="8020084" y="3380580"/>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726" name="Freeform 581">
                <a:extLst>
                  <a:ext uri="{FF2B5EF4-FFF2-40B4-BE49-F238E27FC236}">
                    <a16:creationId xmlns:a16="http://schemas.microsoft.com/office/drawing/2014/main" id="{4DBAFBF2-115A-41E7-224E-040F83A086AB}"/>
                  </a:ext>
                </a:extLst>
              </p:cNvPr>
              <p:cNvSpPr/>
              <p:nvPr/>
            </p:nvSpPr>
            <p:spPr>
              <a:xfrm>
                <a:off x="8049502" y="3352221"/>
                <a:ext cx="17647" cy="56735"/>
              </a:xfrm>
              <a:custGeom>
                <a:avLst/>
                <a:gdLst>
                  <a:gd name="connsiteX0" fmla="*/ 0 w 17647"/>
                  <a:gd name="connsiteY0" fmla="*/ 0 h 56735"/>
                  <a:gd name="connsiteX1" fmla="*/ 0 w 17647"/>
                  <a:gd name="connsiteY1" fmla="*/ 56735 h 56735"/>
                </a:gdLst>
                <a:ahLst/>
                <a:cxnLst>
                  <a:cxn ang="0">
                    <a:pos x="connsiteX0" y="connsiteY0"/>
                  </a:cxn>
                  <a:cxn ang="0">
                    <a:pos x="connsiteX1" y="connsiteY1"/>
                  </a:cxn>
                </a:cxnLst>
                <a:rect l="l" t="t" r="r" b="b"/>
                <a:pathLst>
                  <a:path w="17647" h="56735">
                    <a:moveTo>
                      <a:pt x="0" y="0"/>
                    </a:moveTo>
                    <a:lnTo>
                      <a:pt x="0" y="56735"/>
                    </a:lnTo>
                  </a:path>
                </a:pathLst>
              </a:custGeom>
              <a:ln w="9624" cap="sq">
                <a:solidFill>
                  <a:srgbClr val="27377D"/>
                </a:solidFill>
                <a:prstDash val="solid"/>
                <a:miter/>
              </a:ln>
            </p:spPr>
            <p:txBody>
              <a:bodyPr rtlCol="0" anchor="ctr"/>
              <a:lstStyle/>
              <a:p>
                <a:endParaRPr lang="en-US" sz="1800" dirty="0"/>
              </a:p>
            </p:txBody>
          </p:sp>
          <p:sp>
            <p:nvSpPr>
              <p:cNvPr id="2727" name="Freeform 582">
                <a:extLst>
                  <a:ext uri="{FF2B5EF4-FFF2-40B4-BE49-F238E27FC236}">
                    <a16:creationId xmlns:a16="http://schemas.microsoft.com/office/drawing/2014/main" id="{9F2C2FEF-E5EF-242C-BE51-3AD75E1992D8}"/>
                  </a:ext>
                </a:extLst>
              </p:cNvPr>
              <p:cNvSpPr/>
              <p:nvPr/>
            </p:nvSpPr>
            <p:spPr>
              <a:xfrm>
                <a:off x="8073166" y="3428633"/>
                <a:ext cx="58852" cy="17647"/>
              </a:xfrm>
              <a:custGeom>
                <a:avLst/>
                <a:gdLst>
                  <a:gd name="connsiteX0" fmla="*/ 0 w 58852"/>
                  <a:gd name="connsiteY0" fmla="*/ 0 h 17647"/>
                  <a:gd name="connsiteX1" fmla="*/ 58853 w 58852"/>
                  <a:gd name="connsiteY1" fmla="*/ 0 h 17647"/>
                </a:gdLst>
                <a:ahLst/>
                <a:cxnLst>
                  <a:cxn ang="0">
                    <a:pos x="connsiteX0" y="connsiteY0"/>
                  </a:cxn>
                  <a:cxn ang="0">
                    <a:pos x="connsiteX1" y="connsiteY1"/>
                  </a:cxn>
                </a:cxnLst>
                <a:rect l="l" t="t" r="r" b="b"/>
                <a:pathLst>
                  <a:path w="58852" h="17647">
                    <a:moveTo>
                      <a:pt x="0" y="0"/>
                    </a:moveTo>
                    <a:lnTo>
                      <a:pt x="58853" y="0"/>
                    </a:lnTo>
                  </a:path>
                </a:pathLst>
              </a:custGeom>
              <a:ln w="9624" cap="sq">
                <a:solidFill>
                  <a:srgbClr val="27377D"/>
                </a:solidFill>
                <a:prstDash val="solid"/>
                <a:miter/>
              </a:ln>
            </p:spPr>
            <p:txBody>
              <a:bodyPr rtlCol="0" anchor="ctr"/>
              <a:lstStyle/>
              <a:p>
                <a:endParaRPr lang="en-US" sz="1800" dirty="0"/>
              </a:p>
            </p:txBody>
          </p:sp>
          <p:sp>
            <p:nvSpPr>
              <p:cNvPr id="2728" name="Freeform 583">
                <a:extLst>
                  <a:ext uri="{FF2B5EF4-FFF2-40B4-BE49-F238E27FC236}">
                    <a16:creationId xmlns:a16="http://schemas.microsoft.com/office/drawing/2014/main" id="{D67CAAAE-B8BB-216D-D3A9-4CC63F9720DC}"/>
                  </a:ext>
                </a:extLst>
              </p:cNvPr>
              <p:cNvSpPr/>
              <p:nvPr/>
            </p:nvSpPr>
            <p:spPr>
              <a:xfrm>
                <a:off x="8102601" y="3400256"/>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729" name="Freeform 584">
                <a:extLst>
                  <a:ext uri="{FF2B5EF4-FFF2-40B4-BE49-F238E27FC236}">
                    <a16:creationId xmlns:a16="http://schemas.microsoft.com/office/drawing/2014/main" id="{F14B8A2F-EBF3-DAE6-4D60-44B39C983A99}"/>
                  </a:ext>
                </a:extLst>
              </p:cNvPr>
              <p:cNvSpPr/>
              <p:nvPr/>
            </p:nvSpPr>
            <p:spPr>
              <a:xfrm>
                <a:off x="8084937" y="3428633"/>
                <a:ext cx="58852" cy="17647"/>
              </a:xfrm>
              <a:custGeom>
                <a:avLst/>
                <a:gdLst>
                  <a:gd name="connsiteX0" fmla="*/ 0 w 58852"/>
                  <a:gd name="connsiteY0" fmla="*/ 0 h 17647"/>
                  <a:gd name="connsiteX1" fmla="*/ 58853 w 58852"/>
                  <a:gd name="connsiteY1" fmla="*/ 0 h 17647"/>
                </a:gdLst>
                <a:ahLst/>
                <a:cxnLst>
                  <a:cxn ang="0">
                    <a:pos x="connsiteX0" y="connsiteY0"/>
                  </a:cxn>
                  <a:cxn ang="0">
                    <a:pos x="connsiteX1" y="connsiteY1"/>
                  </a:cxn>
                </a:cxnLst>
                <a:rect l="l" t="t" r="r" b="b"/>
                <a:pathLst>
                  <a:path w="58852" h="17647">
                    <a:moveTo>
                      <a:pt x="0" y="0"/>
                    </a:moveTo>
                    <a:lnTo>
                      <a:pt x="58853" y="0"/>
                    </a:lnTo>
                  </a:path>
                </a:pathLst>
              </a:custGeom>
              <a:ln w="9624" cap="sq">
                <a:solidFill>
                  <a:srgbClr val="27377D"/>
                </a:solidFill>
                <a:prstDash val="solid"/>
                <a:miter/>
              </a:ln>
            </p:spPr>
            <p:txBody>
              <a:bodyPr rtlCol="0" anchor="ctr"/>
              <a:lstStyle/>
              <a:p>
                <a:endParaRPr lang="en-US" sz="1800" dirty="0"/>
              </a:p>
            </p:txBody>
          </p:sp>
          <p:sp>
            <p:nvSpPr>
              <p:cNvPr id="2730" name="Freeform 585">
                <a:extLst>
                  <a:ext uri="{FF2B5EF4-FFF2-40B4-BE49-F238E27FC236}">
                    <a16:creationId xmlns:a16="http://schemas.microsoft.com/office/drawing/2014/main" id="{D0B19B46-305F-C35F-4908-154B56DD0D0F}"/>
                  </a:ext>
                </a:extLst>
              </p:cNvPr>
              <p:cNvSpPr/>
              <p:nvPr/>
            </p:nvSpPr>
            <p:spPr>
              <a:xfrm>
                <a:off x="8114354" y="3400256"/>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731" name="Freeform 586">
                <a:extLst>
                  <a:ext uri="{FF2B5EF4-FFF2-40B4-BE49-F238E27FC236}">
                    <a16:creationId xmlns:a16="http://schemas.microsoft.com/office/drawing/2014/main" id="{4826244E-E3A9-94D1-1B4A-586147929A25}"/>
                  </a:ext>
                </a:extLst>
              </p:cNvPr>
              <p:cNvSpPr/>
              <p:nvPr/>
            </p:nvSpPr>
            <p:spPr>
              <a:xfrm>
                <a:off x="8102601" y="3428633"/>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732" name="Freeform 587">
                <a:extLst>
                  <a:ext uri="{FF2B5EF4-FFF2-40B4-BE49-F238E27FC236}">
                    <a16:creationId xmlns:a16="http://schemas.microsoft.com/office/drawing/2014/main" id="{CE95B2C3-BF27-B8C4-9ABB-E459B8ED9A5D}"/>
                  </a:ext>
                </a:extLst>
              </p:cNvPr>
              <p:cNvSpPr/>
              <p:nvPr/>
            </p:nvSpPr>
            <p:spPr>
              <a:xfrm>
                <a:off x="8132019" y="3400256"/>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733" name="Freeform 588">
                <a:extLst>
                  <a:ext uri="{FF2B5EF4-FFF2-40B4-BE49-F238E27FC236}">
                    <a16:creationId xmlns:a16="http://schemas.microsoft.com/office/drawing/2014/main" id="{43187C09-5056-3A25-1458-7238780D03B5}"/>
                  </a:ext>
                </a:extLst>
              </p:cNvPr>
              <p:cNvSpPr/>
              <p:nvPr/>
            </p:nvSpPr>
            <p:spPr>
              <a:xfrm>
                <a:off x="8108478" y="3428633"/>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734" name="Freeform 589">
                <a:extLst>
                  <a:ext uri="{FF2B5EF4-FFF2-40B4-BE49-F238E27FC236}">
                    <a16:creationId xmlns:a16="http://schemas.microsoft.com/office/drawing/2014/main" id="{37AAB8A6-7563-D28B-1FF1-2E8FE2A96E3C}"/>
                  </a:ext>
                </a:extLst>
              </p:cNvPr>
              <p:cNvSpPr/>
              <p:nvPr/>
            </p:nvSpPr>
            <p:spPr>
              <a:xfrm>
                <a:off x="8137896" y="3400256"/>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735" name="Freeform 590">
                <a:extLst>
                  <a:ext uri="{FF2B5EF4-FFF2-40B4-BE49-F238E27FC236}">
                    <a16:creationId xmlns:a16="http://schemas.microsoft.com/office/drawing/2014/main" id="{C0B3A509-3776-43FD-6B4A-C88A8FF569CF}"/>
                  </a:ext>
                </a:extLst>
              </p:cNvPr>
              <p:cNvSpPr/>
              <p:nvPr/>
            </p:nvSpPr>
            <p:spPr>
              <a:xfrm>
                <a:off x="8185101" y="3428633"/>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736" name="Freeform 591">
                <a:extLst>
                  <a:ext uri="{FF2B5EF4-FFF2-40B4-BE49-F238E27FC236}">
                    <a16:creationId xmlns:a16="http://schemas.microsoft.com/office/drawing/2014/main" id="{A8B992BB-94A0-BE53-024C-BCCE3A641501}"/>
                  </a:ext>
                </a:extLst>
              </p:cNvPr>
              <p:cNvSpPr/>
              <p:nvPr/>
            </p:nvSpPr>
            <p:spPr>
              <a:xfrm>
                <a:off x="8214519" y="3400256"/>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737" name="Freeform 592">
                <a:extLst>
                  <a:ext uri="{FF2B5EF4-FFF2-40B4-BE49-F238E27FC236}">
                    <a16:creationId xmlns:a16="http://schemas.microsoft.com/office/drawing/2014/main" id="{E2CD4C43-55F4-17F2-DFAC-804FF96B17DF}"/>
                  </a:ext>
                </a:extLst>
              </p:cNvPr>
              <p:cNvSpPr/>
              <p:nvPr/>
            </p:nvSpPr>
            <p:spPr>
              <a:xfrm>
                <a:off x="8232166" y="3428633"/>
                <a:ext cx="58852" cy="17647"/>
              </a:xfrm>
              <a:custGeom>
                <a:avLst/>
                <a:gdLst>
                  <a:gd name="connsiteX0" fmla="*/ 0 w 58852"/>
                  <a:gd name="connsiteY0" fmla="*/ 0 h 17647"/>
                  <a:gd name="connsiteX1" fmla="*/ 58853 w 58852"/>
                  <a:gd name="connsiteY1" fmla="*/ 0 h 17647"/>
                </a:gdLst>
                <a:ahLst/>
                <a:cxnLst>
                  <a:cxn ang="0">
                    <a:pos x="connsiteX0" y="connsiteY0"/>
                  </a:cxn>
                  <a:cxn ang="0">
                    <a:pos x="connsiteX1" y="connsiteY1"/>
                  </a:cxn>
                </a:cxnLst>
                <a:rect l="l" t="t" r="r" b="b"/>
                <a:pathLst>
                  <a:path w="58852" h="17647">
                    <a:moveTo>
                      <a:pt x="0" y="0"/>
                    </a:moveTo>
                    <a:lnTo>
                      <a:pt x="58853" y="0"/>
                    </a:lnTo>
                  </a:path>
                </a:pathLst>
              </a:custGeom>
              <a:ln w="9624" cap="sq">
                <a:solidFill>
                  <a:srgbClr val="27377D"/>
                </a:solidFill>
                <a:prstDash val="solid"/>
                <a:miter/>
              </a:ln>
            </p:spPr>
            <p:txBody>
              <a:bodyPr rtlCol="0" anchor="ctr"/>
              <a:lstStyle/>
              <a:p>
                <a:endParaRPr lang="en-US" sz="1800" dirty="0"/>
              </a:p>
            </p:txBody>
          </p:sp>
          <p:sp>
            <p:nvSpPr>
              <p:cNvPr id="2738" name="Freeform 593">
                <a:extLst>
                  <a:ext uri="{FF2B5EF4-FFF2-40B4-BE49-F238E27FC236}">
                    <a16:creationId xmlns:a16="http://schemas.microsoft.com/office/drawing/2014/main" id="{F2AAD77E-036C-CAAE-50C7-2E516C7766CD}"/>
                  </a:ext>
                </a:extLst>
              </p:cNvPr>
              <p:cNvSpPr/>
              <p:nvPr/>
            </p:nvSpPr>
            <p:spPr>
              <a:xfrm>
                <a:off x="8261601" y="3400256"/>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739" name="Freeform 594">
                <a:extLst>
                  <a:ext uri="{FF2B5EF4-FFF2-40B4-BE49-F238E27FC236}">
                    <a16:creationId xmlns:a16="http://schemas.microsoft.com/office/drawing/2014/main" id="{151564CC-B88A-2A84-F336-23F969112F51}"/>
                  </a:ext>
                </a:extLst>
              </p:cNvPr>
              <p:cNvSpPr/>
              <p:nvPr/>
            </p:nvSpPr>
            <p:spPr>
              <a:xfrm>
                <a:off x="8308789" y="3428633"/>
                <a:ext cx="58852" cy="17647"/>
              </a:xfrm>
              <a:custGeom>
                <a:avLst/>
                <a:gdLst>
                  <a:gd name="connsiteX0" fmla="*/ 0 w 58852"/>
                  <a:gd name="connsiteY0" fmla="*/ 0 h 17647"/>
                  <a:gd name="connsiteX1" fmla="*/ 58853 w 58852"/>
                  <a:gd name="connsiteY1" fmla="*/ 0 h 17647"/>
                </a:gdLst>
                <a:ahLst/>
                <a:cxnLst>
                  <a:cxn ang="0">
                    <a:pos x="connsiteX0" y="connsiteY0"/>
                  </a:cxn>
                  <a:cxn ang="0">
                    <a:pos x="connsiteX1" y="connsiteY1"/>
                  </a:cxn>
                </a:cxnLst>
                <a:rect l="l" t="t" r="r" b="b"/>
                <a:pathLst>
                  <a:path w="58852" h="17647">
                    <a:moveTo>
                      <a:pt x="0" y="0"/>
                    </a:moveTo>
                    <a:lnTo>
                      <a:pt x="58853" y="0"/>
                    </a:lnTo>
                  </a:path>
                </a:pathLst>
              </a:custGeom>
              <a:ln w="9624" cap="sq">
                <a:solidFill>
                  <a:srgbClr val="27377D"/>
                </a:solidFill>
                <a:prstDash val="solid"/>
                <a:miter/>
              </a:ln>
            </p:spPr>
            <p:txBody>
              <a:bodyPr rtlCol="0" anchor="ctr"/>
              <a:lstStyle/>
              <a:p>
                <a:endParaRPr lang="en-US" sz="1800" dirty="0"/>
              </a:p>
            </p:txBody>
          </p:sp>
          <p:sp>
            <p:nvSpPr>
              <p:cNvPr id="2740" name="Freeform 595">
                <a:extLst>
                  <a:ext uri="{FF2B5EF4-FFF2-40B4-BE49-F238E27FC236}">
                    <a16:creationId xmlns:a16="http://schemas.microsoft.com/office/drawing/2014/main" id="{742B89AE-83C7-1193-0B91-F0E56E9FB392}"/>
                  </a:ext>
                </a:extLst>
              </p:cNvPr>
              <p:cNvSpPr/>
              <p:nvPr/>
            </p:nvSpPr>
            <p:spPr>
              <a:xfrm>
                <a:off x="8338225" y="3400256"/>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741" name="Freeform 596">
                <a:extLst>
                  <a:ext uri="{FF2B5EF4-FFF2-40B4-BE49-F238E27FC236}">
                    <a16:creationId xmlns:a16="http://schemas.microsoft.com/office/drawing/2014/main" id="{FFAB3A80-9170-F02E-993C-2E874164F801}"/>
                  </a:ext>
                </a:extLst>
              </p:cNvPr>
              <p:cNvSpPr/>
              <p:nvPr/>
            </p:nvSpPr>
            <p:spPr>
              <a:xfrm>
                <a:off x="8326454" y="3428633"/>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742" name="Freeform 597">
                <a:extLst>
                  <a:ext uri="{FF2B5EF4-FFF2-40B4-BE49-F238E27FC236}">
                    <a16:creationId xmlns:a16="http://schemas.microsoft.com/office/drawing/2014/main" id="{5E0AAF2C-FE98-B732-C33F-07BA512A6F3A}"/>
                  </a:ext>
                </a:extLst>
              </p:cNvPr>
              <p:cNvSpPr/>
              <p:nvPr/>
            </p:nvSpPr>
            <p:spPr>
              <a:xfrm>
                <a:off x="8355872" y="3400256"/>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743" name="Freeform 598">
                <a:extLst>
                  <a:ext uri="{FF2B5EF4-FFF2-40B4-BE49-F238E27FC236}">
                    <a16:creationId xmlns:a16="http://schemas.microsoft.com/office/drawing/2014/main" id="{4596236B-FD22-9E8A-5E20-153758B3D370}"/>
                  </a:ext>
                </a:extLst>
              </p:cNvPr>
              <p:cNvSpPr/>
              <p:nvPr/>
            </p:nvSpPr>
            <p:spPr>
              <a:xfrm>
                <a:off x="8338225" y="3428633"/>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744" name="Freeform 599">
                <a:extLst>
                  <a:ext uri="{FF2B5EF4-FFF2-40B4-BE49-F238E27FC236}">
                    <a16:creationId xmlns:a16="http://schemas.microsoft.com/office/drawing/2014/main" id="{2BB27218-9812-5583-CEAA-7141D01310A6}"/>
                  </a:ext>
                </a:extLst>
              </p:cNvPr>
              <p:cNvSpPr/>
              <p:nvPr/>
            </p:nvSpPr>
            <p:spPr>
              <a:xfrm>
                <a:off x="8367642" y="3400256"/>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745" name="Freeform 600">
                <a:extLst>
                  <a:ext uri="{FF2B5EF4-FFF2-40B4-BE49-F238E27FC236}">
                    <a16:creationId xmlns:a16="http://schemas.microsoft.com/office/drawing/2014/main" id="{8BBE3B3E-A479-C09C-38EF-F313514882A0}"/>
                  </a:ext>
                </a:extLst>
              </p:cNvPr>
              <p:cNvSpPr/>
              <p:nvPr/>
            </p:nvSpPr>
            <p:spPr>
              <a:xfrm>
                <a:off x="8349978" y="3428633"/>
                <a:ext cx="58852" cy="17647"/>
              </a:xfrm>
              <a:custGeom>
                <a:avLst/>
                <a:gdLst>
                  <a:gd name="connsiteX0" fmla="*/ 0 w 58852"/>
                  <a:gd name="connsiteY0" fmla="*/ 0 h 17647"/>
                  <a:gd name="connsiteX1" fmla="*/ 58853 w 58852"/>
                  <a:gd name="connsiteY1" fmla="*/ 0 h 17647"/>
                </a:gdLst>
                <a:ahLst/>
                <a:cxnLst>
                  <a:cxn ang="0">
                    <a:pos x="connsiteX0" y="connsiteY0"/>
                  </a:cxn>
                  <a:cxn ang="0">
                    <a:pos x="connsiteX1" y="connsiteY1"/>
                  </a:cxn>
                </a:cxnLst>
                <a:rect l="l" t="t" r="r" b="b"/>
                <a:pathLst>
                  <a:path w="58852" h="17647">
                    <a:moveTo>
                      <a:pt x="0" y="0"/>
                    </a:moveTo>
                    <a:lnTo>
                      <a:pt x="58853" y="0"/>
                    </a:lnTo>
                  </a:path>
                </a:pathLst>
              </a:custGeom>
              <a:ln w="9624" cap="sq">
                <a:solidFill>
                  <a:srgbClr val="27377D"/>
                </a:solidFill>
                <a:prstDash val="solid"/>
                <a:miter/>
              </a:ln>
            </p:spPr>
            <p:txBody>
              <a:bodyPr rtlCol="0" anchor="ctr"/>
              <a:lstStyle/>
              <a:p>
                <a:endParaRPr lang="en-US" sz="1800" dirty="0"/>
              </a:p>
            </p:txBody>
          </p:sp>
          <p:sp>
            <p:nvSpPr>
              <p:cNvPr id="2746" name="Freeform 601">
                <a:extLst>
                  <a:ext uri="{FF2B5EF4-FFF2-40B4-BE49-F238E27FC236}">
                    <a16:creationId xmlns:a16="http://schemas.microsoft.com/office/drawing/2014/main" id="{CC32CF23-DE63-236B-D2B1-3CC6F548B256}"/>
                  </a:ext>
                </a:extLst>
              </p:cNvPr>
              <p:cNvSpPr/>
              <p:nvPr/>
            </p:nvSpPr>
            <p:spPr>
              <a:xfrm>
                <a:off x="8379413" y="3400256"/>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747" name="Freeform 602">
                <a:extLst>
                  <a:ext uri="{FF2B5EF4-FFF2-40B4-BE49-F238E27FC236}">
                    <a16:creationId xmlns:a16="http://schemas.microsoft.com/office/drawing/2014/main" id="{1B19964A-D086-8992-C6A4-BB84635BAA05}"/>
                  </a:ext>
                </a:extLst>
              </p:cNvPr>
              <p:cNvSpPr/>
              <p:nvPr/>
            </p:nvSpPr>
            <p:spPr>
              <a:xfrm>
                <a:off x="8573971" y="3428633"/>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748" name="Freeform 603">
                <a:extLst>
                  <a:ext uri="{FF2B5EF4-FFF2-40B4-BE49-F238E27FC236}">
                    <a16:creationId xmlns:a16="http://schemas.microsoft.com/office/drawing/2014/main" id="{87B27D99-61A6-CACA-F3BC-B8FE532B2F7E}"/>
                  </a:ext>
                </a:extLst>
              </p:cNvPr>
              <p:cNvSpPr/>
              <p:nvPr/>
            </p:nvSpPr>
            <p:spPr>
              <a:xfrm>
                <a:off x="8603389" y="3400256"/>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749" name="Freeform 604">
                <a:extLst>
                  <a:ext uri="{FF2B5EF4-FFF2-40B4-BE49-F238E27FC236}">
                    <a16:creationId xmlns:a16="http://schemas.microsoft.com/office/drawing/2014/main" id="{DC28A525-2E6A-8466-1FE8-918270D1518D}"/>
                  </a:ext>
                </a:extLst>
              </p:cNvPr>
              <p:cNvSpPr/>
              <p:nvPr/>
            </p:nvSpPr>
            <p:spPr>
              <a:xfrm>
                <a:off x="8809594" y="3514503"/>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750" name="Freeform 605">
                <a:extLst>
                  <a:ext uri="{FF2B5EF4-FFF2-40B4-BE49-F238E27FC236}">
                    <a16:creationId xmlns:a16="http://schemas.microsoft.com/office/drawing/2014/main" id="{D00FB454-6AA4-CB32-5343-12B0515273D5}"/>
                  </a:ext>
                </a:extLst>
              </p:cNvPr>
              <p:cNvSpPr/>
              <p:nvPr/>
            </p:nvSpPr>
            <p:spPr>
              <a:xfrm>
                <a:off x="8839012" y="3486127"/>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751" name="Freeform 606">
                <a:extLst>
                  <a:ext uri="{FF2B5EF4-FFF2-40B4-BE49-F238E27FC236}">
                    <a16:creationId xmlns:a16="http://schemas.microsoft.com/office/drawing/2014/main" id="{1EAB5CA0-9C6F-442E-AD3B-3634F7FB74E7}"/>
                  </a:ext>
                </a:extLst>
              </p:cNvPr>
              <p:cNvSpPr/>
              <p:nvPr/>
            </p:nvSpPr>
            <p:spPr>
              <a:xfrm>
                <a:off x="8827241" y="3514503"/>
                <a:ext cx="58852" cy="17647"/>
              </a:xfrm>
              <a:custGeom>
                <a:avLst/>
                <a:gdLst>
                  <a:gd name="connsiteX0" fmla="*/ 0 w 58852"/>
                  <a:gd name="connsiteY0" fmla="*/ 0 h 17647"/>
                  <a:gd name="connsiteX1" fmla="*/ 58853 w 58852"/>
                  <a:gd name="connsiteY1" fmla="*/ 0 h 17647"/>
                </a:gdLst>
                <a:ahLst/>
                <a:cxnLst>
                  <a:cxn ang="0">
                    <a:pos x="connsiteX0" y="connsiteY0"/>
                  </a:cxn>
                  <a:cxn ang="0">
                    <a:pos x="connsiteX1" y="connsiteY1"/>
                  </a:cxn>
                </a:cxnLst>
                <a:rect l="l" t="t" r="r" b="b"/>
                <a:pathLst>
                  <a:path w="58852" h="17647">
                    <a:moveTo>
                      <a:pt x="0" y="0"/>
                    </a:moveTo>
                    <a:lnTo>
                      <a:pt x="58853" y="0"/>
                    </a:lnTo>
                  </a:path>
                </a:pathLst>
              </a:custGeom>
              <a:ln w="9624" cap="sq">
                <a:solidFill>
                  <a:srgbClr val="27377D"/>
                </a:solidFill>
                <a:prstDash val="solid"/>
                <a:miter/>
              </a:ln>
            </p:spPr>
            <p:txBody>
              <a:bodyPr rtlCol="0" anchor="ctr"/>
              <a:lstStyle/>
              <a:p>
                <a:endParaRPr lang="en-US" sz="1800" dirty="0"/>
              </a:p>
            </p:txBody>
          </p:sp>
          <p:sp>
            <p:nvSpPr>
              <p:cNvPr id="2752" name="Freeform 607">
                <a:extLst>
                  <a:ext uri="{FF2B5EF4-FFF2-40B4-BE49-F238E27FC236}">
                    <a16:creationId xmlns:a16="http://schemas.microsoft.com/office/drawing/2014/main" id="{4D51A42D-FDB2-2BCF-C147-631225121590}"/>
                  </a:ext>
                </a:extLst>
              </p:cNvPr>
              <p:cNvSpPr/>
              <p:nvPr/>
            </p:nvSpPr>
            <p:spPr>
              <a:xfrm>
                <a:off x="8856659" y="3486127"/>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753" name="Freeform 608">
                <a:extLst>
                  <a:ext uri="{FF2B5EF4-FFF2-40B4-BE49-F238E27FC236}">
                    <a16:creationId xmlns:a16="http://schemas.microsoft.com/office/drawing/2014/main" id="{38BFC4BD-6A31-4B88-7D9D-79F6BC9073C8}"/>
                  </a:ext>
                </a:extLst>
              </p:cNvPr>
              <p:cNvSpPr/>
              <p:nvPr/>
            </p:nvSpPr>
            <p:spPr>
              <a:xfrm>
                <a:off x="8974471" y="3514503"/>
                <a:ext cx="58852" cy="17647"/>
              </a:xfrm>
              <a:custGeom>
                <a:avLst/>
                <a:gdLst>
                  <a:gd name="connsiteX0" fmla="*/ 0 w 58852"/>
                  <a:gd name="connsiteY0" fmla="*/ 0 h 17647"/>
                  <a:gd name="connsiteX1" fmla="*/ 58853 w 58852"/>
                  <a:gd name="connsiteY1" fmla="*/ 0 h 17647"/>
                </a:gdLst>
                <a:ahLst/>
                <a:cxnLst>
                  <a:cxn ang="0">
                    <a:pos x="connsiteX0" y="connsiteY0"/>
                  </a:cxn>
                  <a:cxn ang="0">
                    <a:pos x="connsiteX1" y="connsiteY1"/>
                  </a:cxn>
                </a:cxnLst>
                <a:rect l="l" t="t" r="r" b="b"/>
                <a:pathLst>
                  <a:path w="58852" h="17647">
                    <a:moveTo>
                      <a:pt x="0" y="0"/>
                    </a:moveTo>
                    <a:lnTo>
                      <a:pt x="58853" y="0"/>
                    </a:lnTo>
                  </a:path>
                </a:pathLst>
              </a:custGeom>
              <a:ln w="9624" cap="sq">
                <a:solidFill>
                  <a:srgbClr val="27377D"/>
                </a:solidFill>
                <a:prstDash val="solid"/>
                <a:miter/>
              </a:ln>
            </p:spPr>
            <p:txBody>
              <a:bodyPr rtlCol="0" anchor="ctr"/>
              <a:lstStyle/>
              <a:p>
                <a:endParaRPr lang="en-US" sz="1800" dirty="0"/>
              </a:p>
            </p:txBody>
          </p:sp>
          <p:sp>
            <p:nvSpPr>
              <p:cNvPr id="2754" name="Freeform 609">
                <a:extLst>
                  <a:ext uri="{FF2B5EF4-FFF2-40B4-BE49-F238E27FC236}">
                    <a16:creationId xmlns:a16="http://schemas.microsoft.com/office/drawing/2014/main" id="{D9DCC880-2F50-8504-F378-F3B8DE126979}"/>
                  </a:ext>
                </a:extLst>
              </p:cNvPr>
              <p:cNvSpPr/>
              <p:nvPr/>
            </p:nvSpPr>
            <p:spPr>
              <a:xfrm>
                <a:off x="9003888" y="3486127"/>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755" name="Freeform 610">
                <a:extLst>
                  <a:ext uri="{FF2B5EF4-FFF2-40B4-BE49-F238E27FC236}">
                    <a16:creationId xmlns:a16="http://schemas.microsoft.com/office/drawing/2014/main" id="{C7420538-8B31-BCB6-94E1-AEE6DFAFD0CF}"/>
                  </a:ext>
                </a:extLst>
              </p:cNvPr>
              <p:cNvSpPr/>
              <p:nvPr/>
            </p:nvSpPr>
            <p:spPr>
              <a:xfrm>
                <a:off x="9015800" y="3514503"/>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756" name="Freeform 611">
                <a:extLst>
                  <a:ext uri="{FF2B5EF4-FFF2-40B4-BE49-F238E27FC236}">
                    <a16:creationId xmlns:a16="http://schemas.microsoft.com/office/drawing/2014/main" id="{E2978751-90DA-94FC-37A5-79EF8ABF11E8}"/>
                  </a:ext>
                </a:extLst>
              </p:cNvPr>
              <p:cNvSpPr/>
              <p:nvPr/>
            </p:nvSpPr>
            <p:spPr>
              <a:xfrm>
                <a:off x="9045217" y="3486127"/>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757" name="Freeform 612">
                <a:extLst>
                  <a:ext uri="{FF2B5EF4-FFF2-40B4-BE49-F238E27FC236}">
                    <a16:creationId xmlns:a16="http://schemas.microsoft.com/office/drawing/2014/main" id="{327DE77C-4FBB-7661-864C-BCF8E0084C9B}"/>
                  </a:ext>
                </a:extLst>
              </p:cNvPr>
              <p:cNvSpPr/>
              <p:nvPr/>
            </p:nvSpPr>
            <p:spPr>
              <a:xfrm>
                <a:off x="9015800" y="3514503"/>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758" name="Freeform 613">
                <a:extLst>
                  <a:ext uri="{FF2B5EF4-FFF2-40B4-BE49-F238E27FC236}">
                    <a16:creationId xmlns:a16="http://schemas.microsoft.com/office/drawing/2014/main" id="{F0EE51A0-670B-CC8A-3D3A-F5A5ACF7BB67}"/>
                  </a:ext>
                </a:extLst>
              </p:cNvPr>
              <p:cNvSpPr/>
              <p:nvPr/>
            </p:nvSpPr>
            <p:spPr>
              <a:xfrm>
                <a:off x="9045217" y="3486127"/>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759" name="Freeform 614">
                <a:extLst>
                  <a:ext uri="{FF2B5EF4-FFF2-40B4-BE49-F238E27FC236}">
                    <a16:creationId xmlns:a16="http://schemas.microsoft.com/office/drawing/2014/main" id="{DDB2AFB6-5640-2521-FE4B-D467F715CEFA}"/>
                  </a:ext>
                </a:extLst>
              </p:cNvPr>
              <p:cNvSpPr/>
              <p:nvPr/>
            </p:nvSpPr>
            <p:spPr>
              <a:xfrm>
                <a:off x="9045217" y="3514503"/>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760" name="Freeform 615">
                <a:extLst>
                  <a:ext uri="{FF2B5EF4-FFF2-40B4-BE49-F238E27FC236}">
                    <a16:creationId xmlns:a16="http://schemas.microsoft.com/office/drawing/2014/main" id="{9ADF8D6D-9CCD-0DD8-D38F-1C16A9861464}"/>
                  </a:ext>
                </a:extLst>
              </p:cNvPr>
              <p:cNvSpPr/>
              <p:nvPr/>
            </p:nvSpPr>
            <p:spPr>
              <a:xfrm>
                <a:off x="9074635" y="3486127"/>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761" name="Freeform 616">
                <a:extLst>
                  <a:ext uri="{FF2B5EF4-FFF2-40B4-BE49-F238E27FC236}">
                    <a16:creationId xmlns:a16="http://schemas.microsoft.com/office/drawing/2014/main" id="{92307756-0B27-BF9E-4F9C-E22D1626D61F}"/>
                  </a:ext>
                </a:extLst>
              </p:cNvPr>
              <p:cNvSpPr/>
              <p:nvPr/>
            </p:nvSpPr>
            <p:spPr>
              <a:xfrm>
                <a:off x="9056988" y="3514503"/>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762" name="Freeform 617">
                <a:extLst>
                  <a:ext uri="{FF2B5EF4-FFF2-40B4-BE49-F238E27FC236}">
                    <a16:creationId xmlns:a16="http://schemas.microsoft.com/office/drawing/2014/main" id="{A819DBC0-65EB-B02B-C8D7-4DABAFF88CF0}"/>
                  </a:ext>
                </a:extLst>
              </p:cNvPr>
              <p:cNvSpPr/>
              <p:nvPr/>
            </p:nvSpPr>
            <p:spPr>
              <a:xfrm>
                <a:off x="9086406" y="3486127"/>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763" name="Freeform 618">
                <a:extLst>
                  <a:ext uri="{FF2B5EF4-FFF2-40B4-BE49-F238E27FC236}">
                    <a16:creationId xmlns:a16="http://schemas.microsoft.com/office/drawing/2014/main" id="{AF7C893B-4888-00CF-53ED-99986E288824}"/>
                  </a:ext>
                </a:extLst>
              </p:cNvPr>
              <p:cNvSpPr/>
              <p:nvPr/>
            </p:nvSpPr>
            <p:spPr>
              <a:xfrm>
                <a:off x="9263194" y="3514503"/>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764" name="Freeform 619">
                <a:extLst>
                  <a:ext uri="{FF2B5EF4-FFF2-40B4-BE49-F238E27FC236}">
                    <a16:creationId xmlns:a16="http://schemas.microsoft.com/office/drawing/2014/main" id="{751B8FA8-178F-329E-C661-4C5DFCE07127}"/>
                  </a:ext>
                </a:extLst>
              </p:cNvPr>
              <p:cNvSpPr/>
              <p:nvPr/>
            </p:nvSpPr>
            <p:spPr>
              <a:xfrm>
                <a:off x="9292611" y="3486127"/>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765" name="Freeform 620">
                <a:extLst>
                  <a:ext uri="{FF2B5EF4-FFF2-40B4-BE49-F238E27FC236}">
                    <a16:creationId xmlns:a16="http://schemas.microsoft.com/office/drawing/2014/main" id="{53396508-DA41-B555-0EBF-94D2B63B7BF9}"/>
                  </a:ext>
                </a:extLst>
              </p:cNvPr>
              <p:cNvSpPr/>
              <p:nvPr/>
            </p:nvSpPr>
            <p:spPr>
              <a:xfrm>
                <a:off x="9304382" y="3514503"/>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766" name="Freeform 621">
                <a:extLst>
                  <a:ext uri="{FF2B5EF4-FFF2-40B4-BE49-F238E27FC236}">
                    <a16:creationId xmlns:a16="http://schemas.microsoft.com/office/drawing/2014/main" id="{7F1814A2-1E78-87CA-EBCE-AC935F81E497}"/>
                  </a:ext>
                </a:extLst>
              </p:cNvPr>
              <p:cNvSpPr/>
              <p:nvPr/>
            </p:nvSpPr>
            <p:spPr>
              <a:xfrm>
                <a:off x="9333799" y="3486127"/>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767" name="Freeform 622">
                <a:extLst>
                  <a:ext uri="{FF2B5EF4-FFF2-40B4-BE49-F238E27FC236}">
                    <a16:creationId xmlns:a16="http://schemas.microsoft.com/office/drawing/2014/main" id="{BCE4499F-B77C-00AE-ACAC-C0D49C79F266}"/>
                  </a:ext>
                </a:extLst>
              </p:cNvPr>
              <p:cNvSpPr/>
              <p:nvPr/>
            </p:nvSpPr>
            <p:spPr>
              <a:xfrm>
                <a:off x="9546005" y="3514503"/>
                <a:ext cx="58852" cy="17647"/>
              </a:xfrm>
              <a:custGeom>
                <a:avLst/>
                <a:gdLst>
                  <a:gd name="connsiteX0" fmla="*/ 0 w 58852"/>
                  <a:gd name="connsiteY0" fmla="*/ 0 h 17647"/>
                  <a:gd name="connsiteX1" fmla="*/ 58853 w 58852"/>
                  <a:gd name="connsiteY1" fmla="*/ 0 h 17647"/>
                </a:gdLst>
                <a:ahLst/>
                <a:cxnLst>
                  <a:cxn ang="0">
                    <a:pos x="connsiteX0" y="connsiteY0"/>
                  </a:cxn>
                  <a:cxn ang="0">
                    <a:pos x="connsiteX1" y="connsiteY1"/>
                  </a:cxn>
                </a:cxnLst>
                <a:rect l="l" t="t" r="r" b="b"/>
                <a:pathLst>
                  <a:path w="58852" h="17647">
                    <a:moveTo>
                      <a:pt x="0" y="0"/>
                    </a:moveTo>
                    <a:lnTo>
                      <a:pt x="58853" y="0"/>
                    </a:lnTo>
                  </a:path>
                </a:pathLst>
              </a:custGeom>
              <a:ln w="9624" cap="sq">
                <a:solidFill>
                  <a:srgbClr val="27377D"/>
                </a:solidFill>
                <a:prstDash val="solid"/>
                <a:miter/>
              </a:ln>
            </p:spPr>
            <p:txBody>
              <a:bodyPr rtlCol="0" anchor="ctr"/>
              <a:lstStyle/>
              <a:p>
                <a:endParaRPr lang="en-US" sz="1800" dirty="0"/>
              </a:p>
            </p:txBody>
          </p:sp>
          <p:sp>
            <p:nvSpPr>
              <p:cNvPr id="2768" name="Freeform 623">
                <a:extLst>
                  <a:ext uri="{FF2B5EF4-FFF2-40B4-BE49-F238E27FC236}">
                    <a16:creationId xmlns:a16="http://schemas.microsoft.com/office/drawing/2014/main" id="{CF647B50-1145-D613-0399-BCECA3FE3071}"/>
                  </a:ext>
                </a:extLst>
              </p:cNvPr>
              <p:cNvSpPr/>
              <p:nvPr/>
            </p:nvSpPr>
            <p:spPr>
              <a:xfrm>
                <a:off x="9575440" y="3486127"/>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769" name="Freeform 624">
                <a:extLst>
                  <a:ext uri="{FF2B5EF4-FFF2-40B4-BE49-F238E27FC236}">
                    <a16:creationId xmlns:a16="http://schemas.microsoft.com/office/drawing/2014/main" id="{FF414C79-7A31-3EA8-D24B-EFEBF0395D2D}"/>
                  </a:ext>
                </a:extLst>
              </p:cNvPr>
              <p:cNvSpPr/>
              <p:nvPr/>
            </p:nvSpPr>
            <p:spPr>
              <a:xfrm>
                <a:off x="9752210" y="3514503"/>
                <a:ext cx="58852" cy="17647"/>
              </a:xfrm>
              <a:custGeom>
                <a:avLst/>
                <a:gdLst>
                  <a:gd name="connsiteX0" fmla="*/ 0 w 58852"/>
                  <a:gd name="connsiteY0" fmla="*/ 0 h 17647"/>
                  <a:gd name="connsiteX1" fmla="*/ 58853 w 58852"/>
                  <a:gd name="connsiteY1" fmla="*/ 0 h 17647"/>
                </a:gdLst>
                <a:ahLst/>
                <a:cxnLst>
                  <a:cxn ang="0">
                    <a:pos x="connsiteX0" y="connsiteY0"/>
                  </a:cxn>
                  <a:cxn ang="0">
                    <a:pos x="connsiteX1" y="connsiteY1"/>
                  </a:cxn>
                </a:cxnLst>
                <a:rect l="l" t="t" r="r" b="b"/>
                <a:pathLst>
                  <a:path w="58852" h="17647">
                    <a:moveTo>
                      <a:pt x="0" y="0"/>
                    </a:moveTo>
                    <a:lnTo>
                      <a:pt x="58853" y="0"/>
                    </a:lnTo>
                  </a:path>
                </a:pathLst>
              </a:custGeom>
              <a:ln w="9624" cap="sq">
                <a:solidFill>
                  <a:srgbClr val="27377D"/>
                </a:solidFill>
                <a:prstDash val="solid"/>
                <a:miter/>
              </a:ln>
            </p:spPr>
            <p:txBody>
              <a:bodyPr rtlCol="0" anchor="ctr"/>
              <a:lstStyle/>
              <a:p>
                <a:endParaRPr lang="en-US" sz="1800" dirty="0"/>
              </a:p>
            </p:txBody>
          </p:sp>
          <p:sp>
            <p:nvSpPr>
              <p:cNvPr id="2770" name="Freeform 625">
                <a:extLst>
                  <a:ext uri="{FF2B5EF4-FFF2-40B4-BE49-F238E27FC236}">
                    <a16:creationId xmlns:a16="http://schemas.microsoft.com/office/drawing/2014/main" id="{D21CE6AE-9389-5079-7017-524FF395D48F}"/>
                  </a:ext>
                </a:extLst>
              </p:cNvPr>
              <p:cNvSpPr/>
              <p:nvPr/>
            </p:nvSpPr>
            <p:spPr>
              <a:xfrm>
                <a:off x="9781628" y="3486127"/>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771" name="Freeform 626">
                <a:extLst>
                  <a:ext uri="{FF2B5EF4-FFF2-40B4-BE49-F238E27FC236}">
                    <a16:creationId xmlns:a16="http://schemas.microsoft.com/office/drawing/2014/main" id="{A5B6DF1E-93AB-134D-8B58-FB556789592A}"/>
                  </a:ext>
                </a:extLst>
              </p:cNvPr>
              <p:cNvSpPr/>
              <p:nvPr/>
            </p:nvSpPr>
            <p:spPr>
              <a:xfrm>
                <a:off x="9781628" y="3514503"/>
                <a:ext cx="58852" cy="17647"/>
              </a:xfrm>
              <a:custGeom>
                <a:avLst/>
                <a:gdLst>
                  <a:gd name="connsiteX0" fmla="*/ 0 w 58852"/>
                  <a:gd name="connsiteY0" fmla="*/ 0 h 17647"/>
                  <a:gd name="connsiteX1" fmla="*/ 58853 w 58852"/>
                  <a:gd name="connsiteY1" fmla="*/ 0 h 17647"/>
                </a:gdLst>
                <a:ahLst/>
                <a:cxnLst>
                  <a:cxn ang="0">
                    <a:pos x="connsiteX0" y="connsiteY0"/>
                  </a:cxn>
                  <a:cxn ang="0">
                    <a:pos x="connsiteX1" y="connsiteY1"/>
                  </a:cxn>
                </a:cxnLst>
                <a:rect l="l" t="t" r="r" b="b"/>
                <a:pathLst>
                  <a:path w="58852" h="17647">
                    <a:moveTo>
                      <a:pt x="0" y="0"/>
                    </a:moveTo>
                    <a:lnTo>
                      <a:pt x="58853" y="0"/>
                    </a:lnTo>
                  </a:path>
                </a:pathLst>
              </a:custGeom>
              <a:ln w="9624" cap="sq">
                <a:solidFill>
                  <a:srgbClr val="27377D"/>
                </a:solidFill>
                <a:prstDash val="solid"/>
                <a:miter/>
              </a:ln>
            </p:spPr>
            <p:txBody>
              <a:bodyPr rtlCol="0" anchor="ctr"/>
              <a:lstStyle/>
              <a:p>
                <a:endParaRPr lang="en-US" sz="1800" dirty="0"/>
              </a:p>
            </p:txBody>
          </p:sp>
          <p:sp>
            <p:nvSpPr>
              <p:cNvPr id="2772" name="Freeform 627">
                <a:extLst>
                  <a:ext uri="{FF2B5EF4-FFF2-40B4-BE49-F238E27FC236}">
                    <a16:creationId xmlns:a16="http://schemas.microsoft.com/office/drawing/2014/main" id="{7BE74D9F-C4C1-E093-4D8C-8A536AEBE1D5}"/>
                  </a:ext>
                </a:extLst>
              </p:cNvPr>
              <p:cNvSpPr/>
              <p:nvPr/>
            </p:nvSpPr>
            <p:spPr>
              <a:xfrm>
                <a:off x="9811063" y="3486127"/>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773" name="Freeform 628">
                <a:extLst>
                  <a:ext uri="{FF2B5EF4-FFF2-40B4-BE49-F238E27FC236}">
                    <a16:creationId xmlns:a16="http://schemas.microsoft.com/office/drawing/2014/main" id="{D6DFD2C4-1EA1-82F5-9204-A737F95D5302}"/>
                  </a:ext>
                </a:extLst>
              </p:cNvPr>
              <p:cNvSpPr/>
              <p:nvPr/>
            </p:nvSpPr>
            <p:spPr>
              <a:xfrm>
                <a:off x="10535703" y="3514503"/>
                <a:ext cx="58852" cy="17647"/>
              </a:xfrm>
              <a:custGeom>
                <a:avLst/>
                <a:gdLst>
                  <a:gd name="connsiteX0" fmla="*/ -1 w 58852"/>
                  <a:gd name="connsiteY0" fmla="*/ 0 h 17647"/>
                  <a:gd name="connsiteX1" fmla="*/ 58853 w 58852"/>
                  <a:gd name="connsiteY1" fmla="*/ 0 h 17647"/>
                </a:gdLst>
                <a:ahLst/>
                <a:cxnLst>
                  <a:cxn ang="0">
                    <a:pos x="connsiteX0" y="connsiteY0"/>
                  </a:cxn>
                  <a:cxn ang="0">
                    <a:pos x="connsiteX1" y="connsiteY1"/>
                  </a:cxn>
                </a:cxnLst>
                <a:rect l="l" t="t" r="r" b="b"/>
                <a:pathLst>
                  <a:path w="58852" h="17647">
                    <a:moveTo>
                      <a:pt x="-1" y="0"/>
                    </a:moveTo>
                    <a:lnTo>
                      <a:pt x="58853" y="0"/>
                    </a:lnTo>
                  </a:path>
                </a:pathLst>
              </a:custGeom>
              <a:ln w="9624" cap="sq">
                <a:solidFill>
                  <a:srgbClr val="27377D"/>
                </a:solidFill>
                <a:prstDash val="solid"/>
                <a:miter/>
              </a:ln>
            </p:spPr>
            <p:txBody>
              <a:bodyPr rtlCol="0" anchor="ctr"/>
              <a:lstStyle/>
              <a:p>
                <a:endParaRPr lang="en-US" sz="1800" dirty="0"/>
              </a:p>
            </p:txBody>
          </p:sp>
          <p:sp>
            <p:nvSpPr>
              <p:cNvPr id="2774" name="Freeform 629">
                <a:extLst>
                  <a:ext uri="{FF2B5EF4-FFF2-40B4-BE49-F238E27FC236}">
                    <a16:creationId xmlns:a16="http://schemas.microsoft.com/office/drawing/2014/main" id="{40CD55F9-927D-752A-68D0-F8A631D9067A}"/>
                  </a:ext>
                </a:extLst>
              </p:cNvPr>
              <p:cNvSpPr/>
              <p:nvPr/>
            </p:nvSpPr>
            <p:spPr>
              <a:xfrm>
                <a:off x="10565121" y="3486127"/>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grpSp>
        <p:grpSp>
          <p:nvGrpSpPr>
            <p:cNvPr id="2775" name="Graphic 4">
              <a:extLst>
                <a:ext uri="{FF2B5EF4-FFF2-40B4-BE49-F238E27FC236}">
                  <a16:creationId xmlns:a16="http://schemas.microsoft.com/office/drawing/2014/main" id="{9916F8C2-7B6F-6EEB-38B6-52C851FCC376}"/>
                </a:ext>
              </a:extLst>
            </p:cNvPr>
            <p:cNvGrpSpPr/>
            <p:nvPr/>
          </p:nvGrpSpPr>
          <p:grpSpPr>
            <a:xfrm>
              <a:off x="2370423" y="1231367"/>
              <a:ext cx="6498006" cy="3472335"/>
              <a:chOff x="2370423" y="1159172"/>
              <a:chExt cx="6498006" cy="3472335"/>
            </a:xfrm>
            <a:noFill/>
          </p:grpSpPr>
          <p:sp>
            <p:nvSpPr>
              <p:cNvPr id="2776" name="Freeform 631">
                <a:extLst>
                  <a:ext uri="{FF2B5EF4-FFF2-40B4-BE49-F238E27FC236}">
                    <a16:creationId xmlns:a16="http://schemas.microsoft.com/office/drawing/2014/main" id="{FBF26682-25FF-6B22-AAEF-74B61B63D802}"/>
                  </a:ext>
                </a:extLst>
              </p:cNvPr>
              <p:cNvSpPr/>
              <p:nvPr/>
            </p:nvSpPr>
            <p:spPr>
              <a:xfrm>
                <a:off x="8867265" y="4620795"/>
                <a:ext cx="1164" cy="10711"/>
              </a:xfrm>
              <a:custGeom>
                <a:avLst/>
                <a:gdLst>
                  <a:gd name="connsiteX0" fmla="*/ 0 w 1164"/>
                  <a:gd name="connsiteY0" fmla="*/ 0 h 10711"/>
                  <a:gd name="connsiteX1" fmla="*/ 1165 w 1164"/>
                  <a:gd name="connsiteY1" fmla="*/ 10712 h 10711"/>
                </a:gdLst>
                <a:ahLst/>
                <a:cxnLst>
                  <a:cxn ang="0">
                    <a:pos x="connsiteX0" y="connsiteY0"/>
                  </a:cxn>
                  <a:cxn ang="0">
                    <a:pos x="connsiteX1" y="connsiteY1"/>
                  </a:cxn>
                </a:cxnLst>
                <a:rect l="l" t="t" r="r" b="b"/>
                <a:pathLst>
                  <a:path w="1164" h="10711">
                    <a:moveTo>
                      <a:pt x="0" y="0"/>
                    </a:moveTo>
                    <a:lnTo>
                      <a:pt x="1165" y="10712"/>
                    </a:lnTo>
                  </a:path>
                </a:pathLst>
              </a:custGeom>
              <a:ln w="9624" cap="flat">
                <a:solidFill>
                  <a:srgbClr val="787878"/>
                </a:solidFill>
                <a:prstDash val="solid"/>
                <a:miter/>
              </a:ln>
            </p:spPr>
            <p:txBody>
              <a:bodyPr rtlCol="0" anchor="ctr"/>
              <a:lstStyle/>
              <a:p>
                <a:endParaRPr lang="en-US" sz="1800" dirty="0"/>
              </a:p>
            </p:txBody>
          </p:sp>
          <p:sp>
            <p:nvSpPr>
              <p:cNvPr id="2777" name="Freeform 632">
                <a:extLst>
                  <a:ext uri="{FF2B5EF4-FFF2-40B4-BE49-F238E27FC236}">
                    <a16:creationId xmlns:a16="http://schemas.microsoft.com/office/drawing/2014/main" id="{FE430211-E7EE-5947-681B-A4D01733077B}"/>
                  </a:ext>
                </a:extLst>
              </p:cNvPr>
              <p:cNvSpPr/>
              <p:nvPr/>
            </p:nvSpPr>
            <p:spPr>
              <a:xfrm>
                <a:off x="2393964" y="1187548"/>
                <a:ext cx="913145" cy="1262785"/>
              </a:xfrm>
              <a:custGeom>
                <a:avLst/>
                <a:gdLst>
                  <a:gd name="connsiteX0" fmla="*/ 0 w 913145"/>
                  <a:gd name="connsiteY0" fmla="*/ 0 h 1262785"/>
                  <a:gd name="connsiteX1" fmla="*/ 106041 w 913145"/>
                  <a:gd name="connsiteY1" fmla="*/ 0 h 1262785"/>
                  <a:gd name="connsiteX2" fmla="*/ 106041 w 913145"/>
                  <a:gd name="connsiteY2" fmla="*/ 18794 h 1262785"/>
                  <a:gd name="connsiteX3" fmla="*/ 117812 w 913145"/>
                  <a:gd name="connsiteY3" fmla="*/ 18794 h 1262785"/>
                  <a:gd name="connsiteX4" fmla="*/ 117812 w 913145"/>
                  <a:gd name="connsiteY4" fmla="*/ 37588 h 1262785"/>
                  <a:gd name="connsiteX5" fmla="*/ 147282 w 913145"/>
                  <a:gd name="connsiteY5" fmla="*/ 37588 h 1262785"/>
                  <a:gd name="connsiteX6" fmla="*/ 147282 w 913145"/>
                  <a:gd name="connsiteY6" fmla="*/ 56365 h 1262785"/>
                  <a:gd name="connsiteX7" fmla="*/ 217958 w 913145"/>
                  <a:gd name="connsiteY7" fmla="*/ 56365 h 1262785"/>
                  <a:gd name="connsiteX8" fmla="*/ 217958 w 913145"/>
                  <a:gd name="connsiteY8" fmla="*/ 112871 h 1262785"/>
                  <a:gd name="connsiteX9" fmla="*/ 223853 w 913145"/>
                  <a:gd name="connsiteY9" fmla="*/ 112871 h 1262785"/>
                  <a:gd name="connsiteX10" fmla="*/ 223853 w 913145"/>
                  <a:gd name="connsiteY10" fmla="*/ 150565 h 1262785"/>
                  <a:gd name="connsiteX11" fmla="*/ 229747 w 913145"/>
                  <a:gd name="connsiteY11" fmla="*/ 150565 h 1262785"/>
                  <a:gd name="connsiteX12" fmla="*/ 229747 w 913145"/>
                  <a:gd name="connsiteY12" fmla="*/ 188153 h 1262785"/>
                  <a:gd name="connsiteX13" fmla="*/ 241517 w 913145"/>
                  <a:gd name="connsiteY13" fmla="*/ 188153 h 1262785"/>
                  <a:gd name="connsiteX14" fmla="*/ 241517 w 913145"/>
                  <a:gd name="connsiteY14" fmla="*/ 207317 h 1262785"/>
                  <a:gd name="connsiteX15" fmla="*/ 247429 w 913145"/>
                  <a:gd name="connsiteY15" fmla="*/ 207317 h 1262785"/>
                  <a:gd name="connsiteX16" fmla="*/ 247429 w 913145"/>
                  <a:gd name="connsiteY16" fmla="*/ 245647 h 1262785"/>
                  <a:gd name="connsiteX17" fmla="*/ 253323 w 913145"/>
                  <a:gd name="connsiteY17" fmla="*/ 245647 h 1262785"/>
                  <a:gd name="connsiteX18" fmla="*/ 253323 w 913145"/>
                  <a:gd name="connsiteY18" fmla="*/ 322200 h 1262785"/>
                  <a:gd name="connsiteX19" fmla="*/ 259200 w 913145"/>
                  <a:gd name="connsiteY19" fmla="*/ 322200 h 1262785"/>
                  <a:gd name="connsiteX20" fmla="*/ 259200 w 913145"/>
                  <a:gd name="connsiteY20" fmla="*/ 398858 h 1262785"/>
                  <a:gd name="connsiteX21" fmla="*/ 294547 w 913145"/>
                  <a:gd name="connsiteY21" fmla="*/ 398858 h 1262785"/>
                  <a:gd name="connsiteX22" fmla="*/ 294547 w 913145"/>
                  <a:gd name="connsiteY22" fmla="*/ 418411 h 1262785"/>
                  <a:gd name="connsiteX23" fmla="*/ 300441 w 913145"/>
                  <a:gd name="connsiteY23" fmla="*/ 418411 h 1262785"/>
                  <a:gd name="connsiteX24" fmla="*/ 300441 w 913145"/>
                  <a:gd name="connsiteY24" fmla="*/ 438088 h 1262785"/>
                  <a:gd name="connsiteX25" fmla="*/ 312229 w 913145"/>
                  <a:gd name="connsiteY25" fmla="*/ 438088 h 1262785"/>
                  <a:gd name="connsiteX26" fmla="*/ 312229 w 913145"/>
                  <a:gd name="connsiteY26" fmla="*/ 458011 h 1262785"/>
                  <a:gd name="connsiteX27" fmla="*/ 318123 w 913145"/>
                  <a:gd name="connsiteY27" fmla="*/ 458011 h 1262785"/>
                  <a:gd name="connsiteX28" fmla="*/ 318123 w 913145"/>
                  <a:gd name="connsiteY28" fmla="*/ 477935 h 1262785"/>
                  <a:gd name="connsiteX29" fmla="*/ 382923 w 913145"/>
                  <a:gd name="connsiteY29" fmla="*/ 477935 h 1262785"/>
                  <a:gd name="connsiteX30" fmla="*/ 382923 w 913145"/>
                  <a:gd name="connsiteY30" fmla="*/ 497982 h 1262785"/>
                  <a:gd name="connsiteX31" fmla="*/ 430005 w 913145"/>
                  <a:gd name="connsiteY31" fmla="*/ 497982 h 1262785"/>
                  <a:gd name="connsiteX32" fmla="*/ 430005 w 913145"/>
                  <a:gd name="connsiteY32" fmla="*/ 518152 h 1262785"/>
                  <a:gd name="connsiteX33" fmla="*/ 447776 w 913145"/>
                  <a:gd name="connsiteY33" fmla="*/ 518152 h 1262785"/>
                  <a:gd name="connsiteX34" fmla="*/ 447776 w 913145"/>
                  <a:gd name="connsiteY34" fmla="*/ 538323 h 1262785"/>
                  <a:gd name="connsiteX35" fmla="*/ 459546 w 913145"/>
                  <a:gd name="connsiteY35" fmla="*/ 538323 h 1262785"/>
                  <a:gd name="connsiteX36" fmla="*/ 459546 w 913145"/>
                  <a:gd name="connsiteY36" fmla="*/ 578681 h 1262785"/>
                  <a:gd name="connsiteX37" fmla="*/ 465440 w 913145"/>
                  <a:gd name="connsiteY37" fmla="*/ 578681 h 1262785"/>
                  <a:gd name="connsiteX38" fmla="*/ 465440 w 913145"/>
                  <a:gd name="connsiteY38" fmla="*/ 619287 h 1262785"/>
                  <a:gd name="connsiteX39" fmla="*/ 477193 w 913145"/>
                  <a:gd name="connsiteY39" fmla="*/ 619287 h 1262785"/>
                  <a:gd name="connsiteX40" fmla="*/ 477193 w 913145"/>
                  <a:gd name="connsiteY40" fmla="*/ 639581 h 1262785"/>
                  <a:gd name="connsiteX41" fmla="*/ 488964 w 913145"/>
                  <a:gd name="connsiteY41" fmla="*/ 639581 h 1262785"/>
                  <a:gd name="connsiteX42" fmla="*/ 488964 w 913145"/>
                  <a:gd name="connsiteY42" fmla="*/ 660017 h 1262785"/>
                  <a:gd name="connsiteX43" fmla="*/ 494858 w 913145"/>
                  <a:gd name="connsiteY43" fmla="*/ 660017 h 1262785"/>
                  <a:gd name="connsiteX44" fmla="*/ 494858 w 913145"/>
                  <a:gd name="connsiteY44" fmla="*/ 700623 h 1262785"/>
                  <a:gd name="connsiteX45" fmla="*/ 500734 w 913145"/>
                  <a:gd name="connsiteY45" fmla="*/ 700623 h 1262785"/>
                  <a:gd name="connsiteX46" fmla="*/ 500734 w 913145"/>
                  <a:gd name="connsiteY46" fmla="*/ 742234 h 1262785"/>
                  <a:gd name="connsiteX47" fmla="*/ 518381 w 913145"/>
                  <a:gd name="connsiteY47" fmla="*/ 742234 h 1262785"/>
                  <a:gd name="connsiteX48" fmla="*/ 518381 w 913145"/>
                  <a:gd name="connsiteY48" fmla="*/ 762917 h 1262785"/>
                  <a:gd name="connsiteX49" fmla="*/ 541923 w 913145"/>
                  <a:gd name="connsiteY49" fmla="*/ 762917 h 1262785"/>
                  <a:gd name="connsiteX50" fmla="*/ 541923 w 913145"/>
                  <a:gd name="connsiteY50" fmla="*/ 805534 h 1262785"/>
                  <a:gd name="connsiteX51" fmla="*/ 553817 w 913145"/>
                  <a:gd name="connsiteY51" fmla="*/ 805534 h 1262785"/>
                  <a:gd name="connsiteX52" fmla="*/ 553817 w 913145"/>
                  <a:gd name="connsiteY52" fmla="*/ 826852 h 1262785"/>
                  <a:gd name="connsiteX53" fmla="*/ 559711 w 913145"/>
                  <a:gd name="connsiteY53" fmla="*/ 826852 h 1262785"/>
                  <a:gd name="connsiteX54" fmla="*/ 559711 w 913145"/>
                  <a:gd name="connsiteY54" fmla="*/ 848028 h 1262785"/>
                  <a:gd name="connsiteX55" fmla="*/ 583252 w 913145"/>
                  <a:gd name="connsiteY55" fmla="*/ 848028 h 1262785"/>
                  <a:gd name="connsiteX56" fmla="*/ 583252 w 913145"/>
                  <a:gd name="connsiteY56" fmla="*/ 891034 h 1262785"/>
                  <a:gd name="connsiteX57" fmla="*/ 712816 w 913145"/>
                  <a:gd name="connsiteY57" fmla="*/ 891034 h 1262785"/>
                  <a:gd name="connsiteX58" fmla="*/ 712816 w 913145"/>
                  <a:gd name="connsiteY58" fmla="*/ 912475 h 1262785"/>
                  <a:gd name="connsiteX59" fmla="*/ 724587 w 913145"/>
                  <a:gd name="connsiteY59" fmla="*/ 912475 h 1262785"/>
                  <a:gd name="connsiteX60" fmla="*/ 724587 w 913145"/>
                  <a:gd name="connsiteY60" fmla="*/ 933916 h 1262785"/>
                  <a:gd name="connsiteX61" fmla="*/ 736358 w 913145"/>
                  <a:gd name="connsiteY61" fmla="*/ 933916 h 1262785"/>
                  <a:gd name="connsiteX62" fmla="*/ 736358 w 913145"/>
                  <a:gd name="connsiteY62" fmla="*/ 955357 h 1262785"/>
                  <a:gd name="connsiteX63" fmla="*/ 748128 w 913145"/>
                  <a:gd name="connsiteY63" fmla="*/ 955357 h 1262785"/>
                  <a:gd name="connsiteX64" fmla="*/ 748128 w 913145"/>
                  <a:gd name="connsiteY64" fmla="*/ 976781 h 1262785"/>
                  <a:gd name="connsiteX65" fmla="*/ 754005 w 913145"/>
                  <a:gd name="connsiteY65" fmla="*/ 976781 h 1262785"/>
                  <a:gd name="connsiteX66" fmla="*/ 754005 w 913145"/>
                  <a:gd name="connsiteY66" fmla="*/ 1019663 h 1262785"/>
                  <a:gd name="connsiteX67" fmla="*/ 760022 w 913145"/>
                  <a:gd name="connsiteY67" fmla="*/ 1019663 h 1262785"/>
                  <a:gd name="connsiteX68" fmla="*/ 760022 w 913145"/>
                  <a:gd name="connsiteY68" fmla="*/ 1041351 h 1262785"/>
                  <a:gd name="connsiteX69" fmla="*/ 765916 w 913145"/>
                  <a:gd name="connsiteY69" fmla="*/ 1041351 h 1262785"/>
                  <a:gd name="connsiteX70" fmla="*/ 765916 w 913145"/>
                  <a:gd name="connsiteY70" fmla="*/ 1063039 h 1262785"/>
                  <a:gd name="connsiteX71" fmla="*/ 777687 w 913145"/>
                  <a:gd name="connsiteY71" fmla="*/ 1063039 h 1262785"/>
                  <a:gd name="connsiteX72" fmla="*/ 777687 w 913145"/>
                  <a:gd name="connsiteY72" fmla="*/ 1084604 h 1262785"/>
                  <a:gd name="connsiteX73" fmla="*/ 783563 w 913145"/>
                  <a:gd name="connsiteY73" fmla="*/ 1084604 h 1262785"/>
                  <a:gd name="connsiteX74" fmla="*/ 783563 w 913145"/>
                  <a:gd name="connsiteY74" fmla="*/ 1106416 h 1262785"/>
                  <a:gd name="connsiteX75" fmla="*/ 789440 w 913145"/>
                  <a:gd name="connsiteY75" fmla="*/ 1106416 h 1262785"/>
                  <a:gd name="connsiteX76" fmla="*/ 789440 w 913145"/>
                  <a:gd name="connsiteY76" fmla="*/ 1172628 h 1262785"/>
                  <a:gd name="connsiteX77" fmla="*/ 807104 w 913145"/>
                  <a:gd name="connsiteY77" fmla="*/ 1172628 h 1262785"/>
                  <a:gd name="connsiteX78" fmla="*/ 807104 w 913145"/>
                  <a:gd name="connsiteY78" fmla="*/ 1194951 h 1262785"/>
                  <a:gd name="connsiteX79" fmla="*/ 830628 w 913145"/>
                  <a:gd name="connsiteY79" fmla="*/ 1194951 h 1262785"/>
                  <a:gd name="connsiteX80" fmla="*/ 830628 w 913145"/>
                  <a:gd name="connsiteY80" fmla="*/ 1217380 h 1262785"/>
                  <a:gd name="connsiteX81" fmla="*/ 865940 w 913145"/>
                  <a:gd name="connsiteY81" fmla="*/ 1217380 h 1262785"/>
                  <a:gd name="connsiteX82" fmla="*/ 865940 w 913145"/>
                  <a:gd name="connsiteY82" fmla="*/ 1240092 h 1262785"/>
                  <a:gd name="connsiteX83" fmla="*/ 895481 w 913145"/>
                  <a:gd name="connsiteY83" fmla="*/ 1240092 h 1262785"/>
                  <a:gd name="connsiteX84" fmla="*/ 895481 w 913145"/>
                  <a:gd name="connsiteY84" fmla="*/ 1262786 h 1262785"/>
                  <a:gd name="connsiteX85" fmla="*/ 913145 w 913145"/>
                  <a:gd name="connsiteY85" fmla="*/ 1262786 h 1262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913145" h="1262785">
                    <a:moveTo>
                      <a:pt x="0" y="0"/>
                    </a:moveTo>
                    <a:lnTo>
                      <a:pt x="106041" y="0"/>
                    </a:lnTo>
                    <a:lnTo>
                      <a:pt x="106041" y="18794"/>
                    </a:lnTo>
                    <a:lnTo>
                      <a:pt x="117812" y="18794"/>
                    </a:lnTo>
                    <a:lnTo>
                      <a:pt x="117812" y="37588"/>
                    </a:lnTo>
                    <a:lnTo>
                      <a:pt x="147282" y="37588"/>
                    </a:lnTo>
                    <a:lnTo>
                      <a:pt x="147282" y="56365"/>
                    </a:lnTo>
                    <a:lnTo>
                      <a:pt x="217958" y="56365"/>
                    </a:lnTo>
                    <a:lnTo>
                      <a:pt x="217958" y="112871"/>
                    </a:lnTo>
                    <a:lnTo>
                      <a:pt x="223853" y="112871"/>
                    </a:lnTo>
                    <a:lnTo>
                      <a:pt x="223853" y="150565"/>
                    </a:lnTo>
                    <a:lnTo>
                      <a:pt x="229747" y="150565"/>
                    </a:lnTo>
                    <a:lnTo>
                      <a:pt x="229747" y="188153"/>
                    </a:lnTo>
                    <a:lnTo>
                      <a:pt x="241517" y="188153"/>
                    </a:lnTo>
                    <a:lnTo>
                      <a:pt x="241517" y="207317"/>
                    </a:lnTo>
                    <a:lnTo>
                      <a:pt x="247429" y="207317"/>
                    </a:lnTo>
                    <a:lnTo>
                      <a:pt x="247429" y="245647"/>
                    </a:lnTo>
                    <a:lnTo>
                      <a:pt x="253323" y="245647"/>
                    </a:lnTo>
                    <a:lnTo>
                      <a:pt x="253323" y="322200"/>
                    </a:lnTo>
                    <a:lnTo>
                      <a:pt x="259200" y="322200"/>
                    </a:lnTo>
                    <a:lnTo>
                      <a:pt x="259200" y="398858"/>
                    </a:lnTo>
                    <a:lnTo>
                      <a:pt x="294547" y="398858"/>
                    </a:lnTo>
                    <a:lnTo>
                      <a:pt x="294547" y="418411"/>
                    </a:lnTo>
                    <a:lnTo>
                      <a:pt x="300441" y="418411"/>
                    </a:lnTo>
                    <a:lnTo>
                      <a:pt x="300441" y="438088"/>
                    </a:lnTo>
                    <a:lnTo>
                      <a:pt x="312229" y="438088"/>
                    </a:lnTo>
                    <a:lnTo>
                      <a:pt x="312229" y="458011"/>
                    </a:lnTo>
                    <a:lnTo>
                      <a:pt x="318123" y="458011"/>
                    </a:lnTo>
                    <a:lnTo>
                      <a:pt x="318123" y="477935"/>
                    </a:lnTo>
                    <a:lnTo>
                      <a:pt x="382923" y="477935"/>
                    </a:lnTo>
                    <a:lnTo>
                      <a:pt x="382923" y="497982"/>
                    </a:lnTo>
                    <a:lnTo>
                      <a:pt x="430005" y="497982"/>
                    </a:lnTo>
                    <a:lnTo>
                      <a:pt x="430005" y="518152"/>
                    </a:lnTo>
                    <a:lnTo>
                      <a:pt x="447776" y="518152"/>
                    </a:lnTo>
                    <a:lnTo>
                      <a:pt x="447776" y="538323"/>
                    </a:lnTo>
                    <a:lnTo>
                      <a:pt x="459546" y="538323"/>
                    </a:lnTo>
                    <a:lnTo>
                      <a:pt x="459546" y="578681"/>
                    </a:lnTo>
                    <a:lnTo>
                      <a:pt x="465440" y="578681"/>
                    </a:lnTo>
                    <a:lnTo>
                      <a:pt x="465440" y="619287"/>
                    </a:lnTo>
                    <a:lnTo>
                      <a:pt x="477193" y="619287"/>
                    </a:lnTo>
                    <a:lnTo>
                      <a:pt x="477193" y="639581"/>
                    </a:lnTo>
                    <a:lnTo>
                      <a:pt x="488964" y="639581"/>
                    </a:lnTo>
                    <a:lnTo>
                      <a:pt x="488964" y="660017"/>
                    </a:lnTo>
                    <a:lnTo>
                      <a:pt x="494858" y="660017"/>
                    </a:lnTo>
                    <a:lnTo>
                      <a:pt x="494858" y="700623"/>
                    </a:lnTo>
                    <a:lnTo>
                      <a:pt x="500734" y="700623"/>
                    </a:lnTo>
                    <a:lnTo>
                      <a:pt x="500734" y="742234"/>
                    </a:lnTo>
                    <a:lnTo>
                      <a:pt x="518381" y="742234"/>
                    </a:lnTo>
                    <a:lnTo>
                      <a:pt x="518381" y="762917"/>
                    </a:lnTo>
                    <a:lnTo>
                      <a:pt x="541923" y="762917"/>
                    </a:lnTo>
                    <a:lnTo>
                      <a:pt x="541923" y="805534"/>
                    </a:lnTo>
                    <a:lnTo>
                      <a:pt x="553817" y="805534"/>
                    </a:lnTo>
                    <a:lnTo>
                      <a:pt x="553817" y="826852"/>
                    </a:lnTo>
                    <a:lnTo>
                      <a:pt x="559711" y="826852"/>
                    </a:lnTo>
                    <a:lnTo>
                      <a:pt x="559711" y="848028"/>
                    </a:lnTo>
                    <a:lnTo>
                      <a:pt x="583252" y="848028"/>
                    </a:lnTo>
                    <a:lnTo>
                      <a:pt x="583252" y="891034"/>
                    </a:lnTo>
                    <a:lnTo>
                      <a:pt x="712816" y="891034"/>
                    </a:lnTo>
                    <a:lnTo>
                      <a:pt x="712816" y="912475"/>
                    </a:lnTo>
                    <a:lnTo>
                      <a:pt x="724587" y="912475"/>
                    </a:lnTo>
                    <a:lnTo>
                      <a:pt x="724587" y="933916"/>
                    </a:lnTo>
                    <a:lnTo>
                      <a:pt x="736358" y="933916"/>
                    </a:lnTo>
                    <a:lnTo>
                      <a:pt x="736358" y="955357"/>
                    </a:lnTo>
                    <a:lnTo>
                      <a:pt x="748128" y="955357"/>
                    </a:lnTo>
                    <a:lnTo>
                      <a:pt x="748128" y="976781"/>
                    </a:lnTo>
                    <a:lnTo>
                      <a:pt x="754005" y="976781"/>
                    </a:lnTo>
                    <a:lnTo>
                      <a:pt x="754005" y="1019663"/>
                    </a:lnTo>
                    <a:lnTo>
                      <a:pt x="760022" y="1019663"/>
                    </a:lnTo>
                    <a:lnTo>
                      <a:pt x="760022" y="1041351"/>
                    </a:lnTo>
                    <a:lnTo>
                      <a:pt x="765916" y="1041351"/>
                    </a:lnTo>
                    <a:lnTo>
                      <a:pt x="765916" y="1063039"/>
                    </a:lnTo>
                    <a:lnTo>
                      <a:pt x="777687" y="1063039"/>
                    </a:lnTo>
                    <a:lnTo>
                      <a:pt x="777687" y="1084604"/>
                    </a:lnTo>
                    <a:lnTo>
                      <a:pt x="783563" y="1084604"/>
                    </a:lnTo>
                    <a:lnTo>
                      <a:pt x="783563" y="1106416"/>
                    </a:lnTo>
                    <a:lnTo>
                      <a:pt x="789440" y="1106416"/>
                    </a:lnTo>
                    <a:lnTo>
                      <a:pt x="789440" y="1172628"/>
                    </a:lnTo>
                    <a:lnTo>
                      <a:pt x="807104" y="1172628"/>
                    </a:lnTo>
                    <a:lnTo>
                      <a:pt x="807104" y="1194951"/>
                    </a:lnTo>
                    <a:lnTo>
                      <a:pt x="830628" y="1194951"/>
                    </a:lnTo>
                    <a:lnTo>
                      <a:pt x="830628" y="1217380"/>
                    </a:lnTo>
                    <a:lnTo>
                      <a:pt x="865940" y="1217380"/>
                    </a:lnTo>
                    <a:lnTo>
                      <a:pt x="865940" y="1240092"/>
                    </a:lnTo>
                    <a:lnTo>
                      <a:pt x="895481" y="1240092"/>
                    </a:lnTo>
                    <a:lnTo>
                      <a:pt x="895481" y="1262786"/>
                    </a:lnTo>
                    <a:lnTo>
                      <a:pt x="913145" y="1262786"/>
                    </a:lnTo>
                  </a:path>
                </a:pathLst>
              </a:custGeom>
              <a:noFill/>
              <a:ln w="9624" cap="flat">
                <a:solidFill>
                  <a:srgbClr val="787878"/>
                </a:solidFill>
                <a:custDash>
                  <a:ds d="491160" sp="163718"/>
                </a:custDash>
                <a:miter/>
              </a:ln>
            </p:spPr>
            <p:txBody>
              <a:bodyPr rtlCol="0" anchor="ctr"/>
              <a:lstStyle/>
              <a:p>
                <a:endParaRPr lang="en-US" sz="1800" dirty="0"/>
              </a:p>
            </p:txBody>
          </p:sp>
          <p:sp>
            <p:nvSpPr>
              <p:cNvPr id="2778" name="Freeform 633">
                <a:extLst>
                  <a:ext uri="{FF2B5EF4-FFF2-40B4-BE49-F238E27FC236}">
                    <a16:creationId xmlns:a16="http://schemas.microsoft.com/office/drawing/2014/main" id="{931A46A3-BE68-C1DA-EC64-94CD229B622A}"/>
                  </a:ext>
                </a:extLst>
              </p:cNvPr>
              <p:cNvSpPr/>
              <p:nvPr/>
            </p:nvSpPr>
            <p:spPr>
              <a:xfrm>
                <a:off x="3307110" y="2450334"/>
                <a:ext cx="1131174" cy="1243868"/>
              </a:xfrm>
              <a:custGeom>
                <a:avLst/>
                <a:gdLst>
                  <a:gd name="connsiteX0" fmla="*/ 0 w 1131174"/>
                  <a:gd name="connsiteY0" fmla="*/ 0 h 1243868"/>
                  <a:gd name="connsiteX1" fmla="*/ 0 w 1131174"/>
                  <a:gd name="connsiteY1" fmla="*/ 22941 h 1243868"/>
                  <a:gd name="connsiteX2" fmla="*/ 41188 w 1131174"/>
                  <a:gd name="connsiteY2" fmla="*/ 22941 h 1243868"/>
                  <a:gd name="connsiteX3" fmla="*/ 41188 w 1131174"/>
                  <a:gd name="connsiteY3" fmla="*/ 46023 h 1243868"/>
                  <a:gd name="connsiteX4" fmla="*/ 52959 w 1131174"/>
                  <a:gd name="connsiteY4" fmla="*/ 46023 h 1243868"/>
                  <a:gd name="connsiteX5" fmla="*/ 52959 w 1131174"/>
                  <a:gd name="connsiteY5" fmla="*/ 68982 h 1243868"/>
                  <a:gd name="connsiteX6" fmla="*/ 58835 w 1131174"/>
                  <a:gd name="connsiteY6" fmla="*/ 68982 h 1243868"/>
                  <a:gd name="connsiteX7" fmla="*/ 58835 w 1131174"/>
                  <a:gd name="connsiteY7" fmla="*/ 114882 h 1243868"/>
                  <a:gd name="connsiteX8" fmla="*/ 64853 w 1131174"/>
                  <a:gd name="connsiteY8" fmla="*/ 114882 h 1243868"/>
                  <a:gd name="connsiteX9" fmla="*/ 64853 w 1131174"/>
                  <a:gd name="connsiteY9" fmla="*/ 183723 h 1243868"/>
                  <a:gd name="connsiteX10" fmla="*/ 70729 w 1131174"/>
                  <a:gd name="connsiteY10" fmla="*/ 183723 h 1243868"/>
                  <a:gd name="connsiteX11" fmla="*/ 70729 w 1131174"/>
                  <a:gd name="connsiteY11" fmla="*/ 206682 h 1243868"/>
                  <a:gd name="connsiteX12" fmla="*/ 76623 w 1131174"/>
                  <a:gd name="connsiteY12" fmla="*/ 206682 h 1243868"/>
                  <a:gd name="connsiteX13" fmla="*/ 76623 w 1131174"/>
                  <a:gd name="connsiteY13" fmla="*/ 229888 h 1243868"/>
                  <a:gd name="connsiteX14" fmla="*/ 88394 w 1131174"/>
                  <a:gd name="connsiteY14" fmla="*/ 229888 h 1243868"/>
                  <a:gd name="connsiteX15" fmla="*/ 88394 w 1131174"/>
                  <a:gd name="connsiteY15" fmla="*/ 253094 h 1243868"/>
                  <a:gd name="connsiteX16" fmla="*/ 94270 w 1131174"/>
                  <a:gd name="connsiteY16" fmla="*/ 253094 h 1243868"/>
                  <a:gd name="connsiteX17" fmla="*/ 94270 w 1131174"/>
                  <a:gd name="connsiteY17" fmla="*/ 276406 h 1243868"/>
                  <a:gd name="connsiteX18" fmla="*/ 106041 w 1131174"/>
                  <a:gd name="connsiteY18" fmla="*/ 276406 h 1243868"/>
                  <a:gd name="connsiteX19" fmla="*/ 106041 w 1131174"/>
                  <a:gd name="connsiteY19" fmla="*/ 299611 h 1243868"/>
                  <a:gd name="connsiteX20" fmla="*/ 111918 w 1131174"/>
                  <a:gd name="connsiteY20" fmla="*/ 299611 h 1243868"/>
                  <a:gd name="connsiteX21" fmla="*/ 111918 w 1131174"/>
                  <a:gd name="connsiteY21" fmla="*/ 346023 h 1243868"/>
                  <a:gd name="connsiteX22" fmla="*/ 153106 w 1131174"/>
                  <a:gd name="connsiteY22" fmla="*/ 346023 h 1243868"/>
                  <a:gd name="connsiteX23" fmla="*/ 153106 w 1131174"/>
                  <a:gd name="connsiteY23" fmla="*/ 369352 h 1243868"/>
                  <a:gd name="connsiteX24" fmla="*/ 206205 w 1131174"/>
                  <a:gd name="connsiteY24" fmla="*/ 369352 h 1243868"/>
                  <a:gd name="connsiteX25" fmla="*/ 206205 w 1131174"/>
                  <a:gd name="connsiteY25" fmla="*/ 392558 h 1243868"/>
                  <a:gd name="connsiteX26" fmla="*/ 253270 w 1131174"/>
                  <a:gd name="connsiteY26" fmla="*/ 392558 h 1243868"/>
                  <a:gd name="connsiteX27" fmla="*/ 253270 w 1131174"/>
                  <a:gd name="connsiteY27" fmla="*/ 415764 h 1243868"/>
                  <a:gd name="connsiteX28" fmla="*/ 294582 w 1131174"/>
                  <a:gd name="connsiteY28" fmla="*/ 415764 h 1243868"/>
                  <a:gd name="connsiteX29" fmla="*/ 294582 w 1131174"/>
                  <a:gd name="connsiteY29" fmla="*/ 438952 h 1243868"/>
                  <a:gd name="connsiteX30" fmla="*/ 329894 w 1131174"/>
                  <a:gd name="connsiteY30" fmla="*/ 438952 h 1243868"/>
                  <a:gd name="connsiteX31" fmla="*/ 329894 w 1131174"/>
                  <a:gd name="connsiteY31" fmla="*/ 462158 h 1243868"/>
                  <a:gd name="connsiteX32" fmla="*/ 335770 w 1131174"/>
                  <a:gd name="connsiteY32" fmla="*/ 462158 h 1243868"/>
                  <a:gd name="connsiteX33" fmla="*/ 335770 w 1131174"/>
                  <a:gd name="connsiteY33" fmla="*/ 485487 h 1243868"/>
                  <a:gd name="connsiteX34" fmla="*/ 353435 w 1131174"/>
                  <a:gd name="connsiteY34" fmla="*/ 485487 h 1243868"/>
                  <a:gd name="connsiteX35" fmla="*/ 353435 w 1131174"/>
                  <a:gd name="connsiteY35" fmla="*/ 508941 h 1243868"/>
                  <a:gd name="connsiteX36" fmla="*/ 359311 w 1131174"/>
                  <a:gd name="connsiteY36" fmla="*/ 508941 h 1243868"/>
                  <a:gd name="connsiteX37" fmla="*/ 359311 w 1131174"/>
                  <a:gd name="connsiteY37" fmla="*/ 532534 h 1243868"/>
                  <a:gd name="connsiteX38" fmla="*/ 365205 w 1131174"/>
                  <a:gd name="connsiteY38" fmla="*/ 532534 h 1243868"/>
                  <a:gd name="connsiteX39" fmla="*/ 365205 w 1131174"/>
                  <a:gd name="connsiteY39" fmla="*/ 556111 h 1243868"/>
                  <a:gd name="connsiteX40" fmla="*/ 382976 w 1131174"/>
                  <a:gd name="connsiteY40" fmla="*/ 556111 h 1243868"/>
                  <a:gd name="connsiteX41" fmla="*/ 382976 w 1131174"/>
                  <a:gd name="connsiteY41" fmla="*/ 579688 h 1243868"/>
                  <a:gd name="connsiteX42" fmla="*/ 435935 w 1131174"/>
                  <a:gd name="connsiteY42" fmla="*/ 579688 h 1243868"/>
                  <a:gd name="connsiteX43" fmla="*/ 435935 w 1131174"/>
                  <a:gd name="connsiteY43" fmla="*/ 603529 h 1243868"/>
                  <a:gd name="connsiteX44" fmla="*/ 536099 w 1131174"/>
                  <a:gd name="connsiteY44" fmla="*/ 603529 h 1243868"/>
                  <a:gd name="connsiteX45" fmla="*/ 536099 w 1131174"/>
                  <a:gd name="connsiteY45" fmla="*/ 628234 h 1243868"/>
                  <a:gd name="connsiteX46" fmla="*/ 577287 w 1131174"/>
                  <a:gd name="connsiteY46" fmla="*/ 628234 h 1243868"/>
                  <a:gd name="connsiteX47" fmla="*/ 577287 w 1131174"/>
                  <a:gd name="connsiteY47" fmla="*/ 677540 h 1243868"/>
                  <a:gd name="connsiteX48" fmla="*/ 583164 w 1131174"/>
                  <a:gd name="connsiteY48" fmla="*/ 677540 h 1243868"/>
                  <a:gd name="connsiteX49" fmla="*/ 583164 w 1131174"/>
                  <a:gd name="connsiteY49" fmla="*/ 702511 h 1243868"/>
                  <a:gd name="connsiteX50" fmla="*/ 589058 w 1131174"/>
                  <a:gd name="connsiteY50" fmla="*/ 702511 h 1243868"/>
                  <a:gd name="connsiteX51" fmla="*/ 589058 w 1131174"/>
                  <a:gd name="connsiteY51" fmla="*/ 752699 h 1243868"/>
                  <a:gd name="connsiteX52" fmla="*/ 595075 w 1131174"/>
                  <a:gd name="connsiteY52" fmla="*/ 752699 h 1243868"/>
                  <a:gd name="connsiteX53" fmla="*/ 595075 w 1131174"/>
                  <a:gd name="connsiteY53" fmla="*/ 777793 h 1243868"/>
                  <a:gd name="connsiteX54" fmla="*/ 606828 w 1131174"/>
                  <a:gd name="connsiteY54" fmla="*/ 777793 h 1243868"/>
                  <a:gd name="connsiteX55" fmla="*/ 606828 w 1131174"/>
                  <a:gd name="connsiteY55" fmla="*/ 803275 h 1243868"/>
                  <a:gd name="connsiteX56" fmla="*/ 636264 w 1131174"/>
                  <a:gd name="connsiteY56" fmla="*/ 803275 h 1243868"/>
                  <a:gd name="connsiteX57" fmla="*/ 636264 w 1131174"/>
                  <a:gd name="connsiteY57" fmla="*/ 828740 h 1243868"/>
                  <a:gd name="connsiteX58" fmla="*/ 665681 w 1131174"/>
                  <a:gd name="connsiteY58" fmla="*/ 828740 h 1243868"/>
                  <a:gd name="connsiteX59" fmla="*/ 665681 w 1131174"/>
                  <a:gd name="connsiteY59" fmla="*/ 880816 h 1243868"/>
                  <a:gd name="connsiteX60" fmla="*/ 671558 w 1131174"/>
                  <a:gd name="connsiteY60" fmla="*/ 880816 h 1243868"/>
                  <a:gd name="connsiteX61" fmla="*/ 671558 w 1131174"/>
                  <a:gd name="connsiteY61" fmla="*/ 906792 h 1243868"/>
                  <a:gd name="connsiteX62" fmla="*/ 689205 w 1131174"/>
                  <a:gd name="connsiteY62" fmla="*/ 906792 h 1243868"/>
                  <a:gd name="connsiteX63" fmla="*/ 689205 w 1131174"/>
                  <a:gd name="connsiteY63" fmla="*/ 932769 h 1243868"/>
                  <a:gd name="connsiteX64" fmla="*/ 818928 w 1131174"/>
                  <a:gd name="connsiteY64" fmla="*/ 932769 h 1243868"/>
                  <a:gd name="connsiteX65" fmla="*/ 818928 w 1131174"/>
                  <a:gd name="connsiteY65" fmla="*/ 960016 h 1243868"/>
                  <a:gd name="connsiteX66" fmla="*/ 824804 w 1131174"/>
                  <a:gd name="connsiteY66" fmla="*/ 960016 h 1243868"/>
                  <a:gd name="connsiteX67" fmla="*/ 824804 w 1131174"/>
                  <a:gd name="connsiteY67" fmla="*/ 987122 h 1243868"/>
                  <a:gd name="connsiteX68" fmla="*/ 830699 w 1131174"/>
                  <a:gd name="connsiteY68" fmla="*/ 987122 h 1243868"/>
                  <a:gd name="connsiteX69" fmla="*/ 830699 w 1131174"/>
                  <a:gd name="connsiteY69" fmla="*/ 1014228 h 1243868"/>
                  <a:gd name="connsiteX70" fmla="*/ 836575 w 1131174"/>
                  <a:gd name="connsiteY70" fmla="*/ 1014228 h 1243868"/>
                  <a:gd name="connsiteX71" fmla="*/ 836575 w 1131174"/>
                  <a:gd name="connsiteY71" fmla="*/ 1041969 h 1243868"/>
                  <a:gd name="connsiteX72" fmla="*/ 871887 w 1131174"/>
                  <a:gd name="connsiteY72" fmla="*/ 1041969 h 1243868"/>
                  <a:gd name="connsiteX73" fmla="*/ 871887 w 1131174"/>
                  <a:gd name="connsiteY73" fmla="*/ 1070469 h 1243868"/>
                  <a:gd name="connsiteX74" fmla="*/ 1042781 w 1131174"/>
                  <a:gd name="connsiteY74" fmla="*/ 1070469 h 1243868"/>
                  <a:gd name="connsiteX75" fmla="*/ 1042781 w 1131174"/>
                  <a:gd name="connsiteY75" fmla="*/ 1098969 h 1243868"/>
                  <a:gd name="connsiteX76" fmla="*/ 1054551 w 1131174"/>
                  <a:gd name="connsiteY76" fmla="*/ 1098969 h 1243868"/>
                  <a:gd name="connsiteX77" fmla="*/ 1054551 w 1131174"/>
                  <a:gd name="connsiteY77" fmla="*/ 1127469 h 1243868"/>
                  <a:gd name="connsiteX78" fmla="*/ 1066322 w 1131174"/>
                  <a:gd name="connsiteY78" fmla="*/ 1127469 h 1243868"/>
                  <a:gd name="connsiteX79" fmla="*/ 1066322 w 1131174"/>
                  <a:gd name="connsiteY79" fmla="*/ 1155969 h 1243868"/>
                  <a:gd name="connsiteX80" fmla="*/ 1078075 w 1131174"/>
                  <a:gd name="connsiteY80" fmla="*/ 1155969 h 1243868"/>
                  <a:gd name="connsiteX81" fmla="*/ 1078075 w 1131174"/>
                  <a:gd name="connsiteY81" fmla="*/ 1185228 h 1243868"/>
                  <a:gd name="connsiteX82" fmla="*/ 1119263 w 1131174"/>
                  <a:gd name="connsiteY82" fmla="*/ 1185228 h 1243868"/>
                  <a:gd name="connsiteX83" fmla="*/ 1119263 w 1131174"/>
                  <a:gd name="connsiteY83" fmla="*/ 1214486 h 1243868"/>
                  <a:gd name="connsiteX84" fmla="*/ 1131175 w 1131174"/>
                  <a:gd name="connsiteY84" fmla="*/ 1214486 h 1243868"/>
                  <a:gd name="connsiteX85" fmla="*/ 1131175 w 1131174"/>
                  <a:gd name="connsiteY85" fmla="*/ 1243869 h 1243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1131174" h="1243868">
                    <a:moveTo>
                      <a:pt x="0" y="0"/>
                    </a:moveTo>
                    <a:lnTo>
                      <a:pt x="0" y="22941"/>
                    </a:lnTo>
                    <a:lnTo>
                      <a:pt x="41188" y="22941"/>
                    </a:lnTo>
                    <a:lnTo>
                      <a:pt x="41188" y="46023"/>
                    </a:lnTo>
                    <a:lnTo>
                      <a:pt x="52959" y="46023"/>
                    </a:lnTo>
                    <a:lnTo>
                      <a:pt x="52959" y="68982"/>
                    </a:lnTo>
                    <a:lnTo>
                      <a:pt x="58835" y="68982"/>
                    </a:lnTo>
                    <a:lnTo>
                      <a:pt x="58835" y="114882"/>
                    </a:lnTo>
                    <a:lnTo>
                      <a:pt x="64853" y="114882"/>
                    </a:lnTo>
                    <a:lnTo>
                      <a:pt x="64853" y="183723"/>
                    </a:lnTo>
                    <a:lnTo>
                      <a:pt x="70729" y="183723"/>
                    </a:lnTo>
                    <a:lnTo>
                      <a:pt x="70729" y="206682"/>
                    </a:lnTo>
                    <a:lnTo>
                      <a:pt x="76623" y="206682"/>
                    </a:lnTo>
                    <a:lnTo>
                      <a:pt x="76623" y="229888"/>
                    </a:lnTo>
                    <a:lnTo>
                      <a:pt x="88394" y="229888"/>
                    </a:lnTo>
                    <a:lnTo>
                      <a:pt x="88394" y="253094"/>
                    </a:lnTo>
                    <a:lnTo>
                      <a:pt x="94270" y="253094"/>
                    </a:lnTo>
                    <a:lnTo>
                      <a:pt x="94270" y="276406"/>
                    </a:lnTo>
                    <a:lnTo>
                      <a:pt x="106041" y="276406"/>
                    </a:lnTo>
                    <a:lnTo>
                      <a:pt x="106041" y="299611"/>
                    </a:lnTo>
                    <a:lnTo>
                      <a:pt x="111918" y="299611"/>
                    </a:lnTo>
                    <a:lnTo>
                      <a:pt x="111918" y="346023"/>
                    </a:lnTo>
                    <a:lnTo>
                      <a:pt x="153106" y="346023"/>
                    </a:lnTo>
                    <a:lnTo>
                      <a:pt x="153106" y="369352"/>
                    </a:lnTo>
                    <a:lnTo>
                      <a:pt x="206205" y="369352"/>
                    </a:lnTo>
                    <a:lnTo>
                      <a:pt x="206205" y="392558"/>
                    </a:lnTo>
                    <a:lnTo>
                      <a:pt x="253270" y="392558"/>
                    </a:lnTo>
                    <a:lnTo>
                      <a:pt x="253270" y="415764"/>
                    </a:lnTo>
                    <a:lnTo>
                      <a:pt x="294582" y="415764"/>
                    </a:lnTo>
                    <a:lnTo>
                      <a:pt x="294582" y="438952"/>
                    </a:lnTo>
                    <a:lnTo>
                      <a:pt x="329894" y="438952"/>
                    </a:lnTo>
                    <a:lnTo>
                      <a:pt x="329894" y="462158"/>
                    </a:lnTo>
                    <a:lnTo>
                      <a:pt x="335770" y="462158"/>
                    </a:lnTo>
                    <a:lnTo>
                      <a:pt x="335770" y="485487"/>
                    </a:lnTo>
                    <a:lnTo>
                      <a:pt x="353435" y="485487"/>
                    </a:lnTo>
                    <a:lnTo>
                      <a:pt x="353435" y="508941"/>
                    </a:lnTo>
                    <a:lnTo>
                      <a:pt x="359311" y="508941"/>
                    </a:lnTo>
                    <a:lnTo>
                      <a:pt x="359311" y="532534"/>
                    </a:lnTo>
                    <a:lnTo>
                      <a:pt x="365205" y="532534"/>
                    </a:lnTo>
                    <a:lnTo>
                      <a:pt x="365205" y="556111"/>
                    </a:lnTo>
                    <a:lnTo>
                      <a:pt x="382976" y="556111"/>
                    </a:lnTo>
                    <a:lnTo>
                      <a:pt x="382976" y="579688"/>
                    </a:lnTo>
                    <a:lnTo>
                      <a:pt x="435935" y="579688"/>
                    </a:lnTo>
                    <a:lnTo>
                      <a:pt x="435935" y="603529"/>
                    </a:lnTo>
                    <a:lnTo>
                      <a:pt x="536099" y="603529"/>
                    </a:lnTo>
                    <a:lnTo>
                      <a:pt x="536099" y="628234"/>
                    </a:lnTo>
                    <a:lnTo>
                      <a:pt x="577287" y="628234"/>
                    </a:lnTo>
                    <a:lnTo>
                      <a:pt x="577287" y="677540"/>
                    </a:lnTo>
                    <a:lnTo>
                      <a:pt x="583164" y="677540"/>
                    </a:lnTo>
                    <a:lnTo>
                      <a:pt x="583164" y="702511"/>
                    </a:lnTo>
                    <a:lnTo>
                      <a:pt x="589058" y="702511"/>
                    </a:lnTo>
                    <a:lnTo>
                      <a:pt x="589058" y="752699"/>
                    </a:lnTo>
                    <a:lnTo>
                      <a:pt x="595075" y="752699"/>
                    </a:lnTo>
                    <a:lnTo>
                      <a:pt x="595075" y="777793"/>
                    </a:lnTo>
                    <a:lnTo>
                      <a:pt x="606828" y="777793"/>
                    </a:lnTo>
                    <a:lnTo>
                      <a:pt x="606828" y="803275"/>
                    </a:lnTo>
                    <a:lnTo>
                      <a:pt x="636264" y="803275"/>
                    </a:lnTo>
                    <a:lnTo>
                      <a:pt x="636264" y="828740"/>
                    </a:lnTo>
                    <a:lnTo>
                      <a:pt x="665681" y="828740"/>
                    </a:lnTo>
                    <a:lnTo>
                      <a:pt x="665681" y="880816"/>
                    </a:lnTo>
                    <a:lnTo>
                      <a:pt x="671558" y="880816"/>
                    </a:lnTo>
                    <a:lnTo>
                      <a:pt x="671558" y="906792"/>
                    </a:lnTo>
                    <a:lnTo>
                      <a:pt x="689205" y="906792"/>
                    </a:lnTo>
                    <a:lnTo>
                      <a:pt x="689205" y="932769"/>
                    </a:lnTo>
                    <a:lnTo>
                      <a:pt x="818928" y="932769"/>
                    </a:lnTo>
                    <a:lnTo>
                      <a:pt x="818928" y="960016"/>
                    </a:lnTo>
                    <a:lnTo>
                      <a:pt x="824804" y="960016"/>
                    </a:lnTo>
                    <a:lnTo>
                      <a:pt x="824804" y="987122"/>
                    </a:lnTo>
                    <a:lnTo>
                      <a:pt x="830699" y="987122"/>
                    </a:lnTo>
                    <a:lnTo>
                      <a:pt x="830699" y="1014228"/>
                    </a:lnTo>
                    <a:lnTo>
                      <a:pt x="836575" y="1014228"/>
                    </a:lnTo>
                    <a:lnTo>
                      <a:pt x="836575" y="1041969"/>
                    </a:lnTo>
                    <a:lnTo>
                      <a:pt x="871887" y="1041969"/>
                    </a:lnTo>
                    <a:lnTo>
                      <a:pt x="871887" y="1070469"/>
                    </a:lnTo>
                    <a:lnTo>
                      <a:pt x="1042781" y="1070469"/>
                    </a:lnTo>
                    <a:lnTo>
                      <a:pt x="1042781" y="1098969"/>
                    </a:lnTo>
                    <a:lnTo>
                      <a:pt x="1054551" y="1098969"/>
                    </a:lnTo>
                    <a:lnTo>
                      <a:pt x="1054551" y="1127469"/>
                    </a:lnTo>
                    <a:lnTo>
                      <a:pt x="1066322" y="1127469"/>
                    </a:lnTo>
                    <a:lnTo>
                      <a:pt x="1066322" y="1155969"/>
                    </a:lnTo>
                    <a:lnTo>
                      <a:pt x="1078075" y="1155969"/>
                    </a:lnTo>
                    <a:lnTo>
                      <a:pt x="1078075" y="1185228"/>
                    </a:lnTo>
                    <a:lnTo>
                      <a:pt x="1119263" y="1185228"/>
                    </a:lnTo>
                    <a:lnTo>
                      <a:pt x="1119263" y="1214486"/>
                    </a:lnTo>
                    <a:lnTo>
                      <a:pt x="1131175" y="1214486"/>
                    </a:lnTo>
                    <a:lnTo>
                      <a:pt x="1131175" y="1243869"/>
                    </a:lnTo>
                  </a:path>
                </a:pathLst>
              </a:custGeom>
              <a:noFill/>
              <a:ln w="9624" cap="flat">
                <a:solidFill>
                  <a:srgbClr val="787878"/>
                </a:solidFill>
                <a:custDash>
                  <a:ds d="491160" sp="163718"/>
                </a:custDash>
                <a:miter/>
              </a:ln>
            </p:spPr>
            <p:txBody>
              <a:bodyPr rtlCol="0" anchor="ctr"/>
              <a:lstStyle/>
              <a:p>
                <a:endParaRPr lang="en-US" sz="1800" dirty="0"/>
              </a:p>
            </p:txBody>
          </p:sp>
          <p:sp>
            <p:nvSpPr>
              <p:cNvPr id="2779" name="Freeform 634">
                <a:extLst>
                  <a:ext uri="{FF2B5EF4-FFF2-40B4-BE49-F238E27FC236}">
                    <a16:creationId xmlns:a16="http://schemas.microsoft.com/office/drawing/2014/main" id="{7B892D3D-89D2-1A55-8E3D-8AA58FF1CFDD}"/>
                  </a:ext>
                </a:extLst>
              </p:cNvPr>
              <p:cNvSpPr/>
              <p:nvPr/>
            </p:nvSpPr>
            <p:spPr>
              <a:xfrm>
                <a:off x="4438284" y="3694203"/>
                <a:ext cx="4430145" cy="937304"/>
              </a:xfrm>
              <a:custGeom>
                <a:avLst/>
                <a:gdLst>
                  <a:gd name="connsiteX0" fmla="*/ 0 w 4430145"/>
                  <a:gd name="connsiteY0" fmla="*/ 0 h 937304"/>
                  <a:gd name="connsiteX1" fmla="*/ 0 w 4430145"/>
                  <a:gd name="connsiteY1" fmla="*/ 0 h 937304"/>
                  <a:gd name="connsiteX2" fmla="*/ 212082 w 4430145"/>
                  <a:gd name="connsiteY2" fmla="*/ 0 h 937304"/>
                  <a:gd name="connsiteX3" fmla="*/ 212082 w 4430145"/>
                  <a:gd name="connsiteY3" fmla="*/ 31147 h 937304"/>
                  <a:gd name="connsiteX4" fmla="*/ 229729 w 4430145"/>
                  <a:gd name="connsiteY4" fmla="*/ 31147 h 937304"/>
                  <a:gd name="connsiteX5" fmla="*/ 229729 w 4430145"/>
                  <a:gd name="connsiteY5" fmla="*/ 62417 h 937304"/>
                  <a:gd name="connsiteX6" fmla="*/ 306229 w 4430145"/>
                  <a:gd name="connsiteY6" fmla="*/ 62417 h 937304"/>
                  <a:gd name="connsiteX7" fmla="*/ 306229 w 4430145"/>
                  <a:gd name="connsiteY7" fmla="*/ 93688 h 937304"/>
                  <a:gd name="connsiteX8" fmla="*/ 430058 w 4430145"/>
                  <a:gd name="connsiteY8" fmla="*/ 93688 h 937304"/>
                  <a:gd name="connsiteX9" fmla="*/ 430058 w 4430145"/>
                  <a:gd name="connsiteY9" fmla="*/ 126106 h 937304"/>
                  <a:gd name="connsiteX10" fmla="*/ 465352 w 4430145"/>
                  <a:gd name="connsiteY10" fmla="*/ 126106 h 937304"/>
                  <a:gd name="connsiteX11" fmla="*/ 465352 w 4430145"/>
                  <a:gd name="connsiteY11" fmla="*/ 158629 h 937304"/>
                  <a:gd name="connsiteX12" fmla="*/ 559622 w 4430145"/>
                  <a:gd name="connsiteY12" fmla="*/ 158629 h 937304"/>
                  <a:gd name="connsiteX13" fmla="*/ 559622 w 4430145"/>
                  <a:gd name="connsiteY13" fmla="*/ 192423 h 937304"/>
                  <a:gd name="connsiteX14" fmla="*/ 583164 w 4430145"/>
                  <a:gd name="connsiteY14" fmla="*/ 192423 h 937304"/>
                  <a:gd name="connsiteX15" fmla="*/ 583164 w 4430145"/>
                  <a:gd name="connsiteY15" fmla="*/ 226358 h 937304"/>
                  <a:gd name="connsiteX16" fmla="*/ 642140 w 4430145"/>
                  <a:gd name="connsiteY16" fmla="*/ 226358 h 937304"/>
                  <a:gd name="connsiteX17" fmla="*/ 642140 w 4430145"/>
                  <a:gd name="connsiteY17" fmla="*/ 260153 h 937304"/>
                  <a:gd name="connsiteX18" fmla="*/ 977928 w 4430145"/>
                  <a:gd name="connsiteY18" fmla="*/ 260153 h 937304"/>
                  <a:gd name="connsiteX19" fmla="*/ 977928 w 4430145"/>
                  <a:gd name="connsiteY19" fmla="*/ 350435 h 937304"/>
                  <a:gd name="connsiteX20" fmla="*/ 1166345 w 4430145"/>
                  <a:gd name="connsiteY20" fmla="*/ 350435 h 937304"/>
                  <a:gd name="connsiteX21" fmla="*/ 1166345 w 4430145"/>
                  <a:gd name="connsiteY21" fmla="*/ 399370 h 937304"/>
                  <a:gd name="connsiteX22" fmla="*/ 1720232 w 4430145"/>
                  <a:gd name="connsiteY22" fmla="*/ 399370 h 937304"/>
                  <a:gd name="connsiteX23" fmla="*/ 1720232 w 4430145"/>
                  <a:gd name="connsiteY23" fmla="*/ 459140 h 937304"/>
                  <a:gd name="connsiteX24" fmla="*/ 4430145 w 4430145"/>
                  <a:gd name="connsiteY24" fmla="*/ 459140 h 937304"/>
                  <a:gd name="connsiteX25" fmla="*/ 4430145 w 4430145"/>
                  <a:gd name="connsiteY25" fmla="*/ 937305 h 937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430145" h="937304">
                    <a:moveTo>
                      <a:pt x="0" y="0"/>
                    </a:moveTo>
                    <a:lnTo>
                      <a:pt x="0" y="0"/>
                    </a:lnTo>
                    <a:lnTo>
                      <a:pt x="212082" y="0"/>
                    </a:lnTo>
                    <a:lnTo>
                      <a:pt x="212082" y="31147"/>
                    </a:lnTo>
                    <a:lnTo>
                      <a:pt x="229729" y="31147"/>
                    </a:lnTo>
                    <a:lnTo>
                      <a:pt x="229729" y="62417"/>
                    </a:lnTo>
                    <a:lnTo>
                      <a:pt x="306229" y="62417"/>
                    </a:lnTo>
                    <a:lnTo>
                      <a:pt x="306229" y="93688"/>
                    </a:lnTo>
                    <a:lnTo>
                      <a:pt x="430058" y="93688"/>
                    </a:lnTo>
                    <a:lnTo>
                      <a:pt x="430058" y="126106"/>
                    </a:lnTo>
                    <a:lnTo>
                      <a:pt x="465352" y="126106"/>
                    </a:lnTo>
                    <a:lnTo>
                      <a:pt x="465352" y="158629"/>
                    </a:lnTo>
                    <a:lnTo>
                      <a:pt x="559622" y="158629"/>
                    </a:lnTo>
                    <a:lnTo>
                      <a:pt x="559622" y="192423"/>
                    </a:lnTo>
                    <a:lnTo>
                      <a:pt x="583164" y="192423"/>
                    </a:lnTo>
                    <a:lnTo>
                      <a:pt x="583164" y="226358"/>
                    </a:lnTo>
                    <a:lnTo>
                      <a:pt x="642140" y="226358"/>
                    </a:lnTo>
                    <a:lnTo>
                      <a:pt x="642140" y="260153"/>
                    </a:lnTo>
                    <a:lnTo>
                      <a:pt x="977928" y="260153"/>
                    </a:lnTo>
                    <a:lnTo>
                      <a:pt x="977928" y="350435"/>
                    </a:lnTo>
                    <a:lnTo>
                      <a:pt x="1166345" y="350435"/>
                    </a:lnTo>
                    <a:lnTo>
                      <a:pt x="1166345" y="399370"/>
                    </a:lnTo>
                    <a:lnTo>
                      <a:pt x="1720232" y="399370"/>
                    </a:lnTo>
                    <a:lnTo>
                      <a:pt x="1720232" y="459140"/>
                    </a:lnTo>
                    <a:lnTo>
                      <a:pt x="4430145" y="459140"/>
                    </a:lnTo>
                    <a:lnTo>
                      <a:pt x="4430145" y="937305"/>
                    </a:lnTo>
                  </a:path>
                </a:pathLst>
              </a:custGeom>
              <a:noFill/>
              <a:ln w="9624" cap="flat">
                <a:solidFill>
                  <a:srgbClr val="787878"/>
                </a:solidFill>
                <a:custDash>
                  <a:ds d="491160" sp="163718"/>
                </a:custDash>
                <a:miter/>
              </a:ln>
            </p:spPr>
            <p:txBody>
              <a:bodyPr rtlCol="0" anchor="ctr"/>
              <a:lstStyle/>
              <a:p>
                <a:endParaRPr lang="en-US" sz="1800" dirty="0"/>
              </a:p>
            </p:txBody>
          </p:sp>
          <p:sp>
            <p:nvSpPr>
              <p:cNvPr id="2780" name="Freeform 635">
                <a:extLst>
                  <a:ext uri="{FF2B5EF4-FFF2-40B4-BE49-F238E27FC236}">
                    <a16:creationId xmlns:a16="http://schemas.microsoft.com/office/drawing/2014/main" id="{5EC69E78-088B-3859-E6BA-7A809A6E24FF}"/>
                  </a:ext>
                </a:extLst>
              </p:cNvPr>
              <p:cNvSpPr/>
              <p:nvPr/>
            </p:nvSpPr>
            <p:spPr>
              <a:xfrm>
                <a:off x="2370423" y="1187548"/>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787878"/>
                </a:solidFill>
                <a:prstDash val="solid"/>
                <a:miter/>
              </a:ln>
            </p:spPr>
            <p:txBody>
              <a:bodyPr rtlCol="0" anchor="ctr"/>
              <a:lstStyle/>
              <a:p>
                <a:endParaRPr lang="en-US" sz="1800" dirty="0"/>
              </a:p>
            </p:txBody>
          </p:sp>
          <p:sp>
            <p:nvSpPr>
              <p:cNvPr id="2781" name="Freeform 636">
                <a:extLst>
                  <a:ext uri="{FF2B5EF4-FFF2-40B4-BE49-F238E27FC236}">
                    <a16:creationId xmlns:a16="http://schemas.microsoft.com/office/drawing/2014/main" id="{E560CBDA-85BB-E4D0-C9CC-405EC66747AA}"/>
                  </a:ext>
                </a:extLst>
              </p:cNvPr>
              <p:cNvSpPr/>
              <p:nvPr/>
            </p:nvSpPr>
            <p:spPr>
              <a:xfrm>
                <a:off x="2399841" y="1159172"/>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787878"/>
                </a:solidFill>
                <a:prstDash val="solid"/>
                <a:miter/>
              </a:ln>
            </p:spPr>
            <p:txBody>
              <a:bodyPr rtlCol="0" anchor="ctr"/>
              <a:lstStyle/>
              <a:p>
                <a:endParaRPr lang="en-US" sz="1800" dirty="0"/>
              </a:p>
            </p:txBody>
          </p:sp>
          <p:sp>
            <p:nvSpPr>
              <p:cNvPr id="2782" name="Freeform 637">
                <a:extLst>
                  <a:ext uri="{FF2B5EF4-FFF2-40B4-BE49-F238E27FC236}">
                    <a16:creationId xmlns:a16="http://schemas.microsoft.com/office/drawing/2014/main" id="{56E76C15-8C13-E0C0-E81D-EF5649E2C701}"/>
                  </a:ext>
                </a:extLst>
              </p:cNvPr>
              <p:cNvSpPr/>
              <p:nvPr/>
            </p:nvSpPr>
            <p:spPr>
              <a:xfrm>
                <a:off x="2370423" y="1187548"/>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787878"/>
                </a:solidFill>
                <a:prstDash val="solid"/>
                <a:miter/>
              </a:ln>
            </p:spPr>
            <p:txBody>
              <a:bodyPr rtlCol="0" anchor="ctr"/>
              <a:lstStyle/>
              <a:p>
                <a:endParaRPr lang="en-US" sz="1800" dirty="0"/>
              </a:p>
            </p:txBody>
          </p:sp>
          <p:sp>
            <p:nvSpPr>
              <p:cNvPr id="2783" name="Freeform 638">
                <a:extLst>
                  <a:ext uri="{FF2B5EF4-FFF2-40B4-BE49-F238E27FC236}">
                    <a16:creationId xmlns:a16="http://schemas.microsoft.com/office/drawing/2014/main" id="{236009C5-F3AE-2E97-9150-E562840920BD}"/>
                  </a:ext>
                </a:extLst>
              </p:cNvPr>
              <p:cNvSpPr/>
              <p:nvPr/>
            </p:nvSpPr>
            <p:spPr>
              <a:xfrm>
                <a:off x="2399841" y="1159172"/>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787878"/>
                </a:solidFill>
                <a:prstDash val="solid"/>
                <a:miter/>
              </a:ln>
            </p:spPr>
            <p:txBody>
              <a:bodyPr rtlCol="0" anchor="ctr"/>
              <a:lstStyle/>
              <a:p>
                <a:endParaRPr lang="en-US" sz="1800" dirty="0"/>
              </a:p>
            </p:txBody>
          </p:sp>
          <p:sp>
            <p:nvSpPr>
              <p:cNvPr id="2784" name="Freeform 639">
                <a:extLst>
                  <a:ext uri="{FF2B5EF4-FFF2-40B4-BE49-F238E27FC236}">
                    <a16:creationId xmlns:a16="http://schemas.microsoft.com/office/drawing/2014/main" id="{5EE2D561-6DF8-E324-B3AC-84451C15A623}"/>
                  </a:ext>
                </a:extLst>
              </p:cNvPr>
              <p:cNvSpPr/>
              <p:nvPr/>
            </p:nvSpPr>
            <p:spPr>
              <a:xfrm>
                <a:off x="2370423" y="1187548"/>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787878"/>
                </a:solidFill>
                <a:prstDash val="solid"/>
                <a:miter/>
              </a:ln>
            </p:spPr>
            <p:txBody>
              <a:bodyPr rtlCol="0" anchor="ctr"/>
              <a:lstStyle/>
              <a:p>
                <a:endParaRPr lang="en-US" sz="1800" dirty="0"/>
              </a:p>
            </p:txBody>
          </p:sp>
          <p:sp>
            <p:nvSpPr>
              <p:cNvPr id="2785" name="Freeform 640">
                <a:extLst>
                  <a:ext uri="{FF2B5EF4-FFF2-40B4-BE49-F238E27FC236}">
                    <a16:creationId xmlns:a16="http://schemas.microsoft.com/office/drawing/2014/main" id="{D6AEF091-483F-8312-4CFD-8A9A3B328F7C}"/>
                  </a:ext>
                </a:extLst>
              </p:cNvPr>
              <p:cNvSpPr/>
              <p:nvPr/>
            </p:nvSpPr>
            <p:spPr>
              <a:xfrm>
                <a:off x="2399841" y="1159172"/>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787878"/>
                </a:solidFill>
                <a:prstDash val="solid"/>
                <a:miter/>
              </a:ln>
            </p:spPr>
            <p:txBody>
              <a:bodyPr rtlCol="0" anchor="ctr"/>
              <a:lstStyle/>
              <a:p>
                <a:endParaRPr lang="en-US" sz="1800" dirty="0"/>
              </a:p>
            </p:txBody>
          </p:sp>
          <p:sp>
            <p:nvSpPr>
              <p:cNvPr id="2786" name="Freeform 641">
                <a:extLst>
                  <a:ext uri="{FF2B5EF4-FFF2-40B4-BE49-F238E27FC236}">
                    <a16:creationId xmlns:a16="http://schemas.microsoft.com/office/drawing/2014/main" id="{2B92B410-4829-AD95-F62F-B2CA2C275FC3}"/>
                  </a:ext>
                </a:extLst>
              </p:cNvPr>
              <p:cNvSpPr/>
              <p:nvPr/>
            </p:nvSpPr>
            <p:spPr>
              <a:xfrm>
                <a:off x="2370423" y="1187548"/>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787878"/>
                </a:solidFill>
                <a:prstDash val="solid"/>
                <a:miter/>
              </a:ln>
            </p:spPr>
            <p:txBody>
              <a:bodyPr rtlCol="0" anchor="ctr"/>
              <a:lstStyle/>
              <a:p>
                <a:endParaRPr lang="en-US" sz="1800" dirty="0"/>
              </a:p>
            </p:txBody>
          </p:sp>
          <p:sp>
            <p:nvSpPr>
              <p:cNvPr id="2787" name="Freeform 642">
                <a:extLst>
                  <a:ext uri="{FF2B5EF4-FFF2-40B4-BE49-F238E27FC236}">
                    <a16:creationId xmlns:a16="http://schemas.microsoft.com/office/drawing/2014/main" id="{6196D159-CE97-4DA3-0371-28F3BB837774}"/>
                  </a:ext>
                </a:extLst>
              </p:cNvPr>
              <p:cNvSpPr/>
              <p:nvPr/>
            </p:nvSpPr>
            <p:spPr>
              <a:xfrm>
                <a:off x="2399841" y="1159172"/>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787878"/>
                </a:solidFill>
                <a:prstDash val="solid"/>
                <a:miter/>
              </a:ln>
            </p:spPr>
            <p:txBody>
              <a:bodyPr rtlCol="0" anchor="ctr"/>
              <a:lstStyle/>
              <a:p>
                <a:endParaRPr lang="en-US" sz="1800" dirty="0"/>
              </a:p>
            </p:txBody>
          </p:sp>
          <p:sp>
            <p:nvSpPr>
              <p:cNvPr id="2788" name="Freeform 643">
                <a:extLst>
                  <a:ext uri="{FF2B5EF4-FFF2-40B4-BE49-F238E27FC236}">
                    <a16:creationId xmlns:a16="http://schemas.microsoft.com/office/drawing/2014/main" id="{7A6EE911-45B4-088B-511F-9885BBC9EB19}"/>
                  </a:ext>
                </a:extLst>
              </p:cNvPr>
              <p:cNvSpPr/>
              <p:nvPr/>
            </p:nvSpPr>
            <p:spPr>
              <a:xfrm>
                <a:off x="2370423" y="1187548"/>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787878"/>
                </a:solidFill>
                <a:prstDash val="solid"/>
                <a:miter/>
              </a:ln>
            </p:spPr>
            <p:txBody>
              <a:bodyPr rtlCol="0" anchor="ctr"/>
              <a:lstStyle/>
              <a:p>
                <a:endParaRPr lang="en-US" sz="1800" dirty="0"/>
              </a:p>
            </p:txBody>
          </p:sp>
          <p:sp>
            <p:nvSpPr>
              <p:cNvPr id="2789" name="Freeform 644">
                <a:extLst>
                  <a:ext uri="{FF2B5EF4-FFF2-40B4-BE49-F238E27FC236}">
                    <a16:creationId xmlns:a16="http://schemas.microsoft.com/office/drawing/2014/main" id="{DDA82517-B636-CDAA-EE14-78124B486323}"/>
                  </a:ext>
                </a:extLst>
              </p:cNvPr>
              <p:cNvSpPr/>
              <p:nvPr/>
            </p:nvSpPr>
            <p:spPr>
              <a:xfrm>
                <a:off x="2399841" y="1159172"/>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787878"/>
                </a:solidFill>
                <a:prstDash val="solid"/>
                <a:miter/>
              </a:ln>
            </p:spPr>
            <p:txBody>
              <a:bodyPr rtlCol="0" anchor="ctr"/>
              <a:lstStyle/>
              <a:p>
                <a:endParaRPr lang="en-US" sz="1800" dirty="0"/>
              </a:p>
            </p:txBody>
          </p:sp>
          <p:sp>
            <p:nvSpPr>
              <p:cNvPr id="2790" name="Freeform 645">
                <a:extLst>
                  <a:ext uri="{FF2B5EF4-FFF2-40B4-BE49-F238E27FC236}">
                    <a16:creationId xmlns:a16="http://schemas.microsoft.com/office/drawing/2014/main" id="{DFE0D402-B041-A327-676E-90A8BD1002B1}"/>
                  </a:ext>
                </a:extLst>
              </p:cNvPr>
              <p:cNvSpPr/>
              <p:nvPr/>
            </p:nvSpPr>
            <p:spPr>
              <a:xfrm>
                <a:off x="2370423" y="1187548"/>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787878"/>
                </a:solidFill>
                <a:prstDash val="solid"/>
                <a:miter/>
              </a:ln>
            </p:spPr>
            <p:txBody>
              <a:bodyPr rtlCol="0" anchor="ctr"/>
              <a:lstStyle/>
              <a:p>
                <a:endParaRPr lang="en-US" sz="1800" dirty="0"/>
              </a:p>
            </p:txBody>
          </p:sp>
          <p:sp>
            <p:nvSpPr>
              <p:cNvPr id="2791" name="Freeform 646">
                <a:extLst>
                  <a:ext uri="{FF2B5EF4-FFF2-40B4-BE49-F238E27FC236}">
                    <a16:creationId xmlns:a16="http://schemas.microsoft.com/office/drawing/2014/main" id="{BD29BF3D-F1BF-E595-660D-469E2FB7BC30}"/>
                  </a:ext>
                </a:extLst>
              </p:cNvPr>
              <p:cNvSpPr/>
              <p:nvPr/>
            </p:nvSpPr>
            <p:spPr>
              <a:xfrm>
                <a:off x="2399841" y="1159172"/>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787878"/>
                </a:solidFill>
                <a:prstDash val="solid"/>
                <a:miter/>
              </a:ln>
            </p:spPr>
            <p:txBody>
              <a:bodyPr rtlCol="0" anchor="ctr"/>
              <a:lstStyle/>
              <a:p>
                <a:endParaRPr lang="en-US" sz="1800" dirty="0"/>
              </a:p>
            </p:txBody>
          </p:sp>
          <p:sp>
            <p:nvSpPr>
              <p:cNvPr id="2792" name="Freeform 647">
                <a:extLst>
                  <a:ext uri="{FF2B5EF4-FFF2-40B4-BE49-F238E27FC236}">
                    <a16:creationId xmlns:a16="http://schemas.microsoft.com/office/drawing/2014/main" id="{EA95497F-8833-CAE9-31D3-5648D496DEA2}"/>
                  </a:ext>
                </a:extLst>
              </p:cNvPr>
              <p:cNvSpPr/>
              <p:nvPr/>
            </p:nvSpPr>
            <p:spPr>
              <a:xfrm>
                <a:off x="2370423" y="1187548"/>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787878"/>
                </a:solidFill>
                <a:prstDash val="solid"/>
                <a:miter/>
              </a:ln>
            </p:spPr>
            <p:txBody>
              <a:bodyPr rtlCol="0" anchor="ctr"/>
              <a:lstStyle/>
              <a:p>
                <a:endParaRPr lang="en-US" sz="1800" dirty="0"/>
              </a:p>
            </p:txBody>
          </p:sp>
          <p:sp>
            <p:nvSpPr>
              <p:cNvPr id="2793" name="Freeform 648">
                <a:extLst>
                  <a:ext uri="{FF2B5EF4-FFF2-40B4-BE49-F238E27FC236}">
                    <a16:creationId xmlns:a16="http://schemas.microsoft.com/office/drawing/2014/main" id="{76D5539C-E609-A43B-2BDE-2A06D7D0529D}"/>
                  </a:ext>
                </a:extLst>
              </p:cNvPr>
              <p:cNvSpPr/>
              <p:nvPr/>
            </p:nvSpPr>
            <p:spPr>
              <a:xfrm>
                <a:off x="2399841" y="1159172"/>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787878"/>
                </a:solidFill>
                <a:prstDash val="solid"/>
                <a:miter/>
              </a:ln>
            </p:spPr>
            <p:txBody>
              <a:bodyPr rtlCol="0" anchor="ctr"/>
              <a:lstStyle/>
              <a:p>
                <a:endParaRPr lang="en-US" sz="1800" dirty="0"/>
              </a:p>
            </p:txBody>
          </p:sp>
          <p:sp>
            <p:nvSpPr>
              <p:cNvPr id="2794" name="Freeform 649">
                <a:extLst>
                  <a:ext uri="{FF2B5EF4-FFF2-40B4-BE49-F238E27FC236}">
                    <a16:creationId xmlns:a16="http://schemas.microsoft.com/office/drawing/2014/main" id="{019D4E69-3B99-3578-4FB9-D055E7D493C8}"/>
                  </a:ext>
                </a:extLst>
              </p:cNvPr>
              <p:cNvSpPr/>
              <p:nvPr/>
            </p:nvSpPr>
            <p:spPr>
              <a:xfrm>
                <a:off x="2370423" y="1187548"/>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787878"/>
                </a:solidFill>
                <a:prstDash val="solid"/>
                <a:miter/>
              </a:ln>
            </p:spPr>
            <p:txBody>
              <a:bodyPr rtlCol="0" anchor="ctr"/>
              <a:lstStyle/>
              <a:p>
                <a:endParaRPr lang="en-US" sz="1800" dirty="0"/>
              </a:p>
            </p:txBody>
          </p:sp>
          <p:sp>
            <p:nvSpPr>
              <p:cNvPr id="2795" name="Freeform 650">
                <a:extLst>
                  <a:ext uri="{FF2B5EF4-FFF2-40B4-BE49-F238E27FC236}">
                    <a16:creationId xmlns:a16="http://schemas.microsoft.com/office/drawing/2014/main" id="{3A2F9F37-9453-2D6D-8C9E-9F53E3DDE509}"/>
                  </a:ext>
                </a:extLst>
              </p:cNvPr>
              <p:cNvSpPr/>
              <p:nvPr/>
            </p:nvSpPr>
            <p:spPr>
              <a:xfrm>
                <a:off x="2399841" y="1159172"/>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787878"/>
                </a:solidFill>
                <a:prstDash val="solid"/>
                <a:miter/>
              </a:ln>
            </p:spPr>
            <p:txBody>
              <a:bodyPr rtlCol="0" anchor="ctr"/>
              <a:lstStyle/>
              <a:p>
                <a:endParaRPr lang="en-US" sz="1800" dirty="0"/>
              </a:p>
            </p:txBody>
          </p:sp>
          <p:sp>
            <p:nvSpPr>
              <p:cNvPr id="2796" name="Freeform 651">
                <a:extLst>
                  <a:ext uri="{FF2B5EF4-FFF2-40B4-BE49-F238E27FC236}">
                    <a16:creationId xmlns:a16="http://schemas.microsoft.com/office/drawing/2014/main" id="{DA05F96E-89CC-2EC3-333B-E3D4089758A8}"/>
                  </a:ext>
                </a:extLst>
              </p:cNvPr>
              <p:cNvSpPr/>
              <p:nvPr/>
            </p:nvSpPr>
            <p:spPr>
              <a:xfrm>
                <a:off x="2370423" y="1187548"/>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787878"/>
                </a:solidFill>
                <a:prstDash val="solid"/>
                <a:miter/>
              </a:ln>
            </p:spPr>
            <p:txBody>
              <a:bodyPr rtlCol="0" anchor="ctr"/>
              <a:lstStyle/>
              <a:p>
                <a:endParaRPr lang="en-US" sz="1800" dirty="0"/>
              </a:p>
            </p:txBody>
          </p:sp>
          <p:sp>
            <p:nvSpPr>
              <p:cNvPr id="2797" name="Freeform 652">
                <a:extLst>
                  <a:ext uri="{FF2B5EF4-FFF2-40B4-BE49-F238E27FC236}">
                    <a16:creationId xmlns:a16="http://schemas.microsoft.com/office/drawing/2014/main" id="{5F8D0385-FE95-86D8-7ED5-65FD2CFB003F}"/>
                  </a:ext>
                </a:extLst>
              </p:cNvPr>
              <p:cNvSpPr/>
              <p:nvPr/>
            </p:nvSpPr>
            <p:spPr>
              <a:xfrm>
                <a:off x="2399841" y="1159172"/>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787878"/>
                </a:solidFill>
                <a:prstDash val="solid"/>
                <a:miter/>
              </a:ln>
            </p:spPr>
            <p:txBody>
              <a:bodyPr rtlCol="0" anchor="ctr"/>
              <a:lstStyle/>
              <a:p>
                <a:endParaRPr lang="en-US" sz="1800" dirty="0"/>
              </a:p>
            </p:txBody>
          </p:sp>
          <p:sp>
            <p:nvSpPr>
              <p:cNvPr id="2798" name="Freeform 653">
                <a:extLst>
                  <a:ext uri="{FF2B5EF4-FFF2-40B4-BE49-F238E27FC236}">
                    <a16:creationId xmlns:a16="http://schemas.microsoft.com/office/drawing/2014/main" id="{6C49CBAC-4661-B454-8EF1-A0AB71A28EC4}"/>
                  </a:ext>
                </a:extLst>
              </p:cNvPr>
              <p:cNvSpPr/>
              <p:nvPr/>
            </p:nvSpPr>
            <p:spPr>
              <a:xfrm>
                <a:off x="2370423" y="1187548"/>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787878"/>
                </a:solidFill>
                <a:prstDash val="solid"/>
                <a:miter/>
              </a:ln>
            </p:spPr>
            <p:txBody>
              <a:bodyPr rtlCol="0" anchor="ctr"/>
              <a:lstStyle/>
              <a:p>
                <a:endParaRPr lang="en-US" sz="1800" dirty="0"/>
              </a:p>
            </p:txBody>
          </p:sp>
          <p:sp>
            <p:nvSpPr>
              <p:cNvPr id="2799" name="Freeform 654">
                <a:extLst>
                  <a:ext uri="{FF2B5EF4-FFF2-40B4-BE49-F238E27FC236}">
                    <a16:creationId xmlns:a16="http://schemas.microsoft.com/office/drawing/2014/main" id="{76D5AD9A-A3E6-14D4-42EB-ABDD9A477BC6}"/>
                  </a:ext>
                </a:extLst>
              </p:cNvPr>
              <p:cNvSpPr/>
              <p:nvPr/>
            </p:nvSpPr>
            <p:spPr>
              <a:xfrm>
                <a:off x="2399841" y="1159172"/>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787878"/>
                </a:solidFill>
                <a:prstDash val="solid"/>
                <a:miter/>
              </a:ln>
            </p:spPr>
            <p:txBody>
              <a:bodyPr rtlCol="0" anchor="ctr"/>
              <a:lstStyle/>
              <a:p>
                <a:endParaRPr lang="en-US" sz="1800" dirty="0"/>
              </a:p>
            </p:txBody>
          </p:sp>
          <p:sp>
            <p:nvSpPr>
              <p:cNvPr id="2800" name="Freeform 655">
                <a:extLst>
                  <a:ext uri="{FF2B5EF4-FFF2-40B4-BE49-F238E27FC236}">
                    <a16:creationId xmlns:a16="http://schemas.microsoft.com/office/drawing/2014/main" id="{7D41CC9E-7862-3053-52D8-4FD46824C09E}"/>
                  </a:ext>
                </a:extLst>
              </p:cNvPr>
              <p:cNvSpPr/>
              <p:nvPr/>
            </p:nvSpPr>
            <p:spPr>
              <a:xfrm>
                <a:off x="2370423" y="1187548"/>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787878"/>
                </a:solidFill>
                <a:prstDash val="solid"/>
                <a:miter/>
              </a:ln>
            </p:spPr>
            <p:txBody>
              <a:bodyPr rtlCol="0" anchor="ctr"/>
              <a:lstStyle/>
              <a:p>
                <a:endParaRPr lang="en-US" sz="1800" dirty="0"/>
              </a:p>
            </p:txBody>
          </p:sp>
          <p:sp>
            <p:nvSpPr>
              <p:cNvPr id="2801" name="Freeform 656">
                <a:extLst>
                  <a:ext uri="{FF2B5EF4-FFF2-40B4-BE49-F238E27FC236}">
                    <a16:creationId xmlns:a16="http://schemas.microsoft.com/office/drawing/2014/main" id="{7837BE14-EFAB-42E0-D937-F1B609EAC811}"/>
                  </a:ext>
                </a:extLst>
              </p:cNvPr>
              <p:cNvSpPr/>
              <p:nvPr/>
            </p:nvSpPr>
            <p:spPr>
              <a:xfrm>
                <a:off x="2399841" y="1159172"/>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787878"/>
                </a:solidFill>
                <a:prstDash val="solid"/>
                <a:miter/>
              </a:ln>
            </p:spPr>
            <p:txBody>
              <a:bodyPr rtlCol="0" anchor="ctr"/>
              <a:lstStyle/>
              <a:p>
                <a:endParaRPr lang="en-US" sz="1800" dirty="0"/>
              </a:p>
            </p:txBody>
          </p:sp>
          <p:sp>
            <p:nvSpPr>
              <p:cNvPr id="2802" name="Freeform 657">
                <a:extLst>
                  <a:ext uri="{FF2B5EF4-FFF2-40B4-BE49-F238E27FC236}">
                    <a16:creationId xmlns:a16="http://schemas.microsoft.com/office/drawing/2014/main" id="{3EAB45F1-9178-BF02-4520-78BEAE593976}"/>
                  </a:ext>
                </a:extLst>
              </p:cNvPr>
              <p:cNvSpPr/>
              <p:nvPr/>
            </p:nvSpPr>
            <p:spPr>
              <a:xfrm>
                <a:off x="2370423" y="1187548"/>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787878"/>
                </a:solidFill>
                <a:prstDash val="solid"/>
                <a:miter/>
              </a:ln>
            </p:spPr>
            <p:txBody>
              <a:bodyPr rtlCol="0" anchor="ctr"/>
              <a:lstStyle/>
              <a:p>
                <a:endParaRPr lang="en-US" sz="1800" dirty="0"/>
              </a:p>
            </p:txBody>
          </p:sp>
          <p:sp>
            <p:nvSpPr>
              <p:cNvPr id="2803" name="Freeform 658">
                <a:extLst>
                  <a:ext uri="{FF2B5EF4-FFF2-40B4-BE49-F238E27FC236}">
                    <a16:creationId xmlns:a16="http://schemas.microsoft.com/office/drawing/2014/main" id="{5A8EACCB-FEF0-BF12-037B-3D825CA76086}"/>
                  </a:ext>
                </a:extLst>
              </p:cNvPr>
              <p:cNvSpPr/>
              <p:nvPr/>
            </p:nvSpPr>
            <p:spPr>
              <a:xfrm>
                <a:off x="2399841" y="1159172"/>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787878"/>
                </a:solidFill>
                <a:prstDash val="solid"/>
                <a:miter/>
              </a:ln>
            </p:spPr>
            <p:txBody>
              <a:bodyPr rtlCol="0" anchor="ctr"/>
              <a:lstStyle/>
              <a:p>
                <a:endParaRPr lang="en-US" sz="1800" dirty="0"/>
              </a:p>
            </p:txBody>
          </p:sp>
          <p:sp>
            <p:nvSpPr>
              <p:cNvPr id="2804" name="Freeform 659">
                <a:extLst>
                  <a:ext uri="{FF2B5EF4-FFF2-40B4-BE49-F238E27FC236}">
                    <a16:creationId xmlns:a16="http://schemas.microsoft.com/office/drawing/2014/main" id="{63B5CADC-2829-3619-AE57-8EE5AD5554F9}"/>
                  </a:ext>
                </a:extLst>
              </p:cNvPr>
              <p:cNvSpPr/>
              <p:nvPr/>
            </p:nvSpPr>
            <p:spPr>
              <a:xfrm>
                <a:off x="2370423" y="1187548"/>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787878"/>
                </a:solidFill>
                <a:prstDash val="solid"/>
                <a:miter/>
              </a:ln>
            </p:spPr>
            <p:txBody>
              <a:bodyPr rtlCol="0" anchor="ctr"/>
              <a:lstStyle/>
              <a:p>
                <a:endParaRPr lang="en-US" sz="1800" dirty="0"/>
              </a:p>
            </p:txBody>
          </p:sp>
          <p:sp>
            <p:nvSpPr>
              <p:cNvPr id="2805" name="Freeform 660">
                <a:extLst>
                  <a:ext uri="{FF2B5EF4-FFF2-40B4-BE49-F238E27FC236}">
                    <a16:creationId xmlns:a16="http://schemas.microsoft.com/office/drawing/2014/main" id="{6B3B9428-9C8D-BE8E-CC23-B69BFF712FB4}"/>
                  </a:ext>
                </a:extLst>
              </p:cNvPr>
              <p:cNvSpPr/>
              <p:nvPr/>
            </p:nvSpPr>
            <p:spPr>
              <a:xfrm>
                <a:off x="2399841" y="1159172"/>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787878"/>
                </a:solidFill>
                <a:prstDash val="solid"/>
                <a:miter/>
              </a:ln>
            </p:spPr>
            <p:txBody>
              <a:bodyPr rtlCol="0" anchor="ctr"/>
              <a:lstStyle/>
              <a:p>
                <a:endParaRPr lang="en-US" sz="1800" dirty="0"/>
              </a:p>
            </p:txBody>
          </p:sp>
          <p:sp>
            <p:nvSpPr>
              <p:cNvPr id="2806" name="Freeform 661">
                <a:extLst>
                  <a:ext uri="{FF2B5EF4-FFF2-40B4-BE49-F238E27FC236}">
                    <a16:creationId xmlns:a16="http://schemas.microsoft.com/office/drawing/2014/main" id="{30607693-B40C-43B8-CAFA-09EB1C20762D}"/>
                  </a:ext>
                </a:extLst>
              </p:cNvPr>
              <p:cNvSpPr/>
              <p:nvPr/>
            </p:nvSpPr>
            <p:spPr>
              <a:xfrm>
                <a:off x="2370423" y="1187548"/>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787878"/>
                </a:solidFill>
                <a:prstDash val="solid"/>
                <a:miter/>
              </a:ln>
            </p:spPr>
            <p:txBody>
              <a:bodyPr rtlCol="0" anchor="ctr"/>
              <a:lstStyle/>
              <a:p>
                <a:endParaRPr lang="en-US" sz="1800" dirty="0"/>
              </a:p>
            </p:txBody>
          </p:sp>
          <p:sp>
            <p:nvSpPr>
              <p:cNvPr id="2807" name="Freeform 662">
                <a:extLst>
                  <a:ext uri="{FF2B5EF4-FFF2-40B4-BE49-F238E27FC236}">
                    <a16:creationId xmlns:a16="http://schemas.microsoft.com/office/drawing/2014/main" id="{6A414BFC-69E0-8668-5322-0BD5E20FC63B}"/>
                  </a:ext>
                </a:extLst>
              </p:cNvPr>
              <p:cNvSpPr/>
              <p:nvPr/>
            </p:nvSpPr>
            <p:spPr>
              <a:xfrm>
                <a:off x="2399841" y="1159172"/>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787878"/>
                </a:solidFill>
                <a:prstDash val="solid"/>
                <a:miter/>
              </a:ln>
            </p:spPr>
            <p:txBody>
              <a:bodyPr rtlCol="0" anchor="ctr"/>
              <a:lstStyle/>
              <a:p>
                <a:endParaRPr lang="en-US" sz="1800" dirty="0"/>
              </a:p>
            </p:txBody>
          </p:sp>
          <p:sp>
            <p:nvSpPr>
              <p:cNvPr id="2808" name="Freeform 663">
                <a:extLst>
                  <a:ext uri="{FF2B5EF4-FFF2-40B4-BE49-F238E27FC236}">
                    <a16:creationId xmlns:a16="http://schemas.microsoft.com/office/drawing/2014/main" id="{38962583-C431-B2CC-85AF-1AAE2127B2D3}"/>
                  </a:ext>
                </a:extLst>
              </p:cNvPr>
              <p:cNvSpPr/>
              <p:nvPr/>
            </p:nvSpPr>
            <p:spPr>
              <a:xfrm>
                <a:off x="2370423" y="1187548"/>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787878"/>
                </a:solidFill>
                <a:prstDash val="solid"/>
                <a:miter/>
              </a:ln>
            </p:spPr>
            <p:txBody>
              <a:bodyPr rtlCol="0" anchor="ctr"/>
              <a:lstStyle/>
              <a:p>
                <a:endParaRPr lang="en-US" sz="1800" dirty="0"/>
              </a:p>
            </p:txBody>
          </p:sp>
          <p:sp>
            <p:nvSpPr>
              <p:cNvPr id="2809" name="Freeform 664">
                <a:extLst>
                  <a:ext uri="{FF2B5EF4-FFF2-40B4-BE49-F238E27FC236}">
                    <a16:creationId xmlns:a16="http://schemas.microsoft.com/office/drawing/2014/main" id="{1604F3F2-6CD9-71E6-D256-8F6517FD6323}"/>
                  </a:ext>
                </a:extLst>
              </p:cNvPr>
              <p:cNvSpPr/>
              <p:nvPr/>
            </p:nvSpPr>
            <p:spPr>
              <a:xfrm>
                <a:off x="2399841" y="1159172"/>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787878"/>
                </a:solidFill>
                <a:prstDash val="solid"/>
                <a:miter/>
              </a:ln>
            </p:spPr>
            <p:txBody>
              <a:bodyPr rtlCol="0" anchor="ctr"/>
              <a:lstStyle/>
              <a:p>
                <a:endParaRPr lang="en-US" sz="1800" dirty="0"/>
              </a:p>
            </p:txBody>
          </p:sp>
          <p:sp>
            <p:nvSpPr>
              <p:cNvPr id="2810" name="Freeform 665">
                <a:extLst>
                  <a:ext uri="{FF2B5EF4-FFF2-40B4-BE49-F238E27FC236}">
                    <a16:creationId xmlns:a16="http://schemas.microsoft.com/office/drawing/2014/main" id="{CFB15801-482A-0012-4613-F9AFE1685CC0}"/>
                  </a:ext>
                </a:extLst>
              </p:cNvPr>
              <p:cNvSpPr/>
              <p:nvPr/>
            </p:nvSpPr>
            <p:spPr>
              <a:xfrm>
                <a:off x="2370423" y="1187548"/>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787878"/>
                </a:solidFill>
                <a:prstDash val="solid"/>
                <a:miter/>
              </a:ln>
            </p:spPr>
            <p:txBody>
              <a:bodyPr rtlCol="0" anchor="ctr"/>
              <a:lstStyle/>
              <a:p>
                <a:endParaRPr lang="en-US" sz="1800" dirty="0"/>
              </a:p>
            </p:txBody>
          </p:sp>
          <p:sp>
            <p:nvSpPr>
              <p:cNvPr id="2811" name="Freeform 666">
                <a:extLst>
                  <a:ext uri="{FF2B5EF4-FFF2-40B4-BE49-F238E27FC236}">
                    <a16:creationId xmlns:a16="http://schemas.microsoft.com/office/drawing/2014/main" id="{5628DBCC-13C1-297D-D48D-198B0346AE4F}"/>
                  </a:ext>
                </a:extLst>
              </p:cNvPr>
              <p:cNvSpPr/>
              <p:nvPr/>
            </p:nvSpPr>
            <p:spPr>
              <a:xfrm>
                <a:off x="2399841" y="1159172"/>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787878"/>
                </a:solidFill>
                <a:prstDash val="solid"/>
                <a:miter/>
              </a:ln>
            </p:spPr>
            <p:txBody>
              <a:bodyPr rtlCol="0" anchor="ctr"/>
              <a:lstStyle/>
              <a:p>
                <a:endParaRPr lang="en-US" sz="1800" dirty="0"/>
              </a:p>
            </p:txBody>
          </p:sp>
          <p:sp>
            <p:nvSpPr>
              <p:cNvPr id="2812" name="Freeform 667">
                <a:extLst>
                  <a:ext uri="{FF2B5EF4-FFF2-40B4-BE49-F238E27FC236}">
                    <a16:creationId xmlns:a16="http://schemas.microsoft.com/office/drawing/2014/main" id="{12837AE8-079F-78E6-4D31-8C3A1A9DD4BC}"/>
                  </a:ext>
                </a:extLst>
              </p:cNvPr>
              <p:cNvSpPr/>
              <p:nvPr/>
            </p:nvSpPr>
            <p:spPr>
              <a:xfrm>
                <a:off x="2370423" y="1187548"/>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787878"/>
                </a:solidFill>
                <a:prstDash val="solid"/>
                <a:miter/>
              </a:ln>
            </p:spPr>
            <p:txBody>
              <a:bodyPr rtlCol="0" anchor="ctr"/>
              <a:lstStyle/>
              <a:p>
                <a:endParaRPr lang="en-US" sz="1800" dirty="0"/>
              </a:p>
            </p:txBody>
          </p:sp>
          <p:sp>
            <p:nvSpPr>
              <p:cNvPr id="2813" name="Freeform 668">
                <a:extLst>
                  <a:ext uri="{FF2B5EF4-FFF2-40B4-BE49-F238E27FC236}">
                    <a16:creationId xmlns:a16="http://schemas.microsoft.com/office/drawing/2014/main" id="{545C16BC-5CD9-AEE0-A1A7-3FEB45BFBAC2}"/>
                  </a:ext>
                </a:extLst>
              </p:cNvPr>
              <p:cNvSpPr/>
              <p:nvPr/>
            </p:nvSpPr>
            <p:spPr>
              <a:xfrm>
                <a:off x="2399841" y="1159172"/>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787878"/>
                </a:solidFill>
                <a:prstDash val="solid"/>
                <a:miter/>
              </a:ln>
            </p:spPr>
            <p:txBody>
              <a:bodyPr rtlCol="0" anchor="ctr"/>
              <a:lstStyle/>
              <a:p>
                <a:endParaRPr lang="en-US" sz="1800" dirty="0"/>
              </a:p>
            </p:txBody>
          </p:sp>
          <p:sp>
            <p:nvSpPr>
              <p:cNvPr id="2814" name="Freeform 669">
                <a:extLst>
                  <a:ext uri="{FF2B5EF4-FFF2-40B4-BE49-F238E27FC236}">
                    <a16:creationId xmlns:a16="http://schemas.microsoft.com/office/drawing/2014/main" id="{F983FEA0-133A-03ED-AE99-F088E3A9B930}"/>
                  </a:ext>
                </a:extLst>
              </p:cNvPr>
              <p:cNvSpPr/>
              <p:nvPr/>
            </p:nvSpPr>
            <p:spPr>
              <a:xfrm>
                <a:off x="2370423" y="1187548"/>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787878"/>
                </a:solidFill>
                <a:prstDash val="solid"/>
                <a:miter/>
              </a:ln>
            </p:spPr>
            <p:txBody>
              <a:bodyPr rtlCol="0" anchor="ctr"/>
              <a:lstStyle/>
              <a:p>
                <a:endParaRPr lang="en-US" sz="1800" dirty="0"/>
              </a:p>
            </p:txBody>
          </p:sp>
          <p:sp>
            <p:nvSpPr>
              <p:cNvPr id="2815" name="Freeform 670">
                <a:extLst>
                  <a:ext uri="{FF2B5EF4-FFF2-40B4-BE49-F238E27FC236}">
                    <a16:creationId xmlns:a16="http://schemas.microsoft.com/office/drawing/2014/main" id="{00AB7B50-CA54-1753-0C2F-9B91CF7CB0F3}"/>
                  </a:ext>
                </a:extLst>
              </p:cNvPr>
              <p:cNvSpPr/>
              <p:nvPr/>
            </p:nvSpPr>
            <p:spPr>
              <a:xfrm>
                <a:off x="2399841" y="1159172"/>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787878"/>
                </a:solidFill>
                <a:prstDash val="solid"/>
                <a:miter/>
              </a:ln>
            </p:spPr>
            <p:txBody>
              <a:bodyPr rtlCol="0" anchor="ctr"/>
              <a:lstStyle/>
              <a:p>
                <a:endParaRPr lang="en-US" sz="1800" dirty="0"/>
              </a:p>
            </p:txBody>
          </p:sp>
          <p:sp>
            <p:nvSpPr>
              <p:cNvPr id="2816" name="Freeform 671">
                <a:extLst>
                  <a:ext uri="{FF2B5EF4-FFF2-40B4-BE49-F238E27FC236}">
                    <a16:creationId xmlns:a16="http://schemas.microsoft.com/office/drawing/2014/main" id="{D0382DF3-D0BD-029B-2387-F2A9A0CCC02D}"/>
                  </a:ext>
                </a:extLst>
              </p:cNvPr>
              <p:cNvSpPr/>
              <p:nvPr/>
            </p:nvSpPr>
            <p:spPr>
              <a:xfrm>
                <a:off x="2370423" y="1187548"/>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787878"/>
                </a:solidFill>
                <a:prstDash val="solid"/>
                <a:miter/>
              </a:ln>
            </p:spPr>
            <p:txBody>
              <a:bodyPr rtlCol="0" anchor="ctr"/>
              <a:lstStyle/>
              <a:p>
                <a:endParaRPr lang="en-US" sz="1800" dirty="0"/>
              </a:p>
            </p:txBody>
          </p:sp>
          <p:sp>
            <p:nvSpPr>
              <p:cNvPr id="2817" name="Freeform 672">
                <a:extLst>
                  <a:ext uri="{FF2B5EF4-FFF2-40B4-BE49-F238E27FC236}">
                    <a16:creationId xmlns:a16="http://schemas.microsoft.com/office/drawing/2014/main" id="{FA266E52-3398-22A7-F3E9-740A1059FA1D}"/>
                  </a:ext>
                </a:extLst>
              </p:cNvPr>
              <p:cNvSpPr/>
              <p:nvPr/>
            </p:nvSpPr>
            <p:spPr>
              <a:xfrm>
                <a:off x="2399841" y="1159172"/>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787878"/>
                </a:solidFill>
                <a:prstDash val="solid"/>
                <a:miter/>
              </a:ln>
            </p:spPr>
            <p:txBody>
              <a:bodyPr rtlCol="0" anchor="ctr"/>
              <a:lstStyle/>
              <a:p>
                <a:endParaRPr lang="en-US" sz="1800" dirty="0"/>
              </a:p>
            </p:txBody>
          </p:sp>
          <p:sp>
            <p:nvSpPr>
              <p:cNvPr id="2818" name="Freeform 673">
                <a:extLst>
                  <a:ext uri="{FF2B5EF4-FFF2-40B4-BE49-F238E27FC236}">
                    <a16:creationId xmlns:a16="http://schemas.microsoft.com/office/drawing/2014/main" id="{E2B872AB-90E6-689E-C66A-55A7EEE23981}"/>
                  </a:ext>
                </a:extLst>
              </p:cNvPr>
              <p:cNvSpPr/>
              <p:nvPr/>
            </p:nvSpPr>
            <p:spPr>
              <a:xfrm>
                <a:off x="2594294" y="1375701"/>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787878"/>
                </a:solidFill>
                <a:prstDash val="solid"/>
                <a:miter/>
              </a:ln>
            </p:spPr>
            <p:txBody>
              <a:bodyPr rtlCol="0" anchor="ctr"/>
              <a:lstStyle/>
              <a:p>
                <a:endParaRPr lang="en-US" sz="1800" dirty="0"/>
              </a:p>
            </p:txBody>
          </p:sp>
          <p:sp>
            <p:nvSpPr>
              <p:cNvPr id="2819" name="Freeform 674">
                <a:extLst>
                  <a:ext uri="{FF2B5EF4-FFF2-40B4-BE49-F238E27FC236}">
                    <a16:creationId xmlns:a16="http://schemas.microsoft.com/office/drawing/2014/main" id="{5502815E-12F9-3C6F-395E-38B7C2988D20}"/>
                  </a:ext>
                </a:extLst>
              </p:cNvPr>
              <p:cNvSpPr/>
              <p:nvPr/>
            </p:nvSpPr>
            <p:spPr>
              <a:xfrm>
                <a:off x="2623711" y="1347325"/>
                <a:ext cx="17647" cy="56735"/>
              </a:xfrm>
              <a:custGeom>
                <a:avLst/>
                <a:gdLst>
                  <a:gd name="connsiteX0" fmla="*/ 0 w 17647"/>
                  <a:gd name="connsiteY0" fmla="*/ 0 h 56735"/>
                  <a:gd name="connsiteX1" fmla="*/ 0 w 17647"/>
                  <a:gd name="connsiteY1" fmla="*/ 56735 h 56735"/>
                </a:gdLst>
                <a:ahLst/>
                <a:cxnLst>
                  <a:cxn ang="0">
                    <a:pos x="connsiteX0" y="connsiteY0"/>
                  </a:cxn>
                  <a:cxn ang="0">
                    <a:pos x="connsiteX1" y="connsiteY1"/>
                  </a:cxn>
                </a:cxnLst>
                <a:rect l="l" t="t" r="r" b="b"/>
                <a:pathLst>
                  <a:path w="17647" h="56735">
                    <a:moveTo>
                      <a:pt x="0" y="0"/>
                    </a:moveTo>
                    <a:lnTo>
                      <a:pt x="0" y="56735"/>
                    </a:lnTo>
                  </a:path>
                </a:pathLst>
              </a:custGeom>
              <a:ln w="9624" cap="sq">
                <a:solidFill>
                  <a:srgbClr val="787878"/>
                </a:solidFill>
                <a:prstDash val="solid"/>
                <a:miter/>
              </a:ln>
            </p:spPr>
            <p:txBody>
              <a:bodyPr rtlCol="0" anchor="ctr"/>
              <a:lstStyle/>
              <a:p>
                <a:endParaRPr lang="en-US" sz="1800" dirty="0"/>
              </a:p>
            </p:txBody>
          </p:sp>
          <p:sp>
            <p:nvSpPr>
              <p:cNvPr id="2820" name="Freeform 675">
                <a:extLst>
                  <a:ext uri="{FF2B5EF4-FFF2-40B4-BE49-F238E27FC236}">
                    <a16:creationId xmlns:a16="http://schemas.microsoft.com/office/drawing/2014/main" id="{8BA657CD-4AF2-0439-EB20-5036DC2CB0D3}"/>
                  </a:ext>
                </a:extLst>
              </p:cNvPr>
              <p:cNvSpPr/>
              <p:nvPr/>
            </p:nvSpPr>
            <p:spPr>
              <a:xfrm>
                <a:off x="2600188" y="1375701"/>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787878"/>
                </a:solidFill>
                <a:prstDash val="solid"/>
                <a:miter/>
              </a:ln>
            </p:spPr>
            <p:txBody>
              <a:bodyPr rtlCol="0" anchor="ctr"/>
              <a:lstStyle/>
              <a:p>
                <a:endParaRPr lang="en-US" sz="1800" dirty="0"/>
              </a:p>
            </p:txBody>
          </p:sp>
          <p:sp>
            <p:nvSpPr>
              <p:cNvPr id="2821" name="Freeform 676">
                <a:extLst>
                  <a:ext uri="{FF2B5EF4-FFF2-40B4-BE49-F238E27FC236}">
                    <a16:creationId xmlns:a16="http://schemas.microsoft.com/office/drawing/2014/main" id="{47CB80D4-26FA-28D9-A768-CEBDCAB1938A}"/>
                  </a:ext>
                </a:extLst>
              </p:cNvPr>
              <p:cNvSpPr/>
              <p:nvPr/>
            </p:nvSpPr>
            <p:spPr>
              <a:xfrm>
                <a:off x="2629605" y="1347325"/>
                <a:ext cx="17647" cy="56735"/>
              </a:xfrm>
              <a:custGeom>
                <a:avLst/>
                <a:gdLst>
                  <a:gd name="connsiteX0" fmla="*/ 0 w 17647"/>
                  <a:gd name="connsiteY0" fmla="*/ 0 h 56735"/>
                  <a:gd name="connsiteX1" fmla="*/ 0 w 17647"/>
                  <a:gd name="connsiteY1" fmla="*/ 56735 h 56735"/>
                </a:gdLst>
                <a:ahLst/>
                <a:cxnLst>
                  <a:cxn ang="0">
                    <a:pos x="connsiteX0" y="connsiteY0"/>
                  </a:cxn>
                  <a:cxn ang="0">
                    <a:pos x="connsiteX1" y="connsiteY1"/>
                  </a:cxn>
                </a:cxnLst>
                <a:rect l="l" t="t" r="r" b="b"/>
                <a:pathLst>
                  <a:path w="17647" h="56735">
                    <a:moveTo>
                      <a:pt x="0" y="0"/>
                    </a:moveTo>
                    <a:lnTo>
                      <a:pt x="0" y="56735"/>
                    </a:lnTo>
                  </a:path>
                </a:pathLst>
              </a:custGeom>
              <a:ln w="9624" cap="sq">
                <a:solidFill>
                  <a:srgbClr val="787878"/>
                </a:solidFill>
                <a:prstDash val="solid"/>
                <a:miter/>
              </a:ln>
            </p:spPr>
            <p:txBody>
              <a:bodyPr rtlCol="0" anchor="ctr"/>
              <a:lstStyle/>
              <a:p>
                <a:endParaRPr lang="en-US" sz="1800" dirty="0"/>
              </a:p>
            </p:txBody>
          </p:sp>
          <p:sp>
            <p:nvSpPr>
              <p:cNvPr id="2822" name="Freeform 677">
                <a:extLst>
                  <a:ext uri="{FF2B5EF4-FFF2-40B4-BE49-F238E27FC236}">
                    <a16:creationId xmlns:a16="http://schemas.microsoft.com/office/drawing/2014/main" id="{EC2DA5EA-8C2D-18BD-B220-93D7F6C9C93B}"/>
                  </a:ext>
                </a:extLst>
              </p:cNvPr>
              <p:cNvSpPr/>
              <p:nvPr/>
            </p:nvSpPr>
            <p:spPr>
              <a:xfrm>
                <a:off x="2600188" y="1375701"/>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787878"/>
                </a:solidFill>
                <a:prstDash val="solid"/>
                <a:miter/>
              </a:ln>
            </p:spPr>
            <p:txBody>
              <a:bodyPr rtlCol="0" anchor="ctr"/>
              <a:lstStyle/>
              <a:p>
                <a:endParaRPr lang="en-US" sz="1800" dirty="0"/>
              </a:p>
            </p:txBody>
          </p:sp>
          <p:sp>
            <p:nvSpPr>
              <p:cNvPr id="2823" name="Freeform 678">
                <a:extLst>
                  <a:ext uri="{FF2B5EF4-FFF2-40B4-BE49-F238E27FC236}">
                    <a16:creationId xmlns:a16="http://schemas.microsoft.com/office/drawing/2014/main" id="{6FF5B8D1-98D1-DB19-898A-68EED40A5EB2}"/>
                  </a:ext>
                </a:extLst>
              </p:cNvPr>
              <p:cNvSpPr/>
              <p:nvPr/>
            </p:nvSpPr>
            <p:spPr>
              <a:xfrm>
                <a:off x="2629605" y="1347325"/>
                <a:ext cx="17647" cy="56735"/>
              </a:xfrm>
              <a:custGeom>
                <a:avLst/>
                <a:gdLst>
                  <a:gd name="connsiteX0" fmla="*/ 0 w 17647"/>
                  <a:gd name="connsiteY0" fmla="*/ 0 h 56735"/>
                  <a:gd name="connsiteX1" fmla="*/ 0 w 17647"/>
                  <a:gd name="connsiteY1" fmla="*/ 56735 h 56735"/>
                </a:gdLst>
                <a:ahLst/>
                <a:cxnLst>
                  <a:cxn ang="0">
                    <a:pos x="connsiteX0" y="connsiteY0"/>
                  </a:cxn>
                  <a:cxn ang="0">
                    <a:pos x="connsiteX1" y="connsiteY1"/>
                  </a:cxn>
                </a:cxnLst>
                <a:rect l="l" t="t" r="r" b="b"/>
                <a:pathLst>
                  <a:path w="17647" h="56735">
                    <a:moveTo>
                      <a:pt x="0" y="0"/>
                    </a:moveTo>
                    <a:lnTo>
                      <a:pt x="0" y="56735"/>
                    </a:lnTo>
                  </a:path>
                </a:pathLst>
              </a:custGeom>
              <a:ln w="9624" cap="sq">
                <a:solidFill>
                  <a:srgbClr val="787878"/>
                </a:solidFill>
                <a:prstDash val="solid"/>
                <a:miter/>
              </a:ln>
            </p:spPr>
            <p:txBody>
              <a:bodyPr rtlCol="0" anchor="ctr"/>
              <a:lstStyle/>
              <a:p>
                <a:endParaRPr lang="en-US" sz="1800" dirty="0"/>
              </a:p>
            </p:txBody>
          </p:sp>
          <p:sp>
            <p:nvSpPr>
              <p:cNvPr id="2824" name="Freeform 679">
                <a:extLst>
                  <a:ext uri="{FF2B5EF4-FFF2-40B4-BE49-F238E27FC236}">
                    <a16:creationId xmlns:a16="http://schemas.microsoft.com/office/drawing/2014/main" id="{8A4D40E8-8F90-BE30-AF62-971B26688B15}"/>
                  </a:ext>
                </a:extLst>
              </p:cNvPr>
              <p:cNvSpPr/>
              <p:nvPr/>
            </p:nvSpPr>
            <p:spPr>
              <a:xfrm>
                <a:off x="2623746" y="1586407"/>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787878"/>
                </a:solidFill>
                <a:prstDash val="solid"/>
                <a:miter/>
              </a:ln>
            </p:spPr>
            <p:txBody>
              <a:bodyPr rtlCol="0" anchor="ctr"/>
              <a:lstStyle/>
              <a:p>
                <a:endParaRPr lang="en-US" sz="1800" dirty="0"/>
              </a:p>
            </p:txBody>
          </p:sp>
          <p:sp>
            <p:nvSpPr>
              <p:cNvPr id="2825" name="Freeform 680">
                <a:extLst>
                  <a:ext uri="{FF2B5EF4-FFF2-40B4-BE49-F238E27FC236}">
                    <a16:creationId xmlns:a16="http://schemas.microsoft.com/office/drawing/2014/main" id="{EF176310-4218-1EA6-6712-2AF57D1D498B}"/>
                  </a:ext>
                </a:extLst>
              </p:cNvPr>
              <p:cNvSpPr/>
              <p:nvPr/>
            </p:nvSpPr>
            <p:spPr>
              <a:xfrm>
                <a:off x="2653164" y="1558030"/>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787878"/>
                </a:solidFill>
                <a:prstDash val="solid"/>
                <a:miter/>
              </a:ln>
            </p:spPr>
            <p:txBody>
              <a:bodyPr rtlCol="0" anchor="ctr"/>
              <a:lstStyle/>
              <a:p>
                <a:endParaRPr lang="en-US" sz="1800" dirty="0"/>
              </a:p>
            </p:txBody>
          </p:sp>
          <p:sp>
            <p:nvSpPr>
              <p:cNvPr id="2826" name="Freeform 681">
                <a:extLst>
                  <a:ext uri="{FF2B5EF4-FFF2-40B4-BE49-F238E27FC236}">
                    <a16:creationId xmlns:a16="http://schemas.microsoft.com/office/drawing/2014/main" id="{0945909C-4F32-8307-3203-F093B569AB3E}"/>
                  </a:ext>
                </a:extLst>
              </p:cNvPr>
              <p:cNvSpPr/>
              <p:nvPr/>
            </p:nvSpPr>
            <p:spPr>
              <a:xfrm>
                <a:off x="2629641" y="1586407"/>
                <a:ext cx="58852" cy="17647"/>
              </a:xfrm>
              <a:custGeom>
                <a:avLst/>
                <a:gdLst>
                  <a:gd name="connsiteX0" fmla="*/ 0 w 58852"/>
                  <a:gd name="connsiteY0" fmla="*/ 0 h 17647"/>
                  <a:gd name="connsiteX1" fmla="*/ 58853 w 58852"/>
                  <a:gd name="connsiteY1" fmla="*/ 0 h 17647"/>
                </a:gdLst>
                <a:ahLst/>
                <a:cxnLst>
                  <a:cxn ang="0">
                    <a:pos x="connsiteX0" y="connsiteY0"/>
                  </a:cxn>
                  <a:cxn ang="0">
                    <a:pos x="connsiteX1" y="connsiteY1"/>
                  </a:cxn>
                </a:cxnLst>
                <a:rect l="l" t="t" r="r" b="b"/>
                <a:pathLst>
                  <a:path w="58852" h="17647">
                    <a:moveTo>
                      <a:pt x="0" y="0"/>
                    </a:moveTo>
                    <a:lnTo>
                      <a:pt x="58853" y="0"/>
                    </a:lnTo>
                  </a:path>
                </a:pathLst>
              </a:custGeom>
              <a:ln w="9624" cap="sq">
                <a:solidFill>
                  <a:srgbClr val="787878"/>
                </a:solidFill>
                <a:prstDash val="solid"/>
                <a:miter/>
              </a:ln>
            </p:spPr>
            <p:txBody>
              <a:bodyPr rtlCol="0" anchor="ctr"/>
              <a:lstStyle/>
              <a:p>
                <a:endParaRPr lang="en-US" sz="1800" dirty="0"/>
              </a:p>
            </p:txBody>
          </p:sp>
          <p:sp>
            <p:nvSpPr>
              <p:cNvPr id="2827" name="Freeform 682">
                <a:extLst>
                  <a:ext uri="{FF2B5EF4-FFF2-40B4-BE49-F238E27FC236}">
                    <a16:creationId xmlns:a16="http://schemas.microsoft.com/office/drawing/2014/main" id="{DA1A4208-014F-D057-8AC9-783A563E6AB9}"/>
                  </a:ext>
                </a:extLst>
              </p:cNvPr>
              <p:cNvSpPr/>
              <p:nvPr/>
            </p:nvSpPr>
            <p:spPr>
              <a:xfrm>
                <a:off x="2659058" y="1558030"/>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787878"/>
                </a:solidFill>
                <a:prstDash val="solid"/>
                <a:miter/>
              </a:ln>
            </p:spPr>
            <p:txBody>
              <a:bodyPr rtlCol="0" anchor="ctr"/>
              <a:lstStyle/>
              <a:p>
                <a:endParaRPr lang="en-US" sz="1800" dirty="0"/>
              </a:p>
            </p:txBody>
          </p:sp>
          <p:sp>
            <p:nvSpPr>
              <p:cNvPr id="2828" name="Freeform 683">
                <a:extLst>
                  <a:ext uri="{FF2B5EF4-FFF2-40B4-BE49-F238E27FC236}">
                    <a16:creationId xmlns:a16="http://schemas.microsoft.com/office/drawing/2014/main" id="{ED91ACF2-E7CB-6F1A-8E39-1BA718AEE1F0}"/>
                  </a:ext>
                </a:extLst>
              </p:cNvPr>
              <p:cNvSpPr/>
              <p:nvPr/>
            </p:nvSpPr>
            <p:spPr>
              <a:xfrm>
                <a:off x="2629641" y="1586407"/>
                <a:ext cx="58852" cy="17647"/>
              </a:xfrm>
              <a:custGeom>
                <a:avLst/>
                <a:gdLst>
                  <a:gd name="connsiteX0" fmla="*/ 0 w 58852"/>
                  <a:gd name="connsiteY0" fmla="*/ 0 h 17647"/>
                  <a:gd name="connsiteX1" fmla="*/ 58853 w 58852"/>
                  <a:gd name="connsiteY1" fmla="*/ 0 h 17647"/>
                </a:gdLst>
                <a:ahLst/>
                <a:cxnLst>
                  <a:cxn ang="0">
                    <a:pos x="connsiteX0" y="connsiteY0"/>
                  </a:cxn>
                  <a:cxn ang="0">
                    <a:pos x="connsiteX1" y="connsiteY1"/>
                  </a:cxn>
                </a:cxnLst>
                <a:rect l="l" t="t" r="r" b="b"/>
                <a:pathLst>
                  <a:path w="58852" h="17647">
                    <a:moveTo>
                      <a:pt x="0" y="0"/>
                    </a:moveTo>
                    <a:lnTo>
                      <a:pt x="58853" y="0"/>
                    </a:lnTo>
                  </a:path>
                </a:pathLst>
              </a:custGeom>
              <a:ln w="9624" cap="sq">
                <a:solidFill>
                  <a:srgbClr val="787878"/>
                </a:solidFill>
                <a:prstDash val="solid"/>
                <a:miter/>
              </a:ln>
            </p:spPr>
            <p:txBody>
              <a:bodyPr rtlCol="0" anchor="ctr"/>
              <a:lstStyle/>
              <a:p>
                <a:endParaRPr lang="en-US" sz="1800" dirty="0"/>
              </a:p>
            </p:txBody>
          </p:sp>
          <p:sp>
            <p:nvSpPr>
              <p:cNvPr id="2829" name="Freeform 684">
                <a:extLst>
                  <a:ext uri="{FF2B5EF4-FFF2-40B4-BE49-F238E27FC236}">
                    <a16:creationId xmlns:a16="http://schemas.microsoft.com/office/drawing/2014/main" id="{C3EB1917-A5B9-4FF5-6666-C6B08571D962}"/>
                  </a:ext>
                </a:extLst>
              </p:cNvPr>
              <p:cNvSpPr/>
              <p:nvPr/>
            </p:nvSpPr>
            <p:spPr>
              <a:xfrm>
                <a:off x="2659058" y="1558030"/>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787878"/>
                </a:solidFill>
                <a:prstDash val="solid"/>
                <a:miter/>
              </a:ln>
            </p:spPr>
            <p:txBody>
              <a:bodyPr rtlCol="0" anchor="ctr"/>
              <a:lstStyle/>
              <a:p>
                <a:endParaRPr lang="en-US" sz="1800" dirty="0"/>
              </a:p>
            </p:txBody>
          </p:sp>
          <p:sp>
            <p:nvSpPr>
              <p:cNvPr id="2830" name="Freeform 685">
                <a:extLst>
                  <a:ext uri="{FF2B5EF4-FFF2-40B4-BE49-F238E27FC236}">
                    <a16:creationId xmlns:a16="http://schemas.microsoft.com/office/drawing/2014/main" id="{6E6AD8E4-80E2-7AF0-D3DF-612ECF82E6DB}"/>
                  </a:ext>
                </a:extLst>
              </p:cNvPr>
              <p:cNvSpPr/>
              <p:nvPr/>
            </p:nvSpPr>
            <p:spPr>
              <a:xfrm>
                <a:off x="2641429" y="1586407"/>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787878"/>
                </a:solidFill>
                <a:prstDash val="solid"/>
                <a:miter/>
              </a:ln>
            </p:spPr>
            <p:txBody>
              <a:bodyPr rtlCol="0" anchor="ctr"/>
              <a:lstStyle/>
              <a:p>
                <a:endParaRPr lang="en-US" sz="1800" dirty="0"/>
              </a:p>
            </p:txBody>
          </p:sp>
          <p:sp>
            <p:nvSpPr>
              <p:cNvPr id="2831" name="Freeform 686">
                <a:extLst>
                  <a:ext uri="{FF2B5EF4-FFF2-40B4-BE49-F238E27FC236}">
                    <a16:creationId xmlns:a16="http://schemas.microsoft.com/office/drawing/2014/main" id="{01CF012B-9DE5-E428-3FDD-D8C21996487B}"/>
                  </a:ext>
                </a:extLst>
              </p:cNvPr>
              <p:cNvSpPr/>
              <p:nvPr/>
            </p:nvSpPr>
            <p:spPr>
              <a:xfrm>
                <a:off x="2670846" y="1558030"/>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787878"/>
                </a:solidFill>
                <a:prstDash val="solid"/>
                <a:miter/>
              </a:ln>
            </p:spPr>
            <p:txBody>
              <a:bodyPr rtlCol="0" anchor="ctr"/>
              <a:lstStyle/>
              <a:p>
                <a:endParaRPr lang="en-US" sz="1800" dirty="0"/>
              </a:p>
            </p:txBody>
          </p:sp>
          <p:sp>
            <p:nvSpPr>
              <p:cNvPr id="2832" name="Freeform 687">
                <a:extLst>
                  <a:ext uri="{FF2B5EF4-FFF2-40B4-BE49-F238E27FC236}">
                    <a16:creationId xmlns:a16="http://schemas.microsoft.com/office/drawing/2014/main" id="{AC279E8E-ADC4-EDAD-53D9-8F0DEE60C51D}"/>
                  </a:ext>
                </a:extLst>
              </p:cNvPr>
              <p:cNvSpPr/>
              <p:nvPr/>
            </p:nvSpPr>
            <p:spPr>
              <a:xfrm>
                <a:off x="2664988" y="1625636"/>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787878"/>
                </a:solidFill>
                <a:prstDash val="solid"/>
                <a:miter/>
              </a:ln>
            </p:spPr>
            <p:txBody>
              <a:bodyPr rtlCol="0" anchor="ctr"/>
              <a:lstStyle/>
              <a:p>
                <a:endParaRPr lang="en-US" sz="1800" dirty="0"/>
              </a:p>
            </p:txBody>
          </p:sp>
          <p:sp>
            <p:nvSpPr>
              <p:cNvPr id="2833" name="Freeform 688">
                <a:extLst>
                  <a:ext uri="{FF2B5EF4-FFF2-40B4-BE49-F238E27FC236}">
                    <a16:creationId xmlns:a16="http://schemas.microsoft.com/office/drawing/2014/main" id="{364E3D6D-CA5B-4059-8C27-BBC1FA7CBEB2}"/>
                  </a:ext>
                </a:extLst>
              </p:cNvPr>
              <p:cNvSpPr/>
              <p:nvPr/>
            </p:nvSpPr>
            <p:spPr>
              <a:xfrm>
                <a:off x="2694405" y="1597259"/>
                <a:ext cx="17647" cy="56735"/>
              </a:xfrm>
              <a:custGeom>
                <a:avLst/>
                <a:gdLst>
                  <a:gd name="connsiteX0" fmla="*/ 0 w 17647"/>
                  <a:gd name="connsiteY0" fmla="*/ 0 h 56735"/>
                  <a:gd name="connsiteX1" fmla="*/ 0 w 17647"/>
                  <a:gd name="connsiteY1" fmla="*/ 56735 h 56735"/>
                </a:gdLst>
                <a:ahLst/>
                <a:cxnLst>
                  <a:cxn ang="0">
                    <a:pos x="connsiteX0" y="connsiteY0"/>
                  </a:cxn>
                  <a:cxn ang="0">
                    <a:pos x="connsiteX1" y="connsiteY1"/>
                  </a:cxn>
                </a:cxnLst>
                <a:rect l="l" t="t" r="r" b="b"/>
                <a:pathLst>
                  <a:path w="17647" h="56735">
                    <a:moveTo>
                      <a:pt x="0" y="0"/>
                    </a:moveTo>
                    <a:lnTo>
                      <a:pt x="0" y="56735"/>
                    </a:lnTo>
                  </a:path>
                </a:pathLst>
              </a:custGeom>
              <a:ln w="9624" cap="sq">
                <a:solidFill>
                  <a:srgbClr val="787878"/>
                </a:solidFill>
                <a:prstDash val="solid"/>
                <a:miter/>
              </a:ln>
            </p:spPr>
            <p:txBody>
              <a:bodyPr rtlCol="0" anchor="ctr"/>
              <a:lstStyle/>
              <a:p>
                <a:endParaRPr lang="en-US" sz="1800" dirty="0"/>
              </a:p>
            </p:txBody>
          </p:sp>
          <p:sp>
            <p:nvSpPr>
              <p:cNvPr id="2834" name="Freeform 689">
                <a:extLst>
                  <a:ext uri="{FF2B5EF4-FFF2-40B4-BE49-F238E27FC236}">
                    <a16:creationId xmlns:a16="http://schemas.microsoft.com/office/drawing/2014/main" id="{68630235-83D8-04A4-4662-D3790EE1B5B2}"/>
                  </a:ext>
                </a:extLst>
              </p:cNvPr>
              <p:cNvSpPr/>
              <p:nvPr/>
            </p:nvSpPr>
            <p:spPr>
              <a:xfrm>
                <a:off x="2670882" y="1625636"/>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787878"/>
                </a:solidFill>
                <a:prstDash val="solid"/>
                <a:miter/>
              </a:ln>
            </p:spPr>
            <p:txBody>
              <a:bodyPr rtlCol="0" anchor="ctr"/>
              <a:lstStyle/>
              <a:p>
                <a:endParaRPr lang="en-US" sz="1800" dirty="0"/>
              </a:p>
            </p:txBody>
          </p:sp>
          <p:sp>
            <p:nvSpPr>
              <p:cNvPr id="2835" name="Freeform 690">
                <a:extLst>
                  <a:ext uri="{FF2B5EF4-FFF2-40B4-BE49-F238E27FC236}">
                    <a16:creationId xmlns:a16="http://schemas.microsoft.com/office/drawing/2014/main" id="{64152634-4A82-217C-6F64-F54D03C2DB93}"/>
                  </a:ext>
                </a:extLst>
              </p:cNvPr>
              <p:cNvSpPr/>
              <p:nvPr/>
            </p:nvSpPr>
            <p:spPr>
              <a:xfrm>
                <a:off x="2700299" y="1597259"/>
                <a:ext cx="17647" cy="56735"/>
              </a:xfrm>
              <a:custGeom>
                <a:avLst/>
                <a:gdLst>
                  <a:gd name="connsiteX0" fmla="*/ 0 w 17647"/>
                  <a:gd name="connsiteY0" fmla="*/ 0 h 56735"/>
                  <a:gd name="connsiteX1" fmla="*/ 0 w 17647"/>
                  <a:gd name="connsiteY1" fmla="*/ 56735 h 56735"/>
                </a:gdLst>
                <a:ahLst/>
                <a:cxnLst>
                  <a:cxn ang="0">
                    <a:pos x="connsiteX0" y="connsiteY0"/>
                  </a:cxn>
                  <a:cxn ang="0">
                    <a:pos x="connsiteX1" y="connsiteY1"/>
                  </a:cxn>
                </a:cxnLst>
                <a:rect l="l" t="t" r="r" b="b"/>
                <a:pathLst>
                  <a:path w="17647" h="56735">
                    <a:moveTo>
                      <a:pt x="0" y="0"/>
                    </a:moveTo>
                    <a:lnTo>
                      <a:pt x="0" y="56735"/>
                    </a:lnTo>
                  </a:path>
                </a:pathLst>
              </a:custGeom>
              <a:ln w="9624" cap="sq">
                <a:solidFill>
                  <a:srgbClr val="787878"/>
                </a:solidFill>
                <a:prstDash val="solid"/>
                <a:miter/>
              </a:ln>
            </p:spPr>
            <p:txBody>
              <a:bodyPr rtlCol="0" anchor="ctr"/>
              <a:lstStyle/>
              <a:p>
                <a:endParaRPr lang="en-US" sz="1800" dirty="0"/>
              </a:p>
            </p:txBody>
          </p:sp>
          <p:sp>
            <p:nvSpPr>
              <p:cNvPr id="2836" name="Freeform 691">
                <a:extLst>
                  <a:ext uri="{FF2B5EF4-FFF2-40B4-BE49-F238E27FC236}">
                    <a16:creationId xmlns:a16="http://schemas.microsoft.com/office/drawing/2014/main" id="{3DD32504-910E-0672-249C-ADB44A52450C}"/>
                  </a:ext>
                </a:extLst>
              </p:cNvPr>
              <p:cNvSpPr/>
              <p:nvPr/>
            </p:nvSpPr>
            <p:spPr>
              <a:xfrm>
                <a:off x="2682670" y="1665483"/>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787878"/>
                </a:solidFill>
                <a:prstDash val="solid"/>
                <a:miter/>
              </a:ln>
            </p:spPr>
            <p:txBody>
              <a:bodyPr rtlCol="0" anchor="ctr"/>
              <a:lstStyle/>
              <a:p>
                <a:endParaRPr lang="en-US" sz="1800" dirty="0"/>
              </a:p>
            </p:txBody>
          </p:sp>
          <p:sp>
            <p:nvSpPr>
              <p:cNvPr id="2837" name="Freeform 692">
                <a:extLst>
                  <a:ext uri="{FF2B5EF4-FFF2-40B4-BE49-F238E27FC236}">
                    <a16:creationId xmlns:a16="http://schemas.microsoft.com/office/drawing/2014/main" id="{5822BB57-B548-32A6-5DA2-9DB798B699EF}"/>
                  </a:ext>
                </a:extLst>
              </p:cNvPr>
              <p:cNvSpPr/>
              <p:nvPr/>
            </p:nvSpPr>
            <p:spPr>
              <a:xfrm>
                <a:off x="2712087" y="1637106"/>
                <a:ext cx="17647" cy="56735"/>
              </a:xfrm>
              <a:custGeom>
                <a:avLst/>
                <a:gdLst>
                  <a:gd name="connsiteX0" fmla="*/ 0 w 17647"/>
                  <a:gd name="connsiteY0" fmla="*/ 0 h 56735"/>
                  <a:gd name="connsiteX1" fmla="*/ 0 w 17647"/>
                  <a:gd name="connsiteY1" fmla="*/ 56735 h 56735"/>
                </a:gdLst>
                <a:ahLst/>
                <a:cxnLst>
                  <a:cxn ang="0">
                    <a:pos x="connsiteX0" y="connsiteY0"/>
                  </a:cxn>
                  <a:cxn ang="0">
                    <a:pos x="connsiteX1" y="connsiteY1"/>
                  </a:cxn>
                </a:cxnLst>
                <a:rect l="l" t="t" r="r" b="b"/>
                <a:pathLst>
                  <a:path w="17647" h="56735">
                    <a:moveTo>
                      <a:pt x="0" y="0"/>
                    </a:moveTo>
                    <a:lnTo>
                      <a:pt x="0" y="56735"/>
                    </a:lnTo>
                  </a:path>
                </a:pathLst>
              </a:custGeom>
              <a:ln w="9624" cap="sq">
                <a:solidFill>
                  <a:srgbClr val="787878"/>
                </a:solidFill>
                <a:prstDash val="solid"/>
                <a:miter/>
              </a:ln>
            </p:spPr>
            <p:txBody>
              <a:bodyPr rtlCol="0" anchor="ctr"/>
              <a:lstStyle/>
              <a:p>
                <a:endParaRPr lang="en-US" sz="1800" dirty="0"/>
              </a:p>
            </p:txBody>
          </p:sp>
          <p:sp>
            <p:nvSpPr>
              <p:cNvPr id="2838" name="Freeform 693">
                <a:extLst>
                  <a:ext uri="{FF2B5EF4-FFF2-40B4-BE49-F238E27FC236}">
                    <a16:creationId xmlns:a16="http://schemas.microsoft.com/office/drawing/2014/main" id="{7DC673E3-FCAE-743D-201E-8D2DB266274D}"/>
                  </a:ext>
                </a:extLst>
              </p:cNvPr>
              <p:cNvSpPr/>
              <p:nvPr/>
            </p:nvSpPr>
            <p:spPr>
              <a:xfrm>
                <a:off x="2753346" y="1685530"/>
                <a:ext cx="58852" cy="17647"/>
              </a:xfrm>
              <a:custGeom>
                <a:avLst/>
                <a:gdLst>
                  <a:gd name="connsiteX0" fmla="*/ 0 w 58852"/>
                  <a:gd name="connsiteY0" fmla="*/ 0 h 17647"/>
                  <a:gd name="connsiteX1" fmla="*/ 58853 w 58852"/>
                  <a:gd name="connsiteY1" fmla="*/ 0 h 17647"/>
                </a:gdLst>
                <a:ahLst/>
                <a:cxnLst>
                  <a:cxn ang="0">
                    <a:pos x="connsiteX0" y="connsiteY0"/>
                  </a:cxn>
                  <a:cxn ang="0">
                    <a:pos x="connsiteX1" y="connsiteY1"/>
                  </a:cxn>
                </a:cxnLst>
                <a:rect l="l" t="t" r="r" b="b"/>
                <a:pathLst>
                  <a:path w="58852" h="17647">
                    <a:moveTo>
                      <a:pt x="0" y="0"/>
                    </a:moveTo>
                    <a:lnTo>
                      <a:pt x="58853" y="0"/>
                    </a:lnTo>
                  </a:path>
                </a:pathLst>
              </a:custGeom>
              <a:ln w="9624" cap="sq">
                <a:solidFill>
                  <a:srgbClr val="787878"/>
                </a:solidFill>
                <a:prstDash val="solid"/>
                <a:miter/>
              </a:ln>
            </p:spPr>
            <p:txBody>
              <a:bodyPr rtlCol="0" anchor="ctr"/>
              <a:lstStyle/>
              <a:p>
                <a:endParaRPr lang="en-US" sz="1800" dirty="0"/>
              </a:p>
            </p:txBody>
          </p:sp>
          <p:sp>
            <p:nvSpPr>
              <p:cNvPr id="2839" name="Freeform 694">
                <a:extLst>
                  <a:ext uri="{FF2B5EF4-FFF2-40B4-BE49-F238E27FC236}">
                    <a16:creationId xmlns:a16="http://schemas.microsoft.com/office/drawing/2014/main" id="{9967A7CD-C544-810F-070C-BB0E53051A43}"/>
                  </a:ext>
                </a:extLst>
              </p:cNvPr>
              <p:cNvSpPr/>
              <p:nvPr/>
            </p:nvSpPr>
            <p:spPr>
              <a:xfrm>
                <a:off x="2782781" y="1657153"/>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787878"/>
                </a:solidFill>
                <a:prstDash val="solid"/>
                <a:miter/>
              </a:ln>
            </p:spPr>
            <p:txBody>
              <a:bodyPr rtlCol="0" anchor="ctr"/>
              <a:lstStyle/>
              <a:p>
                <a:endParaRPr lang="en-US" sz="1800" dirty="0"/>
              </a:p>
            </p:txBody>
          </p:sp>
          <p:sp>
            <p:nvSpPr>
              <p:cNvPr id="2840" name="Freeform 695">
                <a:extLst>
                  <a:ext uri="{FF2B5EF4-FFF2-40B4-BE49-F238E27FC236}">
                    <a16:creationId xmlns:a16="http://schemas.microsoft.com/office/drawing/2014/main" id="{8CDE5F7B-B08F-20A5-4553-562000C2BFD4}"/>
                  </a:ext>
                </a:extLst>
              </p:cNvPr>
              <p:cNvSpPr/>
              <p:nvPr/>
            </p:nvSpPr>
            <p:spPr>
              <a:xfrm>
                <a:off x="2824093" y="1766230"/>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787878"/>
                </a:solidFill>
                <a:prstDash val="solid"/>
                <a:miter/>
              </a:ln>
            </p:spPr>
            <p:txBody>
              <a:bodyPr rtlCol="0" anchor="ctr"/>
              <a:lstStyle/>
              <a:p>
                <a:endParaRPr lang="en-US" sz="1800" dirty="0"/>
              </a:p>
            </p:txBody>
          </p:sp>
          <p:sp>
            <p:nvSpPr>
              <p:cNvPr id="2841" name="Freeform 696">
                <a:extLst>
                  <a:ext uri="{FF2B5EF4-FFF2-40B4-BE49-F238E27FC236}">
                    <a16:creationId xmlns:a16="http://schemas.microsoft.com/office/drawing/2014/main" id="{6ED7612D-5C28-DD5B-55A4-C39E7015B64E}"/>
                  </a:ext>
                </a:extLst>
              </p:cNvPr>
              <p:cNvSpPr/>
              <p:nvPr/>
            </p:nvSpPr>
            <p:spPr>
              <a:xfrm>
                <a:off x="2853511" y="1737853"/>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787878"/>
                </a:solidFill>
                <a:prstDash val="solid"/>
                <a:miter/>
              </a:ln>
            </p:spPr>
            <p:txBody>
              <a:bodyPr rtlCol="0" anchor="ctr"/>
              <a:lstStyle/>
              <a:p>
                <a:endParaRPr lang="en-US" sz="1800" dirty="0"/>
              </a:p>
            </p:txBody>
          </p:sp>
          <p:sp>
            <p:nvSpPr>
              <p:cNvPr id="2842" name="Freeform 697">
                <a:extLst>
                  <a:ext uri="{FF2B5EF4-FFF2-40B4-BE49-F238E27FC236}">
                    <a16:creationId xmlns:a16="http://schemas.microsoft.com/office/drawing/2014/main" id="{2CC77C54-DBF3-8056-971D-DBA8B93DD41A}"/>
                  </a:ext>
                </a:extLst>
              </p:cNvPr>
              <p:cNvSpPr/>
              <p:nvPr/>
            </p:nvSpPr>
            <p:spPr>
              <a:xfrm>
                <a:off x="2859405" y="1888171"/>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787878"/>
                </a:solidFill>
                <a:prstDash val="solid"/>
                <a:miter/>
              </a:ln>
            </p:spPr>
            <p:txBody>
              <a:bodyPr rtlCol="0" anchor="ctr"/>
              <a:lstStyle/>
              <a:p>
                <a:endParaRPr lang="en-US" sz="1800" dirty="0"/>
              </a:p>
            </p:txBody>
          </p:sp>
          <p:sp>
            <p:nvSpPr>
              <p:cNvPr id="2843" name="Freeform 698">
                <a:extLst>
                  <a:ext uri="{FF2B5EF4-FFF2-40B4-BE49-F238E27FC236}">
                    <a16:creationId xmlns:a16="http://schemas.microsoft.com/office/drawing/2014/main" id="{E36A227A-C8C6-8BCE-57D5-F4F270420008}"/>
                  </a:ext>
                </a:extLst>
              </p:cNvPr>
              <p:cNvSpPr/>
              <p:nvPr/>
            </p:nvSpPr>
            <p:spPr>
              <a:xfrm>
                <a:off x="2888822" y="1859794"/>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787878"/>
                </a:solidFill>
                <a:prstDash val="solid"/>
                <a:miter/>
              </a:ln>
            </p:spPr>
            <p:txBody>
              <a:bodyPr rtlCol="0" anchor="ctr"/>
              <a:lstStyle/>
              <a:p>
                <a:endParaRPr lang="en-US" sz="1800" dirty="0"/>
              </a:p>
            </p:txBody>
          </p:sp>
          <p:sp>
            <p:nvSpPr>
              <p:cNvPr id="2844" name="Freeform 699">
                <a:extLst>
                  <a:ext uri="{FF2B5EF4-FFF2-40B4-BE49-F238E27FC236}">
                    <a16:creationId xmlns:a16="http://schemas.microsoft.com/office/drawing/2014/main" id="{01F4E2F9-39BE-19F0-2CEB-BDC6AD3B5749}"/>
                  </a:ext>
                </a:extLst>
              </p:cNvPr>
              <p:cNvSpPr/>
              <p:nvPr/>
            </p:nvSpPr>
            <p:spPr>
              <a:xfrm>
                <a:off x="2859405" y="1888171"/>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787878"/>
                </a:solidFill>
                <a:prstDash val="solid"/>
                <a:miter/>
              </a:ln>
            </p:spPr>
            <p:txBody>
              <a:bodyPr rtlCol="0" anchor="ctr"/>
              <a:lstStyle/>
              <a:p>
                <a:endParaRPr lang="en-US" sz="1800" dirty="0"/>
              </a:p>
            </p:txBody>
          </p:sp>
          <p:sp>
            <p:nvSpPr>
              <p:cNvPr id="2845" name="Freeform 700">
                <a:extLst>
                  <a:ext uri="{FF2B5EF4-FFF2-40B4-BE49-F238E27FC236}">
                    <a16:creationId xmlns:a16="http://schemas.microsoft.com/office/drawing/2014/main" id="{7F3F460C-0722-3415-A3B4-C26D93FCE083}"/>
                  </a:ext>
                </a:extLst>
              </p:cNvPr>
              <p:cNvSpPr/>
              <p:nvPr/>
            </p:nvSpPr>
            <p:spPr>
              <a:xfrm>
                <a:off x="2888822" y="1859794"/>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787878"/>
                </a:solidFill>
                <a:prstDash val="solid"/>
                <a:miter/>
              </a:ln>
            </p:spPr>
            <p:txBody>
              <a:bodyPr rtlCol="0" anchor="ctr"/>
              <a:lstStyle/>
              <a:p>
                <a:endParaRPr lang="en-US" sz="1800" dirty="0"/>
              </a:p>
            </p:txBody>
          </p:sp>
          <p:sp>
            <p:nvSpPr>
              <p:cNvPr id="2846" name="Freeform 701">
                <a:extLst>
                  <a:ext uri="{FF2B5EF4-FFF2-40B4-BE49-F238E27FC236}">
                    <a16:creationId xmlns:a16="http://schemas.microsoft.com/office/drawing/2014/main" id="{50C1B7D1-E370-ACF8-716C-69AC05DF5869}"/>
                  </a:ext>
                </a:extLst>
              </p:cNvPr>
              <p:cNvSpPr/>
              <p:nvPr/>
            </p:nvSpPr>
            <p:spPr>
              <a:xfrm>
                <a:off x="2859405" y="1888171"/>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787878"/>
                </a:solidFill>
                <a:prstDash val="solid"/>
                <a:miter/>
              </a:ln>
            </p:spPr>
            <p:txBody>
              <a:bodyPr rtlCol="0" anchor="ctr"/>
              <a:lstStyle/>
              <a:p>
                <a:endParaRPr lang="en-US" sz="1800" dirty="0"/>
              </a:p>
            </p:txBody>
          </p:sp>
          <p:sp>
            <p:nvSpPr>
              <p:cNvPr id="2847" name="Freeform 702">
                <a:extLst>
                  <a:ext uri="{FF2B5EF4-FFF2-40B4-BE49-F238E27FC236}">
                    <a16:creationId xmlns:a16="http://schemas.microsoft.com/office/drawing/2014/main" id="{35101479-578D-BB66-6DA8-95CCC0B6A775}"/>
                  </a:ext>
                </a:extLst>
              </p:cNvPr>
              <p:cNvSpPr/>
              <p:nvPr/>
            </p:nvSpPr>
            <p:spPr>
              <a:xfrm>
                <a:off x="2888822" y="1859794"/>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787878"/>
                </a:solidFill>
                <a:prstDash val="solid"/>
                <a:miter/>
              </a:ln>
            </p:spPr>
            <p:txBody>
              <a:bodyPr rtlCol="0" anchor="ctr"/>
              <a:lstStyle/>
              <a:p>
                <a:endParaRPr lang="en-US" sz="1800" dirty="0"/>
              </a:p>
            </p:txBody>
          </p:sp>
          <p:sp>
            <p:nvSpPr>
              <p:cNvPr id="2848" name="Freeform 703">
                <a:extLst>
                  <a:ext uri="{FF2B5EF4-FFF2-40B4-BE49-F238E27FC236}">
                    <a16:creationId xmlns:a16="http://schemas.microsoft.com/office/drawing/2014/main" id="{54CB06C0-C007-6639-A3DC-8E98C7652C30}"/>
                  </a:ext>
                </a:extLst>
              </p:cNvPr>
              <p:cNvSpPr/>
              <p:nvPr/>
            </p:nvSpPr>
            <p:spPr>
              <a:xfrm>
                <a:off x="2882928" y="1950465"/>
                <a:ext cx="58852" cy="17647"/>
              </a:xfrm>
              <a:custGeom>
                <a:avLst/>
                <a:gdLst>
                  <a:gd name="connsiteX0" fmla="*/ 0 w 58852"/>
                  <a:gd name="connsiteY0" fmla="*/ 0 h 17647"/>
                  <a:gd name="connsiteX1" fmla="*/ 58853 w 58852"/>
                  <a:gd name="connsiteY1" fmla="*/ 0 h 17647"/>
                </a:gdLst>
                <a:ahLst/>
                <a:cxnLst>
                  <a:cxn ang="0">
                    <a:pos x="connsiteX0" y="connsiteY0"/>
                  </a:cxn>
                  <a:cxn ang="0">
                    <a:pos x="connsiteX1" y="connsiteY1"/>
                  </a:cxn>
                </a:cxnLst>
                <a:rect l="l" t="t" r="r" b="b"/>
                <a:pathLst>
                  <a:path w="58852" h="17647">
                    <a:moveTo>
                      <a:pt x="0" y="0"/>
                    </a:moveTo>
                    <a:lnTo>
                      <a:pt x="58853" y="0"/>
                    </a:lnTo>
                  </a:path>
                </a:pathLst>
              </a:custGeom>
              <a:ln w="9624" cap="sq">
                <a:solidFill>
                  <a:srgbClr val="787878"/>
                </a:solidFill>
                <a:prstDash val="solid"/>
                <a:miter/>
              </a:ln>
            </p:spPr>
            <p:txBody>
              <a:bodyPr rtlCol="0" anchor="ctr"/>
              <a:lstStyle/>
              <a:p>
                <a:endParaRPr lang="en-US" sz="1800" dirty="0"/>
              </a:p>
            </p:txBody>
          </p:sp>
          <p:sp>
            <p:nvSpPr>
              <p:cNvPr id="2849" name="Freeform 704">
                <a:extLst>
                  <a:ext uri="{FF2B5EF4-FFF2-40B4-BE49-F238E27FC236}">
                    <a16:creationId xmlns:a16="http://schemas.microsoft.com/office/drawing/2014/main" id="{89B53157-F7A9-36EF-3886-3760ABCD468C}"/>
                  </a:ext>
                </a:extLst>
              </p:cNvPr>
              <p:cNvSpPr/>
              <p:nvPr/>
            </p:nvSpPr>
            <p:spPr>
              <a:xfrm>
                <a:off x="2912346" y="1922088"/>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787878"/>
                </a:solidFill>
                <a:prstDash val="solid"/>
                <a:miter/>
              </a:ln>
            </p:spPr>
            <p:txBody>
              <a:bodyPr rtlCol="0" anchor="ctr"/>
              <a:lstStyle/>
              <a:p>
                <a:endParaRPr lang="en-US" sz="1800" dirty="0"/>
              </a:p>
            </p:txBody>
          </p:sp>
          <p:sp>
            <p:nvSpPr>
              <p:cNvPr id="2850" name="Freeform 705">
                <a:extLst>
                  <a:ext uri="{FF2B5EF4-FFF2-40B4-BE49-F238E27FC236}">
                    <a16:creationId xmlns:a16="http://schemas.microsoft.com/office/drawing/2014/main" id="{AA7E65D0-275E-E9E2-62DA-CB23F80EC428}"/>
                  </a:ext>
                </a:extLst>
              </p:cNvPr>
              <p:cNvSpPr/>
              <p:nvPr/>
            </p:nvSpPr>
            <p:spPr>
              <a:xfrm>
                <a:off x="2882928" y="1950465"/>
                <a:ext cx="58852" cy="17647"/>
              </a:xfrm>
              <a:custGeom>
                <a:avLst/>
                <a:gdLst>
                  <a:gd name="connsiteX0" fmla="*/ 0 w 58852"/>
                  <a:gd name="connsiteY0" fmla="*/ 0 h 17647"/>
                  <a:gd name="connsiteX1" fmla="*/ 58853 w 58852"/>
                  <a:gd name="connsiteY1" fmla="*/ 0 h 17647"/>
                </a:gdLst>
                <a:ahLst/>
                <a:cxnLst>
                  <a:cxn ang="0">
                    <a:pos x="connsiteX0" y="connsiteY0"/>
                  </a:cxn>
                  <a:cxn ang="0">
                    <a:pos x="connsiteX1" y="connsiteY1"/>
                  </a:cxn>
                </a:cxnLst>
                <a:rect l="l" t="t" r="r" b="b"/>
                <a:pathLst>
                  <a:path w="58852" h="17647">
                    <a:moveTo>
                      <a:pt x="0" y="0"/>
                    </a:moveTo>
                    <a:lnTo>
                      <a:pt x="58853" y="0"/>
                    </a:lnTo>
                  </a:path>
                </a:pathLst>
              </a:custGeom>
              <a:ln w="9624" cap="sq">
                <a:solidFill>
                  <a:srgbClr val="787878"/>
                </a:solidFill>
                <a:prstDash val="solid"/>
                <a:miter/>
              </a:ln>
            </p:spPr>
            <p:txBody>
              <a:bodyPr rtlCol="0" anchor="ctr"/>
              <a:lstStyle/>
              <a:p>
                <a:endParaRPr lang="en-US" sz="1800" dirty="0"/>
              </a:p>
            </p:txBody>
          </p:sp>
          <p:sp>
            <p:nvSpPr>
              <p:cNvPr id="2851" name="Freeform 706">
                <a:extLst>
                  <a:ext uri="{FF2B5EF4-FFF2-40B4-BE49-F238E27FC236}">
                    <a16:creationId xmlns:a16="http://schemas.microsoft.com/office/drawing/2014/main" id="{2C37DB48-FBC4-8972-2904-6F768F559F42}"/>
                  </a:ext>
                </a:extLst>
              </p:cNvPr>
              <p:cNvSpPr/>
              <p:nvPr/>
            </p:nvSpPr>
            <p:spPr>
              <a:xfrm>
                <a:off x="2912346" y="1922088"/>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787878"/>
                </a:solidFill>
                <a:prstDash val="solid"/>
                <a:miter/>
              </a:ln>
            </p:spPr>
            <p:txBody>
              <a:bodyPr rtlCol="0" anchor="ctr"/>
              <a:lstStyle/>
              <a:p>
                <a:endParaRPr lang="en-US" sz="1800" dirty="0"/>
              </a:p>
            </p:txBody>
          </p:sp>
          <p:sp>
            <p:nvSpPr>
              <p:cNvPr id="2852" name="Freeform 707">
                <a:extLst>
                  <a:ext uri="{FF2B5EF4-FFF2-40B4-BE49-F238E27FC236}">
                    <a16:creationId xmlns:a16="http://schemas.microsoft.com/office/drawing/2014/main" id="{FAE98D42-1F4A-D2D5-B271-1649CB48687D}"/>
                  </a:ext>
                </a:extLst>
              </p:cNvPr>
              <p:cNvSpPr/>
              <p:nvPr/>
            </p:nvSpPr>
            <p:spPr>
              <a:xfrm>
                <a:off x="2900593" y="1950465"/>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787878"/>
                </a:solidFill>
                <a:prstDash val="solid"/>
                <a:miter/>
              </a:ln>
            </p:spPr>
            <p:txBody>
              <a:bodyPr rtlCol="0" anchor="ctr"/>
              <a:lstStyle/>
              <a:p>
                <a:endParaRPr lang="en-US" sz="1800" dirty="0"/>
              </a:p>
            </p:txBody>
          </p:sp>
          <p:sp>
            <p:nvSpPr>
              <p:cNvPr id="2853" name="Freeform 708">
                <a:extLst>
                  <a:ext uri="{FF2B5EF4-FFF2-40B4-BE49-F238E27FC236}">
                    <a16:creationId xmlns:a16="http://schemas.microsoft.com/office/drawing/2014/main" id="{A0DF08FD-CB2D-43E0-AA63-C67C854EC976}"/>
                  </a:ext>
                </a:extLst>
              </p:cNvPr>
              <p:cNvSpPr/>
              <p:nvPr/>
            </p:nvSpPr>
            <p:spPr>
              <a:xfrm>
                <a:off x="2930011" y="1922088"/>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787878"/>
                </a:solidFill>
                <a:prstDash val="solid"/>
                <a:miter/>
              </a:ln>
            </p:spPr>
            <p:txBody>
              <a:bodyPr rtlCol="0" anchor="ctr"/>
              <a:lstStyle/>
              <a:p>
                <a:endParaRPr lang="en-US" sz="1800" dirty="0"/>
              </a:p>
            </p:txBody>
          </p:sp>
          <p:sp>
            <p:nvSpPr>
              <p:cNvPr id="2854" name="Freeform 709">
                <a:extLst>
                  <a:ext uri="{FF2B5EF4-FFF2-40B4-BE49-F238E27FC236}">
                    <a16:creationId xmlns:a16="http://schemas.microsoft.com/office/drawing/2014/main" id="{5B7CFD8A-C771-B82E-E309-B0D093468B6F}"/>
                  </a:ext>
                </a:extLst>
              </p:cNvPr>
              <p:cNvSpPr/>
              <p:nvPr/>
            </p:nvSpPr>
            <p:spPr>
              <a:xfrm>
                <a:off x="2941905" y="2035576"/>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787878"/>
                </a:solidFill>
                <a:prstDash val="solid"/>
                <a:miter/>
              </a:ln>
            </p:spPr>
            <p:txBody>
              <a:bodyPr rtlCol="0" anchor="ctr"/>
              <a:lstStyle/>
              <a:p>
                <a:endParaRPr lang="en-US" sz="1800" dirty="0"/>
              </a:p>
            </p:txBody>
          </p:sp>
          <p:sp>
            <p:nvSpPr>
              <p:cNvPr id="2855" name="Freeform 710">
                <a:extLst>
                  <a:ext uri="{FF2B5EF4-FFF2-40B4-BE49-F238E27FC236}">
                    <a16:creationId xmlns:a16="http://schemas.microsoft.com/office/drawing/2014/main" id="{26BEC326-74BE-84BB-AD04-2C7719FF0E8A}"/>
                  </a:ext>
                </a:extLst>
              </p:cNvPr>
              <p:cNvSpPr/>
              <p:nvPr/>
            </p:nvSpPr>
            <p:spPr>
              <a:xfrm>
                <a:off x="2971322" y="2007218"/>
                <a:ext cx="17647" cy="56735"/>
              </a:xfrm>
              <a:custGeom>
                <a:avLst/>
                <a:gdLst>
                  <a:gd name="connsiteX0" fmla="*/ 0 w 17647"/>
                  <a:gd name="connsiteY0" fmla="*/ 0 h 56735"/>
                  <a:gd name="connsiteX1" fmla="*/ 0 w 17647"/>
                  <a:gd name="connsiteY1" fmla="*/ 56735 h 56735"/>
                </a:gdLst>
                <a:ahLst/>
                <a:cxnLst>
                  <a:cxn ang="0">
                    <a:pos x="connsiteX0" y="connsiteY0"/>
                  </a:cxn>
                  <a:cxn ang="0">
                    <a:pos x="connsiteX1" y="connsiteY1"/>
                  </a:cxn>
                </a:cxnLst>
                <a:rect l="l" t="t" r="r" b="b"/>
                <a:pathLst>
                  <a:path w="17647" h="56735">
                    <a:moveTo>
                      <a:pt x="0" y="0"/>
                    </a:moveTo>
                    <a:lnTo>
                      <a:pt x="0" y="56735"/>
                    </a:lnTo>
                  </a:path>
                </a:pathLst>
              </a:custGeom>
              <a:ln w="9624" cap="sq">
                <a:solidFill>
                  <a:srgbClr val="787878"/>
                </a:solidFill>
                <a:prstDash val="solid"/>
                <a:miter/>
              </a:ln>
            </p:spPr>
            <p:txBody>
              <a:bodyPr rtlCol="0" anchor="ctr"/>
              <a:lstStyle/>
              <a:p>
                <a:endParaRPr lang="en-US" sz="1800" dirty="0"/>
              </a:p>
            </p:txBody>
          </p:sp>
          <p:sp>
            <p:nvSpPr>
              <p:cNvPr id="2856" name="Freeform 711">
                <a:extLst>
                  <a:ext uri="{FF2B5EF4-FFF2-40B4-BE49-F238E27FC236}">
                    <a16:creationId xmlns:a16="http://schemas.microsoft.com/office/drawing/2014/main" id="{8FB96120-BA28-4C67-5AC7-12AD7F8B7F89}"/>
                  </a:ext>
                </a:extLst>
              </p:cNvPr>
              <p:cNvSpPr/>
              <p:nvPr/>
            </p:nvSpPr>
            <p:spPr>
              <a:xfrm>
                <a:off x="3118551" y="2207211"/>
                <a:ext cx="58852" cy="17647"/>
              </a:xfrm>
              <a:custGeom>
                <a:avLst/>
                <a:gdLst>
                  <a:gd name="connsiteX0" fmla="*/ 0 w 58852"/>
                  <a:gd name="connsiteY0" fmla="*/ 0 h 17647"/>
                  <a:gd name="connsiteX1" fmla="*/ 58853 w 58852"/>
                  <a:gd name="connsiteY1" fmla="*/ 0 h 17647"/>
                </a:gdLst>
                <a:ahLst/>
                <a:cxnLst>
                  <a:cxn ang="0">
                    <a:pos x="connsiteX0" y="connsiteY0"/>
                  </a:cxn>
                  <a:cxn ang="0">
                    <a:pos x="connsiteX1" y="connsiteY1"/>
                  </a:cxn>
                </a:cxnLst>
                <a:rect l="l" t="t" r="r" b="b"/>
                <a:pathLst>
                  <a:path w="58852" h="17647">
                    <a:moveTo>
                      <a:pt x="0" y="0"/>
                    </a:moveTo>
                    <a:lnTo>
                      <a:pt x="58853" y="0"/>
                    </a:lnTo>
                  </a:path>
                </a:pathLst>
              </a:custGeom>
              <a:ln w="9624" cap="sq">
                <a:solidFill>
                  <a:srgbClr val="787878"/>
                </a:solidFill>
                <a:prstDash val="solid"/>
                <a:miter/>
              </a:ln>
            </p:spPr>
            <p:txBody>
              <a:bodyPr rtlCol="0" anchor="ctr"/>
              <a:lstStyle/>
              <a:p>
                <a:endParaRPr lang="en-US" sz="1800" dirty="0"/>
              </a:p>
            </p:txBody>
          </p:sp>
          <p:sp>
            <p:nvSpPr>
              <p:cNvPr id="2857" name="Freeform 712">
                <a:extLst>
                  <a:ext uri="{FF2B5EF4-FFF2-40B4-BE49-F238E27FC236}">
                    <a16:creationId xmlns:a16="http://schemas.microsoft.com/office/drawing/2014/main" id="{B9CDD21F-F105-7785-FA39-CD644B0A3579}"/>
                  </a:ext>
                </a:extLst>
              </p:cNvPr>
              <p:cNvSpPr/>
              <p:nvPr/>
            </p:nvSpPr>
            <p:spPr>
              <a:xfrm>
                <a:off x="3147969" y="2178835"/>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787878"/>
                </a:solidFill>
                <a:prstDash val="solid"/>
                <a:miter/>
              </a:ln>
            </p:spPr>
            <p:txBody>
              <a:bodyPr rtlCol="0" anchor="ctr"/>
              <a:lstStyle/>
              <a:p>
                <a:endParaRPr lang="en-US" sz="1800" dirty="0"/>
              </a:p>
            </p:txBody>
          </p:sp>
          <p:sp>
            <p:nvSpPr>
              <p:cNvPr id="2858" name="Freeform 713">
                <a:extLst>
                  <a:ext uri="{FF2B5EF4-FFF2-40B4-BE49-F238E27FC236}">
                    <a16:creationId xmlns:a16="http://schemas.microsoft.com/office/drawing/2014/main" id="{80F2F462-C6E7-0524-0DFC-F7149AE3EF1C}"/>
                  </a:ext>
                </a:extLst>
              </p:cNvPr>
              <p:cNvSpPr/>
              <p:nvPr/>
            </p:nvSpPr>
            <p:spPr>
              <a:xfrm>
                <a:off x="3142216" y="2272152"/>
                <a:ext cx="58852" cy="17647"/>
              </a:xfrm>
              <a:custGeom>
                <a:avLst/>
                <a:gdLst>
                  <a:gd name="connsiteX0" fmla="*/ 0 w 58852"/>
                  <a:gd name="connsiteY0" fmla="*/ 0 h 17647"/>
                  <a:gd name="connsiteX1" fmla="*/ 58853 w 58852"/>
                  <a:gd name="connsiteY1" fmla="*/ 0 h 17647"/>
                </a:gdLst>
                <a:ahLst/>
                <a:cxnLst>
                  <a:cxn ang="0">
                    <a:pos x="connsiteX0" y="connsiteY0"/>
                  </a:cxn>
                  <a:cxn ang="0">
                    <a:pos x="connsiteX1" y="connsiteY1"/>
                  </a:cxn>
                </a:cxnLst>
                <a:rect l="l" t="t" r="r" b="b"/>
                <a:pathLst>
                  <a:path w="58852" h="17647">
                    <a:moveTo>
                      <a:pt x="0" y="0"/>
                    </a:moveTo>
                    <a:lnTo>
                      <a:pt x="58853" y="0"/>
                    </a:lnTo>
                  </a:path>
                </a:pathLst>
              </a:custGeom>
              <a:ln w="9624" cap="sq">
                <a:solidFill>
                  <a:srgbClr val="787878"/>
                </a:solidFill>
                <a:prstDash val="solid"/>
                <a:miter/>
              </a:ln>
            </p:spPr>
            <p:txBody>
              <a:bodyPr rtlCol="0" anchor="ctr"/>
              <a:lstStyle/>
              <a:p>
                <a:endParaRPr lang="en-US" sz="1800" dirty="0"/>
              </a:p>
            </p:txBody>
          </p:sp>
          <p:sp>
            <p:nvSpPr>
              <p:cNvPr id="2859" name="Freeform 714">
                <a:extLst>
                  <a:ext uri="{FF2B5EF4-FFF2-40B4-BE49-F238E27FC236}">
                    <a16:creationId xmlns:a16="http://schemas.microsoft.com/office/drawing/2014/main" id="{0A6A0E3E-68C5-2ACA-8ADE-9A364D37263C}"/>
                  </a:ext>
                </a:extLst>
              </p:cNvPr>
              <p:cNvSpPr/>
              <p:nvPr/>
            </p:nvSpPr>
            <p:spPr>
              <a:xfrm>
                <a:off x="3171651" y="2243776"/>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787878"/>
                </a:solidFill>
                <a:prstDash val="solid"/>
                <a:miter/>
              </a:ln>
            </p:spPr>
            <p:txBody>
              <a:bodyPr rtlCol="0" anchor="ctr"/>
              <a:lstStyle/>
              <a:p>
                <a:endParaRPr lang="en-US" sz="1800" dirty="0"/>
              </a:p>
            </p:txBody>
          </p:sp>
          <p:sp>
            <p:nvSpPr>
              <p:cNvPr id="2860" name="Freeform 715">
                <a:extLst>
                  <a:ext uri="{FF2B5EF4-FFF2-40B4-BE49-F238E27FC236}">
                    <a16:creationId xmlns:a16="http://schemas.microsoft.com/office/drawing/2014/main" id="{46C4D3CB-1183-F50F-F1E9-E9A1A77F278A}"/>
                  </a:ext>
                </a:extLst>
              </p:cNvPr>
              <p:cNvSpPr/>
              <p:nvPr/>
            </p:nvSpPr>
            <p:spPr>
              <a:xfrm>
                <a:off x="3148110" y="2293964"/>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787878"/>
                </a:solidFill>
                <a:prstDash val="solid"/>
                <a:miter/>
              </a:ln>
            </p:spPr>
            <p:txBody>
              <a:bodyPr rtlCol="0" anchor="ctr"/>
              <a:lstStyle/>
              <a:p>
                <a:endParaRPr lang="en-US" sz="1800" dirty="0"/>
              </a:p>
            </p:txBody>
          </p:sp>
          <p:sp>
            <p:nvSpPr>
              <p:cNvPr id="2861" name="Freeform 716">
                <a:extLst>
                  <a:ext uri="{FF2B5EF4-FFF2-40B4-BE49-F238E27FC236}">
                    <a16:creationId xmlns:a16="http://schemas.microsoft.com/office/drawing/2014/main" id="{4C9BA6FE-9B98-F715-CC6D-C02D08F4CCB9}"/>
                  </a:ext>
                </a:extLst>
              </p:cNvPr>
              <p:cNvSpPr/>
              <p:nvPr/>
            </p:nvSpPr>
            <p:spPr>
              <a:xfrm>
                <a:off x="3177528" y="2265588"/>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787878"/>
                </a:solidFill>
                <a:prstDash val="solid"/>
                <a:miter/>
              </a:ln>
            </p:spPr>
            <p:txBody>
              <a:bodyPr rtlCol="0" anchor="ctr"/>
              <a:lstStyle/>
              <a:p>
                <a:endParaRPr lang="en-US" sz="1800" dirty="0"/>
              </a:p>
            </p:txBody>
          </p:sp>
          <p:sp>
            <p:nvSpPr>
              <p:cNvPr id="2862" name="Freeform 717">
                <a:extLst>
                  <a:ext uri="{FF2B5EF4-FFF2-40B4-BE49-F238E27FC236}">
                    <a16:creationId xmlns:a16="http://schemas.microsoft.com/office/drawing/2014/main" id="{14D9ED40-ABEE-3B38-F050-A974BAF8C685}"/>
                  </a:ext>
                </a:extLst>
              </p:cNvPr>
              <p:cNvSpPr/>
              <p:nvPr/>
            </p:nvSpPr>
            <p:spPr>
              <a:xfrm>
                <a:off x="3153987" y="2360176"/>
                <a:ext cx="58852" cy="17647"/>
              </a:xfrm>
              <a:custGeom>
                <a:avLst/>
                <a:gdLst>
                  <a:gd name="connsiteX0" fmla="*/ 0 w 58852"/>
                  <a:gd name="connsiteY0" fmla="*/ 0 h 17647"/>
                  <a:gd name="connsiteX1" fmla="*/ 58853 w 58852"/>
                  <a:gd name="connsiteY1" fmla="*/ 0 h 17647"/>
                </a:gdLst>
                <a:ahLst/>
                <a:cxnLst>
                  <a:cxn ang="0">
                    <a:pos x="connsiteX0" y="connsiteY0"/>
                  </a:cxn>
                  <a:cxn ang="0">
                    <a:pos x="connsiteX1" y="connsiteY1"/>
                  </a:cxn>
                </a:cxnLst>
                <a:rect l="l" t="t" r="r" b="b"/>
                <a:pathLst>
                  <a:path w="58852" h="17647">
                    <a:moveTo>
                      <a:pt x="0" y="0"/>
                    </a:moveTo>
                    <a:lnTo>
                      <a:pt x="58853" y="0"/>
                    </a:lnTo>
                  </a:path>
                </a:pathLst>
              </a:custGeom>
              <a:ln w="9624" cap="sq">
                <a:solidFill>
                  <a:srgbClr val="787878"/>
                </a:solidFill>
                <a:prstDash val="solid"/>
                <a:miter/>
              </a:ln>
            </p:spPr>
            <p:txBody>
              <a:bodyPr rtlCol="0" anchor="ctr"/>
              <a:lstStyle/>
              <a:p>
                <a:endParaRPr lang="en-US" sz="1800" dirty="0"/>
              </a:p>
            </p:txBody>
          </p:sp>
          <p:sp>
            <p:nvSpPr>
              <p:cNvPr id="2863" name="Freeform 718">
                <a:extLst>
                  <a:ext uri="{FF2B5EF4-FFF2-40B4-BE49-F238E27FC236}">
                    <a16:creationId xmlns:a16="http://schemas.microsoft.com/office/drawing/2014/main" id="{EE88D263-83D8-CDA1-562A-84DF1EAEE04B}"/>
                  </a:ext>
                </a:extLst>
              </p:cNvPr>
              <p:cNvSpPr/>
              <p:nvPr/>
            </p:nvSpPr>
            <p:spPr>
              <a:xfrm>
                <a:off x="3183404" y="2331799"/>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787878"/>
                </a:solidFill>
                <a:prstDash val="solid"/>
                <a:miter/>
              </a:ln>
            </p:spPr>
            <p:txBody>
              <a:bodyPr rtlCol="0" anchor="ctr"/>
              <a:lstStyle/>
              <a:p>
                <a:endParaRPr lang="en-US" sz="1800" dirty="0"/>
              </a:p>
            </p:txBody>
          </p:sp>
          <p:sp>
            <p:nvSpPr>
              <p:cNvPr id="2864" name="Freeform 719">
                <a:extLst>
                  <a:ext uri="{FF2B5EF4-FFF2-40B4-BE49-F238E27FC236}">
                    <a16:creationId xmlns:a16="http://schemas.microsoft.com/office/drawing/2014/main" id="{CC3E2332-9E69-0AA3-6E0E-AB9CB2AB98FD}"/>
                  </a:ext>
                </a:extLst>
              </p:cNvPr>
              <p:cNvSpPr/>
              <p:nvPr/>
            </p:nvSpPr>
            <p:spPr>
              <a:xfrm>
                <a:off x="3189298" y="2382499"/>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787878"/>
                </a:solidFill>
                <a:prstDash val="solid"/>
                <a:miter/>
              </a:ln>
            </p:spPr>
            <p:txBody>
              <a:bodyPr rtlCol="0" anchor="ctr"/>
              <a:lstStyle/>
              <a:p>
                <a:endParaRPr lang="en-US" sz="1800" dirty="0"/>
              </a:p>
            </p:txBody>
          </p:sp>
          <p:sp>
            <p:nvSpPr>
              <p:cNvPr id="2865" name="Freeform 720">
                <a:extLst>
                  <a:ext uri="{FF2B5EF4-FFF2-40B4-BE49-F238E27FC236}">
                    <a16:creationId xmlns:a16="http://schemas.microsoft.com/office/drawing/2014/main" id="{F810BACA-7ADB-B50C-2A68-E4994F452163}"/>
                  </a:ext>
                </a:extLst>
              </p:cNvPr>
              <p:cNvSpPr/>
              <p:nvPr/>
            </p:nvSpPr>
            <p:spPr>
              <a:xfrm>
                <a:off x="3218716" y="2354123"/>
                <a:ext cx="17647" cy="56735"/>
              </a:xfrm>
              <a:custGeom>
                <a:avLst/>
                <a:gdLst>
                  <a:gd name="connsiteX0" fmla="*/ 0 w 17647"/>
                  <a:gd name="connsiteY0" fmla="*/ 0 h 56735"/>
                  <a:gd name="connsiteX1" fmla="*/ 0 w 17647"/>
                  <a:gd name="connsiteY1" fmla="*/ 56735 h 56735"/>
                </a:gdLst>
                <a:ahLst/>
                <a:cxnLst>
                  <a:cxn ang="0">
                    <a:pos x="connsiteX0" y="connsiteY0"/>
                  </a:cxn>
                  <a:cxn ang="0">
                    <a:pos x="connsiteX1" y="connsiteY1"/>
                  </a:cxn>
                </a:cxnLst>
                <a:rect l="l" t="t" r="r" b="b"/>
                <a:pathLst>
                  <a:path w="17647" h="56735">
                    <a:moveTo>
                      <a:pt x="0" y="0"/>
                    </a:moveTo>
                    <a:lnTo>
                      <a:pt x="0" y="56735"/>
                    </a:lnTo>
                  </a:path>
                </a:pathLst>
              </a:custGeom>
              <a:ln w="9624" cap="sq">
                <a:solidFill>
                  <a:srgbClr val="787878"/>
                </a:solidFill>
                <a:prstDash val="solid"/>
                <a:miter/>
              </a:ln>
            </p:spPr>
            <p:txBody>
              <a:bodyPr rtlCol="0" anchor="ctr"/>
              <a:lstStyle/>
              <a:p>
                <a:endParaRPr lang="en-US" sz="1800" dirty="0"/>
              </a:p>
            </p:txBody>
          </p:sp>
          <p:sp>
            <p:nvSpPr>
              <p:cNvPr id="2866" name="Freeform 721">
                <a:extLst>
                  <a:ext uri="{FF2B5EF4-FFF2-40B4-BE49-F238E27FC236}">
                    <a16:creationId xmlns:a16="http://schemas.microsoft.com/office/drawing/2014/main" id="{DC1F29D2-01E3-E656-54CB-EDA283BD1C3E}"/>
                  </a:ext>
                </a:extLst>
              </p:cNvPr>
              <p:cNvSpPr/>
              <p:nvPr/>
            </p:nvSpPr>
            <p:spPr>
              <a:xfrm>
                <a:off x="3195175" y="2404929"/>
                <a:ext cx="58852" cy="17647"/>
              </a:xfrm>
              <a:custGeom>
                <a:avLst/>
                <a:gdLst>
                  <a:gd name="connsiteX0" fmla="*/ 0 w 58852"/>
                  <a:gd name="connsiteY0" fmla="*/ 0 h 17647"/>
                  <a:gd name="connsiteX1" fmla="*/ 58853 w 58852"/>
                  <a:gd name="connsiteY1" fmla="*/ 0 h 17647"/>
                </a:gdLst>
                <a:ahLst/>
                <a:cxnLst>
                  <a:cxn ang="0">
                    <a:pos x="connsiteX0" y="connsiteY0"/>
                  </a:cxn>
                  <a:cxn ang="0">
                    <a:pos x="connsiteX1" y="connsiteY1"/>
                  </a:cxn>
                </a:cxnLst>
                <a:rect l="l" t="t" r="r" b="b"/>
                <a:pathLst>
                  <a:path w="58852" h="17647">
                    <a:moveTo>
                      <a:pt x="0" y="0"/>
                    </a:moveTo>
                    <a:lnTo>
                      <a:pt x="58853" y="0"/>
                    </a:lnTo>
                  </a:path>
                </a:pathLst>
              </a:custGeom>
              <a:ln w="9624" cap="sq">
                <a:solidFill>
                  <a:srgbClr val="787878"/>
                </a:solidFill>
                <a:prstDash val="solid"/>
                <a:miter/>
              </a:ln>
            </p:spPr>
            <p:txBody>
              <a:bodyPr rtlCol="0" anchor="ctr"/>
              <a:lstStyle/>
              <a:p>
                <a:endParaRPr lang="en-US" sz="1800" dirty="0"/>
              </a:p>
            </p:txBody>
          </p:sp>
          <p:sp>
            <p:nvSpPr>
              <p:cNvPr id="2867" name="Freeform 722">
                <a:extLst>
                  <a:ext uri="{FF2B5EF4-FFF2-40B4-BE49-F238E27FC236}">
                    <a16:creationId xmlns:a16="http://schemas.microsoft.com/office/drawing/2014/main" id="{EB06F938-76CE-BFCF-9D92-6037B4E8C8EF}"/>
                  </a:ext>
                </a:extLst>
              </p:cNvPr>
              <p:cNvSpPr/>
              <p:nvPr/>
            </p:nvSpPr>
            <p:spPr>
              <a:xfrm>
                <a:off x="3224592" y="2376570"/>
                <a:ext cx="17647" cy="56735"/>
              </a:xfrm>
              <a:custGeom>
                <a:avLst/>
                <a:gdLst>
                  <a:gd name="connsiteX0" fmla="*/ 0 w 17647"/>
                  <a:gd name="connsiteY0" fmla="*/ 0 h 56735"/>
                  <a:gd name="connsiteX1" fmla="*/ 0 w 17647"/>
                  <a:gd name="connsiteY1" fmla="*/ 56735 h 56735"/>
                </a:gdLst>
                <a:ahLst/>
                <a:cxnLst>
                  <a:cxn ang="0">
                    <a:pos x="connsiteX0" y="connsiteY0"/>
                  </a:cxn>
                  <a:cxn ang="0">
                    <a:pos x="connsiteX1" y="connsiteY1"/>
                  </a:cxn>
                </a:cxnLst>
                <a:rect l="l" t="t" r="r" b="b"/>
                <a:pathLst>
                  <a:path w="17647" h="56735">
                    <a:moveTo>
                      <a:pt x="0" y="0"/>
                    </a:moveTo>
                    <a:lnTo>
                      <a:pt x="0" y="56735"/>
                    </a:lnTo>
                  </a:path>
                </a:pathLst>
              </a:custGeom>
              <a:ln w="9624" cap="sq">
                <a:solidFill>
                  <a:srgbClr val="787878"/>
                </a:solidFill>
                <a:prstDash val="solid"/>
                <a:miter/>
              </a:ln>
            </p:spPr>
            <p:txBody>
              <a:bodyPr rtlCol="0" anchor="ctr"/>
              <a:lstStyle/>
              <a:p>
                <a:endParaRPr lang="en-US" sz="1800" dirty="0"/>
              </a:p>
            </p:txBody>
          </p:sp>
          <p:sp>
            <p:nvSpPr>
              <p:cNvPr id="2868" name="Freeform 723">
                <a:extLst>
                  <a:ext uri="{FF2B5EF4-FFF2-40B4-BE49-F238E27FC236}">
                    <a16:creationId xmlns:a16="http://schemas.microsoft.com/office/drawing/2014/main" id="{F92F3EB9-231C-E44F-D323-0A8207DB9D10}"/>
                  </a:ext>
                </a:extLst>
              </p:cNvPr>
              <p:cNvSpPr/>
              <p:nvPr/>
            </p:nvSpPr>
            <p:spPr>
              <a:xfrm>
                <a:off x="3260028" y="2450334"/>
                <a:ext cx="58852" cy="17647"/>
              </a:xfrm>
              <a:custGeom>
                <a:avLst/>
                <a:gdLst>
                  <a:gd name="connsiteX0" fmla="*/ 0 w 58852"/>
                  <a:gd name="connsiteY0" fmla="*/ 0 h 17647"/>
                  <a:gd name="connsiteX1" fmla="*/ 58853 w 58852"/>
                  <a:gd name="connsiteY1" fmla="*/ 0 h 17647"/>
                </a:gdLst>
                <a:ahLst/>
                <a:cxnLst>
                  <a:cxn ang="0">
                    <a:pos x="connsiteX0" y="connsiteY0"/>
                  </a:cxn>
                  <a:cxn ang="0">
                    <a:pos x="connsiteX1" y="connsiteY1"/>
                  </a:cxn>
                </a:cxnLst>
                <a:rect l="l" t="t" r="r" b="b"/>
                <a:pathLst>
                  <a:path w="58852" h="17647">
                    <a:moveTo>
                      <a:pt x="0" y="0"/>
                    </a:moveTo>
                    <a:lnTo>
                      <a:pt x="58853" y="0"/>
                    </a:lnTo>
                  </a:path>
                </a:pathLst>
              </a:custGeom>
              <a:ln w="9624" cap="sq">
                <a:solidFill>
                  <a:srgbClr val="787878"/>
                </a:solidFill>
                <a:prstDash val="solid"/>
                <a:miter/>
              </a:ln>
            </p:spPr>
            <p:txBody>
              <a:bodyPr rtlCol="0" anchor="ctr"/>
              <a:lstStyle/>
              <a:p>
                <a:endParaRPr lang="en-US" sz="1800" dirty="0"/>
              </a:p>
            </p:txBody>
          </p:sp>
          <p:sp>
            <p:nvSpPr>
              <p:cNvPr id="2869" name="Freeform 724">
                <a:extLst>
                  <a:ext uri="{FF2B5EF4-FFF2-40B4-BE49-F238E27FC236}">
                    <a16:creationId xmlns:a16="http://schemas.microsoft.com/office/drawing/2014/main" id="{1C72CEC4-200F-B799-A94A-65263EBEA0E9}"/>
                  </a:ext>
                </a:extLst>
              </p:cNvPr>
              <p:cNvSpPr/>
              <p:nvPr/>
            </p:nvSpPr>
            <p:spPr>
              <a:xfrm>
                <a:off x="3289445" y="2421958"/>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787878"/>
                </a:solidFill>
                <a:prstDash val="solid"/>
                <a:miter/>
              </a:ln>
            </p:spPr>
            <p:txBody>
              <a:bodyPr rtlCol="0" anchor="ctr"/>
              <a:lstStyle/>
              <a:p>
                <a:endParaRPr lang="en-US" sz="1800" dirty="0"/>
              </a:p>
            </p:txBody>
          </p:sp>
          <p:sp>
            <p:nvSpPr>
              <p:cNvPr id="2870" name="Freeform 725">
                <a:extLst>
                  <a:ext uri="{FF2B5EF4-FFF2-40B4-BE49-F238E27FC236}">
                    <a16:creationId xmlns:a16="http://schemas.microsoft.com/office/drawing/2014/main" id="{CD24E776-F56D-394A-2DAA-FA6A1E3DEB69}"/>
                  </a:ext>
                </a:extLst>
              </p:cNvPr>
              <p:cNvSpPr/>
              <p:nvPr/>
            </p:nvSpPr>
            <p:spPr>
              <a:xfrm>
                <a:off x="3348422" y="2657016"/>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787878"/>
                </a:solidFill>
                <a:prstDash val="solid"/>
                <a:miter/>
              </a:ln>
            </p:spPr>
            <p:txBody>
              <a:bodyPr rtlCol="0" anchor="ctr"/>
              <a:lstStyle/>
              <a:p>
                <a:endParaRPr lang="en-US" sz="1800" dirty="0"/>
              </a:p>
            </p:txBody>
          </p:sp>
          <p:sp>
            <p:nvSpPr>
              <p:cNvPr id="2871" name="Freeform 726">
                <a:extLst>
                  <a:ext uri="{FF2B5EF4-FFF2-40B4-BE49-F238E27FC236}">
                    <a16:creationId xmlns:a16="http://schemas.microsoft.com/office/drawing/2014/main" id="{99C9F1A5-A627-FEE4-1BD9-BCECCB09FEFD}"/>
                  </a:ext>
                </a:extLst>
              </p:cNvPr>
              <p:cNvSpPr/>
              <p:nvPr/>
            </p:nvSpPr>
            <p:spPr>
              <a:xfrm>
                <a:off x="3377839" y="2628640"/>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787878"/>
                </a:solidFill>
                <a:prstDash val="solid"/>
                <a:miter/>
              </a:ln>
            </p:spPr>
            <p:txBody>
              <a:bodyPr rtlCol="0" anchor="ctr"/>
              <a:lstStyle/>
              <a:p>
                <a:endParaRPr lang="en-US" sz="1800" dirty="0"/>
              </a:p>
            </p:txBody>
          </p:sp>
          <p:sp>
            <p:nvSpPr>
              <p:cNvPr id="2872" name="Freeform 727">
                <a:extLst>
                  <a:ext uri="{FF2B5EF4-FFF2-40B4-BE49-F238E27FC236}">
                    <a16:creationId xmlns:a16="http://schemas.microsoft.com/office/drawing/2014/main" id="{A1A78CDD-B496-5713-EA31-7458FF8B6DB0}"/>
                  </a:ext>
                </a:extLst>
              </p:cNvPr>
              <p:cNvSpPr/>
              <p:nvPr/>
            </p:nvSpPr>
            <p:spPr>
              <a:xfrm>
                <a:off x="3619356" y="2935822"/>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787878"/>
                </a:solidFill>
                <a:prstDash val="solid"/>
                <a:miter/>
              </a:ln>
            </p:spPr>
            <p:txBody>
              <a:bodyPr rtlCol="0" anchor="ctr"/>
              <a:lstStyle/>
              <a:p>
                <a:endParaRPr lang="en-US" sz="1800" dirty="0"/>
              </a:p>
            </p:txBody>
          </p:sp>
          <p:sp>
            <p:nvSpPr>
              <p:cNvPr id="2873" name="Freeform 728">
                <a:extLst>
                  <a:ext uri="{FF2B5EF4-FFF2-40B4-BE49-F238E27FC236}">
                    <a16:creationId xmlns:a16="http://schemas.microsoft.com/office/drawing/2014/main" id="{708E3387-BD9B-55F5-F620-DF50197B1EBC}"/>
                  </a:ext>
                </a:extLst>
              </p:cNvPr>
              <p:cNvSpPr/>
              <p:nvPr/>
            </p:nvSpPr>
            <p:spPr>
              <a:xfrm>
                <a:off x="3648774" y="2907445"/>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787878"/>
                </a:solidFill>
                <a:prstDash val="solid"/>
                <a:miter/>
              </a:ln>
            </p:spPr>
            <p:txBody>
              <a:bodyPr rtlCol="0" anchor="ctr"/>
              <a:lstStyle/>
              <a:p>
                <a:endParaRPr lang="en-US" sz="1800" dirty="0"/>
              </a:p>
            </p:txBody>
          </p:sp>
          <p:sp>
            <p:nvSpPr>
              <p:cNvPr id="2874" name="Freeform 729">
                <a:extLst>
                  <a:ext uri="{FF2B5EF4-FFF2-40B4-BE49-F238E27FC236}">
                    <a16:creationId xmlns:a16="http://schemas.microsoft.com/office/drawing/2014/main" id="{8FD4A82F-3B4C-51BD-0D3D-FCAA650DA419}"/>
                  </a:ext>
                </a:extLst>
              </p:cNvPr>
              <p:cNvSpPr/>
              <p:nvPr/>
            </p:nvSpPr>
            <p:spPr>
              <a:xfrm>
                <a:off x="3695980" y="3030022"/>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787878"/>
                </a:solidFill>
                <a:prstDash val="solid"/>
                <a:miter/>
              </a:ln>
            </p:spPr>
            <p:txBody>
              <a:bodyPr rtlCol="0" anchor="ctr"/>
              <a:lstStyle/>
              <a:p>
                <a:endParaRPr lang="en-US" sz="1800" dirty="0"/>
              </a:p>
            </p:txBody>
          </p:sp>
          <p:sp>
            <p:nvSpPr>
              <p:cNvPr id="2875" name="Freeform 730">
                <a:extLst>
                  <a:ext uri="{FF2B5EF4-FFF2-40B4-BE49-F238E27FC236}">
                    <a16:creationId xmlns:a16="http://schemas.microsoft.com/office/drawing/2014/main" id="{3B699C11-04C7-091C-EF15-FBD7E6DCA690}"/>
                  </a:ext>
                </a:extLst>
              </p:cNvPr>
              <p:cNvSpPr/>
              <p:nvPr/>
            </p:nvSpPr>
            <p:spPr>
              <a:xfrm>
                <a:off x="3725397" y="3001645"/>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787878"/>
                </a:solidFill>
                <a:prstDash val="solid"/>
                <a:miter/>
              </a:ln>
            </p:spPr>
            <p:txBody>
              <a:bodyPr rtlCol="0" anchor="ctr"/>
              <a:lstStyle/>
              <a:p>
                <a:endParaRPr lang="en-US" sz="1800" dirty="0"/>
              </a:p>
            </p:txBody>
          </p:sp>
          <p:sp>
            <p:nvSpPr>
              <p:cNvPr id="2876" name="Freeform 731">
                <a:extLst>
                  <a:ext uri="{FF2B5EF4-FFF2-40B4-BE49-F238E27FC236}">
                    <a16:creationId xmlns:a16="http://schemas.microsoft.com/office/drawing/2014/main" id="{F1A2811B-8C6B-BFEB-C8C7-939424312DBB}"/>
                  </a:ext>
                </a:extLst>
              </p:cNvPr>
              <p:cNvSpPr/>
              <p:nvPr/>
            </p:nvSpPr>
            <p:spPr>
              <a:xfrm>
                <a:off x="3743044" y="3053863"/>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787878"/>
                </a:solidFill>
                <a:prstDash val="solid"/>
                <a:miter/>
              </a:ln>
            </p:spPr>
            <p:txBody>
              <a:bodyPr rtlCol="0" anchor="ctr"/>
              <a:lstStyle/>
              <a:p>
                <a:endParaRPr lang="en-US" sz="1800" dirty="0"/>
              </a:p>
            </p:txBody>
          </p:sp>
          <p:sp>
            <p:nvSpPr>
              <p:cNvPr id="2877" name="Freeform 732">
                <a:extLst>
                  <a:ext uri="{FF2B5EF4-FFF2-40B4-BE49-F238E27FC236}">
                    <a16:creationId xmlns:a16="http://schemas.microsoft.com/office/drawing/2014/main" id="{556C1AF4-407E-1AE2-1C45-3BCA07A40336}"/>
                  </a:ext>
                </a:extLst>
              </p:cNvPr>
              <p:cNvSpPr/>
              <p:nvPr/>
            </p:nvSpPr>
            <p:spPr>
              <a:xfrm>
                <a:off x="3772462" y="3025486"/>
                <a:ext cx="17647" cy="56735"/>
              </a:xfrm>
              <a:custGeom>
                <a:avLst/>
                <a:gdLst>
                  <a:gd name="connsiteX0" fmla="*/ 0 w 17647"/>
                  <a:gd name="connsiteY0" fmla="*/ 0 h 56735"/>
                  <a:gd name="connsiteX1" fmla="*/ 0 w 17647"/>
                  <a:gd name="connsiteY1" fmla="*/ 56735 h 56735"/>
                </a:gdLst>
                <a:ahLst/>
                <a:cxnLst>
                  <a:cxn ang="0">
                    <a:pos x="connsiteX0" y="connsiteY0"/>
                  </a:cxn>
                  <a:cxn ang="0">
                    <a:pos x="connsiteX1" y="connsiteY1"/>
                  </a:cxn>
                </a:cxnLst>
                <a:rect l="l" t="t" r="r" b="b"/>
                <a:pathLst>
                  <a:path w="17647" h="56735">
                    <a:moveTo>
                      <a:pt x="0" y="0"/>
                    </a:moveTo>
                    <a:lnTo>
                      <a:pt x="0" y="56735"/>
                    </a:lnTo>
                  </a:path>
                </a:pathLst>
              </a:custGeom>
              <a:ln w="9624" cap="sq">
                <a:solidFill>
                  <a:srgbClr val="787878"/>
                </a:solidFill>
                <a:prstDash val="solid"/>
                <a:miter/>
              </a:ln>
            </p:spPr>
            <p:txBody>
              <a:bodyPr rtlCol="0" anchor="ctr"/>
              <a:lstStyle/>
              <a:p>
                <a:endParaRPr lang="en-US" sz="1800" dirty="0"/>
              </a:p>
            </p:txBody>
          </p:sp>
          <p:sp>
            <p:nvSpPr>
              <p:cNvPr id="2878" name="Freeform 733">
                <a:extLst>
                  <a:ext uri="{FF2B5EF4-FFF2-40B4-BE49-F238E27FC236}">
                    <a16:creationId xmlns:a16="http://schemas.microsoft.com/office/drawing/2014/main" id="{243B97D8-B8EF-EF2D-E622-E02AA72F8618}"/>
                  </a:ext>
                </a:extLst>
              </p:cNvPr>
              <p:cNvSpPr/>
              <p:nvPr/>
            </p:nvSpPr>
            <p:spPr>
              <a:xfrm>
                <a:off x="3772603" y="3053863"/>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787878"/>
                </a:solidFill>
                <a:prstDash val="solid"/>
                <a:miter/>
              </a:ln>
            </p:spPr>
            <p:txBody>
              <a:bodyPr rtlCol="0" anchor="ctr"/>
              <a:lstStyle/>
              <a:p>
                <a:endParaRPr lang="en-US" sz="1800" dirty="0"/>
              </a:p>
            </p:txBody>
          </p:sp>
          <p:sp>
            <p:nvSpPr>
              <p:cNvPr id="2879" name="Freeform 734">
                <a:extLst>
                  <a:ext uri="{FF2B5EF4-FFF2-40B4-BE49-F238E27FC236}">
                    <a16:creationId xmlns:a16="http://schemas.microsoft.com/office/drawing/2014/main" id="{ECB583E9-03B3-BAB0-E711-070AD530112F}"/>
                  </a:ext>
                </a:extLst>
              </p:cNvPr>
              <p:cNvSpPr/>
              <p:nvPr/>
            </p:nvSpPr>
            <p:spPr>
              <a:xfrm>
                <a:off x="3802021" y="3025486"/>
                <a:ext cx="17647" cy="56735"/>
              </a:xfrm>
              <a:custGeom>
                <a:avLst/>
                <a:gdLst>
                  <a:gd name="connsiteX0" fmla="*/ 0 w 17647"/>
                  <a:gd name="connsiteY0" fmla="*/ 0 h 56735"/>
                  <a:gd name="connsiteX1" fmla="*/ 0 w 17647"/>
                  <a:gd name="connsiteY1" fmla="*/ 56735 h 56735"/>
                </a:gdLst>
                <a:ahLst/>
                <a:cxnLst>
                  <a:cxn ang="0">
                    <a:pos x="connsiteX0" y="connsiteY0"/>
                  </a:cxn>
                  <a:cxn ang="0">
                    <a:pos x="connsiteX1" y="connsiteY1"/>
                  </a:cxn>
                </a:cxnLst>
                <a:rect l="l" t="t" r="r" b="b"/>
                <a:pathLst>
                  <a:path w="17647" h="56735">
                    <a:moveTo>
                      <a:pt x="0" y="0"/>
                    </a:moveTo>
                    <a:lnTo>
                      <a:pt x="0" y="56735"/>
                    </a:lnTo>
                  </a:path>
                </a:pathLst>
              </a:custGeom>
              <a:ln w="9624" cap="sq">
                <a:solidFill>
                  <a:srgbClr val="787878"/>
                </a:solidFill>
                <a:prstDash val="solid"/>
                <a:miter/>
              </a:ln>
            </p:spPr>
            <p:txBody>
              <a:bodyPr rtlCol="0" anchor="ctr"/>
              <a:lstStyle/>
              <a:p>
                <a:endParaRPr lang="en-US" sz="1800" dirty="0"/>
              </a:p>
            </p:txBody>
          </p:sp>
          <p:sp>
            <p:nvSpPr>
              <p:cNvPr id="2880" name="Freeform 735">
                <a:extLst>
                  <a:ext uri="{FF2B5EF4-FFF2-40B4-BE49-F238E27FC236}">
                    <a16:creationId xmlns:a16="http://schemas.microsoft.com/office/drawing/2014/main" id="{5F286A87-3EBD-5E7A-905B-08E214727F6E}"/>
                  </a:ext>
                </a:extLst>
              </p:cNvPr>
              <p:cNvSpPr/>
              <p:nvPr/>
            </p:nvSpPr>
            <p:spPr>
              <a:xfrm>
                <a:off x="3854980" y="3127874"/>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787878"/>
                </a:solidFill>
                <a:prstDash val="solid"/>
                <a:miter/>
              </a:ln>
            </p:spPr>
            <p:txBody>
              <a:bodyPr rtlCol="0" anchor="ctr"/>
              <a:lstStyle/>
              <a:p>
                <a:endParaRPr lang="en-US" sz="1800" dirty="0"/>
              </a:p>
            </p:txBody>
          </p:sp>
          <p:sp>
            <p:nvSpPr>
              <p:cNvPr id="2881" name="Freeform 736">
                <a:extLst>
                  <a:ext uri="{FF2B5EF4-FFF2-40B4-BE49-F238E27FC236}">
                    <a16:creationId xmlns:a16="http://schemas.microsoft.com/office/drawing/2014/main" id="{7B5D6263-A676-28CA-5FB4-09212F350276}"/>
                  </a:ext>
                </a:extLst>
              </p:cNvPr>
              <p:cNvSpPr/>
              <p:nvPr/>
            </p:nvSpPr>
            <p:spPr>
              <a:xfrm>
                <a:off x="3884397" y="3099498"/>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787878"/>
                </a:solidFill>
                <a:prstDash val="solid"/>
                <a:miter/>
              </a:ln>
            </p:spPr>
            <p:txBody>
              <a:bodyPr rtlCol="0" anchor="ctr"/>
              <a:lstStyle/>
              <a:p>
                <a:endParaRPr lang="en-US" sz="1800" dirty="0"/>
              </a:p>
            </p:txBody>
          </p:sp>
          <p:sp>
            <p:nvSpPr>
              <p:cNvPr id="2882" name="Freeform 737">
                <a:extLst>
                  <a:ext uri="{FF2B5EF4-FFF2-40B4-BE49-F238E27FC236}">
                    <a16:creationId xmlns:a16="http://schemas.microsoft.com/office/drawing/2014/main" id="{20E76E90-5803-466B-1DB8-344B2AD82467}"/>
                  </a:ext>
                </a:extLst>
              </p:cNvPr>
              <p:cNvSpPr/>
              <p:nvPr/>
            </p:nvSpPr>
            <p:spPr>
              <a:xfrm>
                <a:off x="3872750" y="3228127"/>
                <a:ext cx="58852" cy="17647"/>
              </a:xfrm>
              <a:custGeom>
                <a:avLst/>
                <a:gdLst>
                  <a:gd name="connsiteX0" fmla="*/ 0 w 58852"/>
                  <a:gd name="connsiteY0" fmla="*/ 0 h 17647"/>
                  <a:gd name="connsiteX1" fmla="*/ 58853 w 58852"/>
                  <a:gd name="connsiteY1" fmla="*/ 0 h 17647"/>
                </a:gdLst>
                <a:ahLst/>
                <a:cxnLst>
                  <a:cxn ang="0">
                    <a:pos x="connsiteX0" y="connsiteY0"/>
                  </a:cxn>
                  <a:cxn ang="0">
                    <a:pos x="connsiteX1" y="connsiteY1"/>
                  </a:cxn>
                </a:cxnLst>
                <a:rect l="l" t="t" r="r" b="b"/>
                <a:pathLst>
                  <a:path w="58852" h="17647">
                    <a:moveTo>
                      <a:pt x="0" y="0"/>
                    </a:moveTo>
                    <a:lnTo>
                      <a:pt x="58853" y="0"/>
                    </a:lnTo>
                  </a:path>
                </a:pathLst>
              </a:custGeom>
              <a:ln w="9624" cap="sq">
                <a:solidFill>
                  <a:srgbClr val="787878"/>
                </a:solidFill>
                <a:prstDash val="solid"/>
                <a:miter/>
              </a:ln>
            </p:spPr>
            <p:txBody>
              <a:bodyPr rtlCol="0" anchor="ctr"/>
              <a:lstStyle/>
              <a:p>
                <a:endParaRPr lang="en-US" sz="1800" dirty="0"/>
              </a:p>
            </p:txBody>
          </p:sp>
          <p:sp>
            <p:nvSpPr>
              <p:cNvPr id="2883" name="Freeform 738">
                <a:extLst>
                  <a:ext uri="{FF2B5EF4-FFF2-40B4-BE49-F238E27FC236}">
                    <a16:creationId xmlns:a16="http://schemas.microsoft.com/office/drawing/2014/main" id="{C6397D82-7CBE-77AA-08F9-D32073CB86DC}"/>
                  </a:ext>
                </a:extLst>
              </p:cNvPr>
              <p:cNvSpPr/>
              <p:nvPr/>
            </p:nvSpPr>
            <p:spPr>
              <a:xfrm>
                <a:off x="3902185" y="3199751"/>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787878"/>
                </a:solidFill>
                <a:prstDash val="solid"/>
                <a:miter/>
              </a:ln>
            </p:spPr>
            <p:txBody>
              <a:bodyPr rtlCol="0" anchor="ctr"/>
              <a:lstStyle/>
              <a:p>
                <a:endParaRPr lang="en-US" sz="1800" dirty="0"/>
              </a:p>
            </p:txBody>
          </p:sp>
          <p:sp>
            <p:nvSpPr>
              <p:cNvPr id="2884" name="Freeform 739">
                <a:extLst>
                  <a:ext uri="{FF2B5EF4-FFF2-40B4-BE49-F238E27FC236}">
                    <a16:creationId xmlns:a16="http://schemas.microsoft.com/office/drawing/2014/main" id="{DC5BDF87-8D97-0071-6A88-F059CC559C18}"/>
                  </a:ext>
                </a:extLst>
              </p:cNvPr>
              <p:cNvSpPr/>
              <p:nvPr/>
            </p:nvSpPr>
            <p:spPr>
              <a:xfrm>
                <a:off x="3913938" y="3279074"/>
                <a:ext cx="58852" cy="17647"/>
              </a:xfrm>
              <a:custGeom>
                <a:avLst/>
                <a:gdLst>
                  <a:gd name="connsiteX0" fmla="*/ 0 w 58852"/>
                  <a:gd name="connsiteY0" fmla="*/ 0 h 17647"/>
                  <a:gd name="connsiteX1" fmla="*/ 58853 w 58852"/>
                  <a:gd name="connsiteY1" fmla="*/ 0 h 17647"/>
                </a:gdLst>
                <a:ahLst/>
                <a:cxnLst>
                  <a:cxn ang="0">
                    <a:pos x="connsiteX0" y="connsiteY0"/>
                  </a:cxn>
                  <a:cxn ang="0">
                    <a:pos x="connsiteX1" y="connsiteY1"/>
                  </a:cxn>
                </a:cxnLst>
                <a:rect l="l" t="t" r="r" b="b"/>
                <a:pathLst>
                  <a:path w="58852" h="17647">
                    <a:moveTo>
                      <a:pt x="0" y="0"/>
                    </a:moveTo>
                    <a:lnTo>
                      <a:pt x="58853" y="0"/>
                    </a:lnTo>
                  </a:path>
                </a:pathLst>
              </a:custGeom>
              <a:ln w="9624" cap="sq">
                <a:solidFill>
                  <a:srgbClr val="787878"/>
                </a:solidFill>
                <a:prstDash val="solid"/>
                <a:miter/>
              </a:ln>
            </p:spPr>
            <p:txBody>
              <a:bodyPr rtlCol="0" anchor="ctr"/>
              <a:lstStyle/>
              <a:p>
                <a:endParaRPr lang="en-US" sz="1800" dirty="0"/>
              </a:p>
            </p:txBody>
          </p:sp>
          <p:sp>
            <p:nvSpPr>
              <p:cNvPr id="2885" name="Freeform 740">
                <a:extLst>
                  <a:ext uri="{FF2B5EF4-FFF2-40B4-BE49-F238E27FC236}">
                    <a16:creationId xmlns:a16="http://schemas.microsoft.com/office/drawing/2014/main" id="{DB5966CC-6A50-8BB0-5AB7-297170C3900C}"/>
                  </a:ext>
                </a:extLst>
              </p:cNvPr>
              <p:cNvSpPr/>
              <p:nvPr/>
            </p:nvSpPr>
            <p:spPr>
              <a:xfrm>
                <a:off x="3943374" y="3250698"/>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787878"/>
                </a:solidFill>
                <a:prstDash val="solid"/>
                <a:miter/>
              </a:ln>
            </p:spPr>
            <p:txBody>
              <a:bodyPr rtlCol="0" anchor="ctr"/>
              <a:lstStyle/>
              <a:p>
                <a:endParaRPr lang="en-US" sz="1800" dirty="0"/>
              </a:p>
            </p:txBody>
          </p:sp>
          <p:sp>
            <p:nvSpPr>
              <p:cNvPr id="2886" name="Freeform 741">
                <a:extLst>
                  <a:ext uri="{FF2B5EF4-FFF2-40B4-BE49-F238E27FC236}">
                    <a16:creationId xmlns:a16="http://schemas.microsoft.com/office/drawing/2014/main" id="{5FFF4A45-2BFC-AF7D-EFCF-7180E7012383}"/>
                  </a:ext>
                </a:extLst>
              </p:cNvPr>
              <p:cNvSpPr/>
              <p:nvPr/>
            </p:nvSpPr>
            <p:spPr>
              <a:xfrm>
                <a:off x="4008226" y="3383103"/>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787878"/>
                </a:solidFill>
                <a:prstDash val="solid"/>
                <a:miter/>
              </a:ln>
            </p:spPr>
            <p:txBody>
              <a:bodyPr rtlCol="0" anchor="ctr"/>
              <a:lstStyle/>
              <a:p>
                <a:endParaRPr lang="en-US" sz="1800" dirty="0"/>
              </a:p>
            </p:txBody>
          </p:sp>
          <p:sp>
            <p:nvSpPr>
              <p:cNvPr id="2887" name="Freeform 742">
                <a:extLst>
                  <a:ext uri="{FF2B5EF4-FFF2-40B4-BE49-F238E27FC236}">
                    <a16:creationId xmlns:a16="http://schemas.microsoft.com/office/drawing/2014/main" id="{BEE39D88-79FF-0D4D-7D84-77BA2915DDC1}"/>
                  </a:ext>
                </a:extLst>
              </p:cNvPr>
              <p:cNvSpPr/>
              <p:nvPr/>
            </p:nvSpPr>
            <p:spPr>
              <a:xfrm>
                <a:off x="4037644" y="3354727"/>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787878"/>
                </a:solidFill>
                <a:prstDash val="solid"/>
                <a:miter/>
              </a:ln>
            </p:spPr>
            <p:txBody>
              <a:bodyPr rtlCol="0" anchor="ctr"/>
              <a:lstStyle/>
              <a:p>
                <a:endParaRPr lang="en-US" sz="1800" dirty="0"/>
              </a:p>
            </p:txBody>
          </p:sp>
          <p:sp>
            <p:nvSpPr>
              <p:cNvPr id="2888" name="Freeform 743">
                <a:extLst>
                  <a:ext uri="{FF2B5EF4-FFF2-40B4-BE49-F238E27FC236}">
                    <a16:creationId xmlns:a16="http://schemas.microsoft.com/office/drawing/2014/main" id="{E12B9B0D-6297-F676-C273-C10F377A4887}"/>
                  </a:ext>
                </a:extLst>
              </p:cNvPr>
              <p:cNvSpPr/>
              <p:nvPr/>
            </p:nvSpPr>
            <p:spPr>
              <a:xfrm>
                <a:off x="4025873" y="3383103"/>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787878"/>
                </a:solidFill>
                <a:prstDash val="solid"/>
                <a:miter/>
              </a:ln>
            </p:spPr>
            <p:txBody>
              <a:bodyPr rtlCol="0" anchor="ctr"/>
              <a:lstStyle/>
              <a:p>
                <a:endParaRPr lang="en-US" sz="1800" dirty="0"/>
              </a:p>
            </p:txBody>
          </p:sp>
          <p:sp>
            <p:nvSpPr>
              <p:cNvPr id="2889" name="Freeform 744">
                <a:extLst>
                  <a:ext uri="{FF2B5EF4-FFF2-40B4-BE49-F238E27FC236}">
                    <a16:creationId xmlns:a16="http://schemas.microsoft.com/office/drawing/2014/main" id="{F4BD6E72-2D61-6010-F87E-9CA0B5CE4C8A}"/>
                  </a:ext>
                </a:extLst>
              </p:cNvPr>
              <p:cNvSpPr/>
              <p:nvPr/>
            </p:nvSpPr>
            <p:spPr>
              <a:xfrm>
                <a:off x="4055291" y="3354727"/>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787878"/>
                </a:solidFill>
                <a:prstDash val="solid"/>
                <a:miter/>
              </a:ln>
            </p:spPr>
            <p:txBody>
              <a:bodyPr rtlCol="0" anchor="ctr"/>
              <a:lstStyle/>
              <a:p>
                <a:endParaRPr lang="en-US" sz="1800" dirty="0"/>
              </a:p>
            </p:txBody>
          </p:sp>
          <p:sp>
            <p:nvSpPr>
              <p:cNvPr id="2890" name="Freeform 745">
                <a:extLst>
                  <a:ext uri="{FF2B5EF4-FFF2-40B4-BE49-F238E27FC236}">
                    <a16:creationId xmlns:a16="http://schemas.microsoft.com/office/drawing/2014/main" id="{7B38C8E6-CD2D-D2DE-61EA-F96B12108F87}"/>
                  </a:ext>
                </a:extLst>
              </p:cNvPr>
              <p:cNvSpPr/>
              <p:nvPr/>
            </p:nvSpPr>
            <p:spPr>
              <a:xfrm>
                <a:off x="4108373" y="3464562"/>
                <a:ext cx="58852" cy="17647"/>
              </a:xfrm>
              <a:custGeom>
                <a:avLst/>
                <a:gdLst>
                  <a:gd name="connsiteX0" fmla="*/ 0 w 58852"/>
                  <a:gd name="connsiteY0" fmla="*/ 0 h 17647"/>
                  <a:gd name="connsiteX1" fmla="*/ 58853 w 58852"/>
                  <a:gd name="connsiteY1" fmla="*/ 0 h 17647"/>
                </a:gdLst>
                <a:ahLst/>
                <a:cxnLst>
                  <a:cxn ang="0">
                    <a:pos x="connsiteX0" y="connsiteY0"/>
                  </a:cxn>
                  <a:cxn ang="0">
                    <a:pos x="connsiteX1" y="connsiteY1"/>
                  </a:cxn>
                </a:cxnLst>
                <a:rect l="l" t="t" r="r" b="b"/>
                <a:pathLst>
                  <a:path w="58852" h="17647">
                    <a:moveTo>
                      <a:pt x="0" y="0"/>
                    </a:moveTo>
                    <a:lnTo>
                      <a:pt x="58853" y="0"/>
                    </a:lnTo>
                  </a:path>
                </a:pathLst>
              </a:custGeom>
              <a:ln w="9624" cap="sq">
                <a:solidFill>
                  <a:srgbClr val="787878"/>
                </a:solidFill>
                <a:prstDash val="solid"/>
                <a:miter/>
              </a:ln>
            </p:spPr>
            <p:txBody>
              <a:bodyPr rtlCol="0" anchor="ctr"/>
              <a:lstStyle/>
              <a:p>
                <a:endParaRPr lang="en-US" sz="1800" dirty="0"/>
              </a:p>
            </p:txBody>
          </p:sp>
          <p:sp>
            <p:nvSpPr>
              <p:cNvPr id="2891" name="Freeform 746">
                <a:extLst>
                  <a:ext uri="{FF2B5EF4-FFF2-40B4-BE49-F238E27FC236}">
                    <a16:creationId xmlns:a16="http://schemas.microsoft.com/office/drawing/2014/main" id="{F2EF73FB-63B0-2217-CD11-DC0FA648C8D9}"/>
                  </a:ext>
                </a:extLst>
              </p:cNvPr>
              <p:cNvSpPr/>
              <p:nvPr/>
            </p:nvSpPr>
            <p:spPr>
              <a:xfrm>
                <a:off x="4137808" y="3436203"/>
                <a:ext cx="17647" cy="56735"/>
              </a:xfrm>
              <a:custGeom>
                <a:avLst/>
                <a:gdLst>
                  <a:gd name="connsiteX0" fmla="*/ 0 w 17647"/>
                  <a:gd name="connsiteY0" fmla="*/ 0 h 56735"/>
                  <a:gd name="connsiteX1" fmla="*/ 0 w 17647"/>
                  <a:gd name="connsiteY1" fmla="*/ 56735 h 56735"/>
                </a:gdLst>
                <a:ahLst/>
                <a:cxnLst>
                  <a:cxn ang="0">
                    <a:pos x="connsiteX0" y="connsiteY0"/>
                  </a:cxn>
                  <a:cxn ang="0">
                    <a:pos x="connsiteX1" y="connsiteY1"/>
                  </a:cxn>
                </a:cxnLst>
                <a:rect l="l" t="t" r="r" b="b"/>
                <a:pathLst>
                  <a:path w="17647" h="56735">
                    <a:moveTo>
                      <a:pt x="0" y="0"/>
                    </a:moveTo>
                    <a:lnTo>
                      <a:pt x="0" y="56735"/>
                    </a:lnTo>
                  </a:path>
                </a:pathLst>
              </a:custGeom>
              <a:ln w="9624" cap="sq">
                <a:solidFill>
                  <a:srgbClr val="787878"/>
                </a:solidFill>
                <a:prstDash val="solid"/>
                <a:miter/>
              </a:ln>
            </p:spPr>
            <p:txBody>
              <a:bodyPr rtlCol="0" anchor="ctr"/>
              <a:lstStyle/>
              <a:p>
                <a:endParaRPr lang="en-US" sz="1800" dirty="0"/>
              </a:p>
            </p:txBody>
          </p:sp>
          <p:sp>
            <p:nvSpPr>
              <p:cNvPr id="2892" name="Freeform 747">
                <a:extLst>
                  <a:ext uri="{FF2B5EF4-FFF2-40B4-BE49-F238E27FC236}">
                    <a16:creationId xmlns:a16="http://schemas.microsoft.com/office/drawing/2014/main" id="{AF43C489-3765-EAF0-ACE1-C13E89001A3F}"/>
                  </a:ext>
                </a:extLst>
              </p:cNvPr>
              <p:cNvSpPr/>
              <p:nvPr/>
            </p:nvSpPr>
            <p:spPr>
              <a:xfrm>
                <a:off x="4131914" y="3492303"/>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787878"/>
                </a:solidFill>
                <a:prstDash val="solid"/>
                <a:miter/>
              </a:ln>
            </p:spPr>
            <p:txBody>
              <a:bodyPr rtlCol="0" anchor="ctr"/>
              <a:lstStyle/>
              <a:p>
                <a:endParaRPr lang="en-US" sz="1800" dirty="0"/>
              </a:p>
            </p:txBody>
          </p:sp>
          <p:sp>
            <p:nvSpPr>
              <p:cNvPr id="2893" name="Freeform 748">
                <a:extLst>
                  <a:ext uri="{FF2B5EF4-FFF2-40B4-BE49-F238E27FC236}">
                    <a16:creationId xmlns:a16="http://schemas.microsoft.com/office/drawing/2014/main" id="{73838B30-F0AD-10AA-7C20-DBEC81378BC7}"/>
                  </a:ext>
                </a:extLst>
              </p:cNvPr>
              <p:cNvSpPr/>
              <p:nvPr/>
            </p:nvSpPr>
            <p:spPr>
              <a:xfrm>
                <a:off x="4161332" y="3463944"/>
                <a:ext cx="17647" cy="56735"/>
              </a:xfrm>
              <a:custGeom>
                <a:avLst/>
                <a:gdLst>
                  <a:gd name="connsiteX0" fmla="*/ 0 w 17647"/>
                  <a:gd name="connsiteY0" fmla="*/ 0 h 56735"/>
                  <a:gd name="connsiteX1" fmla="*/ 0 w 17647"/>
                  <a:gd name="connsiteY1" fmla="*/ 56735 h 56735"/>
                </a:gdLst>
                <a:ahLst/>
                <a:cxnLst>
                  <a:cxn ang="0">
                    <a:pos x="connsiteX0" y="connsiteY0"/>
                  </a:cxn>
                  <a:cxn ang="0">
                    <a:pos x="connsiteX1" y="connsiteY1"/>
                  </a:cxn>
                </a:cxnLst>
                <a:rect l="l" t="t" r="r" b="b"/>
                <a:pathLst>
                  <a:path w="17647" h="56735">
                    <a:moveTo>
                      <a:pt x="0" y="0"/>
                    </a:moveTo>
                    <a:lnTo>
                      <a:pt x="0" y="56735"/>
                    </a:lnTo>
                  </a:path>
                </a:pathLst>
              </a:custGeom>
              <a:ln w="9624" cap="sq">
                <a:solidFill>
                  <a:srgbClr val="787878"/>
                </a:solidFill>
                <a:prstDash val="solid"/>
                <a:miter/>
              </a:ln>
            </p:spPr>
            <p:txBody>
              <a:bodyPr rtlCol="0" anchor="ctr"/>
              <a:lstStyle/>
              <a:p>
                <a:endParaRPr lang="en-US" sz="1800" dirty="0"/>
              </a:p>
            </p:txBody>
          </p:sp>
          <p:sp>
            <p:nvSpPr>
              <p:cNvPr id="2894" name="Freeform 749">
                <a:extLst>
                  <a:ext uri="{FF2B5EF4-FFF2-40B4-BE49-F238E27FC236}">
                    <a16:creationId xmlns:a16="http://schemas.microsoft.com/office/drawing/2014/main" id="{78708C49-0F59-8AF9-1AFA-5303AB64C82D}"/>
                  </a:ext>
                </a:extLst>
              </p:cNvPr>
              <p:cNvSpPr/>
              <p:nvPr/>
            </p:nvSpPr>
            <p:spPr>
              <a:xfrm>
                <a:off x="4343996" y="3606303"/>
                <a:ext cx="58852" cy="17647"/>
              </a:xfrm>
              <a:custGeom>
                <a:avLst/>
                <a:gdLst>
                  <a:gd name="connsiteX0" fmla="*/ 0 w 58852"/>
                  <a:gd name="connsiteY0" fmla="*/ 0 h 17647"/>
                  <a:gd name="connsiteX1" fmla="*/ 58853 w 58852"/>
                  <a:gd name="connsiteY1" fmla="*/ 0 h 17647"/>
                </a:gdLst>
                <a:ahLst/>
                <a:cxnLst>
                  <a:cxn ang="0">
                    <a:pos x="connsiteX0" y="connsiteY0"/>
                  </a:cxn>
                  <a:cxn ang="0">
                    <a:pos x="connsiteX1" y="connsiteY1"/>
                  </a:cxn>
                </a:cxnLst>
                <a:rect l="l" t="t" r="r" b="b"/>
                <a:pathLst>
                  <a:path w="58852" h="17647">
                    <a:moveTo>
                      <a:pt x="0" y="0"/>
                    </a:moveTo>
                    <a:lnTo>
                      <a:pt x="58853" y="0"/>
                    </a:lnTo>
                  </a:path>
                </a:pathLst>
              </a:custGeom>
              <a:ln w="9624" cap="sq">
                <a:solidFill>
                  <a:srgbClr val="787878"/>
                </a:solidFill>
                <a:prstDash val="solid"/>
                <a:miter/>
              </a:ln>
            </p:spPr>
            <p:txBody>
              <a:bodyPr rtlCol="0" anchor="ctr"/>
              <a:lstStyle/>
              <a:p>
                <a:endParaRPr lang="en-US" sz="1800" dirty="0"/>
              </a:p>
            </p:txBody>
          </p:sp>
          <p:sp>
            <p:nvSpPr>
              <p:cNvPr id="2895" name="Freeform 750">
                <a:extLst>
                  <a:ext uri="{FF2B5EF4-FFF2-40B4-BE49-F238E27FC236}">
                    <a16:creationId xmlns:a16="http://schemas.microsoft.com/office/drawing/2014/main" id="{611C5D17-67B8-DB45-C2E3-B79BF9BB5683}"/>
                  </a:ext>
                </a:extLst>
              </p:cNvPr>
              <p:cNvSpPr/>
              <p:nvPr/>
            </p:nvSpPr>
            <p:spPr>
              <a:xfrm>
                <a:off x="4373432" y="3577927"/>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787878"/>
                </a:solidFill>
                <a:prstDash val="solid"/>
                <a:miter/>
              </a:ln>
            </p:spPr>
            <p:txBody>
              <a:bodyPr rtlCol="0" anchor="ctr"/>
              <a:lstStyle/>
              <a:p>
                <a:endParaRPr lang="en-US" sz="1800" dirty="0"/>
              </a:p>
            </p:txBody>
          </p:sp>
          <p:sp>
            <p:nvSpPr>
              <p:cNvPr id="2896" name="Freeform 751">
                <a:extLst>
                  <a:ext uri="{FF2B5EF4-FFF2-40B4-BE49-F238E27FC236}">
                    <a16:creationId xmlns:a16="http://schemas.microsoft.com/office/drawing/2014/main" id="{EFCB0F24-9C49-C7A9-6240-5A0925F0AD1A}"/>
                  </a:ext>
                </a:extLst>
              </p:cNvPr>
              <p:cNvSpPr/>
              <p:nvPr/>
            </p:nvSpPr>
            <p:spPr>
              <a:xfrm>
                <a:off x="4573743" y="3694203"/>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787878"/>
                </a:solidFill>
                <a:prstDash val="solid"/>
                <a:miter/>
              </a:ln>
            </p:spPr>
            <p:txBody>
              <a:bodyPr rtlCol="0" anchor="ctr"/>
              <a:lstStyle/>
              <a:p>
                <a:endParaRPr lang="en-US" sz="1800" dirty="0"/>
              </a:p>
            </p:txBody>
          </p:sp>
          <p:sp>
            <p:nvSpPr>
              <p:cNvPr id="2897" name="Freeform 752">
                <a:extLst>
                  <a:ext uri="{FF2B5EF4-FFF2-40B4-BE49-F238E27FC236}">
                    <a16:creationId xmlns:a16="http://schemas.microsoft.com/office/drawing/2014/main" id="{6AACB139-A678-1ECD-74FE-141120D2580E}"/>
                  </a:ext>
                </a:extLst>
              </p:cNvPr>
              <p:cNvSpPr/>
              <p:nvPr/>
            </p:nvSpPr>
            <p:spPr>
              <a:xfrm>
                <a:off x="4603161" y="3665826"/>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787878"/>
                </a:solidFill>
                <a:prstDash val="solid"/>
                <a:miter/>
              </a:ln>
            </p:spPr>
            <p:txBody>
              <a:bodyPr rtlCol="0" anchor="ctr"/>
              <a:lstStyle/>
              <a:p>
                <a:endParaRPr lang="en-US" sz="1800" dirty="0"/>
              </a:p>
            </p:txBody>
          </p:sp>
          <p:sp>
            <p:nvSpPr>
              <p:cNvPr id="2898" name="Freeform 753">
                <a:extLst>
                  <a:ext uri="{FF2B5EF4-FFF2-40B4-BE49-F238E27FC236}">
                    <a16:creationId xmlns:a16="http://schemas.microsoft.com/office/drawing/2014/main" id="{679EBA3F-277A-254B-0A3A-E2ABE87E233E}"/>
                  </a:ext>
                </a:extLst>
              </p:cNvPr>
              <p:cNvSpPr/>
              <p:nvPr/>
            </p:nvSpPr>
            <p:spPr>
              <a:xfrm>
                <a:off x="4579619" y="3694203"/>
                <a:ext cx="58852" cy="17647"/>
              </a:xfrm>
              <a:custGeom>
                <a:avLst/>
                <a:gdLst>
                  <a:gd name="connsiteX0" fmla="*/ 0 w 58852"/>
                  <a:gd name="connsiteY0" fmla="*/ 0 h 17647"/>
                  <a:gd name="connsiteX1" fmla="*/ 58853 w 58852"/>
                  <a:gd name="connsiteY1" fmla="*/ 0 h 17647"/>
                </a:gdLst>
                <a:ahLst/>
                <a:cxnLst>
                  <a:cxn ang="0">
                    <a:pos x="connsiteX0" y="connsiteY0"/>
                  </a:cxn>
                  <a:cxn ang="0">
                    <a:pos x="connsiteX1" y="connsiteY1"/>
                  </a:cxn>
                </a:cxnLst>
                <a:rect l="l" t="t" r="r" b="b"/>
                <a:pathLst>
                  <a:path w="58852" h="17647">
                    <a:moveTo>
                      <a:pt x="0" y="0"/>
                    </a:moveTo>
                    <a:lnTo>
                      <a:pt x="58853" y="0"/>
                    </a:lnTo>
                  </a:path>
                </a:pathLst>
              </a:custGeom>
              <a:ln w="9624" cap="sq">
                <a:solidFill>
                  <a:srgbClr val="787878"/>
                </a:solidFill>
                <a:prstDash val="solid"/>
                <a:miter/>
              </a:ln>
            </p:spPr>
            <p:txBody>
              <a:bodyPr rtlCol="0" anchor="ctr"/>
              <a:lstStyle/>
              <a:p>
                <a:endParaRPr lang="en-US" sz="1800" dirty="0"/>
              </a:p>
            </p:txBody>
          </p:sp>
          <p:sp>
            <p:nvSpPr>
              <p:cNvPr id="2899" name="Freeform 754">
                <a:extLst>
                  <a:ext uri="{FF2B5EF4-FFF2-40B4-BE49-F238E27FC236}">
                    <a16:creationId xmlns:a16="http://schemas.microsoft.com/office/drawing/2014/main" id="{DAE9D3D3-DAAF-C14B-9DD9-2CE9E8C32206}"/>
                  </a:ext>
                </a:extLst>
              </p:cNvPr>
              <p:cNvSpPr/>
              <p:nvPr/>
            </p:nvSpPr>
            <p:spPr>
              <a:xfrm>
                <a:off x="4609055" y="3665826"/>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787878"/>
                </a:solidFill>
                <a:prstDash val="solid"/>
                <a:miter/>
              </a:ln>
            </p:spPr>
            <p:txBody>
              <a:bodyPr rtlCol="0" anchor="ctr"/>
              <a:lstStyle/>
              <a:p>
                <a:endParaRPr lang="en-US" sz="1800" dirty="0"/>
              </a:p>
            </p:txBody>
          </p:sp>
          <p:sp>
            <p:nvSpPr>
              <p:cNvPr id="2900" name="Freeform 755">
                <a:extLst>
                  <a:ext uri="{FF2B5EF4-FFF2-40B4-BE49-F238E27FC236}">
                    <a16:creationId xmlns:a16="http://schemas.microsoft.com/office/drawing/2014/main" id="{90005B74-020F-C2F8-961B-A6E3C99D8EEB}"/>
                  </a:ext>
                </a:extLst>
              </p:cNvPr>
              <p:cNvSpPr/>
              <p:nvPr/>
            </p:nvSpPr>
            <p:spPr>
              <a:xfrm>
                <a:off x="4750531" y="3787891"/>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787878"/>
                </a:solidFill>
                <a:prstDash val="solid"/>
                <a:miter/>
              </a:ln>
            </p:spPr>
            <p:txBody>
              <a:bodyPr rtlCol="0" anchor="ctr"/>
              <a:lstStyle/>
              <a:p>
                <a:endParaRPr lang="en-US" sz="1800" dirty="0"/>
              </a:p>
            </p:txBody>
          </p:sp>
          <p:sp>
            <p:nvSpPr>
              <p:cNvPr id="2901" name="Freeform 756">
                <a:extLst>
                  <a:ext uri="{FF2B5EF4-FFF2-40B4-BE49-F238E27FC236}">
                    <a16:creationId xmlns:a16="http://schemas.microsoft.com/office/drawing/2014/main" id="{17D2D178-AB8A-8666-5A25-25FF4660B55E}"/>
                  </a:ext>
                </a:extLst>
              </p:cNvPr>
              <p:cNvSpPr/>
              <p:nvPr/>
            </p:nvSpPr>
            <p:spPr>
              <a:xfrm>
                <a:off x="4779949" y="3759514"/>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787878"/>
                </a:solidFill>
                <a:prstDash val="solid"/>
                <a:miter/>
              </a:ln>
            </p:spPr>
            <p:txBody>
              <a:bodyPr rtlCol="0" anchor="ctr"/>
              <a:lstStyle/>
              <a:p>
                <a:endParaRPr lang="en-US" sz="1800" dirty="0"/>
              </a:p>
            </p:txBody>
          </p:sp>
          <p:sp>
            <p:nvSpPr>
              <p:cNvPr id="2902" name="Freeform 757">
                <a:extLst>
                  <a:ext uri="{FF2B5EF4-FFF2-40B4-BE49-F238E27FC236}">
                    <a16:creationId xmlns:a16="http://schemas.microsoft.com/office/drawing/2014/main" id="{6055D490-EAB2-D9CE-6732-DC0E3A6A5F1F}"/>
                  </a:ext>
                </a:extLst>
              </p:cNvPr>
              <p:cNvSpPr/>
              <p:nvPr/>
            </p:nvSpPr>
            <p:spPr>
              <a:xfrm>
                <a:off x="4950842" y="3852832"/>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787878"/>
                </a:solidFill>
                <a:prstDash val="solid"/>
                <a:miter/>
              </a:ln>
            </p:spPr>
            <p:txBody>
              <a:bodyPr rtlCol="0" anchor="ctr"/>
              <a:lstStyle/>
              <a:p>
                <a:endParaRPr lang="en-US" sz="1800" dirty="0"/>
              </a:p>
            </p:txBody>
          </p:sp>
          <p:sp>
            <p:nvSpPr>
              <p:cNvPr id="2903" name="Freeform 758">
                <a:extLst>
                  <a:ext uri="{FF2B5EF4-FFF2-40B4-BE49-F238E27FC236}">
                    <a16:creationId xmlns:a16="http://schemas.microsoft.com/office/drawing/2014/main" id="{72075016-9AF9-709F-898A-4CE2623DD977}"/>
                  </a:ext>
                </a:extLst>
              </p:cNvPr>
              <p:cNvSpPr/>
              <p:nvPr/>
            </p:nvSpPr>
            <p:spPr>
              <a:xfrm>
                <a:off x="4980260" y="3824456"/>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787878"/>
                </a:solidFill>
                <a:prstDash val="solid"/>
                <a:miter/>
              </a:ln>
            </p:spPr>
            <p:txBody>
              <a:bodyPr rtlCol="0" anchor="ctr"/>
              <a:lstStyle/>
              <a:p>
                <a:endParaRPr lang="en-US" sz="1800" dirty="0"/>
              </a:p>
            </p:txBody>
          </p:sp>
          <p:sp>
            <p:nvSpPr>
              <p:cNvPr id="2904" name="Freeform 759">
                <a:extLst>
                  <a:ext uri="{FF2B5EF4-FFF2-40B4-BE49-F238E27FC236}">
                    <a16:creationId xmlns:a16="http://schemas.microsoft.com/office/drawing/2014/main" id="{D02395DA-070F-CFCD-4F97-B4756D720308}"/>
                  </a:ext>
                </a:extLst>
              </p:cNvPr>
              <p:cNvSpPr/>
              <p:nvPr/>
            </p:nvSpPr>
            <p:spPr>
              <a:xfrm>
                <a:off x="5115736" y="3954355"/>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787878"/>
                </a:solidFill>
                <a:prstDash val="solid"/>
                <a:miter/>
              </a:ln>
            </p:spPr>
            <p:txBody>
              <a:bodyPr rtlCol="0" anchor="ctr"/>
              <a:lstStyle/>
              <a:p>
                <a:endParaRPr lang="en-US" sz="1800" dirty="0"/>
              </a:p>
            </p:txBody>
          </p:sp>
          <p:sp>
            <p:nvSpPr>
              <p:cNvPr id="2905" name="Freeform 760">
                <a:extLst>
                  <a:ext uri="{FF2B5EF4-FFF2-40B4-BE49-F238E27FC236}">
                    <a16:creationId xmlns:a16="http://schemas.microsoft.com/office/drawing/2014/main" id="{054C3439-79C7-80D8-FF57-AEAA90EEBE7A}"/>
                  </a:ext>
                </a:extLst>
              </p:cNvPr>
              <p:cNvSpPr/>
              <p:nvPr/>
            </p:nvSpPr>
            <p:spPr>
              <a:xfrm>
                <a:off x="5145154" y="3925979"/>
                <a:ext cx="17647" cy="56735"/>
              </a:xfrm>
              <a:custGeom>
                <a:avLst/>
                <a:gdLst>
                  <a:gd name="connsiteX0" fmla="*/ 0 w 17647"/>
                  <a:gd name="connsiteY0" fmla="*/ 0 h 56735"/>
                  <a:gd name="connsiteX1" fmla="*/ 0 w 17647"/>
                  <a:gd name="connsiteY1" fmla="*/ 56735 h 56735"/>
                </a:gdLst>
                <a:ahLst/>
                <a:cxnLst>
                  <a:cxn ang="0">
                    <a:pos x="connsiteX0" y="connsiteY0"/>
                  </a:cxn>
                  <a:cxn ang="0">
                    <a:pos x="connsiteX1" y="connsiteY1"/>
                  </a:cxn>
                </a:cxnLst>
                <a:rect l="l" t="t" r="r" b="b"/>
                <a:pathLst>
                  <a:path w="17647" h="56735">
                    <a:moveTo>
                      <a:pt x="0" y="0"/>
                    </a:moveTo>
                    <a:lnTo>
                      <a:pt x="0" y="56735"/>
                    </a:lnTo>
                  </a:path>
                </a:pathLst>
              </a:custGeom>
              <a:ln w="9624" cap="sq">
                <a:solidFill>
                  <a:srgbClr val="787878"/>
                </a:solidFill>
                <a:prstDash val="solid"/>
                <a:miter/>
              </a:ln>
            </p:spPr>
            <p:txBody>
              <a:bodyPr rtlCol="0" anchor="ctr"/>
              <a:lstStyle/>
              <a:p>
                <a:endParaRPr lang="en-US" sz="1800" dirty="0"/>
              </a:p>
            </p:txBody>
          </p:sp>
          <p:sp>
            <p:nvSpPr>
              <p:cNvPr id="2906" name="Freeform 761">
                <a:extLst>
                  <a:ext uri="{FF2B5EF4-FFF2-40B4-BE49-F238E27FC236}">
                    <a16:creationId xmlns:a16="http://schemas.microsoft.com/office/drawing/2014/main" id="{8838B502-9552-6759-D5B9-65E8C6E79302}"/>
                  </a:ext>
                </a:extLst>
              </p:cNvPr>
              <p:cNvSpPr/>
              <p:nvPr/>
            </p:nvSpPr>
            <p:spPr>
              <a:xfrm>
                <a:off x="5133383" y="3954355"/>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787878"/>
                </a:solidFill>
                <a:prstDash val="solid"/>
                <a:miter/>
              </a:ln>
            </p:spPr>
            <p:txBody>
              <a:bodyPr rtlCol="0" anchor="ctr"/>
              <a:lstStyle/>
              <a:p>
                <a:endParaRPr lang="en-US" sz="1800" dirty="0"/>
              </a:p>
            </p:txBody>
          </p:sp>
          <p:sp>
            <p:nvSpPr>
              <p:cNvPr id="2907" name="Freeform 762">
                <a:extLst>
                  <a:ext uri="{FF2B5EF4-FFF2-40B4-BE49-F238E27FC236}">
                    <a16:creationId xmlns:a16="http://schemas.microsoft.com/office/drawing/2014/main" id="{3AEB877A-D8C3-3849-0C45-CD36FC183AB7}"/>
                  </a:ext>
                </a:extLst>
              </p:cNvPr>
              <p:cNvSpPr/>
              <p:nvPr/>
            </p:nvSpPr>
            <p:spPr>
              <a:xfrm>
                <a:off x="5162801" y="3925979"/>
                <a:ext cx="17647" cy="56735"/>
              </a:xfrm>
              <a:custGeom>
                <a:avLst/>
                <a:gdLst>
                  <a:gd name="connsiteX0" fmla="*/ 0 w 17647"/>
                  <a:gd name="connsiteY0" fmla="*/ 0 h 56735"/>
                  <a:gd name="connsiteX1" fmla="*/ 0 w 17647"/>
                  <a:gd name="connsiteY1" fmla="*/ 56735 h 56735"/>
                </a:gdLst>
                <a:ahLst/>
                <a:cxnLst>
                  <a:cxn ang="0">
                    <a:pos x="connsiteX0" y="connsiteY0"/>
                  </a:cxn>
                  <a:cxn ang="0">
                    <a:pos x="connsiteX1" y="connsiteY1"/>
                  </a:cxn>
                </a:cxnLst>
                <a:rect l="l" t="t" r="r" b="b"/>
                <a:pathLst>
                  <a:path w="17647" h="56735">
                    <a:moveTo>
                      <a:pt x="0" y="0"/>
                    </a:moveTo>
                    <a:lnTo>
                      <a:pt x="0" y="56735"/>
                    </a:lnTo>
                  </a:path>
                </a:pathLst>
              </a:custGeom>
              <a:ln w="9624" cap="sq">
                <a:solidFill>
                  <a:srgbClr val="787878"/>
                </a:solidFill>
                <a:prstDash val="solid"/>
                <a:miter/>
              </a:ln>
            </p:spPr>
            <p:txBody>
              <a:bodyPr rtlCol="0" anchor="ctr"/>
              <a:lstStyle/>
              <a:p>
                <a:endParaRPr lang="en-US" sz="1800" dirty="0"/>
              </a:p>
            </p:txBody>
          </p:sp>
          <p:sp>
            <p:nvSpPr>
              <p:cNvPr id="2908" name="Freeform 763">
                <a:extLst>
                  <a:ext uri="{FF2B5EF4-FFF2-40B4-BE49-F238E27FC236}">
                    <a16:creationId xmlns:a16="http://schemas.microsoft.com/office/drawing/2014/main" id="{7846A0B7-98B9-57A2-AE48-DC54CFF632D2}"/>
                  </a:ext>
                </a:extLst>
              </p:cNvPr>
              <p:cNvSpPr/>
              <p:nvPr/>
            </p:nvSpPr>
            <p:spPr>
              <a:xfrm>
                <a:off x="5204112" y="3954355"/>
                <a:ext cx="58852" cy="17647"/>
              </a:xfrm>
              <a:custGeom>
                <a:avLst/>
                <a:gdLst>
                  <a:gd name="connsiteX0" fmla="*/ 0 w 58852"/>
                  <a:gd name="connsiteY0" fmla="*/ 0 h 17647"/>
                  <a:gd name="connsiteX1" fmla="*/ 58853 w 58852"/>
                  <a:gd name="connsiteY1" fmla="*/ 0 h 17647"/>
                </a:gdLst>
                <a:ahLst/>
                <a:cxnLst>
                  <a:cxn ang="0">
                    <a:pos x="connsiteX0" y="connsiteY0"/>
                  </a:cxn>
                  <a:cxn ang="0">
                    <a:pos x="connsiteX1" y="connsiteY1"/>
                  </a:cxn>
                </a:cxnLst>
                <a:rect l="l" t="t" r="r" b="b"/>
                <a:pathLst>
                  <a:path w="58852" h="17647">
                    <a:moveTo>
                      <a:pt x="0" y="0"/>
                    </a:moveTo>
                    <a:lnTo>
                      <a:pt x="58853" y="0"/>
                    </a:lnTo>
                  </a:path>
                </a:pathLst>
              </a:custGeom>
              <a:ln w="9624" cap="sq">
                <a:solidFill>
                  <a:srgbClr val="787878"/>
                </a:solidFill>
                <a:prstDash val="solid"/>
                <a:miter/>
              </a:ln>
            </p:spPr>
            <p:txBody>
              <a:bodyPr rtlCol="0" anchor="ctr"/>
              <a:lstStyle/>
              <a:p>
                <a:endParaRPr lang="en-US" sz="1800" dirty="0"/>
              </a:p>
            </p:txBody>
          </p:sp>
          <p:sp>
            <p:nvSpPr>
              <p:cNvPr id="2909" name="Freeform 764">
                <a:extLst>
                  <a:ext uri="{FF2B5EF4-FFF2-40B4-BE49-F238E27FC236}">
                    <a16:creationId xmlns:a16="http://schemas.microsoft.com/office/drawing/2014/main" id="{D38F72E9-F0F7-19BE-D236-22C38A38C65D}"/>
                  </a:ext>
                </a:extLst>
              </p:cNvPr>
              <p:cNvSpPr/>
              <p:nvPr/>
            </p:nvSpPr>
            <p:spPr>
              <a:xfrm>
                <a:off x="5233548" y="3925979"/>
                <a:ext cx="17647" cy="56735"/>
              </a:xfrm>
              <a:custGeom>
                <a:avLst/>
                <a:gdLst>
                  <a:gd name="connsiteX0" fmla="*/ 0 w 17647"/>
                  <a:gd name="connsiteY0" fmla="*/ 0 h 56735"/>
                  <a:gd name="connsiteX1" fmla="*/ 0 w 17647"/>
                  <a:gd name="connsiteY1" fmla="*/ 56735 h 56735"/>
                </a:gdLst>
                <a:ahLst/>
                <a:cxnLst>
                  <a:cxn ang="0">
                    <a:pos x="connsiteX0" y="connsiteY0"/>
                  </a:cxn>
                  <a:cxn ang="0">
                    <a:pos x="connsiteX1" y="connsiteY1"/>
                  </a:cxn>
                </a:cxnLst>
                <a:rect l="l" t="t" r="r" b="b"/>
                <a:pathLst>
                  <a:path w="17647" h="56735">
                    <a:moveTo>
                      <a:pt x="0" y="0"/>
                    </a:moveTo>
                    <a:lnTo>
                      <a:pt x="0" y="56735"/>
                    </a:lnTo>
                  </a:path>
                </a:pathLst>
              </a:custGeom>
              <a:ln w="9624" cap="sq">
                <a:solidFill>
                  <a:srgbClr val="787878"/>
                </a:solidFill>
                <a:prstDash val="solid"/>
                <a:miter/>
              </a:ln>
            </p:spPr>
            <p:txBody>
              <a:bodyPr rtlCol="0" anchor="ctr"/>
              <a:lstStyle/>
              <a:p>
                <a:endParaRPr lang="en-US" sz="1800" dirty="0"/>
              </a:p>
            </p:txBody>
          </p:sp>
          <p:sp>
            <p:nvSpPr>
              <p:cNvPr id="2910" name="Freeform 765">
                <a:extLst>
                  <a:ext uri="{FF2B5EF4-FFF2-40B4-BE49-F238E27FC236}">
                    <a16:creationId xmlns:a16="http://schemas.microsoft.com/office/drawing/2014/main" id="{D4F46304-9209-80AC-45DF-F4A12C3A9CBC}"/>
                  </a:ext>
                </a:extLst>
              </p:cNvPr>
              <p:cNvSpPr/>
              <p:nvPr/>
            </p:nvSpPr>
            <p:spPr>
              <a:xfrm>
                <a:off x="5280736" y="3954355"/>
                <a:ext cx="58852" cy="17647"/>
              </a:xfrm>
              <a:custGeom>
                <a:avLst/>
                <a:gdLst>
                  <a:gd name="connsiteX0" fmla="*/ 0 w 58852"/>
                  <a:gd name="connsiteY0" fmla="*/ 0 h 17647"/>
                  <a:gd name="connsiteX1" fmla="*/ 58853 w 58852"/>
                  <a:gd name="connsiteY1" fmla="*/ 0 h 17647"/>
                </a:gdLst>
                <a:ahLst/>
                <a:cxnLst>
                  <a:cxn ang="0">
                    <a:pos x="connsiteX0" y="connsiteY0"/>
                  </a:cxn>
                  <a:cxn ang="0">
                    <a:pos x="connsiteX1" y="connsiteY1"/>
                  </a:cxn>
                </a:cxnLst>
                <a:rect l="l" t="t" r="r" b="b"/>
                <a:pathLst>
                  <a:path w="58852" h="17647">
                    <a:moveTo>
                      <a:pt x="0" y="0"/>
                    </a:moveTo>
                    <a:lnTo>
                      <a:pt x="58853" y="0"/>
                    </a:lnTo>
                  </a:path>
                </a:pathLst>
              </a:custGeom>
              <a:ln w="9624" cap="sq">
                <a:solidFill>
                  <a:srgbClr val="787878"/>
                </a:solidFill>
                <a:prstDash val="solid"/>
                <a:miter/>
              </a:ln>
            </p:spPr>
            <p:txBody>
              <a:bodyPr rtlCol="0" anchor="ctr"/>
              <a:lstStyle/>
              <a:p>
                <a:endParaRPr lang="en-US" sz="1800" dirty="0"/>
              </a:p>
            </p:txBody>
          </p:sp>
          <p:sp>
            <p:nvSpPr>
              <p:cNvPr id="2911" name="Freeform 766">
                <a:extLst>
                  <a:ext uri="{FF2B5EF4-FFF2-40B4-BE49-F238E27FC236}">
                    <a16:creationId xmlns:a16="http://schemas.microsoft.com/office/drawing/2014/main" id="{2AD0D005-9D0E-FB80-90F9-208E624A386A}"/>
                  </a:ext>
                </a:extLst>
              </p:cNvPr>
              <p:cNvSpPr/>
              <p:nvPr/>
            </p:nvSpPr>
            <p:spPr>
              <a:xfrm>
                <a:off x="5310153" y="3925979"/>
                <a:ext cx="17647" cy="56735"/>
              </a:xfrm>
              <a:custGeom>
                <a:avLst/>
                <a:gdLst>
                  <a:gd name="connsiteX0" fmla="*/ 0 w 17647"/>
                  <a:gd name="connsiteY0" fmla="*/ 0 h 56735"/>
                  <a:gd name="connsiteX1" fmla="*/ 0 w 17647"/>
                  <a:gd name="connsiteY1" fmla="*/ 56735 h 56735"/>
                </a:gdLst>
                <a:ahLst/>
                <a:cxnLst>
                  <a:cxn ang="0">
                    <a:pos x="connsiteX0" y="connsiteY0"/>
                  </a:cxn>
                  <a:cxn ang="0">
                    <a:pos x="connsiteX1" y="connsiteY1"/>
                  </a:cxn>
                </a:cxnLst>
                <a:rect l="l" t="t" r="r" b="b"/>
                <a:pathLst>
                  <a:path w="17647" h="56735">
                    <a:moveTo>
                      <a:pt x="0" y="0"/>
                    </a:moveTo>
                    <a:lnTo>
                      <a:pt x="0" y="56735"/>
                    </a:lnTo>
                  </a:path>
                </a:pathLst>
              </a:custGeom>
              <a:ln w="9624" cap="sq">
                <a:solidFill>
                  <a:srgbClr val="787878"/>
                </a:solidFill>
                <a:prstDash val="solid"/>
                <a:miter/>
              </a:ln>
            </p:spPr>
            <p:txBody>
              <a:bodyPr rtlCol="0" anchor="ctr"/>
              <a:lstStyle/>
              <a:p>
                <a:endParaRPr lang="en-US" sz="1800" dirty="0"/>
              </a:p>
            </p:txBody>
          </p:sp>
          <p:sp>
            <p:nvSpPr>
              <p:cNvPr id="2912" name="Freeform 767">
                <a:extLst>
                  <a:ext uri="{FF2B5EF4-FFF2-40B4-BE49-F238E27FC236}">
                    <a16:creationId xmlns:a16="http://schemas.microsoft.com/office/drawing/2014/main" id="{B3E2A81F-A0A2-5AF5-46DC-83582061A5AD}"/>
                  </a:ext>
                </a:extLst>
              </p:cNvPr>
              <p:cNvSpPr/>
              <p:nvPr/>
            </p:nvSpPr>
            <p:spPr>
              <a:xfrm>
                <a:off x="5357236" y="3954355"/>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787878"/>
                </a:solidFill>
                <a:prstDash val="solid"/>
                <a:miter/>
              </a:ln>
            </p:spPr>
            <p:txBody>
              <a:bodyPr rtlCol="0" anchor="ctr"/>
              <a:lstStyle/>
              <a:p>
                <a:endParaRPr lang="en-US" sz="1800" dirty="0"/>
              </a:p>
            </p:txBody>
          </p:sp>
          <p:sp>
            <p:nvSpPr>
              <p:cNvPr id="2913" name="Freeform 768">
                <a:extLst>
                  <a:ext uri="{FF2B5EF4-FFF2-40B4-BE49-F238E27FC236}">
                    <a16:creationId xmlns:a16="http://schemas.microsoft.com/office/drawing/2014/main" id="{7C23D9F7-3274-E1AC-2790-8C555FFD1A94}"/>
                  </a:ext>
                </a:extLst>
              </p:cNvPr>
              <p:cNvSpPr/>
              <p:nvPr/>
            </p:nvSpPr>
            <p:spPr>
              <a:xfrm>
                <a:off x="5386653" y="3925979"/>
                <a:ext cx="17647" cy="56735"/>
              </a:xfrm>
              <a:custGeom>
                <a:avLst/>
                <a:gdLst>
                  <a:gd name="connsiteX0" fmla="*/ 0 w 17647"/>
                  <a:gd name="connsiteY0" fmla="*/ 0 h 56735"/>
                  <a:gd name="connsiteX1" fmla="*/ 0 w 17647"/>
                  <a:gd name="connsiteY1" fmla="*/ 56735 h 56735"/>
                </a:gdLst>
                <a:ahLst/>
                <a:cxnLst>
                  <a:cxn ang="0">
                    <a:pos x="connsiteX0" y="connsiteY0"/>
                  </a:cxn>
                  <a:cxn ang="0">
                    <a:pos x="connsiteX1" y="connsiteY1"/>
                  </a:cxn>
                </a:cxnLst>
                <a:rect l="l" t="t" r="r" b="b"/>
                <a:pathLst>
                  <a:path w="17647" h="56735">
                    <a:moveTo>
                      <a:pt x="0" y="0"/>
                    </a:moveTo>
                    <a:lnTo>
                      <a:pt x="0" y="56735"/>
                    </a:lnTo>
                  </a:path>
                </a:pathLst>
              </a:custGeom>
              <a:ln w="9624" cap="sq">
                <a:solidFill>
                  <a:srgbClr val="787878"/>
                </a:solidFill>
                <a:prstDash val="solid"/>
                <a:miter/>
              </a:ln>
            </p:spPr>
            <p:txBody>
              <a:bodyPr rtlCol="0" anchor="ctr"/>
              <a:lstStyle/>
              <a:p>
                <a:endParaRPr lang="en-US" sz="1800" dirty="0"/>
              </a:p>
            </p:txBody>
          </p:sp>
          <p:sp>
            <p:nvSpPr>
              <p:cNvPr id="2914" name="Freeform 769">
                <a:extLst>
                  <a:ext uri="{FF2B5EF4-FFF2-40B4-BE49-F238E27FC236}">
                    <a16:creationId xmlns:a16="http://schemas.microsoft.com/office/drawing/2014/main" id="{149B79A6-6693-F264-579A-E7BFF8689A03}"/>
                  </a:ext>
                </a:extLst>
              </p:cNvPr>
              <p:cNvSpPr/>
              <p:nvPr/>
            </p:nvSpPr>
            <p:spPr>
              <a:xfrm>
                <a:off x="5557547" y="4044637"/>
                <a:ext cx="58852" cy="17647"/>
              </a:xfrm>
              <a:custGeom>
                <a:avLst/>
                <a:gdLst>
                  <a:gd name="connsiteX0" fmla="*/ 0 w 58852"/>
                  <a:gd name="connsiteY0" fmla="*/ 0 h 17647"/>
                  <a:gd name="connsiteX1" fmla="*/ 58853 w 58852"/>
                  <a:gd name="connsiteY1" fmla="*/ 0 h 17647"/>
                </a:gdLst>
                <a:ahLst/>
                <a:cxnLst>
                  <a:cxn ang="0">
                    <a:pos x="connsiteX0" y="connsiteY0"/>
                  </a:cxn>
                  <a:cxn ang="0">
                    <a:pos x="connsiteX1" y="connsiteY1"/>
                  </a:cxn>
                </a:cxnLst>
                <a:rect l="l" t="t" r="r" b="b"/>
                <a:pathLst>
                  <a:path w="58852" h="17647">
                    <a:moveTo>
                      <a:pt x="0" y="0"/>
                    </a:moveTo>
                    <a:lnTo>
                      <a:pt x="58853" y="0"/>
                    </a:lnTo>
                  </a:path>
                </a:pathLst>
              </a:custGeom>
              <a:ln w="9624" cap="sq">
                <a:solidFill>
                  <a:srgbClr val="787878"/>
                </a:solidFill>
                <a:prstDash val="solid"/>
                <a:miter/>
              </a:ln>
            </p:spPr>
            <p:txBody>
              <a:bodyPr rtlCol="0" anchor="ctr"/>
              <a:lstStyle/>
              <a:p>
                <a:endParaRPr lang="en-US" sz="1800" dirty="0"/>
              </a:p>
            </p:txBody>
          </p:sp>
          <p:sp>
            <p:nvSpPr>
              <p:cNvPr id="2915" name="Freeform 770">
                <a:extLst>
                  <a:ext uri="{FF2B5EF4-FFF2-40B4-BE49-F238E27FC236}">
                    <a16:creationId xmlns:a16="http://schemas.microsoft.com/office/drawing/2014/main" id="{BB666C74-BFFF-933B-DCDD-8A824F8FD3F8}"/>
                  </a:ext>
                </a:extLst>
              </p:cNvPr>
              <p:cNvSpPr/>
              <p:nvPr/>
            </p:nvSpPr>
            <p:spPr>
              <a:xfrm>
                <a:off x="5586965" y="4016261"/>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787878"/>
                </a:solidFill>
                <a:prstDash val="solid"/>
                <a:miter/>
              </a:ln>
            </p:spPr>
            <p:txBody>
              <a:bodyPr rtlCol="0" anchor="ctr"/>
              <a:lstStyle/>
              <a:p>
                <a:endParaRPr lang="en-US" sz="1800" dirty="0"/>
              </a:p>
            </p:txBody>
          </p:sp>
          <p:sp>
            <p:nvSpPr>
              <p:cNvPr id="2916" name="Freeform 771">
                <a:extLst>
                  <a:ext uri="{FF2B5EF4-FFF2-40B4-BE49-F238E27FC236}">
                    <a16:creationId xmlns:a16="http://schemas.microsoft.com/office/drawing/2014/main" id="{1AF60D77-817D-E7B8-8A72-1129F1D2CE42}"/>
                  </a:ext>
                </a:extLst>
              </p:cNvPr>
              <p:cNvSpPr/>
              <p:nvPr/>
            </p:nvSpPr>
            <p:spPr>
              <a:xfrm>
                <a:off x="5604753" y="4093573"/>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787878"/>
                </a:solidFill>
                <a:prstDash val="solid"/>
                <a:miter/>
              </a:ln>
            </p:spPr>
            <p:txBody>
              <a:bodyPr rtlCol="0" anchor="ctr"/>
              <a:lstStyle/>
              <a:p>
                <a:endParaRPr lang="en-US" sz="1800" dirty="0"/>
              </a:p>
            </p:txBody>
          </p:sp>
          <p:sp>
            <p:nvSpPr>
              <p:cNvPr id="2917" name="Freeform 772">
                <a:extLst>
                  <a:ext uri="{FF2B5EF4-FFF2-40B4-BE49-F238E27FC236}">
                    <a16:creationId xmlns:a16="http://schemas.microsoft.com/office/drawing/2014/main" id="{1E724C6C-55B1-E384-28BF-B787BB970DC3}"/>
                  </a:ext>
                </a:extLst>
              </p:cNvPr>
              <p:cNvSpPr/>
              <p:nvPr/>
            </p:nvSpPr>
            <p:spPr>
              <a:xfrm>
                <a:off x="5634171" y="4065196"/>
                <a:ext cx="17647" cy="56735"/>
              </a:xfrm>
              <a:custGeom>
                <a:avLst/>
                <a:gdLst>
                  <a:gd name="connsiteX0" fmla="*/ 0 w 17647"/>
                  <a:gd name="connsiteY0" fmla="*/ 0 h 56735"/>
                  <a:gd name="connsiteX1" fmla="*/ 0 w 17647"/>
                  <a:gd name="connsiteY1" fmla="*/ 56735 h 56735"/>
                </a:gdLst>
                <a:ahLst/>
                <a:cxnLst>
                  <a:cxn ang="0">
                    <a:pos x="connsiteX0" y="connsiteY0"/>
                  </a:cxn>
                  <a:cxn ang="0">
                    <a:pos x="connsiteX1" y="connsiteY1"/>
                  </a:cxn>
                </a:cxnLst>
                <a:rect l="l" t="t" r="r" b="b"/>
                <a:pathLst>
                  <a:path w="17647" h="56735">
                    <a:moveTo>
                      <a:pt x="0" y="0"/>
                    </a:moveTo>
                    <a:lnTo>
                      <a:pt x="0" y="56735"/>
                    </a:lnTo>
                  </a:path>
                </a:pathLst>
              </a:custGeom>
              <a:ln w="9624" cap="sq">
                <a:solidFill>
                  <a:srgbClr val="787878"/>
                </a:solidFill>
                <a:prstDash val="solid"/>
                <a:miter/>
              </a:ln>
            </p:spPr>
            <p:txBody>
              <a:bodyPr rtlCol="0" anchor="ctr"/>
              <a:lstStyle/>
              <a:p>
                <a:endParaRPr lang="en-US" sz="1800" dirty="0"/>
              </a:p>
            </p:txBody>
          </p:sp>
          <p:sp>
            <p:nvSpPr>
              <p:cNvPr id="2918" name="Freeform 773">
                <a:extLst>
                  <a:ext uri="{FF2B5EF4-FFF2-40B4-BE49-F238E27FC236}">
                    <a16:creationId xmlns:a16="http://schemas.microsoft.com/office/drawing/2014/main" id="{1FF9D215-2601-C2FA-DC67-448893AF548C}"/>
                  </a:ext>
                </a:extLst>
              </p:cNvPr>
              <p:cNvSpPr/>
              <p:nvPr/>
            </p:nvSpPr>
            <p:spPr>
              <a:xfrm>
                <a:off x="5628294" y="4093573"/>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787878"/>
                </a:solidFill>
                <a:prstDash val="solid"/>
                <a:miter/>
              </a:ln>
            </p:spPr>
            <p:txBody>
              <a:bodyPr rtlCol="0" anchor="ctr"/>
              <a:lstStyle/>
              <a:p>
                <a:endParaRPr lang="en-US" sz="1800" dirty="0"/>
              </a:p>
            </p:txBody>
          </p:sp>
          <p:sp>
            <p:nvSpPr>
              <p:cNvPr id="2919" name="Freeform 774">
                <a:extLst>
                  <a:ext uri="{FF2B5EF4-FFF2-40B4-BE49-F238E27FC236}">
                    <a16:creationId xmlns:a16="http://schemas.microsoft.com/office/drawing/2014/main" id="{46C500BE-5266-B5C5-3A39-16839B4DAC96}"/>
                  </a:ext>
                </a:extLst>
              </p:cNvPr>
              <p:cNvSpPr/>
              <p:nvPr/>
            </p:nvSpPr>
            <p:spPr>
              <a:xfrm>
                <a:off x="5657712" y="4065196"/>
                <a:ext cx="17647" cy="56735"/>
              </a:xfrm>
              <a:custGeom>
                <a:avLst/>
                <a:gdLst>
                  <a:gd name="connsiteX0" fmla="*/ 0 w 17647"/>
                  <a:gd name="connsiteY0" fmla="*/ 0 h 56735"/>
                  <a:gd name="connsiteX1" fmla="*/ 0 w 17647"/>
                  <a:gd name="connsiteY1" fmla="*/ 56735 h 56735"/>
                </a:gdLst>
                <a:ahLst/>
                <a:cxnLst>
                  <a:cxn ang="0">
                    <a:pos x="connsiteX0" y="connsiteY0"/>
                  </a:cxn>
                  <a:cxn ang="0">
                    <a:pos x="connsiteX1" y="connsiteY1"/>
                  </a:cxn>
                </a:cxnLst>
                <a:rect l="l" t="t" r="r" b="b"/>
                <a:pathLst>
                  <a:path w="17647" h="56735">
                    <a:moveTo>
                      <a:pt x="0" y="0"/>
                    </a:moveTo>
                    <a:lnTo>
                      <a:pt x="0" y="56735"/>
                    </a:lnTo>
                  </a:path>
                </a:pathLst>
              </a:custGeom>
              <a:ln w="9624" cap="sq">
                <a:solidFill>
                  <a:srgbClr val="787878"/>
                </a:solidFill>
                <a:prstDash val="solid"/>
                <a:miter/>
              </a:ln>
            </p:spPr>
            <p:txBody>
              <a:bodyPr rtlCol="0" anchor="ctr"/>
              <a:lstStyle/>
              <a:p>
                <a:endParaRPr lang="en-US" sz="1800" dirty="0"/>
              </a:p>
            </p:txBody>
          </p:sp>
          <p:sp>
            <p:nvSpPr>
              <p:cNvPr id="2920" name="Freeform 775">
                <a:extLst>
                  <a:ext uri="{FF2B5EF4-FFF2-40B4-BE49-F238E27FC236}">
                    <a16:creationId xmlns:a16="http://schemas.microsoft.com/office/drawing/2014/main" id="{1A08BEF4-29C3-031D-1C81-9F4687A99BD4}"/>
                  </a:ext>
                </a:extLst>
              </p:cNvPr>
              <p:cNvSpPr/>
              <p:nvPr/>
            </p:nvSpPr>
            <p:spPr>
              <a:xfrm>
                <a:off x="6347058" y="4153343"/>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787878"/>
                </a:solidFill>
                <a:prstDash val="solid"/>
                <a:miter/>
              </a:ln>
            </p:spPr>
            <p:txBody>
              <a:bodyPr rtlCol="0" anchor="ctr"/>
              <a:lstStyle/>
              <a:p>
                <a:endParaRPr lang="en-US" sz="1800" dirty="0"/>
              </a:p>
            </p:txBody>
          </p:sp>
          <p:sp>
            <p:nvSpPr>
              <p:cNvPr id="2921" name="Freeform 776">
                <a:extLst>
                  <a:ext uri="{FF2B5EF4-FFF2-40B4-BE49-F238E27FC236}">
                    <a16:creationId xmlns:a16="http://schemas.microsoft.com/office/drawing/2014/main" id="{5667396C-D71F-C20D-C686-4AC9C56CF7B1}"/>
                  </a:ext>
                </a:extLst>
              </p:cNvPr>
              <p:cNvSpPr/>
              <p:nvPr/>
            </p:nvSpPr>
            <p:spPr>
              <a:xfrm>
                <a:off x="6376475" y="4124967"/>
                <a:ext cx="17647" cy="56735"/>
              </a:xfrm>
              <a:custGeom>
                <a:avLst/>
                <a:gdLst>
                  <a:gd name="connsiteX0" fmla="*/ 0 w 17647"/>
                  <a:gd name="connsiteY0" fmla="*/ 0 h 56735"/>
                  <a:gd name="connsiteX1" fmla="*/ 0 w 17647"/>
                  <a:gd name="connsiteY1" fmla="*/ 56735 h 56735"/>
                </a:gdLst>
                <a:ahLst/>
                <a:cxnLst>
                  <a:cxn ang="0">
                    <a:pos x="connsiteX0" y="connsiteY0"/>
                  </a:cxn>
                  <a:cxn ang="0">
                    <a:pos x="connsiteX1" y="connsiteY1"/>
                  </a:cxn>
                </a:cxnLst>
                <a:rect l="l" t="t" r="r" b="b"/>
                <a:pathLst>
                  <a:path w="17647" h="56735">
                    <a:moveTo>
                      <a:pt x="0" y="0"/>
                    </a:moveTo>
                    <a:lnTo>
                      <a:pt x="0" y="56735"/>
                    </a:lnTo>
                  </a:path>
                </a:pathLst>
              </a:custGeom>
              <a:ln w="9624" cap="sq">
                <a:solidFill>
                  <a:srgbClr val="787878"/>
                </a:solidFill>
                <a:prstDash val="solid"/>
                <a:miter/>
              </a:ln>
            </p:spPr>
            <p:txBody>
              <a:bodyPr rtlCol="0" anchor="ctr"/>
              <a:lstStyle/>
              <a:p>
                <a:endParaRPr lang="en-US" sz="1800" dirty="0"/>
              </a:p>
            </p:txBody>
          </p:sp>
          <p:sp>
            <p:nvSpPr>
              <p:cNvPr id="2922" name="Freeform 777">
                <a:extLst>
                  <a:ext uri="{FF2B5EF4-FFF2-40B4-BE49-F238E27FC236}">
                    <a16:creationId xmlns:a16="http://schemas.microsoft.com/office/drawing/2014/main" id="{76EDF119-D50C-1571-4A4E-B55A03AE5128}"/>
                  </a:ext>
                </a:extLst>
              </p:cNvPr>
              <p:cNvSpPr/>
              <p:nvPr/>
            </p:nvSpPr>
            <p:spPr>
              <a:xfrm>
                <a:off x="6358828" y="4153343"/>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787878"/>
                </a:solidFill>
                <a:prstDash val="solid"/>
                <a:miter/>
              </a:ln>
            </p:spPr>
            <p:txBody>
              <a:bodyPr rtlCol="0" anchor="ctr"/>
              <a:lstStyle/>
              <a:p>
                <a:endParaRPr lang="en-US" sz="1800" dirty="0"/>
              </a:p>
            </p:txBody>
          </p:sp>
          <p:sp>
            <p:nvSpPr>
              <p:cNvPr id="2923" name="Freeform 778">
                <a:extLst>
                  <a:ext uri="{FF2B5EF4-FFF2-40B4-BE49-F238E27FC236}">
                    <a16:creationId xmlns:a16="http://schemas.microsoft.com/office/drawing/2014/main" id="{52C39918-0E9A-8836-E056-6FDCE64F9EC4}"/>
                  </a:ext>
                </a:extLst>
              </p:cNvPr>
              <p:cNvSpPr/>
              <p:nvPr/>
            </p:nvSpPr>
            <p:spPr>
              <a:xfrm>
                <a:off x="6388246" y="4124967"/>
                <a:ext cx="17647" cy="56735"/>
              </a:xfrm>
              <a:custGeom>
                <a:avLst/>
                <a:gdLst>
                  <a:gd name="connsiteX0" fmla="*/ 0 w 17647"/>
                  <a:gd name="connsiteY0" fmla="*/ 0 h 56735"/>
                  <a:gd name="connsiteX1" fmla="*/ 0 w 17647"/>
                  <a:gd name="connsiteY1" fmla="*/ 56735 h 56735"/>
                </a:gdLst>
                <a:ahLst/>
                <a:cxnLst>
                  <a:cxn ang="0">
                    <a:pos x="connsiteX0" y="connsiteY0"/>
                  </a:cxn>
                  <a:cxn ang="0">
                    <a:pos x="connsiteX1" y="connsiteY1"/>
                  </a:cxn>
                </a:cxnLst>
                <a:rect l="l" t="t" r="r" b="b"/>
                <a:pathLst>
                  <a:path w="17647" h="56735">
                    <a:moveTo>
                      <a:pt x="0" y="0"/>
                    </a:moveTo>
                    <a:lnTo>
                      <a:pt x="0" y="56735"/>
                    </a:lnTo>
                  </a:path>
                </a:pathLst>
              </a:custGeom>
              <a:ln w="9624" cap="sq">
                <a:solidFill>
                  <a:srgbClr val="787878"/>
                </a:solidFill>
                <a:prstDash val="solid"/>
                <a:miter/>
              </a:ln>
            </p:spPr>
            <p:txBody>
              <a:bodyPr rtlCol="0" anchor="ctr"/>
              <a:lstStyle/>
              <a:p>
                <a:endParaRPr lang="en-US" sz="1800" dirty="0"/>
              </a:p>
            </p:txBody>
          </p:sp>
          <p:sp>
            <p:nvSpPr>
              <p:cNvPr id="2924" name="Freeform 779">
                <a:extLst>
                  <a:ext uri="{FF2B5EF4-FFF2-40B4-BE49-F238E27FC236}">
                    <a16:creationId xmlns:a16="http://schemas.microsoft.com/office/drawing/2014/main" id="{7D2D06BD-0AE9-0073-0561-9F4EA8146585}"/>
                  </a:ext>
                </a:extLst>
              </p:cNvPr>
              <p:cNvSpPr/>
              <p:nvPr/>
            </p:nvSpPr>
            <p:spPr>
              <a:xfrm>
                <a:off x="6547387" y="4153343"/>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787878"/>
                </a:solidFill>
                <a:prstDash val="solid"/>
                <a:miter/>
              </a:ln>
            </p:spPr>
            <p:txBody>
              <a:bodyPr rtlCol="0" anchor="ctr"/>
              <a:lstStyle/>
              <a:p>
                <a:endParaRPr lang="en-US" sz="1800" dirty="0"/>
              </a:p>
            </p:txBody>
          </p:sp>
          <p:sp>
            <p:nvSpPr>
              <p:cNvPr id="2925" name="Freeform 780">
                <a:extLst>
                  <a:ext uri="{FF2B5EF4-FFF2-40B4-BE49-F238E27FC236}">
                    <a16:creationId xmlns:a16="http://schemas.microsoft.com/office/drawing/2014/main" id="{6DE901CA-4358-90F6-ED66-91E8CF5F2A9F}"/>
                  </a:ext>
                </a:extLst>
              </p:cNvPr>
              <p:cNvSpPr/>
              <p:nvPr/>
            </p:nvSpPr>
            <p:spPr>
              <a:xfrm>
                <a:off x="6576804" y="4124967"/>
                <a:ext cx="17647" cy="56735"/>
              </a:xfrm>
              <a:custGeom>
                <a:avLst/>
                <a:gdLst>
                  <a:gd name="connsiteX0" fmla="*/ 0 w 17647"/>
                  <a:gd name="connsiteY0" fmla="*/ 0 h 56735"/>
                  <a:gd name="connsiteX1" fmla="*/ 0 w 17647"/>
                  <a:gd name="connsiteY1" fmla="*/ 56735 h 56735"/>
                </a:gdLst>
                <a:ahLst/>
                <a:cxnLst>
                  <a:cxn ang="0">
                    <a:pos x="connsiteX0" y="connsiteY0"/>
                  </a:cxn>
                  <a:cxn ang="0">
                    <a:pos x="connsiteX1" y="connsiteY1"/>
                  </a:cxn>
                </a:cxnLst>
                <a:rect l="l" t="t" r="r" b="b"/>
                <a:pathLst>
                  <a:path w="17647" h="56735">
                    <a:moveTo>
                      <a:pt x="0" y="0"/>
                    </a:moveTo>
                    <a:lnTo>
                      <a:pt x="0" y="56735"/>
                    </a:lnTo>
                  </a:path>
                </a:pathLst>
              </a:custGeom>
              <a:ln w="9624" cap="sq">
                <a:solidFill>
                  <a:srgbClr val="787878"/>
                </a:solidFill>
                <a:prstDash val="solid"/>
                <a:miter/>
              </a:ln>
            </p:spPr>
            <p:txBody>
              <a:bodyPr rtlCol="0" anchor="ctr"/>
              <a:lstStyle/>
              <a:p>
                <a:endParaRPr lang="en-US" sz="1800" dirty="0"/>
              </a:p>
            </p:txBody>
          </p:sp>
          <p:sp>
            <p:nvSpPr>
              <p:cNvPr id="2926" name="Freeform 781">
                <a:extLst>
                  <a:ext uri="{FF2B5EF4-FFF2-40B4-BE49-F238E27FC236}">
                    <a16:creationId xmlns:a16="http://schemas.microsoft.com/office/drawing/2014/main" id="{FBEB327A-816B-44A1-92C2-F8DA782C051C}"/>
                  </a:ext>
                </a:extLst>
              </p:cNvPr>
              <p:cNvSpPr/>
              <p:nvPr/>
            </p:nvSpPr>
            <p:spPr>
              <a:xfrm>
                <a:off x="6582681" y="4153343"/>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787878"/>
                </a:solidFill>
                <a:prstDash val="solid"/>
                <a:miter/>
              </a:ln>
            </p:spPr>
            <p:txBody>
              <a:bodyPr rtlCol="0" anchor="ctr"/>
              <a:lstStyle/>
              <a:p>
                <a:endParaRPr lang="en-US" sz="1800" dirty="0"/>
              </a:p>
            </p:txBody>
          </p:sp>
          <p:sp>
            <p:nvSpPr>
              <p:cNvPr id="2927" name="Freeform 782">
                <a:extLst>
                  <a:ext uri="{FF2B5EF4-FFF2-40B4-BE49-F238E27FC236}">
                    <a16:creationId xmlns:a16="http://schemas.microsoft.com/office/drawing/2014/main" id="{EBCC19D3-EDB3-0917-D192-D31E5E51C7EB}"/>
                  </a:ext>
                </a:extLst>
              </p:cNvPr>
              <p:cNvSpPr/>
              <p:nvPr/>
            </p:nvSpPr>
            <p:spPr>
              <a:xfrm>
                <a:off x="6612098" y="4124967"/>
                <a:ext cx="17647" cy="56735"/>
              </a:xfrm>
              <a:custGeom>
                <a:avLst/>
                <a:gdLst>
                  <a:gd name="connsiteX0" fmla="*/ 0 w 17647"/>
                  <a:gd name="connsiteY0" fmla="*/ 0 h 56735"/>
                  <a:gd name="connsiteX1" fmla="*/ 0 w 17647"/>
                  <a:gd name="connsiteY1" fmla="*/ 56735 h 56735"/>
                </a:gdLst>
                <a:ahLst/>
                <a:cxnLst>
                  <a:cxn ang="0">
                    <a:pos x="connsiteX0" y="connsiteY0"/>
                  </a:cxn>
                  <a:cxn ang="0">
                    <a:pos x="connsiteX1" y="connsiteY1"/>
                  </a:cxn>
                </a:cxnLst>
                <a:rect l="l" t="t" r="r" b="b"/>
                <a:pathLst>
                  <a:path w="17647" h="56735">
                    <a:moveTo>
                      <a:pt x="0" y="0"/>
                    </a:moveTo>
                    <a:lnTo>
                      <a:pt x="0" y="56735"/>
                    </a:lnTo>
                  </a:path>
                </a:pathLst>
              </a:custGeom>
              <a:ln w="9624" cap="sq">
                <a:solidFill>
                  <a:srgbClr val="787878"/>
                </a:solidFill>
                <a:prstDash val="solid"/>
                <a:miter/>
              </a:ln>
            </p:spPr>
            <p:txBody>
              <a:bodyPr rtlCol="0" anchor="ctr"/>
              <a:lstStyle/>
              <a:p>
                <a:endParaRPr lang="en-US" sz="1800" dirty="0"/>
              </a:p>
            </p:txBody>
          </p:sp>
          <p:sp>
            <p:nvSpPr>
              <p:cNvPr id="2928" name="Freeform 783">
                <a:extLst>
                  <a:ext uri="{FF2B5EF4-FFF2-40B4-BE49-F238E27FC236}">
                    <a16:creationId xmlns:a16="http://schemas.microsoft.com/office/drawing/2014/main" id="{A7968EDB-AFA2-382E-B0C5-64888D50DE30}"/>
                  </a:ext>
                </a:extLst>
              </p:cNvPr>
              <p:cNvSpPr/>
              <p:nvPr/>
            </p:nvSpPr>
            <p:spPr>
              <a:xfrm>
                <a:off x="6600328" y="4153343"/>
                <a:ext cx="58852" cy="17647"/>
              </a:xfrm>
              <a:custGeom>
                <a:avLst/>
                <a:gdLst>
                  <a:gd name="connsiteX0" fmla="*/ 0 w 58852"/>
                  <a:gd name="connsiteY0" fmla="*/ 0 h 17647"/>
                  <a:gd name="connsiteX1" fmla="*/ 58853 w 58852"/>
                  <a:gd name="connsiteY1" fmla="*/ 0 h 17647"/>
                </a:gdLst>
                <a:ahLst/>
                <a:cxnLst>
                  <a:cxn ang="0">
                    <a:pos x="connsiteX0" y="connsiteY0"/>
                  </a:cxn>
                  <a:cxn ang="0">
                    <a:pos x="connsiteX1" y="connsiteY1"/>
                  </a:cxn>
                </a:cxnLst>
                <a:rect l="l" t="t" r="r" b="b"/>
                <a:pathLst>
                  <a:path w="58852" h="17647">
                    <a:moveTo>
                      <a:pt x="0" y="0"/>
                    </a:moveTo>
                    <a:lnTo>
                      <a:pt x="58853" y="0"/>
                    </a:lnTo>
                  </a:path>
                </a:pathLst>
              </a:custGeom>
              <a:ln w="9624" cap="sq">
                <a:solidFill>
                  <a:srgbClr val="787878"/>
                </a:solidFill>
                <a:prstDash val="solid"/>
                <a:miter/>
              </a:ln>
            </p:spPr>
            <p:txBody>
              <a:bodyPr rtlCol="0" anchor="ctr"/>
              <a:lstStyle/>
              <a:p>
                <a:endParaRPr lang="en-US" sz="1800" dirty="0"/>
              </a:p>
            </p:txBody>
          </p:sp>
          <p:sp>
            <p:nvSpPr>
              <p:cNvPr id="2929" name="Freeform 784">
                <a:extLst>
                  <a:ext uri="{FF2B5EF4-FFF2-40B4-BE49-F238E27FC236}">
                    <a16:creationId xmlns:a16="http://schemas.microsoft.com/office/drawing/2014/main" id="{8622231F-2850-2CBF-4019-5BF2A64D795A}"/>
                  </a:ext>
                </a:extLst>
              </p:cNvPr>
              <p:cNvSpPr/>
              <p:nvPr/>
            </p:nvSpPr>
            <p:spPr>
              <a:xfrm>
                <a:off x="6629763" y="4124967"/>
                <a:ext cx="17647" cy="56735"/>
              </a:xfrm>
              <a:custGeom>
                <a:avLst/>
                <a:gdLst>
                  <a:gd name="connsiteX0" fmla="*/ 0 w 17647"/>
                  <a:gd name="connsiteY0" fmla="*/ 0 h 56735"/>
                  <a:gd name="connsiteX1" fmla="*/ 0 w 17647"/>
                  <a:gd name="connsiteY1" fmla="*/ 56735 h 56735"/>
                </a:gdLst>
                <a:ahLst/>
                <a:cxnLst>
                  <a:cxn ang="0">
                    <a:pos x="connsiteX0" y="connsiteY0"/>
                  </a:cxn>
                  <a:cxn ang="0">
                    <a:pos x="connsiteX1" y="connsiteY1"/>
                  </a:cxn>
                </a:cxnLst>
                <a:rect l="l" t="t" r="r" b="b"/>
                <a:pathLst>
                  <a:path w="17647" h="56735">
                    <a:moveTo>
                      <a:pt x="0" y="0"/>
                    </a:moveTo>
                    <a:lnTo>
                      <a:pt x="0" y="56735"/>
                    </a:lnTo>
                  </a:path>
                </a:pathLst>
              </a:custGeom>
              <a:ln w="9624" cap="sq">
                <a:solidFill>
                  <a:srgbClr val="787878"/>
                </a:solidFill>
                <a:prstDash val="solid"/>
                <a:miter/>
              </a:ln>
            </p:spPr>
            <p:txBody>
              <a:bodyPr rtlCol="0" anchor="ctr"/>
              <a:lstStyle/>
              <a:p>
                <a:endParaRPr lang="en-US" sz="1800" dirty="0"/>
              </a:p>
            </p:txBody>
          </p:sp>
          <p:sp>
            <p:nvSpPr>
              <p:cNvPr id="2930" name="Freeform 785">
                <a:extLst>
                  <a:ext uri="{FF2B5EF4-FFF2-40B4-BE49-F238E27FC236}">
                    <a16:creationId xmlns:a16="http://schemas.microsoft.com/office/drawing/2014/main" id="{123663BF-CCB0-370E-F3C4-3458CD0E0931}"/>
                  </a:ext>
                </a:extLst>
              </p:cNvPr>
              <p:cNvSpPr/>
              <p:nvPr/>
            </p:nvSpPr>
            <p:spPr>
              <a:xfrm>
                <a:off x="7136427" y="4153343"/>
                <a:ext cx="58852" cy="17647"/>
              </a:xfrm>
              <a:custGeom>
                <a:avLst/>
                <a:gdLst>
                  <a:gd name="connsiteX0" fmla="*/ 0 w 58852"/>
                  <a:gd name="connsiteY0" fmla="*/ 0 h 17647"/>
                  <a:gd name="connsiteX1" fmla="*/ 58853 w 58852"/>
                  <a:gd name="connsiteY1" fmla="*/ 0 h 17647"/>
                </a:gdLst>
                <a:ahLst/>
                <a:cxnLst>
                  <a:cxn ang="0">
                    <a:pos x="connsiteX0" y="connsiteY0"/>
                  </a:cxn>
                  <a:cxn ang="0">
                    <a:pos x="connsiteX1" y="connsiteY1"/>
                  </a:cxn>
                </a:cxnLst>
                <a:rect l="l" t="t" r="r" b="b"/>
                <a:pathLst>
                  <a:path w="58852" h="17647">
                    <a:moveTo>
                      <a:pt x="0" y="0"/>
                    </a:moveTo>
                    <a:lnTo>
                      <a:pt x="58853" y="0"/>
                    </a:lnTo>
                  </a:path>
                </a:pathLst>
              </a:custGeom>
              <a:ln w="9624" cap="sq">
                <a:solidFill>
                  <a:srgbClr val="787878"/>
                </a:solidFill>
                <a:prstDash val="solid"/>
                <a:miter/>
              </a:ln>
            </p:spPr>
            <p:txBody>
              <a:bodyPr rtlCol="0" anchor="ctr"/>
              <a:lstStyle/>
              <a:p>
                <a:endParaRPr lang="en-US" sz="1800" dirty="0"/>
              </a:p>
            </p:txBody>
          </p:sp>
          <p:sp>
            <p:nvSpPr>
              <p:cNvPr id="2931" name="Freeform 786">
                <a:extLst>
                  <a:ext uri="{FF2B5EF4-FFF2-40B4-BE49-F238E27FC236}">
                    <a16:creationId xmlns:a16="http://schemas.microsoft.com/office/drawing/2014/main" id="{35C485C0-8A43-8D24-0938-F3C41FC7C0EE}"/>
                  </a:ext>
                </a:extLst>
              </p:cNvPr>
              <p:cNvSpPr/>
              <p:nvPr/>
            </p:nvSpPr>
            <p:spPr>
              <a:xfrm>
                <a:off x="7165862" y="4124967"/>
                <a:ext cx="17647" cy="56735"/>
              </a:xfrm>
              <a:custGeom>
                <a:avLst/>
                <a:gdLst>
                  <a:gd name="connsiteX0" fmla="*/ 0 w 17647"/>
                  <a:gd name="connsiteY0" fmla="*/ 0 h 56735"/>
                  <a:gd name="connsiteX1" fmla="*/ 0 w 17647"/>
                  <a:gd name="connsiteY1" fmla="*/ 56735 h 56735"/>
                </a:gdLst>
                <a:ahLst/>
                <a:cxnLst>
                  <a:cxn ang="0">
                    <a:pos x="connsiteX0" y="connsiteY0"/>
                  </a:cxn>
                  <a:cxn ang="0">
                    <a:pos x="connsiteX1" y="connsiteY1"/>
                  </a:cxn>
                </a:cxnLst>
                <a:rect l="l" t="t" r="r" b="b"/>
                <a:pathLst>
                  <a:path w="17647" h="56735">
                    <a:moveTo>
                      <a:pt x="0" y="0"/>
                    </a:moveTo>
                    <a:lnTo>
                      <a:pt x="0" y="56735"/>
                    </a:lnTo>
                  </a:path>
                </a:pathLst>
              </a:custGeom>
              <a:ln w="9624" cap="sq">
                <a:solidFill>
                  <a:srgbClr val="787878"/>
                </a:solidFill>
                <a:prstDash val="solid"/>
                <a:miter/>
              </a:ln>
            </p:spPr>
            <p:txBody>
              <a:bodyPr rtlCol="0" anchor="ctr"/>
              <a:lstStyle/>
              <a:p>
                <a:endParaRPr lang="en-US" sz="1800" dirty="0"/>
              </a:p>
            </p:txBody>
          </p:sp>
          <p:sp>
            <p:nvSpPr>
              <p:cNvPr id="2932" name="Freeform 787">
                <a:extLst>
                  <a:ext uri="{FF2B5EF4-FFF2-40B4-BE49-F238E27FC236}">
                    <a16:creationId xmlns:a16="http://schemas.microsoft.com/office/drawing/2014/main" id="{B826ACA2-2A7E-170C-94F6-F706894353BA}"/>
                  </a:ext>
                </a:extLst>
              </p:cNvPr>
              <p:cNvSpPr/>
              <p:nvPr/>
            </p:nvSpPr>
            <p:spPr>
              <a:xfrm>
                <a:off x="8031855" y="4153343"/>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787878"/>
                </a:solidFill>
                <a:prstDash val="solid"/>
                <a:miter/>
              </a:ln>
            </p:spPr>
            <p:txBody>
              <a:bodyPr rtlCol="0" anchor="ctr"/>
              <a:lstStyle/>
              <a:p>
                <a:endParaRPr lang="en-US" sz="1800" dirty="0"/>
              </a:p>
            </p:txBody>
          </p:sp>
          <p:sp>
            <p:nvSpPr>
              <p:cNvPr id="2933" name="Freeform 788">
                <a:extLst>
                  <a:ext uri="{FF2B5EF4-FFF2-40B4-BE49-F238E27FC236}">
                    <a16:creationId xmlns:a16="http://schemas.microsoft.com/office/drawing/2014/main" id="{24409D04-5B78-F71B-4879-362A0B2CE4A7}"/>
                  </a:ext>
                </a:extLst>
              </p:cNvPr>
              <p:cNvSpPr/>
              <p:nvPr/>
            </p:nvSpPr>
            <p:spPr>
              <a:xfrm>
                <a:off x="8061272" y="4124967"/>
                <a:ext cx="17647" cy="56735"/>
              </a:xfrm>
              <a:custGeom>
                <a:avLst/>
                <a:gdLst>
                  <a:gd name="connsiteX0" fmla="*/ 0 w 17647"/>
                  <a:gd name="connsiteY0" fmla="*/ 0 h 56735"/>
                  <a:gd name="connsiteX1" fmla="*/ 0 w 17647"/>
                  <a:gd name="connsiteY1" fmla="*/ 56735 h 56735"/>
                </a:gdLst>
                <a:ahLst/>
                <a:cxnLst>
                  <a:cxn ang="0">
                    <a:pos x="connsiteX0" y="connsiteY0"/>
                  </a:cxn>
                  <a:cxn ang="0">
                    <a:pos x="connsiteX1" y="connsiteY1"/>
                  </a:cxn>
                </a:cxnLst>
                <a:rect l="l" t="t" r="r" b="b"/>
                <a:pathLst>
                  <a:path w="17647" h="56735">
                    <a:moveTo>
                      <a:pt x="0" y="0"/>
                    </a:moveTo>
                    <a:lnTo>
                      <a:pt x="0" y="56735"/>
                    </a:lnTo>
                  </a:path>
                </a:pathLst>
              </a:custGeom>
              <a:ln w="9624" cap="sq">
                <a:solidFill>
                  <a:srgbClr val="787878"/>
                </a:solidFill>
                <a:prstDash val="solid"/>
                <a:miter/>
              </a:ln>
            </p:spPr>
            <p:txBody>
              <a:bodyPr rtlCol="0" anchor="ctr"/>
              <a:lstStyle/>
              <a:p>
                <a:endParaRPr lang="en-US" sz="1800" dirty="0"/>
              </a:p>
            </p:txBody>
          </p:sp>
        </p:grpSp>
        <p:sp>
          <p:nvSpPr>
            <p:cNvPr id="2934" name="TextBox 2933">
              <a:extLst>
                <a:ext uri="{FF2B5EF4-FFF2-40B4-BE49-F238E27FC236}">
                  <a16:creationId xmlns:a16="http://schemas.microsoft.com/office/drawing/2014/main" id="{82869A37-7784-A011-8775-8D325E3AF595}"/>
                </a:ext>
              </a:extLst>
            </p:cNvPr>
            <p:cNvSpPr txBox="1"/>
            <p:nvPr/>
          </p:nvSpPr>
          <p:spPr>
            <a:xfrm>
              <a:off x="3034420" y="4055564"/>
              <a:ext cx="665140" cy="278453"/>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Censor</a:t>
              </a:r>
            </a:p>
          </p:txBody>
        </p:sp>
        <p:sp>
          <p:nvSpPr>
            <p:cNvPr id="2935" name="TextBox 2934">
              <a:extLst>
                <a:ext uri="{FF2B5EF4-FFF2-40B4-BE49-F238E27FC236}">
                  <a16:creationId xmlns:a16="http://schemas.microsoft.com/office/drawing/2014/main" id="{E83A89DC-8310-A02C-EDC2-38FBBCC418E2}"/>
                </a:ext>
              </a:extLst>
            </p:cNvPr>
            <p:cNvSpPr txBox="1"/>
            <p:nvPr/>
          </p:nvSpPr>
          <p:spPr>
            <a:xfrm>
              <a:off x="3034420" y="4186118"/>
              <a:ext cx="1180238" cy="278453"/>
            </a:xfrm>
            <a:prstGeom prst="rect">
              <a:avLst/>
            </a:prstGeom>
            <a:noFill/>
          </p:spPr>
          <p:txBody>
            <a:bodyPr wrap="none" rtlCol="0">
              <a:spAutoFit/>
            </a:bodyPr>
            <a:lstStyle/>
            <a:p>
              <a:pPr algn="l"/>
              <a:r>
                <a:rPr lang="en-US" sz="757" dirty="0">
                  <a:ln/>
                  <a:latin typeface="HelveticaNeue"/>
                  <a:ea typeface="HelveticaNeue"/>
                  <a:cs typeface="HelveticaNeue"/>
                  <a:sym typeface="HelveticaNeue"/>
                  <a:rtl val="0"/>
                </a:rPr>
                <a:t>T-DXd (n = 406)</a:t>
              </a:r>
            </a:p>
          </p:txBody>
        </p:sp>
        <p:sp>
          <p:nvSpPr>
            <p:cNvPr id="2936" name="TextBox 2935">
              <a:extLst>
                <a:ext uri="{FF2B5EF4-FFF2-40B4-BE49-F238E27FC236}">
                  <a16:creationId xmlns:a16="http://schemas.microsoft.com/office/drawing/2014/main" id="{1C1431EC-C920-3C5F-FD0B-2DD63BA28EA3}"/>
                </a:ext>
              </a:extLst>
            </p:cNvPr>
            <p:cNvSpPr txBox="1"/>
            <p:nvPr/>
          </p:nvSpPr>
          <p:spPr>
            <a:xfrm>
              <a:off x="3034420" y="4337740"/>
              <a:ext cx="1064823" cy="278453"/>
            </a:xfrm>
            <a:prstGeom prst="rect">
              <a:avLst/>
            </a:prstGeom>
            <a:noFill/>
          </p:spPr>
          <p:txBody>
            <a:bodyPr wrap="none" rtlCol="0">
              <a:spAutoFit/>
            </a:bodyPr>
            <a:lstStyle/>
            <a:p>
              <a:pPr algn="l"/>
              <a:r>
                <a:rPr lang="en-US" sz="757" dirty="0">
                  <a:ln/>
                  <a:latin typeface="HelveticaNeue"/>
                  <a:ea typeface="HelveticaNeue"/>
                  <a:cs typeface="HelveticaNeue"/>
                  <a:sym typeface="HelveticaNeue"/>
                  <a:rtl val="0"/>
                </a:rPr>
                <a:t>TPC (n = 202)</a:t>
              </a:r>
            </a:p>
          </p:txBody>
        </p:sp>
        <p:grpSp>
          <p:nvGrpSpPr>
            <p:cNvPr id="2937" name="Graphic 4">
              <a:extLst>
                <a:ext uri="{FF2B5EF4-FFF2-40B4-BE49-F238E27FC236}">
                  <a16:creationId xmlns:a16="http://schemas.microsoft.com/office/drawing/2014/main" id="{114CDFFC-05B7-278E-8575-0EDD7638654F}"/>
                </a:ext>
              </a:extLst>
            </p:cNvPr>
            <p:cNvGrpSpPr/>
            <p:nvPr/>
          </p:nvGrpSpPr>
          <p:grpSpPr>
            <a:xfrm>
              <a:off x="2586935" y="4089924"/>
              <a:ext cx="460922" cy="416413"/>
              <a:chOff x="2586935" y="4017729"/>
              <a:chExt cx="460922" cy="416413"/>
            </a:xfrm>
            <a:solidFill>
              <a:srgbClr val="000000"/>
            </a:solidFill>
          </p:grpSpPr>
          <p:sp>
            <p:nvSpPr>
              <p:cNvPr id="2938" name="Freeform 793">
                <a:extLst>
                  <a:ext uri="{FF2B5EF4-FFF2-40B4-BE49-F238E27FC236}">
                    <a16:creationId xmlns:a16="http://schemas.microsoft.com/office/drawing/2014/main" id="{A8C4FEC8-E1CD-C955-3936-E23DC4C9E8C2}"/>
                  </a:ext>
                </a:extLst>
              </p:cNvPr>
              <p:cNvSpPr/>
              <p:nvPr/>
            </p:nvSpPr>
            <p:spPr>
              <a:xfrm>
                <a:off x="2586935" y="4405766"/>
                <a:ext cx="460922" cy="17647"/>
              </a:xfrm>
              <a:custGeom>
                <a:avLst/>
                <a:gdLst>
                  <a:gd name="connsiteX0" fmla="*/ 0 w 460922"/>
                  <a:gd name="connsiteY0" fmla="*/ 0 h 17647"/>
                  <a:gd name="connsiteX1" fmla="*/ 460923 w 460922"/>
                  <a:gd name="connsiteY1" fmla="*/ 0 h 17647"/>
                </a:gdLst>
                <a:ahLst/>
                <a:cxnLst>
                  <a:cxn ang="0">
                    <a:pos x="connsiteX0" y="connsiteY0"/>
                  </a:cxn>
                  <a:cxn ang="0">
                    <a:pos x="connsiteX1" y="connsiteY1"/>
                  </a:cxn>
                </a:cxnLst>
                <a:rect l="l" t="t" r="r" b="b"/>
                <a:pathLst>
                  <a:path w="460922" h="17647">
                    <a:moveTo>
                      <a:pt x="0" y="0"/>
                    </a:moveTo>
                    <a:lnTo>
                      <a:pt x="460923" y="0"/>
                    </a:lnTo>
                  </a:path>
                </a:pathLst>
              </a:custGeom>
              <a:ln w="9624" cap="flat">
                <a:solidFill>
                  <a:srgbClr val="787878"/>
                </a:solidFill>
                <a:custDash>
                  <a:ds d="491160" sp="163718"/>
                </a:custDash>
                <a:miter/>
              </a:ln>
            </p:spPr>
            <p:txBody>
              <a:bodyPr rtlCol="0" anchor="ctr"/>
              <a:lstStyle/>
              <a:p>
                <a:endParaRPr lang="en-US" sz="1800" dirty="0"/>
              </a:p>
            </p:txBody>
          </p:sp>
          <p:sp>
            <p:nvSpPr>
              <p:cNvPr id="2939" name="Freeform 794">
                <a:extLst>
                  <a:ext uri="{FF2B5EF4-FFF2-40B4-BE49-F238E27FC236}">
                    <a16:creationId xmlns:a16="http://schemas.microsoft.com/office/drawing/2014/main" id="{35EE2142-D671-5E49-8550-7F88A9BD8288}"/>
                  </a:ext>
                </a:extLst>
              </p:cNvPr>
              <p:cNvSpPr/>
              <p:nvPr/>
            </p:nvSpPr>
            <p:spPr>
              <a:xfrm>
                <a:off x="2787987" y="4405766"/>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787878"/>
                </a:solidFill>
                <a:prstDash val="solid"/>
                <a:miter/>
              </a:ln>
            </p:spPr>
            <p:txBody>
              <a:bodyPr rtlCol="0" anchor="ctr"/>
              <a:lstStyle/>
              <a:p>
                <a:endParaRPr lang="en-US" sz="1800" dirty="0"/>
              </a:p>
            </p:txBody>
          </p:sp>
          <p:sp>
            <p:nvSpPr>
              <p:cNvPr id="2940" name="Freeform 795">
                <a:extLst>
                  <a:ext uri="{FF2B5EF4-FFF2-40B4-BE49-F238E27FC236}">
                    <a16:creationId xmlns:a16="http://schemas.microsoft.com/office/drawing/2014/main" id="{604A039C-97B8-7E2A-EA6C-AC892F4E73C4}"/>
                  </a:ext>
                </a:extLst>
              </p:cNvPr>
              <p:cNvSpPr/>
              <p:nvPr/>
            </p:nvSpPr>
            <p:spPr>
              <a:xfrm>
                <a:off x="2817405" y="4377390"/>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787878"/>
                </a:solidFill>
                <a:prstDash val="solid"/>
                <a:miter/>
              </a:ln>
            </p:spPr>
            <p:txBody>
              <a:bodyPr rtlCol="0" anchor="ctr"/>
              <a:lstStyle/>
              <a:p>
                <a:endParaRPr lang="en-US" sz="1800" dirty="0"/>
              </a:p>
            </p:txBody>
          </p:sp>
          <p:sp>
            <p:nvSpPr>
              <p:cNvPr id="2941" name="Freeform 796">
                <a:extLst>
                  <a:ext uri="{FF2B5EF4-FFF2-40B4-BE49-F238E27FC236}">
                    <a16:creationId xmlns:a16="http://schemas.microsoft.com/office/drawing/2014/main" id="{3F103BAC-22F7-5D90-0FC4-FC022C5C0A29}"/>
                  </a:ext>
                </a:extLst>
              </p:cNvPr>
              <p:cNvSpPr/>
              <p:nvPr/>
            </p:nvSpPr>
            <p:spPr>
              <a:xfrm>
                <a:off x="2586935" y="4263902"/>
                <a:ext cx="460922" cy="17647"/>
              </a:xfrm>
              <a:custGeom>
                <a:avLst/>
                <a:gdLst>
                  <a:gd name="connsiteX0" fmla="*/ 0 w 460922"/>
                  <a:gd name="connsiteY0" fmla="*/ 0 h 17647"/>
                  <a:gd name="connsiteX1" fmla="*/ 460923 w 460922"/>
                  <a:gd name="connsiteY1" fmla="*/ 0 h 17647"/>
                </a:gdLst>
                <a:ahLst/>
                <a:cxnLst>
                  <a:cxn ang="0">
                    <a:pos x="connsiteX0" y="connsiteY0"/>
                  </a:cxn>
                  <a:cxn ang="0">
                    <a:pos x="connsiteX1" y="connsiteY1"/>
                  </a:cxn>
                </a:cxnLst>
                <a:rect l="l" t="t" r="r" b="b"/>
                <a:pathLst>
                  <a:path w="460922" h="17647">
                    <a:moveTo>
                      <a:pt x="0" y="0"/>
                    </a:moveTo>
                    <a:lnTo>
                      <a:pt x="460923" y="0"/>
                    </a:lnTo>
                  </a:path>
                </a:pathLst>
              </a:custGeom>
              <a:ln w="9624" cap="sq">
                <a:solidFill>
                  <a:srgbClr val="27377D"/>
                </a:solidFill>
                <a:prstDash val="solid"/>
                <a:miter/>
              </a:ln>
            </p:spPr>
            <p:txBody>
              <a:bodyPr rtlCol="0" anchor="ctr"/>
              <a:lstStyle/>
              <a:p>
                <a:endParaRPr lang="en-US" sz="1800" dirty="0"/>
              </a:p>
            </p:txBody>
          </p:sp>
          <p:sp>
            <p:nvSpPr>
              <p:cNvPr id="2942" name="Freeform 797">
                <a:extLst>
                  <a:ext uri="{FF2B5EF4-FFF2-40B4-BE49-F238E27FC236}">
                    <a16:creationId xmlns:a16="http://schemas.microsoft.com/office/drawing/2014/main" id="{A032519B-C5A2-DFCF-9247-3E1502736929}"/>
                  </a:ext>
                </a:extLst>
              </p:cNvPr>
              <p:cNvSpPr/>
              <p:nvPr/>
            </p:nvSpPr>
            <p:spPr>
              <a:xfrm>
                <a:off x="2787987" y="4263902"/>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2943" name="Freeform 798">
                <a:extLst>
                  <a:ext uri="{FF2B5EF4-FFF2-40B4-BE49-F238E27FC236}">
                    <a16:creationId xmlns:a16="http://schemas.microsoft.com/office/drawing/2014/main" id="{EBA37914-1B51-8614-923D-BF9D40D9FEF5}"/>
                  </a:ext>
                </a:extLst>
              </p:cNvPr>
              <p:cNvSpPr/>
              <p:nvPr/>
            </p:nvSpPr>
            <p:spPr>
              <a:xfrm>
                <a:off x="2817405" y="4235525"/>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2944" name="TextBox 2943">
                <a:extLst>
                  <a:ext uri="{FF2B5EF4-FFF2-40B4-BE49-F238E27FC236}">
                    <a16:creationId xmlns:a16="http://schemas.microsoft.com/office/drawing/2014/main" id="{DB3E6F9A-8198-E023-F162-19AAD582EB89}"/>
                  </a:ext>
                </a:extLst>
              </p:cNvPr>
              <p:cNvSpPr txBox="1"/>
              <p:nvPr/>
            </p:nvSpPr>
            <p:spPr>
              <a:xfrm>
                <a:off x="2693598" y="4017729"/>
                <a:ext cx="310341" cy="256053"/>
              </a:xfrm>
              <a:prstGeom prst="rect">
                <a:avLst/>
              </a:prstGeom>
              <a:noFill/>
            </p:spPr>
            <p:txBody>
              <a:bodyPr wrap="none" rtlCol="0">
                <a:spAutoFit/>
              </a:bodyPr>
              <a:lstStyle/>
              <a:p>
                <a:pPr algn="l"/>
                <a:r>
                  <a:rPr lang="en-US" sz="648" dirty="0">
                    <a:ln/>
                    <a:solidFill>
                      <a:srgbClr val="000000"/>
                    </a:solidFill>
                    <a:latin typeface="HelveticaNeue"/>
                    <a:ea typeface="HelveticaNeue"/>
                    <a:cs typeface="HelveticaNeue"/>
                    <a:sym typeface="HelveticaNeue"/>
                    <a:rtl val="0"/>
                  </a:rPr>
                  <a:t>+</a:t>
                </a:r>
              </a:p>
            </p:txBody>
          </p:sp>
        </p:grpSp>
        <p:grpSp>
          <p:nvGrpSpPr>
            <p:cNvPr id="3008" name="Graphic 4">
              <a:extLst>
                <a:ext uri="{FF2B5EF4-FFF2-40B4-BE49-F238E27FC236}">
                  <a16:creationId xmlns:a16="http://schemas.microsoft.com/office/drawing/2014/main" id="{D3D36C31-6A04-1F65-6BEA-D95BF8B4C457}"/>
                </a:ext>
              </a:extLst>
            </p:cNvPr>
            <p:cNvGrpSpPr/>
            <p:nvPr/>
          </p:nvGrpSpPr>
          <p:grpSpPr>
            <a:xfrm>
              <a:off x="1508805" y="1128034"/>
              <a:ext cx="9352504" cy="4822113"/>
              <a:chOff x="1511078" y="1058111"/>
              <a:chExt cx="9352504" cy="4822113"/>
            </a:xfrm>
            <a:solidFill>
              <a:srgbClr val="000000"/>
            </a:solidFill>
          </p:grpSpPr>
          <p:sp>
            <p:nvSpPr>
              <p:cNvPr id="3012" name="TextBox 3011">
                <a:extLst>
                  <a:ext uri="{FF2B5EF4-FFF2-40B4-BE49-F238E27FC236}">
                    <a16:creationId xmlns:a16="http://schemas.microsoft.com/office/drawing/2014/main" id="{AAA87CF5-A680-CF18-440C-6F6056647912}"/>
                  </a:ext>
                </a:extLst>
              </p:cNvPr>
              <p:cNvSpPr txBox="1"/>
              <p:nvPr/>
            </p:nvSpPr>
            <p:spPr>
              <a:xfrm rot="5636">
                <a:off x="1614479" y="5624171"/>
                <a:ext cx="757045" cy="256053"/>
              </a:xfrm>
              <a:prstGeom prst="rect">
                <a:avLst/>
              </a:prstGeom>
              <a:noFill/>
            </p:spPr>
            <p:txBody>
              <a:bodyPr wrap="none" rtlCol="0">
                <a:spAutoFit/>
              </a:bodyPr>
              <a:lstStyle/>
              <a:p>
                <a:pPr algn="l"/>
                <a:r>
                  <a:rPr lang="en-US" sz="648" dirty="0">
                    <a:ln/>
                    <a:solidFill>
                      <a:srgbClr val="000000"/>
                    </a:solidFill>
                    <a:latin typeface="HelveticaNeue"/>
                    <a:ea typeface="HelveticaNeue"/>
                    <a:cs typeface="HelveticaNeue"/>
                    <a:sym typeface="HelveticaNeue"/>
                    <a:rtl val="0"/>
                  </a:rPr>
                  <a:t>TPC (202)</a:t>
                </a:r>
              </a:p>
            </p:txBody>
          </p:sp>
          <p:sp>
            <p:nvSpPr>
              <p:cNvPr id="3013" name="TextBox 3012">
                <a:extLst>
                  <a:ext uri="{FF2B5EF4-FFF2-40B4-BE49-F238E27FC236}">
                    <a16:creationId xmlns:a16="http://schemas.microsoft.com/office/drawing/2014/main" id="{DBAC3442-6996-5470-0DCB-D95F32E3364A}"/>
                  </a:ext>
                </a:extLst>
              </p:cNvPr>
              <p:cNvSpPr txBox="1"/>
              <p:nvPr/>
            </p:nvSpPr>
            <p:spPr>
              <a:xfrm rot="5636">
                <a:off x="2196931" y="5644696"/>
                <a:ext cx="400109"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202</a:t>
                </a:r>
              </a:p>
            </p:txBody>
          </p:sp>
          <p:sp>
            <p:nvSpPr>
              <p:cNvPr id="3014" name="TextBox 3013">
                <a:extLst>
                  <a:ext uri="{FF2B5EF4-FFF2-40B4-BE49-F238E27FC236}">
                    <a16:creationId xmlns:a16="http://schemas.microsoft.com/office/drawing/2014/main" id="{D7CF5B32-2C81-FBD9-4CCF-8C2C4E54898E}"/>
                  </a:ext>
                </a:extLst>
              </p:cNvPr>
              <p:cNvSpPr txBox="1"/>
              <p:nvPr/>
            </p:nvSpPr>
            <p:spPr>
              <a:xfrm rot="5636">
                <a:off x="2196931" y="5460249"/>
                <a:ext cx="400109"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406</a:t>
                </a:r>
              </a:p>
            </p:txBody>
          </p:sp>
          <p:sp>
            <p:nvSpPr>
              <p:cNvPr id="3015" name="TextBox 3014">
                <a:extLst>
                  <a:ext uri="{FF2B5EF4-FFF2-40B4-BE49-F238E27FC236}">
                    <a16:creationId xmlns:a16="http://schemas.microsoft.com/office/drawing/2014/main" id="{453F8675-5579-38D7-51B6-B8369F2AFD16}"/>
                  </a:ext>
                </a:extLst>
              </p:cNvPr>
              <p:cNvSpPr txBox="1"/>
              <p:nvPr/>
            </p:nvSpPr>
            <p:spPr>
              <a:xfrm rot="5636">
                <a:off x="2376296" y="5644696"/>
                <a:ext cx="400109"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180</a:t>
                </a:r>
              </a:p>
            </p:txBody>
          </p:sp>
          <p:sp>
            <p:nvSpPr>
              <p:cNvPr id="3016" name="TextBox 3015">
                <a:extLst>
                  <a:ext uri="{FF2B5EF4-FFF2-40B4-BE49-F238E27FC236}">
                    <a16:creationId xmlns:a16="http://schemas.microsoft.com/office/drawing/2014/main" id="{5E7CADB9-269B-5080-0AC2-358D60991699}"/>
                  </a:ext>
                </a:extLst>
              </p:cNvPr>
              <p:cNvSpPr txBox="1"/>
              <p:nvPr/>
            </p:nvSpPr>
            <p:spPr>
              <a:xfrm rot="5636">
                <a:off x="2555660" y="5644696"/>
                <a:ext cx="400109"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148</a:t>
                </a:r>
              </a:p>
            </p:txBody>
          </p:sp>
          <p:sp>
            <p:nvSpPr>
              <p:cNvPr id="3017" name="TextBox 3016">
                <a:extLst>
                  <a:ext uri="{FF2B5EF4-FFF2-40B4-BE49-F238E27FC236}">
                    <a16:creationId xmlns:a16="http://schemas.microsoft.com/office/drawing/2014/main" id="{5C7B679A-AE89-D718-418D-EE228A246B3A}"/>
                  </a:ext>
                </a:extLst>
              </p:cNvPr>
              <p:cNvSpPr txBox="1"/>
              <p:nvPr/>
            </p:nvSpPr>
            <p:spPr>
              <a:xfrm rot="5636">
                <a:off x="2735027" y="5644696"/>
                <a:ext cx="400109"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126</a:t>
                </a:r>
              </a:p>
            </p:txBody>
          </p:sp>
          <p:sp>
            <p:nvSpPr>
              <p:cNvPr id="3018" name="TextBox 3017">
                <a:extLst>
                  <a:ext uri="{FF2B5EF4-FFF2-40B4-BE49-F238E27FC236}">
                    <a16:creationId xmlns:a16="http://schemas.microsoft.com/office/drawing/2014/main" id="{F5691C79-81E2-D80D-832F-A40943EBD100}"/>
                  </a:ext>
                </a:extLst>
              </p:cNvPr>
              <p:cNvSpPr txBox="1"/>
              <p:nvPr/>
            </p:nvSpPr>
            <p:spPr>
              <a:xfrm rot="5636">
                <a:off x="2914376" y="5644696"/>
                <a:ext cx="400109"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118</a:t>
                </a:r>
              </a:p>
            </p:txBody>
          </p:sp>
          <p:sp>
            <p:nvSpPr>
              <p:cNvPr id="3019" name="TextBox 3018">
                <a:extLst>
                  <a:ext uri="{FF2B5EF4-FFF2-40B4-BE49-F238E27FC236}">
                    <a16:creationId xmlns:a16="http://schemas.microsoft.com/office/drawing/2014/main" id="{F6C39F8C-FD25-61B7-D4EA-FB18F26FA331}"/>
                  </a:ext>
                </a:extLst>
              </p:cNvPr>
              <p:cNvSpPr txBox="1"/>
              <p:nvPr/>
            </p:nvSpPr>
            <p:spPr>
              <a:xfrm rot="5636">
                <a:off x="3119200" y="5644651"/>
                <a:ext cx="348813"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95</a:t>
                </a:r>
              </a:p>
            </p:txBody>
          </p:sp>
          <p:sp>
            <p:nvSpPr>
              <p:cNvPr id="3020" name="TextBox 3019">
                <a:extLst>
                  <a:ext uri="{FF2B5EF4-FFF2-40B4-BE49-F238E27FC236}">
                    <a16:creationId xmlns:a16="http://schemas.microsoft.com/office/drawing/2014/main" id="{115FA608-0B97-556D-1597-A5E694A645AF}"/>
                  </a:ext>
                </a:extLst>
              </p:cNvPr>
              <p:cNvSpPr txBox="1"/>
              <p:nvPr/>
            </p:nvSpPr>
            <p:spPr>
              <a:xfrm rot="5636">
                <a:off x="3298565" y="5644651"/>
                <a:ext cx="348813"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78</a:t>
                </a:r>
              </a:p>
            </p:txBody>
          </p:sp>
          <p:sp>
            <p:nvSpPr>
              <p:cNvPr id="3021" name="TextBox 3020">
                <a:extLst>
                  <a:ext uri="{FF2B5EF4-FFF2-40B4-BE49-F238E27FC236}">
                    <a16:creationId xmlns:a16="http://schemas.microsoft.com/office/drawing/2014/main" id="{DEE70B9E-9B52-901D-93C2-42AE877E0358}"/>
                  </a:ext>
                </a:extLst>
              </p:cNvPr>
              <p:cNvSpPr txBox="1"/>
              <p:nvPr/>
            </p:nvSpPr>
            <p:spPr>
              <a:xfrm rot="5636">
                <a:off x="3477929" y="5644651"/>
                <a:ext cx="348813"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72</a:t>
                </a:r>
              </a:p>
            </p:txBody>
          </p:sp>
          <p:sp>
            <p:nvSpPr>
              <p:cNvPr id="3022" name="TextBox 3021">
                <a:extLst>
                  <a:ext uri="{FF2B5EF4-FFF2-40B4-BE49-F238E27FC236}">
                    <a16:creationId xmlns:a16="http://schemas.microsoft.com/office/drawing/2014/main" id="{57AEA93C-A0DA-F957-BB1E-7A2F9E919FFF}"/>
                  </a:ext>
                </a:extLst>
              </p:cNvPr>
              <p:cNvSpPr txBox="1"/>
              <p:nvPr/>
            </p:nvSpPr>
            <p:spPr>
              <a:xfrm rot="5636">
                <a:off x="3657295" y="5644651"/>
                <a:ext cx="348813"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64</a:t>
                </a:r>
              </a:p>
            </p:txBody>
          </p:sp>
          <p:sp>
            <p:nvSpPr>
              <p:cNvPr id="3023" name="TextBox 3022">
                <a:extLst>
                  <a:ext uri="{FF2B5EF4-FFF2-40B4-BE49-F238E27FC236}">
                    <a16:creationId xmlns:a16="http://schemas.microsoft.com/office/drawing/2014/main" id="{977E8172-50FE-EABA-AB68-E45899A90651}"/>
                  </a:ext>
                </a:extLst>
              </p:cNvPr>
              <p:cNvSpPr txBox="1"/>
              <p:nvPr/>
            </p:nvSpPr>
            <p:spPr>
              <a:xfrm rot="5636">
                <a:off x="3836659" y="5644651"/>
                <a:ext cx="348813"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48</a:t>
                </a:r>
              </a:p>
            </p:txBody>
          </p:sp>
          <p:sp>
            <p:nvSpPr>
              <p:cNvPr id="3024" name="TextBox 3023">
                <a:extLst>
                  <a:ext uri="{FF2B5EF4-FFF2-40B4-BE49-F238E27FC236}">
                    <a16:creationId xmlns:a16="http://schemas.microsoft.com/office/drawing/2014/main" id="{609DFDA0-C3B7-700E-AB6D-7DCE23CAFF97}"/>
                  </a:ext>
                </a:extLst>
              </p:cNvPr>
              <p:cNvSpPr txBox="1"/>
              <p:nvPr/>
            </p:nvSpPr>
            <p:spPr>
              <a:xfrm rot="5636">
                <a:off x="4016023" y="5644651"/>
                <a:ext cx="348813"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39</a:t>
                </a:r>
              </a:p>
            </p:txBody>
          </p:sp>
          <p:sp>
            <p:nvSpPr>
              <p:cNvPr id="3025" name="TextBox 3024">
                <a:extLst>
                  <a:ext uri="{FF2B5EF4-FFF2-40B4-BE49-F238E27FC236}">
                    <a16:creationId xmlns:a16="http://schemas.microsoft.com/office/drawing/2014/main" id="{79588AF0-0051-EA73-B6C8-0CD453A7DB2E}"/>
                  </a:ext>
                </a:extLst>
              </p:cNvPr>
              <p:cNvSpPr txBox="1"/>
              <p:nvPr/>
            </p:nvSpPr>
            <p:spPr>
              <a:xfrm rot="5636">
                <a:off x="4195388" y="5644651"/>
                <a:ext cx="348813"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37</a:t>
                </a:r>
              </a:p>
            </p:txBody>
          </p:sp>
          <p:sp>
            <p:nvSpPr>
              <p:cNvPr id="3026" name="TextBox 3025">
                <a:extLst>
                  <a:ext uri="{FF2B5EF4-FFF2-40B4-BE49-F238E27FC236}">
                    <a16:creationId xmlns:a16="http://schemas.microsoft.com/office/drawing/2014/main" id="{418551DB-48ED-3CCD-DA4A-2DDCA6AF9299}"/>
                  </a:ext>
                </a:extLst>
              </p:cNvPr>
              <p:cNvSpPr txBox="1"/>
              <p:nvPr/>
            </p:nvSpPr>
            <p:spPr>
              <a:xfrm rot="5636">
                <a:off x="4374752" y="5644651"/>
                <a:ext cx="348813"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32</a:t>
                </a:r>
              </a:p>
            </p:txBody>
          </p:sp>
          <p:sp>
            <p:nvSpPr>
              <p:cNvPr id="3027" name="TextBox 3026">
                <a:extLst>
                  <a:ext uri="{FF2B5EF4-FFF2-40B4-BE49-F238E27FC236}">
                    <a16:creationId xmlns:a16="http://schemas.microsoft.com/office/drawing/2014/main" id="{E07BFE50-7448-3A6C-32DB-ABBF48C0BD45}"/>
                  </a:ext>
                </a:extLst>
              </p:cNvPr>
              <p:cNvSpPr txBox="1"/>
              <p:nvPr/>
            </p:nvSpPr>
            <p:spPr>
              <a:xfrm rot="5636">
                <a:off x="4554117" y="5644651"/>
                <a:ext cx="348813"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28</a:t>
                </a:r>
              </a:p>
            </p:txBody>
          </p:sp>
          <p:sp>
            <p:nvSpPr>
              <p:cNvPr id="3028" name="TextBox 3027">
                <a:extLst>
                  <a:ext uri="{FF2B5EF4-FFF2-40B4-BE49-F238E27FC236}">
                    <a16:creationId xmlns:a16="http://schemas.microsoft.com/office/drawing/2014/main" id="{1441AB61-2955-8867-4795-7E3495DC3C00}"/>
                  </a:ext>
                </a:extLst>
              </p:cNvPr>
              <p:cNvSpPr txBox="1"/>
              <p:nvPr/>
            </p:nvSpPr>
            <p:spPr>
              <a:xfrm rot="5636">
                <a:off x="4733481" y="5644651"/>
                <a:ext cx="348813"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24</a:t>
                </a:r>
              </a:p>
            </p:txBody>
          </p:sp>
          <p:sp>
            <p:nvSpPr>
              <p:cNvPr id="3029" name="TextBox 3028">
                <a:extLst>
                  <a:ext uri="{FF2B5EF4-FFF2-40B4-BE49-F238E27FC236}">
                    <a16:creationId xmlns:a16="http://schemas.microsoft.com/office/drawing/2014/main" id="{B4D9176D-4382-21C4-4727-0A28EBFBB1C7}"/>
                  </a:ext>
                </a:extLst>
              </p:cNvPr>
              <p:cNvSpPr txBox="1"/>
              <p:nvPr/>
            </p:nvSpPr>
            <p:spPr>
              <a:xfrm rot="5636">
                <a:off x="4912845" y="5644651"/>
                <a:ext cx="348813"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20</a:t>
                </a:r>
              </a:p>
            </p:txBody>
          </p:sp>
          <p:sp>
            <p:nvSpPr>
              <p:cNvPr id="3030" name="TextBox 3029">
                <a:extLst>
                  <a:ext uri="{FF2B5EF4-FFF2-40B4-BE49-F238E27FC236}">
                    <a16:creationId xmlns:a16="http://schemas.microsoft.com/office/drawing/2014/main" id="{60E6A141-F2B2-CD59-8621-16F1F4BDD1D7}"/>
                  </a:ext>
                </a:extLst>
              </p:cNvPr>
              <p:cNvSpPr txBox="1"/>
              <p:nvPr/>
            </p:nvSpPr>
            <p:spPr>
              <a:xfrm rot="5636">
                <a:off x="5092209" y="5644651"/>
                <a:ext cx="348813"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17</a:t>
                </a:r>
              </a:p>
            </p:txBody>
          </p:sp>
          <p:sp>
            <p:nvSpPr>
              <p:cNvPr id="3031" name="TextBox 3030">
                <a:extLst>
                  <a:ext uri="{FF2B5EF4-FFF2-40B4-BE49-F238E27FC236}">
                    <a16:creationId xmlns:a16="http://schemas.microsoft.com/office/drawing/2014/main" id="{6382A21C-1195-A22E-2668-27581FCA382C}"/>
                  </a:ext>
                </a:extLst>
              </p:cNvPr>
              <p:cNvSpPr txBox="1"/>
              <p:nvPr/>
            </p:nvSpPr>
            <p:spPr>
              <a:xfrm rot="5636">
                <a:off x="5271574" y="5644651"/>
                <a:ext cx="348813"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13</a:t>
                </a:r>
              </a:p>
            </p:txBody>
          </p:sp>
          <p:sp>
            <p:nvSpPr>
              <p:cNvPr id="3032" name="TextBox 3031">
                <a:extLst>
                  <a:ext uri="{FF2B5EF4-FFF2-40B4-BE49-F238E27FC236}">
                    <a16:creationId xmlns:a16="http://schemas.microsoft.com/office/drawing/2014/main" id="{20A2BA87-ECEB-57B8-8101-72F60020B18E}"/>
                  </a:ext>
                </a:extLst>
              </p:cNvPr>
              <p:cNvSpPr txBox="1"/>
              <p:nvPr/>
            </p:nvSpPr>
            <p:spPr>
              <a:xfrm rot="5636">
                <a:off x="5450938" y="5644651"/>
                <a:ext cx="348813"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11</a:t>
                </a:r>
              </a:p>
            </p:txBody>
          </p:sp>
          <p:sp>
            <p:nvSpPr>
              <p:cNvPr id="3033" name="TextBox 3032">
                <a:extLst>
                  <a:ext uri="{FF2B5EF4-FFF2-40B4-BE49-F238E27FC236}">
                    <a16:creationId xmlns:a16="http://schemas.microsoft.com/office/drawing/2014/main" id="{92FB70DF-768B-802C-7DF8-E6AA691FBD82}"/>
                  </a:ext>
                </a:extLst>
              </p:cNvPr>
              <p:cNvSpPr txBox="1"/>
              <p:nvPr/>
            </p:nvSpPr>
            <p:spPr>
              <a:xfrm rot="5636">
                <a:off x="5655733" y="5644607"/>
                <a:ext cx="297517"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9</a:t>
                </a:r>
              </a:p>
            </p:txBody>
          </p:sp>
          <p:sp>
            <p:nvSpPr>
              <p:cNvPr id="3034" name="TextBox 3033">
                <a:extLst>
                  <a:ext uri="{FF2B5EF4-FFF2-40B4-BE49-F238E27FC236}">
                    <a16:creationId xmlns:a16="http://schemas.microsoft.com/office/drawing/2014/main" id="{E9D27BDB-C016-5644-B0F9-AF81CF1B9683}"/>
                  </a:ext>
                </a:extLst>
              </p:cNvPr>
              <p:cNvSpPr txBox="1"/>
              <p:nvPr/>
            </p:nvSpPr>
            <p:spPr>
              <a:xfrm rot="5636">
                <a:off x="5835098" y="5644607"/>
                <a:ext cx="297517"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9</a:t>
                </a:r>
              </a:p>
            </p:txBody>
          </p:sp>
          <p:sp>
            <p:nvSpPr>
              <p:cNvPr id="3035" name="TextBox 3034">
                <a:extLst>
                  <a:ext uri="{FF2B5EF4-FFF2-40B4-BE49-F238E27FC236}">
                    <a16:creationId xmlns:a16="http://schemas.microsoft.com/office/drawing/2014/main" id="{72AF1B7A-BF6C-33B7-BF15-47C63FA1A905}"/>
                  </a:ext>
                </a:extLst>
              </p:cNvPr>
              <p:cNvSpPr txBox="1"/>
              <p:nvPr/>
            </p:nvSpPr>
            <p:spPr>
              <a:xfrm rot="5636">
                <a:off x="6014462" y="5644607"/>
                <a:ext cx="297517"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8</a:t>
                </a:r>
              </a:p>
            </p:txBody>
          </p:sp>
          <p:sp>
            <p:nvSpPr>
              <p:cNvPr id="3036" name="TextBox 3035">
                <a:extLst>
                  <a:ext uri="{FF2B5EF4-FFF2-40B4-BE49-F238E27FC236}">
                    <a16:creationId xmlns:a16="http://schemas.microsoft.com/office/drawing/2014/main" id="{71E63A4B-39E9-F7A1-D080-4A1F1B7C5B27}"/>
                  </a:ext>
                </a:extLst>
              </p:cNvPr>
              <p:cNvSpPr txBox="1"/>
              <p:nvPr/>
            </p:nvSpPr>
            <p:spPr>
              <a:xfrm rot="5636">
                <a:off x="6193826" y="5644607"/>
                <a:ext cx="297517"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8</a:t>
                </a:r>
              </a:p>
            </p:txBody>
          </p:sp>
          <p:sp>
            <p:nvSpPr>
              <p:cNvPr id="3037" name="TextBox 3036">
                <a:extLst>
                  <a:ext uri="{FF2B5EF4-FFF2-40B4-BE49-F238E27FC236}">
                    <a16:creationId xmlns:a16="http://schemas.microsoft.com/office/drawing/2014/main" id="{3F9A555A-C4E0-ECCF-355E-B6F7B8C471AD}"/>
                  </a:ext>
                </a:extLst>
              </p:cNvPr>
              <p:cNvSpPr txBox="1"/>
              <p:nvPr/>
            </p:nvSpPr>
            <p:spPr>
              <a:xfrm rot="5636">
                <a:off x="6373190" y="5644607"/>
                <a:ext cx="297517"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6</a:t>
                </a:r>
              </a:p>
            </p:txBody>
          </p:sp>
          <p:sp>
            <p:nvSpPr>
              <p:cNvPr id="3038" name="TextBox 3037">
                <a:extLst>
                  <a:ext uri="{FF2B5EF4-FFF2-40B4-BE49-F238E27FC236}">
                    <a16:creationId xmlns:a16="http://schemas.microsoft.com/office/drawing/2014/main" id="{750F9BF9-933A-4D3A-47D8-CBA4E5CC79FB}"/>
                  </a:ext>
                </a:extLst>
              </p:cNvPr>
              <p:cNvSpPr txBox="1"/>
              <p:nvPr/>
            </p:nvSpPr>
            <p:spPr>
              <a:xfrm rot="5636">
                <a:off x="6552554" y="5644607"/>
                <a:ext cx="297517"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3</a:t>
                </a:r>
              </a:p>
            </p:txBody>
          </p:sp>
          <p:sp>
            <p:nvSpPr>
              <p:cNvPr id="3039" name="TextBox 3038">
                <a:extLst>
                  <a:ext uri="{FF2B5EF4-FFF2-40B4-BE49-F238E27FC236}">
                    <a16:creationId xmlns:a16="http://schemas.microsoft.com/office/drawing/2014/main" id="{89A8C5A5-0B8A-5A12-5B9B-585B572E8FE7}"/>
                  </a:ext>
                </a:extLst>
              </p:cNvPr>
              <p:cNvSpPr txBox="1"/>
              <p:nvPr/>
            </p:nvSpPr>
            <p:spPr>
              <a:xfrm rot="5636">
                <a:off x="6731919" y="5644607"/>
                <a:ext cx="297517"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3</a:t>
                </a:r>
              </a:p>
            </p:txBody>
          </p:sp>
          <p:sp>
            <p:nvSpPr>
              <p:cNvPr id="3040" name="TextBox 3039">
                <a:extLst>
                  <a:ext uri="{FF2B5EF4-FFF2-40B4-BE49-F238E27FC236}">
                    <a16:creationId xmlns:a16="http://schemas.microsoft.com/office/drawing/2014/main" id="{C727396D-8705-2899-1FFC-FFD5034ABD18}"/>
                  </a:ext>
                </a:extLst>
              </p:cNvPr>
              <p:cNvSpPr txBox="1"/>
              <p:nvPr/>
            </p:nvSpPr>
            <p:spPr>
              <a:xfrm rot="5636">
                <a:off x="6911302" y="5644607"/>
                <a:ext cx="297517"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3</a:t>
                </a:r>
              </a:p>
            </p:txBody>
          </p:sp>
          <p:sp>
            <p:nvSpPr>
              <p:cNvPr id="3041" name="TextBox 3040">
                <a:extLst>
                  <a:ext uri="{FF2B5EF4-FFF2-40B4-BE49-F238E27FC236}">
                    <a16:creationId xmlns:a16="http://schemas.microsoft.com/office/drawing/2014/main" id="{1D189C45-3EE2-1A48-DCEA-E7B8AA10F8BA}"/>
                  </a:ext>
                </a:extLst>
              </p:cNvPr>
              <p:cNvSpPr txBox="1"/>
              <p:nvPr/>
            </p:nvSpPr>
            <p:spPr>
              <a:xfrm rot="5636">
                <a:off x="7090666" y="5644607"/>
                <a:ext cx="297517"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2</a:t>
                </a:r>
              </a:p>
            </p:txBody>
          </p:sp>
          <p:sp>
            <p:nvSpPr>
              <p:cNvPr id="3042" name="TextBox 3041">
                <a:extLst>
                  <a:ext uri="{FF2B5EF4-FFF2-40B4-BE49-F238E27FC236}">
                    <a16:creationId xmlns:a16="http://schemas.microsoft.com/office/drawing/2014/main" id="{784E0AAC-D31B-8553-69E5-72272A526550}"/>
                  </a:ext>
                </a:extLst>
              </p:cNvPr>
              <p:cNvSpPr txBox="1"/>
              <p:nvPr/>
            </p:nvSpPr>
            <p:spPr>
              <a:xfrm rot="5636">
                <a:off x="7270031" y="5644607"/>
                <a:ext cx="297517"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2</a:t>
                </a:r>
              </a:p>
            </p:txBody>
          </p:sp>
          <p:sp>
            <p:nvSpPr>
              <p:cNvPr id="3043" name="TextBox 3042">
                <a:extLst>
                  <a:ext uri="{FF2B5EF4-FFF2-40B4-BE49-F238E27FC236}">
                    <a16:creationId xmlns:a16="http://schemas.microsoft.com/office/drawing/2014/main" id="{68E976A6-0C20-BF0E-1833-3342B00AFF76}"/>
                  </a:ext>
                </a:extLst>
              </p:cNvPr>
              <p:cNvSpPr txBox="1"/>
              <p:nvPr/>
            </p:nvSpPr>
            <p:spPr>
              <a:xfrm rot="5636">
                <a:off x="7449395" y="5644607"/>
                <a:ext cx="297517"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2</a:t>
                </a:r>
              </a:p>
            </p:txBody>
          </p:sp>
          <p:sp>
            <p:nvSpPr>
              <p:cNvPr id="3044" name="TextBox 3043">
                <a:extLst>
                  <a:ext uri="{FF2B5EF4-FFF2-40B4-BE49-F238E27FC236}">
                    <a16:creationId xmlns:a16="http://schemas.microsoft.com/office/drawing/2014/main" id="{1994DB87-9B23-BEF6-D786-D9410D4F891F}"/>
                  </a:ext>
                </a:extLst>
              </p:cNvPr>
              <p:cNvSpPr txBox="1"/>
              <p:nvPr/>
            </p:nvSpPr>
            <p:spPr>
              <a:xfrm rot="5636">
                <a:off x="7628759" y="5644607"/>
                <a:ext cx="297517"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2</a:t>
                </a:r>
              </a:p>
            </p:txBody>
          </p:sp>
          <p:sp>
            <p:nvSpPr>
              <p:cNvPr id="3045" name="TextBox 3044">
                <a:extLst>
                  <a:ext uri="{FF2B5EF4-FFF2-40B4-BE49-F238E27FC236}">
                    <a16:creationId xmlns:a16="http://schemas.microsoft.com/office/drawing/2014/main" id="{5257F44A-9515-C70A-1272-DE77F2F138A8}"/>
                  </a:ext>
                </a:extLst>
              </p:cNvPr>
              <p:cNvSpPr txBox="1"/>
              <p:nvPr/>
            </p:nvSpPr>
            <p:spPr>
              <a:xfrm rot="5636">
                <a:off x="7808087" y="5644607"/>
                <a:ext cx="297517"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2</a:t>
                </a:r>
              </a:p>
            </p:txBody>
          </p:sp>
          <p:sp>
            <p:nvSpPr>
              <p:cNvPr id="3046" name="TextBox 3045">
                <a:extLst>
                  <a:ext uri="{FF2B5EF4-FFF2-40B4-BE49-F238E27FC236}">
                    <a16:creationId xmlns:a16="http://schemas.microsoft.com/office/drawing/2014/main" id="{02CA8E1C-F4ED-57FC-BDB6-0B5CC4D3E326}"/>
                  </a:ext>
                </a:extLst>
              </p:cNvPr>
              <p:cNvSpPr txBox="1"/>
              <p:nvPr/>
            </p:nvSpPr>
            <p:spPr>
              <a:xfrm rot="5636">
                <a:off x="7987453" y="5644607"/>
                <a:ext cx="297517"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1</a:t>
                </a:r>
              </a:p>
            </p:txBody>
          </p:sp>
          <p:sp>
            <p:nvSpPr>
              <p:cNvPr id="3047" name="TextBox 3046">
                <a:extLst>
                  <a:ext uri="{FF2B5EF4-FFF2-40B4-BE49-F238E27FC236}">
                    <a16:creationId xmlns:a16="http://schemas.microsoft.com/office/drawing/2014/main" id="{EF178931-70F8-1C16-366C-F6018C49C4C2}"/>
                  </a:ext>
                </a:extLst>
              </p:cNvPr>
              <p:cNvSpPr txBox="1"/>
              <p:nvPr/>
            </p:nvSpPr>
            <p:spPr>
              <a:xfrm rot="5636">
                <a:off x="8166816" y="5644607"/>
                <a:ext cx="297517"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1</a:t>
                </a:r>
              </a:p>
            </p:txBody>
          </p:sp>
          <p:sp>
            <p:nvSpPr>
              <p:cNvPr id="3048" name="TextBox 3047">
                <a:extLst>
                  <a:ext uri="{FF2B5EF4-FFF2-40B4-BE49-F238E27FC236}">
                    <a16:creationId xmlns:a16="http://schemas.microsoft.com/office/drawing/2014/main" id="{72B54AFB-ADD7-22EA-5E94-54B03AD37D79}"/>
                  </a:ext>
                </a:extLst>
              </p:cNvPr>
              <p:cNvSpPr txBox="1"/>
              <p:nvPr/>
            </p:nvSpPr>
            <p:spPr>
              <a:xfrm rot="5636">
                <a:off x="8346182" y="5644607"/>
                <a:ext cx="297517"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1</a:t>
                </a:r>
              </a:p>
            </p:txBody>
          </p:sp>
          <p:sp>
            <p:nvSpPr>
              <p:cNvPr id="3049" name="TextBox 3048">
                <a:extLst>
                  <a:ext uri="{FF2B5EF4-FFF2-40B4-BE49-F238E27FC236}">
                    <a16:creationId xmlns:a16="http://schemas.microsoft.com/office/drawing/2014/main" id="{BFAD3A13-7CE2-2C23-6FDA-18DD4D3F8DBF}"/>
                  </a:ext>
                </a:extLst>
              </p:cNvPr>
              <p:cNvSpPr txBox="1"/>
              <p:nvPr/>
            </p:nvSpPr>
            <p:spPr>
              <a:xfrm rot="5636">
                <a:off x="8525546" y="5644607"/>
                <a:ext cx="297517"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1</a:t>
                </a:r>
              </a:p>
            </p:txBody>
          </p:sp>
          <p:sp>
            <p:nvSpPr>
              <p:cNvPr id="3050" name="TextBox 3049">
                <a:extLst>
                  <a:ext uri="{FF2B5EF4-FFF2-40B4-BE49-F238E27FC236}">
                    <a16:creationId xmlns:a16="http://schemas.microsoft.com/office/drawing/2014/main" id="{E27DDE44-360F-4BD0-430B-281890E185D6}"/>
                  </a:ext>
                </a:extLst>
              </p:cNvPr>
              <p:cNvSpPr txBox="1"/>
              <p:nvPr/>
            </p:nvSpPr>
            <p:spPr>
              <a:xfrm rot="5636">
                <a:off x="8704910" y="5644607"/>
                <a:ext cx="297517"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1</a:t>
                </a:r>
              </a:p>
            </p:txBody>
          </p:sp>
          <p:sp>
            <p:nvSpPr>
              <p:cNvPr id="3051" name="TextBox 3050">
                <a:extLst>
                  <a:ext uri="{FF2B5EF4-FFF2-40B4-BE49-F238E27FC236}">
                    <a16:creationId xmlns:a16="http://schemas.microsoft.com/office/drawing/2014/main" id="{19FD9D13-5EC4-9D55-FA51-652FE011B36A}"/>
                  </a:ext>
                </a:extLst>
              </p:cNvPr>
              <p:cNvSpPr txBox="1"/>
              <p:nvPr/>
            </p:nvSpPr>
            <p:spPr>
              <a:xfrm rot="5636">
                <a:off x="8884275" y="5644607"/>
                <a:ext cx="297517"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0</a:t>
                </a:r>
              </a:p>
            </p:txBody>
          </p:sp>
          <p:sp>
            <p:nvSpPr>
              <p:cNvPr id="3052" name="TextBox 3051">
                <a:extLst>
                  <a:ext uri="{FF2B5EF4-FFF2-40B4-BE49-F238E27FC236}">
                    <a16:creationId xmlns:a16="http://schemas.microsoft.com/office/drawing/2014/main" id="{95B9A48B-504E-33CD-9836-85E3C6BB71F5}"/>
                  </a:ext>
                </a:extLst>
              </p:cNvPr>
              <p:cNvSpPr txBox="1"/>
              <p:nvPr/>
            </p:nvSpPr>
            <p:spPr>
              <a:xfrm rot="5636">
                <a:off x="1511078" y="5439623"/>
                <a:ext cx="855363" cy="256053"/>
              </a:xfrm>
              <a:prstGeom prst="rect">
                <a:avLst/>
              </a:prstGeom>
              <a:noFill/>
            </p:spPr>
            <p:txBody>
              <a:bodyPr wrap="none" rtlCol="0">
                <a:spAutoFit/>
              </a:bodyPr>
              <a:lstStyle/>
              <a:p>
                <a:pPr algn="l"/>
                <a:r>
                  <a:rPr lang="en-US" sz="648" dirty="0">
                    <a:ln/>
                    <a:solidFill>
                      <a:srgbClr val="000000"/>
                    </a:solidFill>
                    <a:latin typeface="HelveticaNeue"/>
                    <a:ea typeface="HelveticaNeue"/>
                    <a:cs typeface="HelveticaNeue"/>
                    <a:sym typeface="HelveticaNeue"/>
                    <a:rtl val="0"/>
                  </a:rPr>
                  <a:t>T-DXd (406)</a:t>
                </a:r>
              </a:p>
            </p:txBody>
          </p:sp>
          <p:sp>
            <p:nvSpPr>
              <p:cNvPr id="3053" name="TextBox 3052">
                <a:extLst>
                  <a:ext uri="{FF2B5EF4-FFF2-40B4-BE49-F238E27FC236}">
                    <a16:creationId xmlns:a16="http://schemas.microsoft.com/office/drawing/2014/main" id="{49912E1A-7804-CF43-EEF1-4161F40B6A76}"/>
                  </a:ext>
                </a:extLst>
              </p:cNvPr>
              <p:cNvSpPr txBox="1"/>
              <p:nvPr/>
            </p:nvSpPr>
            <p:spPr>
              <a:xfrm rot="5636">
                <a:off x="2376296" y="5460249"/>
                <a:ext cx="400109"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400</a:t>
                </a:r>
              </a:p>
            </p:txBody>
          </p:sp>
          <p:sp>
            <p:nvSpPr>
              <p:cNvPr id="3054" name="TextBox 3053">
                <a:extLst>
                  <a:ext uri="{FF2B5EF4-FFF2-40B4-BE49-F238E27FC236}">
                    <a16:creationId xmlns:a16="http://schemas.microsoft.com/office/drawing/2014/main" id="{97E9A2A0-924F-09BB-6FCE-39C7CABBEED6}"/>
                  </a:ext>
                </a:extLst>
              </p:cNvPr>
              <p:cNvSpPr txBox="1"/>
              <p:nvPr/>
            </p:nvSpPr>
            <p:spPr>
              <a:xfrm rot="5636">
                <a:off x="2555559" y="5460249"/>
                <a:ext cx="400109"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374</a:t>
                </a:r>
              </a:p>
            </p:txBody>
          </p:sp>
          <p:sp>
            <p:nvSpPr>
              <p:cNvPr id="3055" name="TextBox 3054">
                <a:extLst>
                  <a:ext uri="{FF2B5EF4-FFF2-40B4-BE49-F238E27FC236}">
                    <a16:creationId xmlns:a16="http://schemas.microsoft.com/office/drawing/2014/main" id="{ACAEA1BD-5707-DAF7-D556-2C521FE9BAB1}"/>
                  </a:ext>
                </a:extLst>
              </p:cNvPr>
              <p:cNvSpPr txBox="1"/>
              <p:nvPr/>
            </p:nvSpPr>
            <p:spPr>
              <a:xfrm rot="5636">
                <a:off x="2734803" y="5460249"/>
                <a:ext cx="400109"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359</a:t>
                </a:r>
              </a:p>
            </p:txBody>
          </p:sp>
          <p:sp>
            <p:nvSpPr>
              <p:cNvPr id="3056" name="TextBox 3055">
                <a:extLst>
                  <a:ext uri="{FF2B5EF4-FFF2-40B4-BE49-F238E27FC236}">
                    <a16:creationId xmlns:a16="http://schemas.microsoft.com/office/drawing/2014/main" id="{8EBE17D7-047A-A146-90FB-A164B09C02DF}"/>
                  </a:ext>
                </a:extLst>
              </p:cNvPr>
              <p:cNvSpPr txBox="1"/>
              <p:nvPr/>
            </p:nvSpPr>
            <p:spPr>
              <a:xfrm rot="5636">
                <a:off x="2914064" y="5460249"/>
                <a:ext cx="400109"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355</a:t>
                </a:r>
              </a:p>
            </p:txBody>
          </p:sp>
          <p:sp>
            <p:nvSpPr>
              <p:cNvPr id="3057" name="TextBox 3056">
                <a:extLst>
                  <a:ext uri="{FF2B5EF4-FFF2-40B4-BE49-F238E27FC236}">
                    <a16:creationId xmlns:a16="http://schemas.microsoft.com/office/drawing/2014/main" id="{E2835343-63AB-DEAC-59DA-70102683A2BC}"/>
                  </a:ext>
                </a:extLst>
              </p:cNvPr>
              <p:cNvSpPr txBox="1"/>
              <p:nvPr/>
            </p:nvSpPr>
            <p:spPr>
              <a:xfrm rot="5636">
                <a:off x="3093331" y="5460249"/>
                <a:ext cx="400109"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330</a:t>
                </a:r>
              </a:p>
            </p:txBody>
          </p:sp>
          <p:sp>
            <p:nvSpPr>
              <p:cNvPr id="3058" name="TextBox 3057">
                <a:extLst>
                  <a:ext uri="{FF2B5EF4-FFF2-40B4-BE49-F238E27FC236}">
                    <a16:creationId xmlns:a16="http://schemas.microsoft.com/office/drawing/2014/main" id="{8AADF4C9-7591-C8B6-8D0E-947FCC814E98}"/>
                  </a:ext>
                </a:extLst>
              </p:cNvPr>
              <p:cNvSpPr txBox="1"/>
              <p:nvPr/>
            </p:nvSpPr>
            <p:spPr>
              <a:xfrm rot="5636">
                <a:off x="3272572" y="5460249"/>
                <a:ext cx="400109"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296</a:t>
                </a:r>
              </a:p>
            </p:txBody>
          </p:sp>
          <p:sp>
            <p:nvSpPr>
              <p:cNvPr id="3059" name="TextBox 3058">
                <a:extLst>
                  <a:ext uri="{FF2B5EF4-FFF2-40B4-BE49-F238E27FC236}">
                    <a16:creationId xmlns:a16="http://schemas.microsoft.com/office/drawing/2014/main" id="{CCD9636D-C778-8005-5B04-D5605B08394D}"/>
                  </a:ext>
                </a:extLst>
              </p:cNvPr>
              <p:cNvSpPr txBox="1"/>
              <p:nvPr/>
            </p:nvSpPr>
            <p:spPr>
              <a:xfrm rot="5636">
                <a:off x="3451830" y="5460249"/>
                <a:ext cx="400109"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278</a:t>
                </a:r>
              </a:p>
            </p:txBody>
          </p:sp>
          <p:sp>
            <p:nvSpPr>
              <p:cNvPr id="3060" name="TextBox 3059">
                <a:extLst>
                  <a:ext uri="{FF2B5EF4-FFF2-40B4-BE49-F238E27FC236}">
                    <a16:creationId xmlns:a16="http://schemas.microsoft.com/office/drawing/2014/main" id="{C73F38BF-EE6A-29FA-F6FF-CB69F380C97F}"/>
                  </a:ext>
                </a:extLst>
              </p:cNvPr>
              <p:cNvSpPr txBox="1"/>
              <p:nvPr/>
            </p:nvSpPr>
            <p:spPr>
              <a:xfrm rot="5636">
                <a:off x="3631088" y="5460249"/>
                <a:ext cx="400109"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260</a:t>
                </a:r>
              </a:p>
            </p:txBody>
          </p:sp>
          <p:sp>
            <p:nvSpPr>
              <p:cNvPr id="3061" name="TextBox 3060">
                <a:extLst>
                  <a:ext uri="{FF2B5EF4-FFF2-40B4-BE49-F238E27FC236}">
                    <a16:creationId xmlns:a16="http://schemas.microsoft.com/office/drawing/2014/main" id="{729AD4EE-E2DC-A8B3-1B94-78161BAA0493}"/>
                  </a:ext>
                </a:extLst>
              </p:cNvPr>
              <p:cNvSpPr txBox="1"/>
              <p:nvPr/>
            </p:nvSpPr>
            <p:spPr>
              <a:xfrm rot="5636">
                <a:off x="3810347" y="5460249"/>
                <a:ext cx="400109"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239</a:t>
                </a:r>
              </a:p>
            </p:txBody>
          </p:sp>
          <p:sp>
            <p:nvSpPr>
              <p:cNvPr id="3062" name="TextBox 3061">
                <a:extLst>
                  <a:ext uri="{FF2B5EF4-FFF2-40B4-BE49-F238E27FC236}">
                    <a16:creationId xmlns:a16="http://schemas.microsoft.com/office/drawing/2014/main" id="{11A34200-65CE-B42B-9506-931A47EC093B}"/>
                  </a:ext>
                </a:extLst>
              </p:cNvPr>
              <p:cNvSpPr txBox="1"/>
              <p:nvPr/>
            </p:nvSpPr>
            <p:spPr>
              <a:xfrm rot="5636">
                <a:off x="3989605" y="5460249"/>
                <a:ext cx="400109"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213</a:t>
                </a:r>
              </a:p>
            </p:txBody>
          </p:sp>
          <p:sp>
            <p:nvSpPr>
              <p:cNvPr id="3063" name="TextBox 3062">
                <a:extLst>
                  <a:ext uri="{FF2B5EF4-FFF2-40B4-BE49-F238E27FC236}">
                    <a16:creationId xmlns:a16="http://schemas.microsoft.com/office/drawing/2014/main" id="{A08C04F5-56F2-CD54-095B-97F02355FA38}"/>
                  </a:ext>
                </a:extLst>
              </p:cNvPr>
              <p:cNvSpPr txBox="1"/>
              <p:nvPr/>
            </p:nvSpPr>
            <p:spPr>
              <a:xfrm rot="5636">
                <a:off x="4168847" y="5460249"/>
                <a:ext cx="400109"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203</a:t>
                </a:r>
              </a:p>
            </p:txBody>
          </p:sp>
          <p:sp>
            <p:nvSpPr>
              <p:cNvPr id="3064" name="TextBox 3063">
                <a:extLst>
                  <a:ext uri="{FF2B5EF4-FFF2-40B4-BE49-F238E27FC236}">
                    <a16:creationId xmlns:a16="http://schemas.microsoft.com/office/drawing/2014/main" id="{56D9DAF7-0F05-6B6F-233B-6A40FC7E7365}"/>
                  </a:ext>
                </a:extLst>
              </p:cNvPr>
              <p:cNvSpPr txBox="1"/>
              <p:nvPr/>
            </p:nvSpPr>
            <p:spPr>
              <a:xfrm rot="5636">
                <a:off x="4348104" y="5460249"/>
                <a:ext cx="400109"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194</a:t>
                </a:r>
              </a:p>
            </p:txBody>
          </p:sp>
          <p:sp>
            <p:nvSpPr>
              <p:cNvPr id="3065" name="TextBox 3064">
                <a:extLst>
                  <a:ext uri="{FF2B5EF4-FFF2-40B4-BE49-F238E27FC236}">
                    <a16:creationId xmlns:a16="http://schemas.microsoft.com/office/drawing/2014/main" id="{358DCAA5-E2CB-6C0E-58BD-FF5E3B0197DD}"/>
                  </a:ext>
                </a:extLst>
              </p:cNvPr>
              <p:cNvSpPr txBox="1"/>
              <p:nvPr/>
            </p:nvSpPr>
            <p:spPr>
              <a:xfrm rot="5636">
                <a:off x="4527380" y="5460249"/>
                <a:ext cx="400109"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179</a:t>
                </a:r>
              </a:p>
            </p:txBody>
          </p:sp>
          <p:sp>
            <p:nvSpPr>
              <p:cNvPr id="3066" name="TextBox 3065">
                <a:extLst>
                  <a:ext uri="{FF2B5EF4-FFF2-40B4-BE49-F238E27FC236}">
                    <a16:creationId xmlns:a16="http://schemas.microsoft.com/office/drawing/2014/main" id="{4BAECA6B-E17B-83F3-FC60-98860A68A6D8}"/>
                  </a:ext>
                </a:extLst>
              </p:cNvPr>
              <p:cNvSpPr txBox="1"/>
              <p:nvPr/>
            </p:nvSpPr>
            <p:spPr>
              <a:xfrm rot="5636">
                <a:off x="4706640" y="5460249"/>
                <a:ext cx="400109"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170</a:t>
                </a:r>
              </a:p>
            </p:txBody>
          </p:sp>
          <p:sp>
            <p:nvSpPr>
              <p:cNvPr id="3067" name="TextBox 3066">
                <a:extLst>
                  <a:ext uri="{FF2B5EF4-FFF2-40B4-BE49-F238E27FC236}">
                    <a16:creationId xmlns:a16="http://schemas.microsoft.com/office/drawing/2014/main" id="{B4FB9105-794F-BFEF-AD4C-7E5E67057877}"/>
                  </a:ext>
                </a:extLst>
              </p:cNvPr>
              <p:cNvSpPr txBox="1"/>
              <p:nvPr/>
            </p:nvSpPr>
            <p:spPr>
              <a:xfrm rot="5636">
                <a:off x="4885897" y="5460249"/>
                <a:ext cx="400109"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161</a:t>
                </a:r>
              </a:p>
            </p:txBody>
          </p:sp>
          <p:sp>
            <p:nvSpPr>
              <p:cNvPr id="3068" name="TextBox 3067">
                <a:extLst>
                  <a:ext uri="{FF2B5EF4-FFF2-40B4-BE49-F238E27FC236}">
                    <a16:creationId xmlns:a16="http://schemas.microsoft.com/office/drawing/2014/main" id="{1A8AB3EA-9461-4272-9631-8FA2B65775D1}"/>
                  </a:ext>
                </a:extLst>
              </p:cNvPr>
              <p:cNvSpPr txBox="1"/>
              <p:nvPr/>
            </p:nvSpPr>
            <p:spPr>
              <a:xfrm rot="5636">
                <a:off x="5065121" y="5460249"/>
                <a:ext cx="400109"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149</a:t>
                </a:r>
              </a:p>
            </p:txBody>
          </p:sp>
          <p:sp>
            <p:nvSpPr>
              <p:cNvPr id="3069" name="TextBox 3068">
                <a:extLst>
                  <a:ext uri="{FF2B5EF4-FFF2-40B4-BE49-F238E27FC236}">
                    <a16:creationId xmlns:a16="http://schemas.microsoft.com/office/drawing/2014/main" id="{25F63828-AF8F-4AD8-3586-194DEF99C396}"/>
                  </a:ext>
                </a:extLst>
              </p:cNvPr>
              <p:cNvSpPr txBox="1"/>
              <p:nvPr/>
            </p:nvSpPr>
            <p:spPr>
              <a:xfrm rot="5636">
                <a:off x="5244380" y="5460249"/>
                <a:ext cx="400109"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141</a:t>
                </a:r>
              </a:p>
            </p:txBody>
          </p:sp>
          <p:sp>
            <p:nvSpPr>
              <p:cNvPr id="3070" name="TextBox 3069">
                <a:extLst>
                  <a:ext uri="{FF2B5EF4-FFF2-40B4-BE49-F238E27FC236}">
                    <a16:creationId xmlns:a16="http://schemas.microsoft.com/office/drawing/2014/main" id="{B110289E-6DE8-A9D2-7EEF-9177EB52745C}"/>
                  </a:ext>
                </a:extLst>
              </p:cNvPr>
              <p:cNvSpPr txBox="1"/>
              <p:nvPr/>
            </p:nvSpPr>
            <p:spPr>
              <a:xfrm rot="5636">
                <a:off x="5423656" y="5460249"/>
                <a:ext cx="400109"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132</a:t>
                </a:r>
              </a:p>
            </p:txBody>
          </p:sp>
          <p:sp>
            <p:nvSpPr>
              <p:cNvPr id="3071" name="TextBox 3070">
                <a:extLst>
                  <a:ext uri="{FF2B5EF4-FFF2-40B4-BE49-F238E27FC236}">
                    <a16:creationId xmlns:a16="http://schemas.microsoft.com/office/drawing/2014/main" id="{37D0A149-8666-1AB0-163A-CC079AA6E012}"/>
                  </a:ext>
                </a:extLst>
              </p:cNvPr>
              <p:cNvSpPr txBox="1"/>
              <p:nvPr/>
            </p:nvSpPr>
            <p:spPr>
              <a:xfrm rot="5636">
                <a:off x="5602914" y="5460249"/>
                <a:ext cx="400109"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119</a:t>
                </a:r>
              </a:p>
            </p:txBody>
          </p:sp>
          <p:sp>
            <p:nvSpPr>
              <p:cNvPr id="3072" name="TextBox 3071">
                <a:extLst>
                  <a:ext uri="{FF2B5EF4-FFF2-40B4-BE49-F238E27FC236}">
                    <a16:creationId xmlns:a16="http://schemas.microsoft.com/office/drawing/2014/main" id="{E227F58F-C7FF-145B-6691-1AB6603C7793}"/>
                  </a:ext>
                </a:extLst>
              </p:cNvPr>
              <p:cNvSpPr txBox="1"/>
              <p:nvPr/>
            </p:nvSpPr>
            <p:spPr>
              <a:xfrm rot="5636">
                <a:off x="5782173" y="5460249"/>
                <a:ext cx="400109"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109</a:t>
                </a:r>
              </a:p>
            </p:txBody>
          </p:sp>
          <p:sp>
            <p:nvSpPr>
              <p:cNvPr id="3073" name="TextBox 3072">
                <a:extLst>
                  <a:ext uri="{FF2B5EF4-FFF2-40B4-BE49-F238E27FC236}">
                    <a16:creationId xmlns:a16="http://schemas.microsoft.com/office/drawing/2014/main" id="{DD3B0993-A94D-FE68-2413-1EB8D1AB4E82}"/>
                  </a:ext>
                </a:extLst>
              </p:cNvPr>
              <p:cNvSpPr txBox="1"/>
              <p:nvPr/>
            </p:nvSpPr>
            <p:spPr>
              <a:xfrm rot="5636">
                <a:off x="5986861" y="5460204"/>
                <a:ext cx="348813"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88</a:t>
                </a:r>
              </a:p>
            </p:txBody>
          </p:sp>
          <p:sp>
            <p:nvSpPr>
              <p:cNvPr id="3074" name="TextBox 3073">
                <a:extLst>
                  <a:ext uri="{FF2B5EF4-FFF2-40B4-BE49-F238E27FC236}">
                    <a16:creationId xmlns:a16="http://schemas.microsoft.com/office/drawing/2014/main" id="{98BE7EF3-8CCE-935F-799F-5FA63EAE12DF}"/>
                  </a:ext>
                </a:extLst>
              </p:cNvPr>
              <p:cNvSpPr txBox="1"/>
              <p:nvPr/>
            </p:nvSpPr>
            <p:spPr>
              <a:xfrm rot="5636">
                <a:off x="6166120" y="5460204"/>
                <a:ext cx="348813"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83</a:t>
                </a:r>
              </a:p>
            </p:txBody>
          </p:sp>
          <p:sp>
            <p:nvSpPr>
              <p:cNvPr id="3075" name="TextBox 3074">
                <a:extLst>
                  <a:ext uri="{FF2B5EF4-FFF2-40B4-BE49-F238E27FC236}">
                    <a16:creationId xmlns:a16="http://schemas.microsoft.com/office/drawing/2014/main" id="{CD8D251A-41A1-492D-0E4E-4FA4295C039C}"/>
                  </a:ext>
                </a:extLst>
              </p:cNvPr>
              <p:cNvSpPr txBox="1"/>
              <p:nvPr/>
            </p:nvSpPr>
            <p:spPr>
              <a:xfrm rot="5636">
                <a:off x="6345378" y="5460204"/>
                <a:ext cx="348813"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76</a:t>
                </a:r>
              </a:p>
            </p:txBody>
          </p:sp>
          <p:sp>
            <p:nvSpPr>
              <p:cNvPr id="3076" name="TextBox 3075">
                <a:extLst>
                  <a:ext uri="{FF2B5EF4-FFF2-40B4-BE49-F238E27FC236}">
                    <a16:creationId xmlns:a16="http://schemas.microsoft.com/office/drawing/2014/main" id="{2D397087-AACE-8782-40BC-144998353C39}"/>
                  </a:ext>
                </a:extLst>
              </p:cNvPr>
              <p:cNvSpPr txBox="1"/>
              <p:nvPr/>
            </p:nvSpPr>
            <p:spPr>
              <a:xfrm rot="5636">
                <a:off x="6524654" y="5460204"/>
                <a:ext cx="348813"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65</a:t>
                </a:r>
              </a:p>
            </p:txBody>
          </p:sp>
          <p:sp>
            <p:nvSpPr>
              <p:cNvPr id="3077" name="TextBox 3076">
                <a:extLst>
                  <a:ext uri="{FF2B5EF4-FFF2-40B4-BE49-F238E27FC236}">
                    <a16:creationId xmlns:a16="http://schemas.microsoft.com/office/drawing/2014/main" id="{3DF7A350-2E1A-B529-642F-D090868B63BF}"/>
                  </a:ext>
                </a:extLst>
              </p:cNvPr>
              <p:cNvSpPr txBox="1"/>
              <p:nvPr/>
            </p:nvSpPr>
            <p:spPr>
              <a:xfrm rot="5636">
                <a:off x="6703913" y="5460204"/>
                <a:ext cx="348813"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60</a:t>
                </a:r>
              </a:p>
            </p:txBody>
          </p:sp>
          <p:sp>
            <p:nvSpPr>
              <p:cNvPr id="3078" name="TextBox 3077">
                <a:extLst>
                  <a:ext uri="{FF2B5EF4-FFF2-40B4-BE49-F238E27FC236}">
                    <a16:creationId xmlns:a16="http://schemas.microsoft.com/office/drawing/2014/main" id="{DAD926C7-B44A-3E01-2D71-FCCF5A931D2D}"/>
                  </a:ext>
                </a:extLst>
              </p:cNvPr>
              <p:cNvSpPr txBox="1"/>
              <p:nvPr/>
            </p:nvSpPr>
            <p:spPr>
              <a:xfrm rot="5636">
                <a:off x="6883170" y="5460204"/>
                <a:ext cx="348813"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55</a:t>
                </a:r>
              </a:p>
            </p:txBody>
          </p:sp>
          <p:sp>
            <p:nvSpPr>
              <p:cNvPr id="3079" name="TextBox 3078">
                <a:extLst>
                  <a:ext uri="{FF2B5EF4-FFF2-40B4-BE49-F238E27FC236}">
                    <a16:creationId xmlns:a16="http://schemas.microsoft.com/office/drawing/2014/main" id="{DA668A13-F02A-F520-3A43-5DC93DD4E733}"/>
                  </a:ext>
                </a:extLst>
              </p:cNvPr>
              <p:cNvSpPr txBox="1"/>
              <p:nvPr/>
            </p:nvSpPr>
            <p:spPr>
              <a:xfrm rot="5636">
                <a:off x="7062394" y="5460204"/>
                <a:ext cx="348813"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47</a:t>
                </a:r>
              </a:p>
            </p:txBody>
          </p:sp>
          <p:sp>
            <p:nvSpPr>
              <p:cNvPr id="3080" name="TextBox 3079">
                <a:extLst>
                  <a:ext uri="{FF2B5EF4-FFF2-40B4-BE49-F238E27FC236}">
                    <a16:creationId xmlns:a16="http://schemas.microsoft.com/office/drawing/2014/main" id="{AB483C64-8BA3-BF6C-0C84-211507AFE042}"/>
                  </a:ext>
                </a:extLst>
              </p:cNvPr>
              <p:cNvSpPr txBox="1"/>
              <p:nvPr/>
            </p:nvSpPr>
            <p:spPr>
              <a:xfrm rot="5636">
                <a:off x="7241670" y="5460204"/>
                <a:ext cx="348813"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38</a:t>
                </a:r>
              </a:p>
            </p:txBody>
          </p:sp>
          <p:sp>
            <p:nvSpPr>
              <p:cNvPr id="3081" name="TextBox 3080">
                <a:extLst>
                  <a:ext uri="{FF2B5EF4-FFF2-40B4-BE49-F238E27FC236}">
                    <a16:creationId xmlns:a16="http://schemas.microsoft.com/office/drawing/2014/main" id="{2495A98F-2B4E-1787-FB73-B6DED2F0F867}"/>
                  </a:ext>
                </a:extLst>
              </p:cNvPr>
              <p:cNvSpPr txBox="1"/>
              <p:nvPr/>
            </p:nvSpPr>
            <p:spPr>
              <a:xfrm rot="5636">
                <a:off x="7420929" y="5460204"/>
                <a:ext cx="348813"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35</a:t>
                </a:r>
              </a:p>
            </p:txBody>
          </p:sp>
          <p:sp>
            <p:nvSpPr>
              <p:cNvPr id="3082" name="TextBox 3081">
                <a:extLst>
                  <a:ext uri="{FF2B5EF4-FFF2-40B4-BE49-F238E27FC236}">
                    <a16:creationId xmlns:a16="http://schemas.microsoft.com/office/drawing/2014/main" id="{117FE601-251F-6599-C9A3-B5EF70A10727}"/>
                  </a:ext>
                </a:extLst>
              </p:cNvPr>
              <p:cNvSpPr txBox="1"/>
              <p:nvPr/>
            </p:nvSpPr>
            <p:spPr>
              <a:xfrm rot="5636">
                <a:off x="7600187" y="5460204"/>
                <a:ext cx="348813"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31</a:t>
                </a:r>
              </a:p>
            </p:txBody>
          </p:sp>
          <p:sp>
            <p:nvSpPr>
              <p:cNvPr id="3083" name="TextBox 3082">
                <a:extLst>
                  <a:ext uri="{FF2B5EF4-FFF2-40B4-BE49-F238E27FC236}">
                    <a16:creationId xmlns:a16="http://schemas.microsoft.com/office/drawing/2014/main" id="{B62971C9-E9A2-52DB-EA42-546131C69E39}"/>
                  </a:ext>
                </a:extLst>
              </p:cNvPr>
              <p:cNvSpPr txBox="1"/>
              <p:nvPr/>
            </p:nvSpPr>
            <p:spPr>
              <a:xfrm rot="5636">
                <a:off x="7779446" y="5460204"/>
                <a:ext cx="348813"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27</a:t>
                </a:r>
              </a:p>
            </p:txBody>
          </p:sp>
          <p:sp>
            <p:nvSpPr>
              <p:cNvPr id="3084" name="TextBox 3083">
                <a:extLst>
                  <a:ext uri="{FF2B5EF4-FFF2-40B4-BE49-F238E27FC236}">
                    <a16:creationId xmlns:a16="http://schemas.microsoft.com/office/drawing/2014/main" id="{D7619A08-74C7-1954-D0F5-7296F7A4295C}"/>
                  </a:ext>
                </a:extLst>
              </p:cNvPr>
              <p:cNvSpPr txBox="1"/>
              <p:nvPr/>
            </p:nvSpPr>
            <p:spPr>
              <a:xfrm rot="5636">
                <a:off x="7958687" y="5460204"/>
                <a:ext cx="348813"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23</a:t>
                </a:r>
              </a:p>
            </p:txBody>
          </p:sp>
          <p:sp>
            <p:nvSpPr>
              <p:cNvPr id="3085" name="TextBox 3084">
                <a:extLst>
                  <a:ext uri="{FF2B5EF4-FFF2-40B4-BE49-F238E27FC236}">
                    <a16:creationId xmlns:a16="http://schemas.microsoft.com/office/drawing/2014/main" id="{4E3F915E-A59D-6EFB-43F2-520C9E62E99C}"/>
                  </a:ext>
                </a:extLst>
              </p:cNvPr>
              <p:cNvSpPr txBox="1"/>
              <p:nvPr/>
            </p:nvSpPr>
            <p:spPr>
              <a:xfrm rot="5636">
                <a:off x="8137946" y="5460204"/>
                <a:ext cx="348813"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19</a:t>
                </a:r>
              </a:p>
            </p:txBody>
          </p:sp>
          <p:sp>
            <p:nvSpPr>
              <p:cNvPr id="3086" name="TextBox 3085">
                <a:extLst>
                  <a:ext uri="{FF2B5EF4-FFF2-40B4-BE49-F238E27FC236}">
                    <a16:creationId xmlns:a16="http://schemas.microsoft.com/office/drawing/2014/main" id="{72D72442-9ABC-B12A-112A-84EB8C1BA8B7}"/>
                  </a:ext>
                </a:extLst>
              </p:cNvPr>
              <p:cNvSpPr txBox="1"/>
              <p:nvPr/>
            </p:nvSpPr>
            <p:spPr>
              <a:xfrm rot="5636">
                <a:off x="8317203" y="5460204"/>
                <a:ext cx="348813"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15</a:t>
                </a:r>
              </a:p>
            </p:txBody>
          </p:sp>
          <p:sp>
            <p:nvSpPr>
              <p:cNvPr id="3087" name="TextBox 3086">
                <a:extLst>
                  <a:ext uri="{FF2B5EF4-FFF2-40B4-BE49-F238E27FC236}">
                    <a16:creationId xmlns:a16="http://schemas.microsoft.com/office/drawing/2014/main" id="{14DD56B8-4D9A-6AE2-61C1-AB4448624E52}"/>
                  </a:ext>
                </a:extLst>
              </p:cNvPr>
              <p:cNvSpPr txBox="1"/>
              <p:nvPr/>
            </p:nvSpPr>
            <p:spPr>
              <a:xfrm rot="5636">
                <a:off x="8496463" y="5460204"/>
                <a:ext cx="348813"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14</a:t>
                </a:r>
              </a:p>
            </p:txBody>
          </p:sp>
          <p:sp>
            <p:nvSpPr>
              <p:cNvPr id="3088" name="TextBox 3087">
                <a:extLst>
                  <a:ext uri="{FF2B5EF4-FFF2-40B4-BE49-F238E27FC236}">
                    <a16:creationId xmlns:a16="http://schemas.microsoft.com/office/drawing/2014/main" id="{A4D1F63B-6651-E093-C41A-A1F46392CB50}"/>
                  </a:ext>
                </a:extLst>
              </p:cNvPr>
              <p:cNvSpPr txBox="1"/>
              <p:nvPr/>
            </p:nvSpPr>
            <p:spPr>
              <a:xfrm rot="5636">
                <a:off x="8675720" y="5460204"/>
                <a:ext cx="348813"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12</a:t>
                </a:r>
              </a:p>
            </p:txBody>
          </p:sp>
          <p:sp>
            <p:nvSpPr>
              <p:cNvPr id="3089" name="TextBox 3088">
                <a:extLst>
                  <a:ext uri="{FF2B5EF4-FFF2-40B4-BE49-F238E27FC236}">
                    <a16:creationId xmlns:a16="http://schemas.microsoft.com/office/drawing/2014/main" id="{54B186DB-9910-A0C2-4A0D-562B4108224A}"/>
                  </a:ext>
                </a:extLst>
              </p:cNvPr>
              <p:cNvSpPr txBox="1"/>
              <p:nvPr/>
            </p:nvSpPr>
            <p:spPr>
              <a:xfrm rot="5636">
                <a:off x="8854996" y="5460204"/>
                <a:ext cx="348813"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10</a:t>
                </a:r>
              </a:p>
            </p:txBody>
          </p:sp>
          <p:sp>
            <p:nvSpPr>
              <p:cNvPr id="3090" name="TextBox 3089">
                <a:extLst>
                  <a:ext uri="{FF2B5EF4-FFF2-40B4-BE49-F238E27FC236}">
                    <a16:creationId xmlns:a16="http://schemas.microsoft.com/office/drawing/2014/main" id="{A318D159-BD87-24C5-7A6C-2DED9FA05B4D}"/>
                  </a:ext>
                </a:extLst>
              </p:cNvPr>
              <p:cNvSpPr txBox="1"/>
              <p:nvPr/>
            </p:nvSpPr>
            <p:spPr>
              <a:xfrm rot="5636">
                <a:off x="9059686" y="5460159"/>
                <a:ext cx="297517"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6</a:t>
                </a:r>
              </a:p>
            </p:txBody>
          </p:sp>
          <p:sp>
            <p:nvSpPr>
              <p:cNvPr id="3091" name="TextBox 3090">
                <a:extLst>
                  <a:ext uri="{FF2B5EF4-FFF2-40B4-BE49-F238E27FC236}">
                    <a16:creationId xmlns:a16="http://schemas.microsoft.com/office/drawing/2014/main" id="{A1F1AA7C-4DC0-AD11-470F-427A0ECEF561}"/>
                  </a:ext>
                </a:extLst>
              </p:cNvPr>
              <p:cNvSpPr txBox="1"/>
              <p:nvPr/>
            </p:nvSpPr>
            <p:spPr>
              <a:xfrm rot="5636">
                <a:off x="9238944" y="5460159"/>
                <a:ext cx="297517"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4</a:t>
                </a:r>
              </a:p>
            </p:txBody>
          </p:sp>
          <p:sp>
            <p:nvSpPr>
              <p:cNvPr id="3092" name="TextBox 3091">
                <a:extLst>
                  <a:ext uri="{FF2B5EF4-FFF2-40B4-BE49-F238E27FC236}">
                    <a16:creationId xmlns:a16="http://schemas.microsoft.com/office/drawing/2014/main" id="{04B41A35-9F55-809B-061A-65E55221C3F5}"/>
                  </a:ext>
                </a:extLst>
              </p:cNvPr>
              <p:cNvSpPr txBox="1"/>
              <p:nvPr/>
            </p:nvSpPr>
            <p:spPr>
              <a:xfrm rot="5636">
                <a:off x="9418203" y="5460159"/>
                <a:ext cx="297517"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4</a:t>
                </a:r>
              </a:p>
            </p:txBody>
          </p:sp>
          <p:sp>
            <p:nvSpPr>
              <p:cNvPr id="3093" name="TextBox 3092">
                <a:extLst>
                  <a:ext uri="{FF2B5EF4-FFF2-40B4-BE49-F238E27FC236}">
                    <a16:creationId xmlns:a16="http://schemas.microsoft.com/office/drawing/2014/main" id="{CF647060-A758-AA4C-9203-282F7C39751F}"/>
                  </a:ext>
                </a:extLst>
              </p:cNvPr>
              <p:cNvSpPr txBox="1"/>
              <p:nvPr/>
            </p:nvSpPr>
            <p:spPr>
              <a:xfrm rot="5636">
                <a:off x="9597462" y="5460159"/>
                <a:ext cx="297517"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3</a:t>
                </a:r>
              </a:p>
            </p:txBody>
          </p:sp>
          <p:sp>
            <p:nvSpPr>
              <p:cNvPr id="3094" name="TextBox 3093">
                <a:extLst>
                  <a:ext uri="{FF2B5EF4-FFF2-40B4-BE49-F238E27FC236}">
                    <a16:creationId xmlns:a16="http://schemas.microsoft.com/office/drawing/2014/main" id="{53C04FF3-4990-97EE-F199-8803F0C6A909}"/>
                  </a:ext>
                </a:extLst>
              </p:cNvPr>
              <p:cNvSpPr txBox="1"/>
              <p:nvPr/>
            </p:nvSpPr>
            <p:spPr>
              <a:xfrm rot="5636">
                <a:off x="9776738" y="5460159"/>
                <a:ext cx="297517"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1</a:t>
                </a:r>
              </a:p>
            </p:txBody>
          </p:sp>
          <p:sp>
            <p:nvSpPr>
              <p:cNvPr id="3095" name="TextBox 3094">
                <a:extLst>
                  <a:ext uri="{FF2B5EF4-FFF2-40B4-BE49-F238E27FC236}">
                    <a16:creationId xmlns:a16="http://schemas.microsoft.com/office/drawing/2014/main" id="{8036DD07-72BC-B833-CA06-BF5F1885F5C9}"/>
                  </a:ext>
                </a:extLst>
              </p:cNvPr>
              <p:cNvSpPr txBox="1"/>
              <p:nvPr/>
            </p:nvSpPr>
            <p:spPr>
              <a:xfrm rot="5636">
                <a:off x="9955996" y="5460159"/>
                <a:ext cx="297517"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1</a:t>
                </a:r>
              </a:p>
            </p:txBody>
          </p:sp>
          <p:sp>
            <p:nvSpPr>
              <p:cNvPr id="3096" name="TextBox 3095">
                <a:extLst>
                  <a:ext uri="{FF2B5EF4-FFF2-40B4-BE49-F238E27FC236}">
                    <a16:creationId xmlns:a16="http://schemas.microsoft.com/office/drawing/2014/main" id="{01B4A856-D21E-FAD6-592C-119F64574D41}"/>
                  </a:ext>
                </a:extLst>
              </p:cNvPr>
              <p:cNvSpPr txBox="1"/>
              <p:nvPr/>
            </p:nvSpPr>
            <p:spPr>
              <a:xfrm rot="5636">
                <a:off x="10135220" y="5460159"/>
                <a:ext cx="297517"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1</a:t>
                </a:r>
              </a:p>
            </p:txBody>
          </p:sp>
          <p:sp>
            <p:nvSpPr>
              <p:cNvPr id="3097" name="TextBox 3096">
                <a:extLst>
                  <a:ext uri="{FF2B5EF4-FFF2-40B4-BE49-F238E27FC236}">
                    <a16:creationId xmlns:a16="http://schemas.microsoft.com/office/drawing/2014/main" id="{65BC3CDD-9123-29C7-CD73-3180B3BC4A29}"/>
                  </a:ext>
                </a:extLst>
              </p:cNvPr>
              <p:cNvSpPr txBox="1"/>
              <p:nvPr/>
            </p:nvSpPr>
            <p:spPr>
              <a:xfrm rot="5636">
                <a:off x="10314477" y="5460159"/>
                <a:ext cx="297517"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1</a:t>
                </a:r>
              </a:p>
            </p:txBody>
          </p:sp>
          <p:sp>
            <p:nvSpPr>
              <p:cNvPr id="3098" name="TextBox 3097">
                <a:extLst>
                  <a:ext uri="{FF2B5EF4-FFF2-40B4-BE49-F238E27FC236}">
                    <a16:creationId xmlns:a16="http://schemas.microsoft.com/office/drawing/2014/main" id="{83DEA1DF-274B-7347-971A-480F0C37C96E}"/>
                  </a:ext>
                </a:extLst>
              </p:cNvPr>
              <p:cNvSpPr txBox="1"/>
              <p:nvPr/>
            </p:nvSpPr>
            <p:spPr>
              <a:xfrm rot="5636">
                <a:off x="10493736" y="5460159"/>
                <a:ext cx="297517" cy="233911"/>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0</a:t>
                </a:r>
              </a:p>
            </p:txBody>
          </p:sp>
          <p:sp>
            <p:nvSpPr>
              <p:cNvPr id="3099" name="TextBox 3098">
                <a:extLst>
                  <a:ext uri="{FF2B5EF4-FFF2-40B4-BE49-F238E27FC236}">
                    <a16:creationId xmlns:a16="http://schemas.microsoft.com/office/drawing/2014/main" id="{7038AF9E-103D-40F9-D4FA-9DEFC47C7B77}"/>
                  </a:ext>
                </a:extLst>
              </p:cNvPr>
              <p:cNvSpPr txBox="1"/>
              <p:nvPr/>
            </p:nvSpPr>
            <p:spPr>
              <a:xfrm>
                <a:off x="2267053" y="4754333"/>
                <a:ext cx="318891" cy="278453"/>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0</a:t>
                </a:r>
              </a:p>
            </p:txBody>
          </p:sp>
          <p:sp>
            <p:nvSpPr>
              <p:cNvPr id="3100" name="TextBox 3099">
                <a:extLst>
                  <a:ext uri="{FF2B5EF4-FFF2-40B4-BE49-F238E27FC236}">
                    <a16:creationId xmlns:a16="http://schemas.microsoft.com/office/drawing/2014/main" id="{E9B5339E-7493-18A4-179B-9F1513632CAE}"/>
                  </a:ext>
                </a:extLst>
              </p:cNvPr>
              <p:cNvSpPr txBox="1"/>
              <p:nvPr/>
            </p:nvSpPr>
            <p:spPr>
              <a:xfrm>
                <a:off x="2446197" y="4754333"/>
                <a:ext cx="318891" cy="278453"/>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1</a:t>
                </a:r>
              </a:p>
            </p:txBody>
          </p:sp>
          <p:sp>
            <p:nvSpPr>
              <p:cNvPr id="3101" name="TextBox 3100">
                <a:extLst>
                  <a:ext uri="{FF2B5EF4-FFF2-40B4-BE49-F238E27FC236}">
                    <a16:creationId xmlns:a16="http://schemas.microsoft.com/office/drawing/2014/main" id="{94D31DFE-722A-4630-7110-5EF06CDB3327}"/>
                  </a:ext>
                </a:extLst>
              </p:cNvPr>
              <p:cNvSpPr txBox="1"/>
              <p:nvPr/>
            </p:nvSpPr>
            <p:spPr>
              <a:xfrm>
                <a:off x="2625341" y="4754333"/>
                <a:ext cx="318891" cy="278453"/>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2</a:t>
                </a:r>
              </a:p>
            </p:txBody>
          </p:sp>
          <p:sp>
            <p:nvSpPr>
              <p:cNvPr id="3102" name="TextBox 3101">
                <a:extLst>
                  <a:ext uri="{FF2B5EF4-FFF2-40B4-BE49-F238E27FC236}">
                    <a16:creationId xmlns:a16="http://schemas.microsoft.com/office/drawing/2014/main" id="{9466304F-71E5-F442-5256-28E8150F0C6B}"/>
                  </a:ext>
                </a:extLst>
              </p:cNvPr>
              <p:cNvSpPr txBox="1"/>
              <p:nvPr/>
            </p:nvSpPr>
            <p:spPr>
              <a:xfrm>
                <a:off x="2804482" y="4754333"/>
                <a:ext cx="318891" cy="278453"/>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3</a:t>
                </a:r>
              </a:p>
            </p:txBody>
          </p:sp>
          <p:sp>
            <p:nvSpPr>
              <p:cNvPr id="3103" name="TextBox 3102">
                <a:extLst>
                  <a:ext uri="{FF2B5EF4-FFF2-40B4-BE49-F238E27FC236}">
                    <a16:creationId xmlns:a16="http://schemas.microsoft.com/office/drawing/2014/main" id="{421B3D68-2B87-BF79-8196-2A45DC8384E9}"/>
                  </a:ext>
                </a:extLst>
              </p:cNvPr>
              <p:cNvSpPr txBox="1"/>
              <p:nvPr/>
            </p:nvSpPr>
            <p:spPr>
              <a:xfrm>
                <a:off x="2983626" y="4754333"/>
                <a:ext cx="318891" cy="278453"/>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4</a:t>
                </a:r>
              </a:p>
            </p:txBody>
          </p:sp>
          <p:sp>
            <p:nvSpPr>
              <p:cNvPr id="3104" name="TextBox 3103">
                <a:extLst>
                  <a:ext uri="{FF2B5EF4-FFF2-40B4-BE49-F238E27FC236}">
                    <a16:creationId xmlns:a16="http://schemas.microsoft.com/office/drawing/2014/main" id="{FE79D755-9861-CEC6-F754-D113D9751186}"/>
                  </a:ext>
                </a:extLst>
              </p:cNvPr>
              <p:cNvSpPr txBox="1"/>
              <p:nvPr/>
            </p:nvSpPr>
            <p:spPr>
              <a:xfrm>
                <a:off x="3162764" y="4754333"/>
                <a:ext cx="318891" cy="278453"/>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5</a:t>
                </a:r>
              </a:p>
            </p:txBody>
          </p:sp>
          <p:sp>
            <p:nvSpPr>
              <p:cNvPr id="3105" name="TextBox 3104">
                <a:extLst>
                  <a:ext uri="{FF2B5EF4-FFF2-40B4-BE49-F238E27FC236}">
                    <a16:creationId xmlns:a16="http://schemas.microsoft.com/office/drawing/2014/main" id="{01B5FD5B-0932-06B6-2BB2-9FBE9A17782A}"/>
                  </a:ext>
                </a:extLst>
              </p:cNvPr>
              <p:cNvSpPr txBox="1"/>
              <p:nvPr/>
            </p:nvSpPr>
            <p:spPr>
              <a:xfrm>
                <a:off x="3341916" y="4754333"/>
                <a:ext cx="318891" cy="278453"/>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6</a:t>
                </a:r>
              </a:p>
            </p:txBody>
          </p:sp>
          <p:sp>
            <p:nvSpPr>
              <p:cNvPr id="3106" name="TextBox 3105">
                <a:extLst>
                  <a:ext uri="{FF2B5EF4-FFF2-40B4-BE49-F238E27FC236}">
                    <a16:creationId xmlns:a16="http://schemas.microsoft.com/office/drawing/2014/main" id="{8B07D33F-0FE3-F552-6466-719AD31BDAA5}"/>
                  </a:ext>
                </a:extLst>
              </p:cNvPr>
              <p:cNvSpPr txBox="1"/>
              <p:nvPr/>
            </p:nvSpPr>
            <p:spPr>
              <a:xfrm>
                <a:off x="3521052" y="4754333"/>
                <a:ext cx="318891" cy="278453"/>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7</a:t>
                </a:r>
              </a:p>
            </p:txBody>
          </p:sp>
          <p:sp>
            <p:nvSpPr>
              <p:cNvPr id="3107" name="TextBox 3106">
                <a:extLst>
                  <a:ext uri="{FF2B5EF4-FFF2-40B4-BE49-F238E27FC236}">
                    <a16:creationId xmlns:a16="http://schemas.microsoft.com/office/drawing/2014/main" id="{F8E82266-AA3D-876E-8785-7884B5543CB0}"/>
                  </a:ext>
                </a:extLst>
              </p:cNvPr>
              <p:cNvSpPr txBox="1"/>
              <p:nvPr/>
            </p:nvSpPr>
            <p:spPr>
              <a:xfrm>
                <a:off x="3700204" y="4754333"/>
                <a:ext cx="318891" cy="278453"/>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8</a:t>
                </a:r>
              </a:p>
            </p:txBody>
          </p:sp>
          <p:sp>
            <p:nvSpPr>
              <p:cNvPr id="3108" name="TextBox 3107">
                <a:extLst>
                  <a:ext uri="{FF2B5EF4-FFF2-40B4-BE49-F238E27FC236}">
                    <a16:creationId xmlns:a16="http://schemas.microsoft.com/office/drawing/2014/main" id="{82102E62-535F-6905-76CF-BADB5C0D6AA1}"/>
                  </a:ext>
                </a:extLst>
              </p:cNvPr>
              <p:cNvSpPr txBox="1"/>
              <p:nvPr/>
            </p:nvSpPr>
            <p:spPr>
              <a:xfrm>
                <a:off x="3879339" y="4754333"/>
                <a:ext cx="318891" cy="278453"/>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9</a:t>
                </a:r>
              </a:p>
            </p:txBody>
          </p:sp>
          <p:sp>
            <p:nvSpPr>
              <p:cNvPr id="3109" name="TextBox 3108">
                <a:extLst>
                  <a:ext uri="{FF2B5EF4-FFF2-40B4-BE49-F238E27FC236}">
                    <a16:creationId xmlns:a16="http://schemas.microsoft.com/office/drawing/2014/main" id="{DC1426A9-3C5E-4124-D42A-A345283BF131}"/>
                  </a:ext>
                </a:extLst>
              </p:cNvPr>
              <p:cNvSpPr txBox="1"/>
              <p:nvPr/>
            </p:nvSpPr>
            <p:spPr>
              <a:xfrm>
                <a:off x="4022863" y="4754333"/>
                <a:ext cx="391560" cy="278453"/>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10</a:t>
                </a:r>
              </a:p>
            </p:txBody>
          </p:sp>
          <p:sp>
            <p:nvSpPr>
              <p:cNvPr id="3110" name="TextBox 3109">
                <a:extLst>
                  <a:ext uri="{FF2B5EF4-FFF2-40B4-BE49-F238E27FC236}">
                    <a16:creationId xmlns:a16="http://schemas.microsoft.com/office/drawing/2014/main" id="{F8CFE371-E1E6-424F-84A8-BECDD672C46F}"/>
                  </a:ext>
                </a:extLst>
              </p:cNvPr>
              <p:cNvSpPr txBox="1"/>
              <p:nvPr/>
            </p:nvSpPr>
            <p:spPr>
              <a:xfrm>
                <a:off x="4202015" y="4754333"/>
                <a:ext cx="391560" cy="278453"/>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11</a:t>
                </a:r>
              </a:p>
            </p:txBody>
          </p:sp>
          <p:sp>
            <p:nvSpPr>
              <p:cNvPr id="3111" name="TextBox 3110">
                <a:extLst>
                  <a:ext uri="{FF2B5EF4-FFF2-40B4-BE49-F238E27FC236}">
                    <a16:creationId xmlns:a16="http://schemas.microsoft.com/office/drawing/2014/main" id="{F095730D-1797-BC56-DEE6-0F567391D072}"/>
                  </a:ext>
                </a:extLst>
              </p:cNvPr>
              <p:cNvSpPr txBox="1"/>
              <p:nvPr/>
            </p:nvSpPr>
            <p:spPr>
              <a:xfrm>
                <a:off x="4381150" y="4754333"/>
                <a:ext cx="391560" cy="278453"/>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12</a:t>
                </a:r>
              </a:p>
            </p:txBody>
          </p:sp>
          <p:sp>
            <p:nvSpPr>
              <p:cNvPr id="3112" name="TextBox 3111">
                <a:extLst>
                  <a:ext uri="{FF2B5EF4-FFF2-40B4-BE49-F238E27FC236}">
                    <a16:creationId xmlns:a16="http://schemas.microsoft.com/office/drawing/2014/main" id="{38F627D4-5FA9-85C4-5B47-ADF51273E172}"/>
                  </a:ext>
                </a:extLst>
              </p:cNvPr>
              <p:cNvSpPr txBox="1"/>
              <p:nvPr/>
            </p:nvSpPr>
            <p:spPr>
              <a:xfrm>
                <a:off x="4560303" y="4754333"/>
                <a:ext cx="391560" cy="278453"/>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13</a:t>
                </a:r>
              </a:p>
            </p:txBody>
          </p:sp>
          <p:sp>
            <p:nvSpPr>
              <p:cNvPr id="3113" name="TextBox 3112">
                <a:extLst>
                  <a:ext uri="{FF2B5EF4-FFF2-40B4-BE49-F238E27FC236}">
                    <a16:creationId xmlns:a16="http://schemas.microsoft.com/office/drawing/2014/main" id="{AC824C5B-8C73-0D8E-BE4D-14480BCB4C87}"/>
                  </a:ext>
                </a:extLst>
              </p:cNvPr>
              <p:cNvSpPr txBox="1"/>
              <p:nvPr/>
            </p:nvSpPr>
            <p:spPr>
              <a:xfrm>
                <a:off x="4739438" y="4754333"/>
                <a:ext cx="391560" cy="278453"/>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14</a:t>
                </a:r>
              </a:p>
            </p:txBody>
          </p:sp>
          <p:sp>
            <p:nvSpPr>
              <p:cNvPr id="3114" name="TextBox 3113">
                <a:extLst>
                  <a:ext uri="{FF2B5EF4-FFF2-40B4-BE49-F238E27FC236}">
                    <a16:creationId xmlns:a16="http://schemas.microsoft.com/office/drawing/2014/main" id="{6A42D059-38E8-37E0-B077-88726DF3B547}"/>
                  </a:ext>
                </a:extLst>
              </p:cNvPr>
              <p:cNvSpPr txBox="1"/>
              <p:nvPr/>
            </p:nvSpPr>
            <p:spPr>
              <a:xfrm>
                <a:off x="4918574" y="4754333"/>
                <a:ext cx="391560" cy="278453"/>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15</a:t>
                </a:r>
              </a:p>
            </p:txBody>
          </p:sp>
          <p:sp>
            <p:nvSpPr>
              <p:cNvPr id="3115" name="TextBox 3114">
                <a:extLst>
                  <a:ext uri="{FF2B5EF4-FFF2-40B4-BE49-F238E27FC236}">
                    <a16:creationId xmlns:a16="http://schemas.microsoft.com/office/drawing/2014/main" id="{9EC75894-BDEC-F3D8-D92F-75246D96CF76}"/>
                  </a:ext>
                </a:extLst>
              </p:cNvPr>
              <p:cNvSpPr txBox="1"/>
              <p:nvPr/>
            </p:nvSpPr>
            <p:spPr>
              <a:xfrm>
                <a:off x="5097726" y="4754333"/>
                <a:ext cx="391560" cy="278453"/>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16</a:t>
                </a:r>
              </a:p>
            </p:txBody>
          </p:sp>
          <p:sp>
            <p:nvSpPr>
              <p:cNvPr id="3116" name="TextBox 3115">
                <a:extLst>
                  <a:ext uri="{FF2B5EF4-FFF2-40B4-BE49-F238E27FC236}">
                    <a16:creationId xmlns:a16="http://schemas.microsoft.com/office/drawing/2014/main" id="{A293A294-0AE1-90A2-F12A-E7219FC49740}"/>
                  </a:ext>
                </a:extLst>
              </p:cNvPr>
              <p:cNvSpPr txBox="1"/>
              <p:nvPr/>
            </p:nvSpPr>
            <p:spPr>
              <a:xfrm>
                <a:off x="5276860" y="4754333"/>
                <a:ext cx="391560" cy="278453"/>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17</a:t>
                </a:r>
              </a:p>
            </p:txBody>
          </p:sp>
          <p:sp>
            <p:nvSpPr>
              <p:cNvPr id="3117" name="TextBox 3116">
                <a:extLst>
                  <a:ext uri="{FF2B5EF4-FFF2-40B4-BE49-F238E27FC236}">
                    <a16:creationId xmlns:a16="http://schemas.microsoft.com/office/drawing/2014/main" id="{3ACB00DC-A632-D575-357E-CF43563A5223}"/>
                  </a:ext>
                </a:extLst>
              </p:cNvPr>
              <p:cNvSpPr txBox="1"/>
              <p:nvPr/>
            </p:nvSpPr>
            <p:spPr>
              <a:xfrm>
                <a:off x="5456014" y="4754333"/>
                <a:ext cx="391560" cy="278453"/>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18</a:t>
                </a:r>
              </a:p>
            </p:txBody>
          </p:sp>
          <p:sp>
            <p:nvSpPr>
              <p:cNvPr id="3118" name="TextBox 3117">
                <a:extLst>
                  <a:ext uri="{FF2B5EF4-FFF2-40B4-BE49-F238E27FC236}">
                    <a16:creationId xmlns:a16="http://schemas.microsoft.com/office/drawing/2014/main" id="{EBF18F32-0EF6-DA69-3C7B-EB92264AF4D6}"/>
                  </a:ext>
                </a:extLst>
              </p:cNvPr>
              <p:cNvSpPr txBox="1"/>
              <p:nvPr/>
            </p:nvSpPr>
            <p:spPr>
              <a:xfrm>
                <a:off x="5635148" y="4754333"/>
                <a:ext cx="391560" cy="278453"/>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19</a:t>
                </a:r>
              </a:p>
            </p:txBody>
          </p:sp>
          <p:sp>
            <p:nvSpPr>
              <p:cNvPr id="3119" name="TextBox 3118">
                <a:extLst>
                  <a:ext uri="{FF2B5EF4-FFF2-40B4-BE49-F238E27FC236}">
                    <a16:creationId xmlns:a16="http://schemas.microsoft.com/office/drawing/2014/main" id="{83670F20-7B2B-C048-145C-853677BDE6EC}"/>
                  </a:ext>
                </a:extLst>
              </p:cNvPr>
              <p:cNvSpPr txBox="1"/>
              <p:nvPr/>
            </p:nvSpPr>
            <p:spPr>
              <a:xfrm>
                <a:off x="5814302" y="4754333"/>
                <a:ext cx="391560" cy="278453"/>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20</a:t>
                </a:r>
              </a:p>
            </p:txBody>
          </p:sp>
          <p:sp>
            <p:nvSpPr>
              <p:cNvPr id="3120" name="TextBox 3119">
                <a:extLst>
                  <a:ext uri="{FF2B5EF4-FFF2-40B4-BE49-F238E27FC236}">
                    <a16:creationId xmlns:a16="http://schemas.microsoft.com/office/drawing/2014/main" id="{5F18F744-F1EF-CD07-F963-4E755DD70CE9}"/>
                  </a:ext>
                </a:extLst>
              </p:cNvPr>
              <p:cNvSpPr txBox="1"/>
              <p:nvPr/>
            </p:nvSpPr>
            <p:spPr>
              <a:xfrm>
                <a:off x="5993436" y="4754333"/>
                <a:ext cx="391560" cy="278453"/>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21</a:t>
                </a:r>
              </a:p>
            </p:txBody>
          </p:sp>
          <p:sp>
            <p:nvSpPr>
              <p:cNvPr id="3121" name="TextBox 3120">
                <a:extLst>
                  <a:ext uri="{FF2B5EF4-FFF2-40B4-BE49-F238E27FC236}">
                    <a16:creationId xmlns:a16="http://schemas.microsoft.com/office/drawing/2014/main" id="{051ACAB6-A234-AB47-B089-6BAFB4D58D5F}"/>
                  </a:ext>
                </a:extLst>
              </p:cNvPr>
              <p:cNvSpPr txBox="1"/>
              <p:nvPr/>
            </p:nvSpPr>
            <p:spPr>
              <a:xfrm>
                <a:off x="6172588" y="4754333"/>
                <a:ext cx="391560" cy="278453"/>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22</a:t>
                </a:r>
              </a:p>
            </p:txBody>
          </p:sp>
          <p:sp>
            <p:nvSpPr>
              <p:cNvPr id="3122" name="TextBox 3121">
                <a:extLst>
                  <a:ext uri="{FF2B5EF4-FFF2-40B4-BE49-F238E27FC236}">
                    <a16:creationId xmlns:a16="http://schemas.microsoft.com/office/drawing/2014/main" id="{129AEF18-3C25-D98D-4F9D-A10A18F77A46}"/>
                  </a:ext>
                </a:extLst>
              </p:cNvPr>
              <p:cNvSpPr txBox="1"/>
              <p:nvPr/>
            </p:nvSpPr>
            <p:spPr>
              <a:xfrm>
                <a:off x="6351741" y="4754333"/>
                <a:ext cx="391560" cy="278453"/>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23</a:t>
                </a:r>
              </a:p>
            </p:txBody>
          </p:sp>
          <p:sp>
            <p:nvSpPr>
              <p:cNvPr id="3123" name="TextBox 3122">
                <a:extLst>
                  <a:ext uri="{FF2B5EF4-FFF2-40B4-BE49-F238E27FC236}">
                    <a16:creationId xmlns:a16="http://schemas.microsoft.com/office/drawing/2014/main" id="{309F6B05-4D9E-DFEF-F8C4-5CA669C281D4}"/>
                  </a:ext>
                </a:extLst>
              </p:cNvPr>
              <p:cNvSpPr txBox="1"/>
              <p:nvPr/>
            </p:nvSpPr>
            <p:spPr>
              <a:xfrm>
                <a:off x="6530876" y="4754333"/>
                <a:ext cx="391560" cy="278453"/>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24</a:t>
                </a:r>
              </a:p>
            </p:txBody>
          </p:sp>
          <p:sp>
            <p:nvSpPr>
              <p:cNvPr id="3124" name="TextBox 3123">
                <a:extLst>
                  <a:ext uri="{FF2B5EF4-FFF2-40B4-BE49-F238E27FC236}">
                    <a16:creationId xmlns:a16="http://schemas.microsoft.com/office/drawing/2014/main" id="{E63A285B-86C6-F626-D96A-240C32C65D41}"/>
                  </a:ext>
                </a:extLst>
              </p:cNvPr>
              <p:cNvSpPr txBox="1"/>
              <p:nvPr/>
            </p:nvSpPr>
            <p:spPr>
              <a:xfrm>
                <a:off x="6710011" y="4754333"/>
                <a:ext cx="391560" cy="278453"/>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25</a:t>
                </a:r>
              </a:p>
            </p:txBody>
          </p:sp>
          <p:sp>
            <p:nvSpPr>
              <p:cNvPr id="3125" name="TextBox 3124">
                <a:extLst>
                  <a:ext uri="{FF2B5EF4-FFF2-40B4-BE49-F238E27FC236}">
                    <a16:creationId xmlns:a16="http://schemas.microsoft.com/office/drawing/2014/main" id="{00B65313-F1DA-A4CD-EC4D-53440084F7F4}"/>
                  </a:ext>
                </a:extLst>
              </p:cNvPr>
              <p:cNvSpPr txBox="1"/>
              <p:nvPr/>
            </p:nvSpPr>
            <p:spPr>
              <a:xfrm>
                <a:off x="6889145" y="4754333"/>
                <a:ext cx="391560" cy="278453"/>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26</a:t>
                </a:r>
              </a:p>
            </p:txBody>
          </p:sp>
          <p:sp>
            <p:nvSpPr>
              <p:cNvPr id="3126" name="TextBox 3125">
                <a:extLst>
                  <a:ext uri="{FF2B5EF4-FFF2-40B4-BE49-F238E27FC236}">
                    <a16:creationId xmlns:a16="http://schemas.microsoft.com/office/drawing/2014/main" id="{7EEE5E61-23C9-2777-E3D5-417DB389798C}"/>
                  </a:ext>
                </a:extLst>
              </p:cNvPr>
              <p:cNvSpPr txBox="1"/>
              <p:nvPr/>
            </p:nvSpPr>
            <p:spPr>
              <a:xfrm>
                <a:off x="7068297" y="4754333"/>
                <a:ext cx="391560" cy="278453"/>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27</a:t>
                </a:r>
              </a:p>
            </p:txBody>
          </p:sp>
          <p:sp>
            <p:nvSpPr>
              <p:cNvPr id="3127" name="TextBox 3126">
                <a:extLst>
                  <a:ext uri="{FF2B5EF4-FFF2-40B4-BE49-F238E27FC236}">
                    <a16:creationId xmlns:a16="http://schemas.microsoft.com/office/drawing/2014/main" id="{22482145-E3D4-B9E2-2CF1-2FD57061C498}"/>
                  </a:ext>
                </a:extLst>
              </p:cNvPr>
              <p:cNvSpPr txBox="1"/>
              <p:nvPr/>
            </p:nvSpPr>
            <p:spPr>
              <a:xfrm>
                <a:off x="7247433" y="4754333"/>
                <a:ext cx="391560" cy="278453"/>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28</a:t>
                </a:r>
              </a:p>
            </p:txBody>
          </p:sp>
          <p:sp>
            <p:nvSpPr>
              <p:cNvPr id="3128" name="TextBox 3127">
                <a:extLst>
                  <a:ext uri="{FF2B5EF4-FFF2-40B4-BE49-F238E27FC236}">
                    <a16:creationId xmlns:a16="http://schemas.microsoft.com/office/drawing/2014/main" id="{C7956A08-F890-F69A-9BB1-620645AC75AE}"/>
                  </a:ext>
                </a:extLst>
              </p:cNvPr>
              <p:cNvSpPr txBox="1"/>
              <p:nvPr/>
            </p:nvSpPr>
            <p:spPr>
              <a:xfrm>
                <a:off x="7426585" y="4754333"/>
                <a:ext cx="391560" cy="278453"/>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29</a:t>
                </a:r>
              </a:p>
            </p:txBody>
          </p:sp>
          <p:sp>
            <p:nvSpPr>
              <p:cNvPr id="3129" name="TextBox 3128">
                <a:extLst>
                  <a:ext uri="{FF2B5EF4-FFF2-40B4-BE49-F238E27FC236}">
                    <a16:creationId xmlns:a16="http://schemas.microsoft.com/office/drawing/2014/main" id="{CC69B8B8-B983-06BF-81EA-B096B4BA090B}"/>
                  </a:ext>
                </a:extLst>
              </p:cNvPr>
              <p:cNvSpPr txBox="1"/>
              <p:nvPr/>
            </p:nvSpPr>
            <p:spPr>
              <a:xfrm>
                <a:off x="7605739" y="4754333"/>
                <a:ext cx="391560" cy="278453"/>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30</a:t>
                </a:r>
              </a:p>
            </p:txBody>
          </p:sp>
          <p:sp>
            <p:nvSpPr>
              <p:cNvPr id="3130" name="TextBox 3129">
                <a:extLst>
                  <a:ext uri="{FF2B5EF4-FFF2-40B4-BE49-F238E27FC236}">
                    <a16:creationId xmlns:a16="http://schemas.microsoft.com/office/drawing/2014/main" id="{3CF992B4-7BAD-D328-3AA1-F2D49A06C54A}"/>
                  </a:ext>
                </a:extLst>
              </p:cNvPr>
              <p:cNvSpPr txBox="1"/>
              <p:nvPr/>
            </p:nvSpPr>
            <p:spPr>
              <a:xfrm>
                <a:off x="7784875" y="4754333"/>
                <a:ext cx="391560" cy="278453"/>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31</a:t>
                </a:r>
              </a:p>
            </p:txBody>
          </p:sp>
          <p:sp>
            <p:nvSpPr>
              <p:cNvPr id="3131" name="TextBox 3130">
                <a:extLst>
                  <a:ext uri="{FF2B5EF4-FFF2-40B4-BE49-F238E27FC236}">
                    <a16:creationId xmlns:a16="http://schemas.microsoft.com/office/drawing/2014/main" id="{E360DAF5-A2B8-9C98-A412-8435C459C70B}"/>
                  </a:ext>
                </a:extLst>
              </p:cNvPr>
              <p:cNvSpPr txBox="1"/>
              <p:nvPr/>
            </p:nvSpPr>
            <p:spPr>
              <a:xfrm>
                <a:off x="7964009" y="4754333"/>
                <a:ext cx="391560" cy="278453"/>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32</a:t>
                </a:r>
              </a:p>
            </p:txBody>
          </p:sp>
          <p:sp>
            <p:nvSpPr>
              <p:cNvPr id="3132" name="TextBox 3131">
                <a:extLst>
                  <a:ext uri="{FF2B5EF4-FFF2-40B4-BE49-F238E27FC236}">
                    <a16:creationId xmlns:a16="http://schemas.microsoft.com/office/drawing/2014/main" id="{DB4FB5E6-8CA6-F110-33E6-BB2FDAC80D77}"/>
                  </a:ext>
                </a:extLst>
              </p:cNvPr>
              <p:cNvSpPr txBox="1"/>
              <p:nvPr/>
            </p:nvSpPr>
            <p:spPr>
              <a:xfrm>
                <a:off x="8143161" y="4754333"/>
                <a:ext cx="391560" cy="278453"/>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33</a:t>
                </a:r>
              </a:p>
            </p:txBody>
          </p:sp>
          <p:sp>
            <p:nvSpPr>
              <p:cNvPr id="3133" name="TextBox 3132">
                <a:extLst>
                  <a:ext uri="{FF2B5EF4-FFF2-40B4-BE49-F238E27FC236}">
                    <a16:creationId xmlns:a16="http://schemas.microsoft.com/office/drawing/2014/main" id="{5866901A-253E-660A-D0D0-4DC3EE12D2D9}"/>
                  </a:ext>
                </a:extLst>
              </p:cNvPr>
              <p:cNvSpPr txBox="1"/>
              <p:nvPr/>
            </p:nvSpPr>
            <p:spPr>
              <a:xfrm>
                <a:off x="8322296" y="4754333"/>
                <a:ext cx="391560" cy="278453"/>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34</a:t>
                </a:r>
              </a:p>
            </p:txBody>
          </p:sp>
          <p:sp>
            <p:nvSpPr>
              <p:cNvPr id="3134" name="TextBox 3133">
                <a:extLst>
                  <a:ext uri="{FF2B5EF4-FFF2-40B4-BE49-F238E27FC236}">
                    <a16:creationId xmlns:a16="http://schemas.microsoft.com/office/drawing/2014/main" id="{61FD9CF3-3719-5525-F8C7-9F4CB7D29735}"/>
                  </a:ext>
                </a:extLst>
              </p:cNvPr>
              <p:cNvSpPr txBox="1"/>
              <p:nvPr/>
            </p:nvSpPr>
            <p:spPr>
              <a:xfrm>
                <a:off x="8501431" y="4754333"/>
                <a:ext cx="391560" cy="278453"/>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35</a:t>
                </a:r>
              </a:p>
            </p:txBody>
          </p:sp>
          <p:sp>
            <p:nvSpPr>
              <p:cNvPr id="3135" name="TextBox 3134">
                <a:extLst>
                  <a:ext uri="{FF2B5EF4-FFF2-40B4-BE49-F238E27FC236}">
                    <a16:creationId xmlns:a16="http://schemas.microsoft.com/office/drawing/2014/main" id="{2BF8CEF2-463B-5879-132D-387149F712CF}"/>
                  </a:ext>
                </a:extLst>
              </p:cNvPr>
              <p:cNvSpPr txBox="1"/>
              <p:nvPr/>
            </p:nvSpPr>
            <p:spPr>
              <a:xfrm>
                <a:off x="8680584" y="4754333"/>
                <a:ext cx="391560" cy="278453"/>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36</a:t>
                </a:r>
              </a:p>
            </p:txBody>
          </p:sp>
          <p:sp>
            <p:nvSpPr>
              <p:cNvPr id="3136" name="TextBox 3135">
                <a:extLst>
                  <a:ext uri="{FF2B5EF4-FFF2-40B4-BE49-F238E27FC236}">
                    <a16:creationId xmlns:a16="http://schemas.microsoft.com/office/drawing/2014/main" id="{EC16003E-DD42-EA9B-DB89-5C498FF2EBA9}"/>
                  </a:ext>
                </a:extLst>
              </p:cNvPr>
              <p:cNvSpPr txBox="1"/>
              <p:nvPr/>
            </p:nvSpPr>
            <p:spPr>
              <a:xfrm>
                <a:off x="8859736" y="4754333"/>
                <a:ext cx="391560" cy="278453"/>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37</a:t>
                </a:r>
              </a:p>
            </p:txBody>
          </p:sp>
          <p:sp>
            <p:nvSpPr>
              <p:cNvPr id="3137" name="TextBox 3136">
                <a:extLst>
                  <a:ext uri="{FF2B5EF4-FFF2-40B4-BE49-F238E27FC236}">
                    <a16:creationId xmlns:a16="http://schemas.microsoft.com/office/drawing/2014/main" id="{914F1037-DED4-F62C-FE74-C025CA3B33CA}"/>
                  </a:ext>
                </a:extLst>
              </p:cNvPr>
              <p:cNvSpPr txBox="1"/>
              <p:nvPr/>
            </p:nvSpPr>
            <p:spPr>
              <a:xfrm>
                <a:off x="9038871" y="4754333"/>
                <a:ext cx="391560" cy="278453"/>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38</a:t>
                </a:r>
              </a:p>
            </p:txBody>
          </p:sp>
          <p:sp>
            <p:nvSpPr>
              <p:cNvPr id="3138" name="TextBox 3137">
                <a:extLst>
                  <a:ext uri="{FF2B5EF4-FFF2-40B4-BE49-F238E27FC236}">
                    <a16:creationId xmlns:a16="http://schemas.microsoft.com/office/drawing/2014/main" id="{30ED3D73-B920-007D-7B94-E974A2C0674F}"/>
                  </a:ext>
                </a:extLst>
              </p:cNvPr>
              <p:cNvSpPr txBox="1"/>
              <p:nvPr/>
            </p:nvSpPr>
            <p:spPr>
              <a:xfrm>
                <a:off x="9218024" y="4754333"/>
                <a:ext cx="391560" cy="278453"/>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39</a:t>
                </a:r>
              </a:p>
            </p:txBody>
          </p:sp>
          <p:sp>
            <p:nvSpPr>
              <p:cNvPr id="3139" name="TextBox 3138">
                <a:extLst>
                  <a:ext uri="{FF2B5EF4-FFF2-40B4-BE49-F238E27FC236}">
                    <a16:creationId xmlns:a16="http://schemas.microsoft.com/office/drawing/2014/main" id="{EAE401B0-9AC1-73BC-1C7A-1773054A2EFE}"/>
                  </a:ext>
                </a:extLst>
              </p:cNvPr>
              <p:cNvSpPr txBox="1"/>
              <p:nvPr/>
            </p:nvSpPr>
            <p:spPr>
              <a:xfrm>
                <a:off x="9397158" y="4754333"/>
                <a:ext cx="391560" cy="278453"/>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40</a:t>
                </a:r>
              </a:p>
            </p:txBody>
          </p:sp>
          <p:sp>
            <p:nvSpPr>
              <p:cNvPr id="3140" name="TextBox 3139">
                <a:extLst>
                  <a:ext uri="{FF2B5EF4-FFF2-40B4-BE49-F238E27FC236}">
                    <a16:creationId xmlns:a16="http://schemas.microsoft.com/office/drawing/2014/main" id="{6D53A689-0873-A35B-C47A-5F29CF5B8AF7}"/>
                  </a:ext>
                </a:extLst>
              </p:cNvPr>
              <p:cNvSpPr txBox="1"/>
              <p:nvPr/>
            </p:nvSpPr>
            <p:spPr>
              <a:xfrm>
                <a:off x="9576294" y="4754333"/>
                <a:ext cx="391560" cy="278453"/>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41</a:t>
                </a:r>
              </a:p>
            </p:txBody>
          </p:sp>
          <p:sp>
            <p:nvSpPr>
              <p:cNvPr id="3141" name="TextBox 3140">
                <a:extLst>
                  <a:ext uri="{FF2B5EF4-FFF2-40B4-BE49-F238E27FC236}">
                    <a16:creationId xmlns:a16="http://schemas.microsoft.com/office/drawing/2014/main" id="{D3D09835-D369-1FC5-E500-80B405579591}"/>
                  </a:ext>
                </a:extLst>
              </p:cNvPr>
              <p:cNvSpPr txBox="1"/>
              <p:nvPr/>
            </p:nvSpPr>
            <p:spPr>
              <a:xfrm>
                <a:off x="9755429" y="4754333"/>
                <a:ext cx="391560" cy="278453"/>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42</a:t>
                </a:r>
              </a:p>
            </p:txBody>
          </p:sp>
          <p:sp>
            <p:nvSpPr>
              <p:cNvPr id="3142" name="TextBox 3141">
                <a:extLst>
                  <a:ext uri="{FF2B5EF4-FFF2-40B4-BE49-F238E27FC236}">
                    <a16:creationId xmlns:a16="http://schemas.microsoft.com/office/drawing/2014/main" id="{A80302D7-A359-AF0D-90AF-1B80DEAB266B}"/>
                  </a:ext>
                </a:extLst>
              </p:cNvPr>
              <p:cNvSpPr txBox="1"/>
              <p:nvPr/>
            </p:nvSpPr>
            <p:spPr>
              <a:xfrm>
                <a:off x="9934582" y="4754333"/>
                <a:ext cx="391560" cy="278453"/>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43</a:t>
                </a:r>
              </a:p>
            </p:txBody>
          </p:sp>
          <p:sp>
            <p:nvSpPr>
              <p:cNvPr id="3143" name="TextBox 3142">
                <a:extLst>
                  <a:ext uri="{FF2B5EF4-FFF2-40B4-BE49-F238E27FC236}">
                    <a16:creationId xmlns:a16="http://schemas.microsoft.com/office/drawing/2014/main" id="{DC90D621-E494-CB2F-527A-15067EFF01C5}"/>
                  </a:ext>
                </a:extLst>
              </p:cNvPr>
              <p:cNvSpPr txBox="1"/>
              <p:nvPr/>
            </p:nvSpPr>
            <p:spPr>
              <a:xfrm>
                <a:off x="10113734" y="4754333"/>
                <a:ext cx="391560" cy="278453"/>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44</a:t>
                </a:r>
              </a:p>
            </p:txBody>
          </p:sp>
          <p:sp>
            <p:nvSpPr>
              <p:cNvPr id="3144" name="TextBox 3143">
                <a:extLst>
                  <a:ext uri="{FF2B5EF4-FFF2-40B4-BE49-F238E27FC236}">
                    <a16:creationId xmlns:a16="http://schemas.microsoft.com/office/drawing/2014/main" id="{93D182FC-7677-84D7-AB2D-340C87B88538}"/>
                  </a:ext>
                </a:extLst>
              </p:cNvPr>
              <p:cNvSpPr txBox="1"/>
              <p:nvPr/>
            </p:nvSpPr>
            <p:spPr>
              <a:xfrm>
                <a:off x="10292869" y="4754333"/>
                <a:ext cx="391560" cy="278453"/>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45</a:t>
                </a:r>
              </a:p>
            </p:txBody>
          </p:sp>
          <p:sp>
            <p:nvSpPr>
              <p:cNvPr id="3145" name="TextBox 3144">
                <a:extLst>
                  <a:ext uri="{FF2B5EF4-FFF2-40B4-BE49-F238E27FC236}">
                    <a16:creationId xmlns:a16="http://schemas.microsoft.com/office/drawing/2014/main" id="{580E9B62-400B-F983-AF66-454F7308C1B6}"/>
                  </a:ext>
                </a:extLst>
              </p:cNvPr>
              <p:cNvSpPr txBox="1"/>
              <p:nvPr/>
            </p:nvSpPr>
            <p:spPr>
              <a:xfrm>
                <a:off x="10472022" y="4754333"/>
                <a:ext cx="391560" cy="278453"/>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46</a:t>
                </a:r>
              </a:p>
            </p:txBody>
          </p:sp>
          <p:sp>
            <p:nvSpPr>
              <p:cNvPr id="3146" name="TextBox 3145">
                <a:extLst>
                  <a:ext uri="{FF2B5EF4-FFF2-40B4-BE49-F238E27FC236}">
                    <a16:creationId xmlns:a16="http://schemas.microsoft.com/office/drawing/2014/main" id="{4BB03355-8953-FD52-43BA-26FB2781E92B}"/>
                  </a:ext>
                </a:extLst>
              </p:cNvPr>
              <p:cNvSpPr txBox="1"/>
              <p:nvPr/>
            </p:nvSpPr>
            <p:spPr>
              <a:xfrm>
                <a:off x="1994610" y="4504875"/>
                <a:ext cx="318891" cy="278453"/>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0</a:t>
                </a:r>
              </a:p>
            </p:txBody>
          </p:sp>
          <p:sp>
            <p:nvSpPr>
              <p:cNvPr id="3147" name="TextBox 3146">
                <a:extLst>
                  <a:ext uri="{FF2B5EF4-FFF2-40B4-BE49-F238E27FC236}">
                    <a16:creationId xmlns:a16="http://schemas.microsoft.com/office/drawing/2014/main" id="{0FC84D2A-1A3A-7C40-AE25-94F222D82ADE}"/>
                  </a:ext>
                </a:extLst>
              </p:cNvPr>
              <p:cNvSpPr txBox="1"/>
              <p:nvPr/>
            </p:nvSpPr>
            <p:spPr>
              <a:xfrm>
                <a:off x="1856929" y="1058111"/>
                <a:ext cx="464229" cy="278453"/>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100</a:t>
                </a:r>
              </a:p>
            </p:txBody>
          </p:sp>
          <p:sp>
            <p:nvSpPr>
              <p:cNvPr id="3148" name="TextBox 3147">
                <a:extLst>
                  <a:ext uri="{FF2B5EF4-FFF2-40B4-BE49-F238E27FC236}">
                    <a16:creationId xmlns:a16="http://schemas.microsoft.com/office/drawing/2014/main" id="{60FBBF45-D2D7-5894-35AE-73FC861C5A3B}"/>
                  </a:ext>
                </a:extLst>
              </p:cNvPr>
              <p:cNvSpPr txBox="1"/>
              <p:nvPr/>
            </p:nvSpPr>
            <p:spPr>
              <a:xfrm>
                <a:off x="1928146" y="1744616"/>
                <a:ext cx="391560" cy="278453"/>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80</a:t>
                </a:r>
              </a:p>
            </p:txBody>
          </p:sp>
          <p:sp>
            <p:nvSpPr>
              <p:cNvPr id="3149" name="TextBox 3148">
                <a:extLst>
                  <a:ext uri="{FF2B5EF4-FFF2-40B4-BE49-F238E27FC236}">
                    <a16:creationId xmlns:a16="http://schemas.microsoft.com/office/drawing/2014/main" id="{906AEE95-3133-F059-A20D-F9B9D181A570}"/>
                  </a:ext>
                </a:extLst>
              </p:cNvPr>
              <p:cNvSpPr txBox="1"/>
              <p:nvPr/>
            </p:nvSpPr>
            <p:spPr>
              <a:xfrm>
                <a:off x="1928146" y="2444250"/>
                <a:ext cx="391560" cy="278453"/>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60</a:t>
                </a:r>
              </a:p>
            </p:txBody>
          </p:sp>
          <p:sp>
            <p:nvSpPr>
              <p:cNvPr id="3150" name="TextBox 3149">
                <a:extLst>
                  <a:ext uri="{FF2B5EF4-FFF2-40B4-BE49-F238E27FC236}">
                    <a16:creationId xmlns:a16="http://schemas.microsoft.com/office/drawing/2014/main" id="{94751543-6F23-EAC7-EC41-AD24EE71EE40}"/>
                  </a:ext>
                </a:extLst>
              </p:cNvPr>
              <p:cNvSpPr txBox="1"/>
              <p:nvPr/>
            </p:nvSpPr>
            <p:spPr>
              <a:xfrm>
                <a:off x="1928146" y="3125090"/>
                <a:ext cx="391560" cy="278453"/>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40</a:t>
                </a:r>
              </a:p>
            </p:txBody>
          </p:sp>
          <p:sp>
            <p:nvSpPr>
              <p:cNvPr id="3151" name="TextBox 3150">
                <a:extLst>
                  <a:ext uri="{FF2B5EF4-FFF2-40B4-BE49-F238E27FC236}">
                    <a16:creationId xmlns:a16="http://schemas.microsoft.com/office/drawing/2014/main" id="{22BCD291-826C-251E-16D2-2BCB19078ECC}"/>
                  </a:ext>
                </a:extLst>
              </p:cNvPr>
              <p:cNvSpPr txBox="1"/>
              <p:nvPr/>
            </p:nvSpPr>
            <p:spPr>
              <a:xfrm>
                <a:off x="1928146" y="3808788"/>
                <a:ext cx="391560" cy="278453"/>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20</a:t>
                </a:r>
              </a:p>
            </p:txBody>
          </p:sp>
        </p:grpSp>
        <p:sp>
          <p:nvSpPr>
            <p:cNvPr id="3" name="Rectangle 2">
              <a:extLst>
                <a:ext uri="{FF2B5EF4-FFF2-40B4-BE49-F238E27FC236}">
                  <a16:creationId xmlns:a16="http://schemas.microsoft.com/office/drawing/2014/main" id="{BB0E2246-DC42-FDC0-B6E9-771CCD8ED489}"/>
                </a:ext>
              </a:extLst>
            </p:cNvPr>
            <p:cNvSpPr/>
            <p:nvPr/>
          </p:nvSpPr>
          <p:spPr>
            <a:xfrm>
              <a:off x="4447847" y="2090679"/>
              <a:ext cx="2251194" cy="3895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750" b="1" dirty="0">
                  <a:solidFill>
                    <a:srgbClr val="002985"/>
                  </a:solidFill>
                  <a:latin typeface="Arial" panose="020B0604020202020204" pitchFamily="34" charset="0"/>
                  <a:cs typeface="Arial" panose="020B0604020202020204" pitchFamily="34" charset="0"/>
                </a:rPr>
                <a:t>T-DXd</a:t>
              </a:r>
              <a:r>
                <a:rPr lang="en-US" sz="750" b="1" dirty="0">
                  <a:solidFill>
                    <a:schemeClr val="tx1"/>
                  </a:solidFill>
                  <a:latin typeface="Arial" panose="020B0604020202020204" pitchFamily="34" charset="0"/>
                  <a:cs typeface="Arial" panose="020B0604020202020204" pitchFamily="34" charset="0"/>
                </a:rPr>
                <a:t>:</a:t>
              </a:r>
              <a:r>
                <a:rPr lang="en-US" sz="750" dirty="0">
                  <a:solidFill>
                    <a:schemeClr val="tx1"/>
                  </a:solidFill>
                  <a:latin typeface="Arial" panose="020B0604020202020204" pitchFamily="34" charset="0"/>
                  <a:cs typeface="Arial" panose="020B0604020202020204" pitchFamily="34" charset="0"/>
                </a:rPr>
                <a:t> </a:t>
              </a:r>
              <a:r>
                <a:rPr lang="en-US" sz="750" b="1" dirty="0">
                  <a:solidFill>
                    <a:srgbClr val="002985"/>
                  </a:solidFill>
                  <a:latin typeface="Arial" panose="020B0604020202020204" pitchFamily="34" charset="0"/>
                  <a:cs typeface="Arial" panose="020B0604020202020204" pitchFamily="34" charset="0"/>
                </a:rPr>
                <a:t>62.3% </a:t>
              </a:r>
              <a:r>
                <a:rPr lang="en-US" sz="750" dirty="0">
                  <a:solidFill>
                    <a:srgbClr val="002985"/>
                  </a:solidFill>
                  <a:latin typeface="Arial" panose="020B0604020202020204" pitchFamily="34" charset="0"/>
                  <a:cs typeface="Arial" panose="020B0604020202020204" pitchFamily="34" charset="0"/>
                </a:rPr>
                <a:t>(95% CI, 57.0-67.1) </a:t>
              </a:r>
            </a:p>
            <a:p>
              <a:r>
                <a:rPr lang="en-US" sz="750" b="1" dirty="0">
                  <a:solidFill>
                    <a:srgbClr val="787878"/>
                  </a:solidFill>
                  <a:latin typeface="Arial" panose="020B0604020202020204" pitchFamily="34" charset="0"/>
                  <a:cs typeface="Arial" panose="020B0604020202020204" pitchFamily="34" charset="0"/>
                </a:rPr>
                <a:t>TPC: 27.2% </a:t>
              </a:r>
              <a:r>
                <a:rPr lang="en-US" sz="750" dirty="0">
                  <a:solidFill>
                    <a:srgbClr val="787878"/>
                  </a:solidFill>
                  <a:latin typeface="Arial" panose="020B0604020202020204" pitchFamily="34" charset="0"/>
                  <a:cs typeface="Arial" panose="020B0604020202020204" pitchFamily="34" charset="0"/>
                </a:rPr>
                <a:t>(95% CI, 20.1-34.8) </a:t>
              </a:r>
            </a:p>
          </p:txBody>
        </p:sp>
        <p:cxnSp>
          <p:nvCxnSpPr>
            <p:cNvPr id="5" name="Straight Connector 4">
              <a:extLst>
                <a:ext uri="{FF2B5EF4-FFF2-40B4-BE49-F238E27FC236}">
                  <a16:creationId xmlns:a16="http://schemas.microsoft.com/office/drawing/2014/main" id="{7A3CBF60-854F-2A40-D8AB-01A5C18FD428}"/>
                </a:ext>
              </a:extLst>
            </p:cNvPr>
            <p:cNvCxnSpPr>
              <a:cxnSpLocks/>
            </p:cNvCxnSpPr>
            <p:nvPr/>
          </p:nvCxnSpPr>
          <p:spPr>
            <a:xfrm flipV="1">
              <a:off x="4546741" y="2559094"/>
              <a:ext cx="846" cy="2229616"/>
            </a:xfrm>
            <a:prstGeom prst="line">
              <a:avLst/>
            </a:prstGeom>
            <a:ln w="19050"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7" name="Rectangle 6">
              <a:extLst>
                <a:ext uri="{FF2B5EF4-FFF2-40B4-BE49-F238E27FC236}">
                  <a16:creationId xmlns:a16="http://schemas.microsoft.com/office/drawing/2014/main" id="{EB3128D5-64E7-8499-04C3-5BABEDFF30D8}"/>
                </a:ext>
              </a:extLst>
            </p:cNvPr>
            <p:cNvSpPr/>
            <p:nvPr/>
          </p:nvSpPr>
          <p:spPr>
            <a:xfrm>
              <a:off x="6518818" y="2784474"/>
              <a:ext cx="2251194" cy="3895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750" b="1" dirty="0">
                  <a:solidFill>
                    <a:srgbClr val="002985"/>
                  </a:solidFill>
                  <a:latin typeface="Arial" panose="020B0604020202020204" pitchFamily="34" charset="0"/>
                  <a:cs typeface="Arial" panose="020B0604020202020204" pitchFamily="34" charset="0"/>
                </a:rPr>
                <a:t>T-DXd</a:t>
              </a:r>
              <a:r>
                <a:rPr lang="en-US" sz="750" b="1" dirty="0">
                  <a:solidFill>
                    <a:schemeClr val="tx1"/>
                  </a:solidFill>
                  <a:latin typeface="Arial" panose="020B0604020202020204" pitchFamily="34" charset="0"/>
                  <a:cs typeface="Arial" panose="020B0604020202020204" pitchFamily="34" charset="0"/>
                </a:rPr>
                <a:t>:</a:t>
              </a:r>
              <a:r>
                <a:rPr lang="en-US" sz="750" dirty="0">
                  <a:solidFill>
                    <a:schemeClr val="tx1"/>
                  </a:solidFill>
                  <a:latin typeface="Arial" panose="020B0604020202020204" pitchFamily="34" charset="0"/>
                  <a:cs typeface="Arial" panose="020B0604020202020204" pitchFamily="34" charset="0"/>
                </a:rPr>
                <a:t> </a:t>
              </a:r>
              <a:r>
                <a:rPr lang="en-US" sz="750" b="1" dirty="0">
                  <a:solidFill>
                    <a:srgbClr val="002985"/>
                  </a:solidFill>
                  <a:latin typeface="Arial" panose="020B0604020202020204" pitchFamily="34" charset="0"/>
                  <a:cs typeface="Arial" panose="020B0604020202020204" pitchFamily="34" charset="0"/>
                </a:rPr>
                <a:t>42.2% </a:t>
              </a:r>
              <a:r>
                <a:rPr lang="en-US" sz="750" dirty="0">
                  <a:solidFill>
                    <a:srgbClr val="002985"/>
                  </a:solidFill>
                  <a:latin typeface="Arial" panose="020B0604020202020204" pitchFamily="34" charset="0"/>
                  <a:cs typeface="Arial" panose="020B0604020202020204" pitchFamily="34" charset="0"/>
                </a:rPr>
                <a:t>(95% CI, 36.5-47.8) </a:t>
              </a:r>
            </a:p>
            <a:p>
              <a:r>
                <a:rPr lang="en-US" sz="750" b="1" dirty="0">
                  <a:solidFill>
                    <a:srgbClr val="787878"/>
                  </a:solidFill>
                  <a:latin typeface="Arial" panose="020B0604020202020204" pitchFamily="34" charset="0"/>
                  <a:cs typeface="Arial" panose="020B0604020202020204" pitchFamily="34" charset="0"/>
                </a:rPr>
                <a:t>TPC: 13.9% </a:t>
              </a:r>
              <a:r>
                <a:rPr lang="en-US" sz="750" dirty="0">
                  <a:solidFill>
                    <a:srgbClr val="787878"/>
                  </a:solidFill>
                  <a:latin typeface="Arial" panose="020B0604020202020204" pitchFamily="34" charset="0"/>
                  <a:cs typeface="Arial" panose="020B0604020202020204" pitchFamily="34" charset="0"/>
                </a:rPr>
                <a:t>(95% CI, 7.9-21.6) </a:t>
              </a:r>
            </a:p>
          </p:txBody>
        </p:sp>
        <p:cxnSp>
          <p:nvCxnSpPr>
            <p:cNvPr id="8" name="Straight Connector 7">
              <a:extLst>
                <a:ext uri="{FF2B5EF4-FFF2-40B4-BE49-F238E27FC236}">
                  <a16:creationId xmlns:a16="http://schemas.microsoft.com/office/drawing/2014/main" id="{72E0C675-4492-4FCF-EA8E-264ADDABB670}"/>
                </a:ext>
              </a:extLst>
            </p:cNvPr>
            <p:cNvCxnSpPr>
              <a:cxnSpLocks/>
              <a:endCxn id="2661" idx="1"/>
            </p:cNvCxnSpPr>
            <p:nvPr/>
          </p:nvCxnSpPr>
          <p:spPr>
            <a:xfrm flipH="1" flipV="1">
              <a:off x="6682704" y="3250258"/>
              <a:ext cx="16337" cy="1517733"/>
            </a:xfrm>
            <a:prstGeom prst="line">
              <a:avLst/>
            </a:prstGeom>
            <a:ln w="19050"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grpSp>
        <p:nvGrpSpPr>
          <p:cNvPr id="13" name="Graphic 4">
            <a:extLst>
              <a:ext uri="{FF2B5EF4-FFF2-40B4-BE49-F238E27FC236}">
                <a16:creationId xmlns:a16="http://schemas.microsoft.com/office/drawing/2014/main" id="{3FD5629F-D398-575F-C176-7726FF2BCF39}"/>
              </a:ext>
            </a:extLst>
          </p:cNvPr>
          <p:cNvGrpSpPr/>
          <p:nvPr/>
        </p:nvGrpSpPr>
        <p:grpSpPr>
          <a:xfrm>
            <a:off x="5283960" y="760283"/>
            <a:ext cx="3008878" cy="919515"/>
            <a:chOff x="6054735" y="1003982"/>
            <a:chExt cx="4534080" cy="1127611"/>
          </a:xfrm>
        </p:grpSpPr>
        <p:sp>
          <p:nvSpPr>
            <p:cNvPr id="14" name="TextBox 13">
              <a:extLst>
                <a:ext uri="{FF2B5EF4-FFF2-40B4-BE49-F238E27FC236}">
                  <a16:creationId xmlns:a16="http://schemas.microsoft.com/office/drawing/2014/main" id="{72D9E7FD-6476-BD27-B80D-28E412C69283}"/>
                </a:ext>
              </a:extLst>
            </p:cNvPr>
            <p:cNvSpPr txBox="1"/>
            <p:nvPr/>
          </p:nvSpPr>
          <p:spPr>
            <a:xfrm>
              <a:off x="8547747" y="1862674"/>
              <a:ext cx="1234837" cy="268919"/>
            </a:xfrm>
            <a:prstGeom prst="rect">
              <a:avLst/>
            </a:prstGeom>
            <a:noFill/>
          </p:spPr>
          <p:txBody>
            <a:bodyPr wrap="none" rtlCol="0">
              <a:spAutoFit/>
            </a:bodyPr>
            <a:lstStyle/>
            <a:p>
              <a:pPr algn="l"/>
              <a:r>
                <a:rPr lang="en-US" sz="825" b="1" i="1" dirty="0">
                  <a:ln/>
                  <a:latin typeface="HelveticaNeue"/>
                  <a:ea typeface="HelveticaNeue"/>
                  <a:cs typeface="HelveticaNeue"/>
                  <a:sym typeface="HelveticaNeue"/>
                  <a:rtl val="0"/>
                </a:rPr>
                <a:t>P</a:t>
              </a:r>
              <a:r>
                <a:rPr lang="en-US" sz="825" b="1" dirty="0">
                  <a:ln/>
                  <a:latin typeface="HelveticaNeue"/>
                  <a:ea typeface="HelveticaNeue"/>
                  <a:cs typeface="HelveticaNeue"/>
                  <a:sym typeface="HelveticaNeue"/>
                  <a:rtl val="0"/>
                </a:rPr>
                <a:t> &lt; 0.000001</a:t>
              </a:r>
              <a:endParaRPr lang="en-US" sz="825" b="1" strike="sngStrike" baseline="30000" dirty="0">
                <a:ln/>
                <a:solidFill>
                  <a:srgbClr val="FF0000"/>
                </a:solidFill>
                <a:latin typeface="HelveticaNeue"/>
                <a:ea typeface="HelveticaNeue"/>
                <a:cs typeface="HelveticaNeue"/>
                <a:sym typeface="HelveticaNeue"/>
                <a:rtl val="0"/>
              </a:endParaRPr>
            </a:p>
          </p:txBody>
        </p:sp>
        <p:sp>
          <p:nvSpPr>
            <p:cNvPr id="34" name="TextBox 33">
              <a:extLst>
                <a:ext uri="{FF2B5EF4-FFF2-40B4-BE49-F238E27FC236}">
                  <a16:creationId xmlns:a16="http://schemas.microsoft.com/office/drawing/2014/main" id="{DEF6C7B5-1D26-EC20-74FE-8C7D5F19C804}"/>
                </a:ext>
              </a:extLst>
            </p:cNvPr>
            <p:cNvSpPr txBox="1"/>
            <p:nvPr/>
          </p:nvSpPr>
          <p:spPr>
            <a:xfrm>
              <a:off x="9713360" y="1261475"/>
              <a:ext cx="321753" cy="268919"/>
            </a:xfrm>
            <a:prstGeom prst="rect">
              <a:avLst/>
            </a:prstGeom>
            <a:noFill/>
          </p:spPr>
          <p:txBody>
            <a:bodyPr wrap="none" rtlCol="0">
              <a:spAutoFit/>
            </a:bodyPr>
            <a:lstStyle/>
            <a:p>
              <a:pPr algn="l"/>
              <a:r>
                <a:rPr lang="en-US" sz="825" dirty="0">
                  <a:ln/>
                  <a:latin typeface="HelveticaNeue"/>
                  <a:ea typeface="HelveticaNeue"/>
                  <a:cs typeface="HelveticaNeue"/>
                  <a:sym typeface="HelveticaNeue"/>
                  <a:rtl val="0"/>
                </a:rPr>
                <a:t> </a:t>
              </a:r>
            </a:p>
          </p:txBody>
        </p:sp>
        <p:sp>
          <p:nvSpPr>
            <p:cNvPr id="49" name="Freeform 841">
              <a:extLst>
                <a:ext uri="{FF2B5EF4-FFF2-40B4-BE49-F238E27FC236}">
                  <a16:creationId xmlns:a16="http://schemas.microsoft.com/office/drawing/2014/main" id="{DEA07CA5-8D64-709F-C6FC-8AE62DF9CB05}"/>
                </a:ext>
              </a:extLst>
            </p:cNvPr>
            <p:cNvSpPr/>
            <p:nvPr/>
          </p:nvSpPr>
          <p:spPr>
            <a:xfrm>
              <a:off x="6054735" y="1511424"/>
              <a:ext cx="2005020" cy="216581"/>
            </a:xfrm>
            <a:custGeom>
              <a:avLst/>
              <a:gdLst>
                <a:gd name="connsiteX0" fmla="*/ 0 w 2005020"/>
                <a:gd name="connsiteY0" fmla="*/ 0 h 216581"/>
                <a:gd name="connsiteX1" fmla="*/ 2005020 w 2005020"/>
                <a:gd name="connsiteY1" fmla="*/ 0 h 216581"/>
                <a:gd name="connsiteX2" fmla="*/ 2005020 w 2005020"/>
                <a:gd name="connsiteY2" fmla="*/ 216582 h 216581"/>
                <a:gd name="connsiteX3" fmla="*/ 0 w 2005020"/>
                <a:gd name="connsiteY3" fmla="*/ 216582 h 216581"/>
              </a:gdLst>
              <a:ahLst/>
              <a:cxnLst>
                <a:cxn ang="0">
                  <a:pos x="connsiteX0" y="connsiteY0"/>
                </a:cxn>
                <a:cxn ang="0">
                  <a:pos x="connsiteX1" y="connsiteY1"/>
                </a:cxn>
                <a:cxn ang="0">
                  <a:pos x="connsiteX2" y="connsiteY2"/>
                </a:cxn>
                <a:cxn ang="0">
                  <a:pos x="connsiteX3" y="connsiteY3"/>
                </a:cxn>
              </a:cxnLst>
              <a:rect l="l" t="t" r="r" b="b"/>
              <a:pathLst>
                <a:path w="2005020" h="216581">
                  <a:moveTo>
                    <a:pt x="0" y="0"/>
                  </a:moveTo>
                  <a:lnTo>
                    <a:pt x="2005020" y="0"/>
                  </a:lnTo>
                  <a:lnTo>
                    <a:pt x="2005020" y="216582"/>
                  </a:lnTo>
                  <a:lnTo>
                    <a:pt x="0" y="216582"/>
                  </a:lnTo>
                  <a:close/>
                </a:path>
              </a:pathLst>
            </a:custGeom>
            <a:solidFill>
              <a:srgbClr val="FFFFFF"/>
            </a:solidFill>
            <a:ln w="17636" cap="flat">
              <a:noFill/>
              <a:prstDash val="solid"/>
              <a:miter/>
            </a:ln>
          </p:spPr>
          <p:txBody>
            <a:bodyPr rtlCol="0" anchor="ctr"/>
            <a:lstStyle/>
            <a:p>
              <a:endParaRPr lang="en-US" sz="825" dirty="0"/>
            </a:p>
          </p:txBody>
        </p:sp>
        <p:sp>
          <p:nvSpPr>
            <p:cNvPr id="50" name="Freeform 842">
              <a:extLst>
                <a:ext uri="{FF2B5EF4-FFF2-40B4-BE49-F238E27FC236}">
                  <a16:creationId xmlns:a16="http://schemas.microsoft.com/office/drawing/2014/main" id="{94D40914-A3E0-BF2A-0D59-6A31F8F067A0}"/>
                </a:ext>
              </a:extLst>
            </p:cNvPr>
            <p:cNvSpPr/>
            <p:nvPr/>
          </p:nvSpPr>
          <p:spPr>
            <a:xfrm>
              <a:off x="6054735" y="1728006"/>
              <a:ext cx="2005020" cy="354246"/>
            </a:xfrm>
            <a:custGeom>
              <a:avLst/>
              <a:gdLst>
                <a:gd name="connsiteX0" fmla="*/ 0 w 2005020"/>
                <a:gd name="connsiteY0" fmla="*/ 0 h 354246"/>
                <a:gd name="connsiteX1" fmla="*/ 2005020 w 2005020"/>
                <a:gd name="connsiteY1" fmla="*/ 0 h 354246"/>
                <a:gd name="connsiteX2" fmla="*/ 2005020 w 2005020"/>
                <a:gd name="connsiteY2" fmla="*/ 354247 h 354246"/>
                <a:gd name="connsiteX3" fmla="*/ 0 w 2005020"/>
                <a:gd name="connsiteY3" fmla="*/ 354247 h 354246"/>
              </a:gdLst>
              <a:ahLst/>
              <a:cxnLst>
                <a:cxn ang="0">
                  <a:pos x="connsiteX0" y="connsiteY0"/>
                </a:cxn>
                <a:cxn ang="0">
                  <a:pos x="connsiteX1" y="connsiteY1"/>
                </a:cxn>
                <a:cxn ang="0">
                  <a:pos x="connsiteX2" y="connsiteY2"/>
                </a:cxn>
                <a:cxn ang="0">
                  <a:pos x="connsiteX3" y="connsiteY3"/>
                </a:cxn>
              </a:cxnLst>
              <a:rect l="l" t="t" r="r" b="b"/>
              <a:pathLst>
                <a:path w="2005020" h="354246">
                  <a:moveTo>
                    <a:pt x="0" y="0"/>
                  </a:moveTo>
                  <a:lnTo>
                    <a:pt x="2005020" y="0"/>
                  </a:lnTo>
                  <a:lnTo>
                    <a:pt x="2005020" y="354247"/>
                  </a:lnTo>
                  <a:lnTo>
                    <a:pt x="0" y="354247"/>
                  </a:lnTo>
                  <a:close/>
                </a:path>
              </a:pathLst>
            </a:custGeom>
            <a:solidFill>
              <a:srgbClr val="FFFFFF"/>
            </a:solidFill>
            <a:ln w="17636" cap="flat">
              <a:noFill/>
              <a:prstDash val="solid"/>
              <a:miter/>
            </a:ln>
          </p:spPr>
          <p:txBody>
            <a:bodyPr rtlCol="0" anchor="ctr"/>
            <a:lstStyle/>
            <a:p>
              <a:endParaRPr lang="en-US" sz="825" dirty="0"/>
            </a:p>
          </p:txBody>
        </p:sp>
        <p:sp>
          <p:nvSpPr>
            <p:cNvPr id="51" name="Freeform 844">
              <a:extLst>
                <a:ext uri="{FF2B5EF4-FFF2-40B4-BE49-F238E27FC236}">
                  <a16:creationId xmlns:a16="http://schemas.microsoft.com/office/drawing/2014/main" id="{AA26DC1C-5637-9B96-056A-C2655114B184}"/>
                </a:ext>
              </a:extLst>
            </p:cNvPr>
            <p:cNvSpPr/>
            <p:nvPr/>
          </p:nvSpPr>
          <p:spPr>
            <a:xfrm>
              <a:off x="7825362" y="1702034"/>
              <a:ext cx="2578709" cy="42049"/>
            </a:xfrm>
            <a:custGeom>
              <a:avLst/>
              <a:gdLst>
                <a:gd name="connsiteX0" fmla="*/ 0 w 4586921"/>
                <a:gd name="connsiteY0" fmla="*/ 0 h 17647"/>
                <a:gd name="connsiteX1" fmla="*/ 4586922 w 4586921"/>
                <a:gd name="connsiteY1" fmla="*/ 0 h 17647"/>
              </a:gdLst>
              <a:ahLst/>
              <a:cxnLst>
                <a:cxn ang="0">
                  <a:pos x="connsiteX0" y="connsiteY0"/>
                </a:cxn>
                <a:cxn ang="0">
                  <a:pos x="connsiteX1" y="connsiteY1"/>
                </a:cxn>
              </a:cxnLst>
              <a:rect l="l" t="t" r="r" b="b"/>
              <a:pathLst>
                <a:path w="4586921" h="17647">
                  <a:moveTo>
                    <a:pt x="0" y="0"/>
                  </a:moveTo>
                  <a:lnTo>
                    <a:pt x="4586922" y="0"/>
                  </a:lnTo>
                </a:path>
              </a:pathLst>
            </a:custGeom>
            <a:ln w="9624" cap="flat">
              <a:solidFill>
                <a:srgbClr val="000000"/>
              </a:solidFill>
              <a:prstDash val="solid"/>
              <a:miter/>
            </a:ln>
          </p:spPr>
          <p:txBody>
            <a:bodyPr rtlCol="0" anchor="ctr"/>
            <a:lstStyle/>
            <a:p>
              <a:endParaRPr lang="en-US" sz="825" dirty="0"/>
            </a:p>
          </p:txBody>
        </p:sp>
        <p:sp>
          <p:nvSpPr>
            <p:cNvPr id="53" name="TextBox 52">
              <a:extLst>
                <a:ext uri="{FF2B5EF4-FFF2-40B4-BE49-F238E27FC236}">
                  <a16:creationId xmlns:a16="http://schemas.microsoft.com/office/drawing/2014/main" id="{4B5AA19B-ED6D-2425-5D8D-E2B122EA6CC8}"/>
                </a:ext>
              </a:extLst>
            </p:cNvPr>
            <p:cNvSpPr txBox="1"/>
            <p:nvPr/>
          </p:nvSpPr>
          <p:spPr>
            <a:xfrm>
              <a:off x="8115709" y="1220759"/>
              <a:ext cx="949801" cy="325533"/>
            </a:xfrm>
            <a:prstGeom prst="rect">
              <a:avLst/>
            </a:prstGeom>
            <a:noFill/>
          </p:spPr>
          <p:txBody>
            <a:bodyPr wrap="none" rtlCol="0">
              <a:spAutoFit/>
            </a:bodyPr>
            <a:lstStyle/>
            <a:p>
              <a:pPr algn="l"/>
              <a:r>
                <a:rPr lang="en-US" sz="1125" dirty="0">
                  <a:ln/>
                  <a:solidFill>
                    <a:schemeClr val="bg1"/>
                  </a:solidFill>
                  <a:latin typeface="HelveticaNeue-Bold"/>
                  <a:ea typeface="HelveticaNeue-Bold"/>
                  <a:cs typeface="HelveticaNeue-Bold"/>
                  <a:sym typeface="HelveticaNeue-Bold"/>
                  <a:rtl val="0"/>
                </a:rPr>
                <a:t>T-DXd</a:t>
              </a:r>
              <a:r>
                <a:rPr lang="en-US" sz="825" dirty="0">
                  <a:ln/>
                  <a:latin typeface="HelveticaNeue-Bold"/>
                  <a:ea typeface="HelveticaNeue-Bold"/>
                  <a:cs typeface="HelveticaNeue-Bold"/>
                  <a:sym typeface="HelveticaNeue-Bold"/>
                  <a:rtl val="0"/>
                </a:rPr>
                <a:t> </a:t>
              </a:r>
            </a:p>
          </p:txBody>
        </p:sp>
        <p:sp>
          <p:nvSpPr>
            <p:cNvPr id="55" name="TextBox 54">
              <a:extLst>
                <a:ext uri="{FF2B5EF4-FFF2-40B4-BE49-F238E27FC236}">
                  <a16:creationId xmlns:a16="http://schemas.microsoft.com/office/drawing/2014/main" id="{CDDD5CD3-10AB-E9CB-F44D-3DD53301E1E5}"/>
                </a:ext>
              </a:extLst>
            </p:cNvPr>
            <p:cNvSpPr txBox="1"/>
            <p:nvPr/>
          </p:nvSpPr>
          <p:spPr>
            <a:xfrm>
              <a:off x="7812214" y="1003982"/>
              <a:ext cx="2676931" cy="311380"/>
            </a:xfrm>
            <a:prstGeom prst="rect">
              <a:avLst/>
            </a:prstGeom>
            <a:noFill/>
          </p:spPr>
          <p:txBody>
            <a:bodyPr wrap="none" rtlCol="0">
              <a:spAutoFit/>
            </a:bodyPr>
            <a:lstStyle/>
            <a:p>
              <a:pPr algn="l"/>
              <a:r>
                <a:rPr lang="en-US" sz="1050" b="1" dirty="0">
                  <a:ln/>
                  <a:latin typeface="HelveticaNeue-Bold"/>
                  <a:ea typeface="HelveticaNeue-Bold"/>
                  <a:cs typeface="HelveticaNeue-Bold"/>
                  <a:sym typeface="HelveticaNeue-Bold"/>
                  <a:rtl val="0"/>
                </a:rPr>
                <a:t>Median (95% CI), months</a:t>
              </a:r>
            </a:p>
          </p:txBody>
        </p:sp>
        <p:sp>
          <p:nvSpPr>
            <p:cNvPr id="56" name="TextBox 55">
              <a:extLst>
                <a:ext uri="{FF2B5EF4-FFF2-40B4-BE49-F238E27FC236}">
                  <a16:creationId xmlns:a16="http://schemas.microsoft.com/office/drawing/2014/main" id="{8DA9BC51-8322-18AD-0769-E4852F72FF11}"/>
                </a:ext>
              </a:extLst>
            </p:cNvPr>
            <p:cNvSpPr txBox="1"/>
            <p:nvPr/>
          </p:nvSpPr>
          <p:spPr>
            <a:xfrm>
              <a:off x="7822769" y="1473547"/>
              <a:ext cx="1416006" cy="268919"/>
            </a:xfrm>
            <a:prstGeom prst="rect">
              <a:avLst/>
            </a:prstGeom>
            <a:noFill/>
          </p:spPr>
          <p:txBody>
            <a:bodyPr wrap="none" rtlCol="0">
              <a:spAutoFit/>
            </a:bodyPr>
            <a:lstStyle/>
            <a:p>
              <a:pPr algn="l"/>
              <a:r>
                <a:rPr lang="en-US" sz="825" b="1" dirty="0">
                  <a:ln/>
                  <a:latin typeface="HelveticaNeue"/>
                  <a:ea typeface="HelveticaNeue"/>
                  <a:cs typeface="HelveticaNeue"/>
                  <a:sym typeface="HelveticaNeue"/>
                  <a:rtl val="0"/>
                </a:rPr>
                <a:t>17.8</a:t>
              </a:r>
              <a:r>
                <a:rPr lang="en-US" sz="825" dirty="0">
                  <a:ln/>
                  <a:latin typeface="HelveticaNeue"/>
                  <a:ea typeface="HelveticaNeue"/>
                  <a:cs typeface="HelveticaNeue"/>
                  <a:sym typeface="HelveticaNeue"/>
                  <a:rtl val="0"/>
                </a:rPr>
                <a:t> (14.3-20.8)</a:t>
              </a:r>
            </a:p>
          </p:txBody>
        </p:sp>
        <p:sp>
          <p:nvSpPr>
            <p:cNvPr id="57" name="TextBox 56">
              <a:extLst>
                <a:ext uri="{FF2B5EF4-FFF2-40B4-BE49-F238E27FC236}">
                  <a16:creationId xmlns:a16="http://schemas.microsoft.com/office/drawing/2014/main" id="{329FD81C-6457-79FB-B72D-D469B6FF6C0D}"/>
                </a:ext>
              </a:extLst>
            </p:cNvPr>
            <p:cNvSpPr txBox="1"/>
            <p:nvPr/>
          </p:nvSpPr>
          <p:spPr>
            <a:xfrm>
              <a:off x="7719964" y="1706476"/>
              <a:ext cx="2868851" cy="424609"/>
            </a:xfrm>
            <a:prstGeom prst="rect">
              <a:avLst/>
            </a:prstGeom>
            <a:noFill/>
          </p:spPr>
          <p:txBody>
            <a:bodyPr wrap="square" rtlCol="0">
              <a:spAutoFit/>
            </a:bodyPr>
            <a:lstStyle/>
            <a:p>
              <a:pPr algn="l"/>
              <a:r>
                <a:rPr lang="en-US" sz="825" b="1" dirty="0">
                  <a:ln/>
                  <a:latin typeface="HelveticaNeue"/>
                  <a:ea typeface="HelveticaNeue"/>
                  <a:cs typeface="HelveticaNeue"/>
                  <a:sym typeface="HelveticaNeue"/>
                  <a:rtl val="0"/>
                </a:rPr>
                <a:t>HR (95% CI): 0.3589 (0.2840-0.4535) </a:t>
              </a:r>
            </a:p>
          </p:txBody>
        </p:sp>
        <p:sp>
          <p:nvSpPr>
            <p:cNvPr id="58" name="TextBox 57">
              <a:extLst>
                <a:ext uri="{FF2B5EF4-FFF2-40B4-BE49-F238E27FC236}">
                  <a16:creationId xmlns:a16="http://schemas.microsoft.com/office/drawing/2014/main" id="{3E2745B0-45DE-AD50-7D66-E266622B5C6F}"/>
                </a:ext>
              </a:extLst>
            </p:cNvPr>
            <p:cNvSpPr txBox="1"/>
            <p:nvPr/>
          </p:nvSpPr>
          <p:spPr>
            <a:xfrm>
              <a:off x="9266962" y="1473547"/>
              <a:ext cx="1147877" cy="268919"/>
            </a:xfrm>
            <a:prstGeom prst="rect">
              <a:avLst/>
            </a:prstGeom>
            <a:noFill/>
          </p:spPr>
          <p:txBody>
            <a:bodyPr wrap="none" rtlCol="0">
              <a:spAutoFit/>
            </a:bodyPr>
            <a:lstStyle/>
            <a:p>
              <a:pPr algn="l"/>
              <a:r>
                <a:rPr lang="en-US" sz="825" b="1" dirty="0">
                  <a:ln/>
                  <a:latin typeface="HelveticaNeue"/>
                  <a:ea typeface="HelveticaNeue"/>
                  <a:cs typeface="HelveticaNeue"/>
                  <a:sym typeface="HelveticaNeue"/>
                  <a:rtl val="0"/>
                </a:rPr>
                <a:t>6.9</a:t>
              </a:r>
              <a:r>
                <a:rPr lang="en-US" sz="825" dirty="0">
                  <a:ln/>
                  <a:latin typeface="HelveticaNeue"/>
                  <a:ea typeface="HelveticaNeue"/>
                  <a:cs typeface="HelveticaNeue"/>
                  <a:sym typeface="HelveticaNeue"/>
                  <a:rtl val="0"/>
                </a:rPr>
                <a:t> (5.5-8.4)</a:t>
              </a:r>
            </a:p>
          </p:txBody>
        </p:sp>
      </p:grpSp>
      <p:sp>
        <p:nvSpPr>
          <p:cNvPr id="59" name="Freeform 844">
            <a:extLst>
              <a:ext uri="{FF2B5EF4-FFF2-40B4-BE49-F238E27FC236}">
                <a16:creationId xmlns:a16="http://schemas.microsoft.com/office/drawing/2014/main" id="{CE19A224-987B-4426-9401-E79AA64BD4B7}"/>
              </a:ext>
            </a:extLst>
          </p:cNvPr>
          <p:cNvSpPr/>
          <p:nvPr/>
        </p:nvSpPr>
        <p:spPr>
          <a:xfrm>
            <a:off x="6457253" y="1628856"/>
            <a:ext cx="1711267" cy="34289"/>
          </a:xfrm>
          <a:custGeom>
            <a:avLst/>
            <a:gdLst>
              <a:gd name="connsiteX0" fmla="*/ 0 w 4586921"/>
              <a:gd name="connsiteY0" fmla="*/ 0 h 17647"/>
              <a:gd name="connsiteX1" fmla="*/ 4586922 w 4586921"/>
              <a:gd name="connsiteY1" fmla="*/ 0 h 17647"/>
            </a:gdLst>
            <a:ahLst/>
            <a:cxnLst>
              <a:cxn ang="0">
                <a:pos x="connsiteX0" y="connsiteY0"/>
              </a:cxn>
              <a:cxn ang="0">
                <a:pos x="connsiteX1" y="connsiteY1"/>
              </a:cxn>
            </a:cxnLst>
            <a:rect l="l" t="t" r="r" b="b"/>
            <a:pathLst>
              <a:path w="4586921" h="17647">
                <a:moveTo>
                  <a:pt x="0" y="0"/>
                </a:moveTo>
                <a:lnTo>
                  <a:pt x="4586922" y="0"/>
                </a:lnTo>
              </a:path>
            </a:pathLst>
          </a:custGeom>
          <a:ln w="9624" cap="flat">
            <a:solidFill>
              <a:srgbClr val="000000"/>
            </a:solidFill>
            <a:prstDash val="solid"/>
            <a:miter/>
          </a:ln>
        </p:spPr>
        <p:txBody>
          <a:bodyPr rtlCol="0" anchor="ctr"/>
          <a:lstStyle/>
          <a:p>
            <a:endParaRPr lang="en-US" sz="825" dirty="0"/>
          </a:p>
        </p:txBody>
      </p:sp>
      <p:sp>
        <p:nvSpPr>
          <p:cNvPr id="10" name="Freeform 839">
            <a:extLst>
              <a:ext uri="{FF2B5EF4-FFF2-40B4-BE49-F238E27FC236}">
                <a16:creationId xmlns:a16="http://schemas.microsoft.com/office/drawing/2014/main" id="{6C2CFDA7-12C4-75A4-A810-7FF4D6E1FBDF}"/>
              </a:ext>
            </a:extLst>
          </p:cNvPr>
          <p:cNvSpPr/>
          <p:nvPr/>
        </p:nvSpPr>
        <p:spPr>
          <a:xfrm>
            <a:off x="6462120" y="968394"/>
            <a:ext cx="856693" cy="188096"/>
          </a:xfrm>
          <a:custGeom>
            <a:avLst/>
            <a:gdLst>
              <a:gd name="connsiteX0" fmla="*/ 0 w 1290950"/>
              <a:gd name="connsiteY0" fmla="*/ 0 h 230664"/>
              <a:gd name="connsiteX1" fmla="*/ 1290950 w 1290950"/>
              <a:gd name="connsiteY1" fmla="*/ 0 h 230664"/>
              <a:gd name="connsiteX2" fmla="*/ 1290950 w 1290950"/>
              <a:gd name="connsiteY2" fmla="*/ 230664 h 230664"/>
              <a:gd name="connsiteX3" fmla="*/ 0 w 1290950"/>
              <a:gd name="connsiteY3" fmla="*/ 230664 h 230664"/>
            </a:gdLst>
            <a:ahLst/>
            <a:cxnLst>
              <a:cxn ang="0">
                <a:pos x="connsiteX0" y="connsiteY0"/>
              </a:cxn>
              <a:cxn ang="0">
                <a:pos x="connsiteX1" y="connsiteY1"/>
              </a:cxn>
              <a:cxn ang="0">
                <a:pos x="connsiteX2" y="connsiteY2"/>
              </a:cxn>
              <a:cxn ang="0">
                <a:pos x="connsiteX3" y="connsiteY3"/>
              </a:cxn>
            </a:cxnLst>
            <a:rect l="l" t="t" r="r" b="b"/>
            <a:pathLst>
              <a:path w="1290950" h="230664">
                <a:moveTo>
                  <a:pt x="0" y="0"/>
                </a:moveTo>
                <a:lnTo>
                  <a:pt x="1290950" y="0"/>
                </a:lnTo>
                <a:lnTo>
                  <a:pt x="1290950" y="230664"/>
                </a:lnTo>
                <a:lnTo>
                  <a:pt x="0" y="230664"/>
                </a:lnTo>
                <a:close/>
              </a:path>
            </a:pathLst>
          </a:custGeom>
          <a:solidFill>
            <a:srgbClr val="27377D"/>
          </a:solidFill>
          <a:ln w="17636" cap="flat">
            <a:noFill/>
            <a:prstDash val="solid"/>
            <a:miter/>
          </a:ln>
        </p:spPr>
        <p:txBody>
          <a:bodyPr rtlCol="0" anchor="ctr"/>
          <a:lstStyle/>
          <a:p>
            <a:endParaRPr lang="en-US" sz="825" dirty="0"/>
          </a:p>
        </p:txBody>
      </p:sp>
      <p:sp>
        <p:nvSpPr>
          <p:cNvPr id="11" name="Freeform 840">
            <a:extLst>
              <a:ext uri="{FF2B5EF4-FFF2-40B4-BE49-F238E27FC236}">
                <a16:creationId xmlns:a16="http://schemas.microsoft.com/office/drawing/2014/main" id="{2D16583E-BEB9-F074-741A-2B5B3BEEB1A6}"/>
              </a:ext>
            </a:extLst>
          </p:cNvPr>
          <p:cNvSpPr/>
          <p:nvPr/>
        </p:nvSpPr>
        <p:spPr>
          <a:xfrm>
            <a:off x="7318811" y="968394"/>
            <a:ext cx="856693" cy="188096"/>
          </a:xfrm>
          <a:custGeom>
            <a:avLst/>
            <a:gdLst>
              <a:gd name="connsiteX0" fmla="*/ 0 w 1290950"/>
              <a:gd name="connsiteY0" fmla="*/ 0 h 230664"/>
              <a:gd name="connsiteX1" fmla="*/ 1290951 w 1290950"/>
              <a:gd name="connsiteY1" fmla="*/ 0 h 230664"/>
              <a:gd name="connsiteX2" fmla="*/ 1290951 w 1290950"/>
              <a:gd name="connsiteY2" fmla="*/ 230664 h 230664"/>
              <a:gd name="connsiteX3" fmla="*/ 0 w 1290950"/>
              <a:gd name="connsiteY3" fmla="*/ 230664 h 230664"/>
            </a:gdLst>
            <a:ahLst/>
            <a:cxnLst>
              <a:cxn ang="0">
                <a:pos x="connsiteX0" y="connsiteY0"/>
              </a:cxn>
              <a:cxn ang="0">
                <a:pos x="connsiteX1" y="connsiteY1"/>
              </a:cxn>
              <a:cxn ang="0">
                <a:pos x="connsiteX2" y="connsiteY2"/>
              </a:cxn>
              <a:cxn ang="0">
                <a:pos x="connsiteX3" y="connsiteY3"/>
              </a:cxn>
            </a:cxnLst>
            <a:rect l="l" t="t" r="r" b="b"/>
            <a:pathLst>
              <a:path w="1290950" h="230664">
                <a:moveTo>
                  <a:pt x="0" y="0"/>
                </a:moveTo>
                <a:lnTo>
                  <a:pt x="1290951" y="0"/>
                </a:lnTo>
                <a:lnTo>
                  <a:pt x="1290951" y="230664"/>
                </a:lnTo>
                <a:lnTo>
                  <a:pt x="0" y="230664"/>
                </a:lnTo>
                <a:close/>
              </a:path>
            </a:pathLst>
          </a:custGeom>
          <a:solidFill>
            <a:srgbClr val="787878"/>
          </a:solidFill>
          <a:ln w="17636" cap="flat">
            <a:noFill/>
            <a:prstDash val="solid"/>
            <a:miter/>
          </a:ln>
        </p:spPr>
        <p:txBody>
          <a:bodyPr rtlCol="0" anchor="ctr"/>
          <a:lstStyle/>
          <a:p>
            <a:endParaRPr lang="en-US" sz="825" dirty="0"/>
          </a:p>
        </p:txBody>
      </p:sp>
      <p:sp>
        <p:nvSpPr>
          <p:cNvPr id="12" name="TextBox 11">
            <a:extLst>
              <a:ext uri="{FF2B5EF4-FFF2-40B4-BE49-F238E27FC236}">
                <a16:creationId xmlns:a16="http://schemas.microsoft.com/office/drawing/2014/main" id="{09123AE9-7B84-603A-EC5C-1A3E65F691DC}"/>
              </a:ext>
            </a:extLst>
          </p:cNvPr>
          <p:cNvSpPr txBox="1"/>
          <p:nvPr/>
        </p:nvSpPr>
        <p:spPr>
          <a:xfrm>
            <a:off x="6651651" y="937055"/>
            <a:ext cx="630301" cy="265457"/>
          </a:xfrm>
          <a:prstGeom prst="rect">
            <a:avLst/>
          </a:prstGeom>
          <a:noFill/>
        </p:spPr>
        <p:txBody>
          <a:bodyPr wrap="none" rtlCol="0">
            <a:spAutoFit/>
          </a:bodyPr>
          <a:lstStyle/>
          <a:p>
            <a:pPr algn="l"/>
            <a:r>
              <a:rPr lang="en-US" sz="1125" dirty="0">
                <a:ln/>
                <a:solidFill>
                  <a:schemeClr val="bg1"/>
                </a:solidFill>
                <a:latin typeface="HelveticaNeue-Bold"/>
                <a:ea typeface="HelveticaNeue-Bold"/>
                <a:cs typeface="HelveticaNeue-Bold"/>
                <a:sym typeface="HelveticaNeue-Bold"/>
                <a:rtl val="0"/>
              </a:rPr>
              <a:t>T-DXd</a:t>
            </a:r>
            <a:r>
              <a:rPr lang="en-US" sz="825" dirty="0">
                <a:ln/>
                <a:latin typeface="HelveticaNeue-Bold"/>
                <a:ea typeface="HelveticaNeue-Bold"/>
                <a:cs typeface="HelveticaNeue-Bold"/>
                <a:sym typeface="HelveticaNeue-Bold"/>
                <a:rtl val="0"/>
              </a:rPr>
              <a:t> </a:t>
            </a:r>
          </a:p>
        </p:txBody>
      </p:sp>
      <p:sp>
        <p:nvSpPr>
          <p:cNvPr id="52" name="TextBox 51">
            <a:extLst>
              <a:ext uri="{FF2B5EF4-FFF2-40B4-BE49-F238E27FC236}">
                <a16:creationId xmlns:a16="http://schemas.microsoft.com/office/drawing/2014/main" id="{858617D0-3161-94B4-596B-52D391182B1D}"/>
              </a:ext>
            </a:extLst>
          </p:cNvPr>
          <p:cNvSpPr txBox="1"/>
          <p:nvPr/>
        </p:nvSpPr>
        <p:spPr>
          <a:xfrm>
            <a:off x="7544003" y="945689"/>
            <a:ext cx="473206" cy="265457"/>
          </a:xfrm>
          <a:prstGeom prst="rect">
            <a:avLst/>
          </a:prstGeom>
          <a:noFill/>
        </p:spPr>
        <p:txBody>
          <a:bodyPr wrap="none" rtlCol="0">
            <a:spAutoFit/>
          </a:bodyPr>
          <a:lstStyle/>
          <a:p>
            <a:pPr algn="l"/>
            <a:r>
              <a:rPr lang="en-US" sz="1125" dirty="0">
                <a:ln/>
                <a:solidFill>
                  <a:schemeClr val="bg1"/>
                </a:solidFill>
                <a:latin typeface="HelveticaNeue-Bold"/>
                <a:ea typeface="HelveticaNeue-Bold"/>
                <a:cs typeface="HelveticaNeue-Bold"/>
                <a:sym typeface="HelveticaNeue-Bold"/>
                <a:rtl val="0"/>
              </a:rPr>
              <a:t>TPC</a:t>
            </a:r>
          </a:p>
        </p:txBody>
      </p:sp>
    </p:spTree>
    <p:extLst>
      <p:ext uri="{BB962C8B-B14F-4D97-AF65-F5344CB8AC3E}">
        <p14:creationId xmlns:p14="http://schemas.microsoft.com/office/powerpoint/2010/main" val="678987673"/>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37BE968-D972-7691-6CA1-803B3C475A14}"/>
              </a:ext>
            </a:extLst>
          </p:cNvPr>
          <p:cNvPicPr>
            <a:picLocks noChangeAspect="1"/>
          </p:cNvPicPr>
          <p:nvPr/>
        </p:nvPicPr>
        <p:blipFill>
          <a:blip r:embed="rId2"/>
          <a:stretch>
            <a:fillRect/>
          </a:stretch>
        </p:blipFill>
        <p:spPr>
          <a:xfrm>
            <a:off x="1122511" y="309384"/>
            <a:ext cx="6715203" cy="4248951"/>
          </a:xfrm>
          <a:prstGeom prst="rect">
            <a:avLst/>
          </a:prstGeom>
        </p:spPr>
      </p:pic>
    </p:spTree>
    <p:extLst>
      <p:ext uri="{BB962C8B-B14F-4D97-AF65-F5344CB8AC3E}">
        <p14:creationId xmlns:p14="http://schemas.microsoft.com/office/powerpoint/2010/main" val="712716786"/>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4D58C1-2463-42D7-99E4-0465364458E2}"/>
              </a:ext>
            </a:extLst>
          </p:cNvPr>
          <p:cNvSpPr>
            <a:spLocks noGrp="1"/>
          </p:cNvSpPr>
          <p:nvPr>
            <p:ph type="ctrTitle"/>
          </p:nvPr>
        </p:nvSpPr>
        <p:spPr>
          <a:xfrm>
            <a:off x="359999" y="454891"/>
            <a:ext cx="8409765" cy="432000"/>
          </a:xfrm>
        </p:spPr>
        <p:txBody>
          <a:bodyPr/>
          <a:lstStyle/>
          <a:p>
            <a:r>
              <a:rPr lang="en-US" sz="2100" dirty="0">
                <a:solidFill>
                  <a:schemeClr val="tx1"/>
                </a:solidFill>
              </a:rPr>
              <a:t>Key Secondary Endpoint: OS</a:t>
            </a:r>
          </a:p>
        </p:txBody>
      </p:sp>
      <p:grpSp>
        <p:nvGrpSpPr>
          <p:cNvPr id="996" name="Group 995">
            <a:extLst>
              <a:ext uri="{FF2B5EF4-FFF2-40B4-BE49-F238E27FC236}">
                <a16:creationId xmlns:a16="http://schemas.microsoft.com/office/drawing/2014/main" id="{CA3E7F10-AF88-5B42-D4E4-A38AF896AF7C}"/>
              </a:ext>
            </a:extLst>
          </p:cNvPr>
          <p:cNvGrpSpPr/>
          <p:nvPr/>
        </p:nvGrpSpPr>
        <p:grpSpPr>
          <a:xfrm>
            <a:off x="1124821" y="763938"/>
            <a:ext cx="6799440" cy="3400612"/>
            <a:chOff x="1499761" y="1015409"/>
            <a:chExt cx="9065920" cy="4534149"/>
          </a:xfrm>
        </p:grpSpPr>
        <p:sp>
          <p:nvSpPr>
            <p:cNvPr id="9" name="Rectangle 8">
              <a:extLst>
                <a:ext uri="{FF2B5EF4-FFF2-40B4-BE49-F238E27FC236}">
                  <a16:creationId xmlns:a16="http://schemas.microsoft.com/office/drawing/2014/main" id="{E34838CC-9BCA-58F5-BF61-9B094B15D0F0}"/>
                </a:ext>
              </a:extLst>
            </p:cNvPr>
            <p:cNvSpPr/>
            <p:nvPr/>
          </p:nvSpPr>
          <p:spPr>
            <a:xfrm>
              <a:off x="3587780" y="3806869"/>
              <a:ext cx="1200012" cy="46329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800" dirty="0"/>
            </a:p>
          </p:txBody>
        </p:sp>
        <p:grpSp>
          <p:nvGrpSpPr>
            <p:cNvPr id="3" name="Graphic 4">
              <a:extLst>
                <a:ext uri="{FF2B5EF4-FFF2-40B4-BE49-F238E27FC236}">
                  <a16:creationId xmlns:a16="http://schemas.microsoft.com/office/drawing/2014/main" id="{7C67BA77-9F78-50A4-DE4C-883DFD23A147}"/>
                </a:ext>
              </a:extLst>
            </p:cNvPr>
            <p:cNvGrpSpPr/>
            <p:nvPr/>
          </p:nvGrpSpPr>
          <p:grpSpPr>
            <a:xfrm>
              <a:off x="2379989" y="1103841"/>
              <a:ext cx="7924020" cy="1811256"/>
              <a:chOff x="2379988" y="1138833"/>
              <a:chExt cx="8199391" cy="1929631"/>
            </a:xfrm>
            <a:noFill/>
          </p:grpSpPr>
          <p:sp>
            <p:nvSpPr>
              <p:cNvPr id="4" name="Freeform 5">
                <a:extLst>
                  <a:ext uri="{FF2B5EF4-FFF2-40B4-BE49-F238E27FC236}">
                    <a16:creationId xmlns:a16="http://schemas.microsoft.com/office/drawing/2014/main" id="{8F969AE4-8660-C755-FD4D-5A5577377B88}"/>
                  </a:ext>
                </a:extLst>
              </p:cNvPr>
              <p:cNvSpPr/>
              <p:nvPr/>
            </p:nvSpPr>
            <p:spPr>
              <a:xfrm>
                <a:off x="2385829" y="1167315"/>
                <a:ext cx="8164168" cy="1872667"/>
              </a:xfrm>
              <a:custGeom>
                <a:avLst/>
                <a:gdLst>
                  <a:gd name="connsiteX0" fmla="*/ 0 w 8164168"/>
                  <a:gd name="connsiteY0" fmla="*/ 0 h 1872667"/>
                  <a:gd name="connsiteX1" fmla="*/ 335505 w 8164168"/>
                  <a:gd name="connsiteY1" fmla="*/ 0 h 1872667"/>
                  <a:gd name="connsiteX2" fmla="*/ 335505 w 8164168"/>
                  <a:gd name="connsiteY2" fmla="*/ 8612 h 1872667"/>
                  <a:gd name="connsiteX3" fmla="*/ 359064 w 8164168"/>
                  <a:gd name="connsiteY3" fmla="*/ 8612 h 1872667"/>
                  <a:gd name="connsiteX4" fmla="*/ 359064 w 8164168"/>
                  <a:gd name="connsiteY4" fmla="*/ 17223 h 1872667"/>
                  <a:gd name="connsiteX5" fmla="*/ 435511 w 8164168"/>
                  <a:gd name="connsiteY5" fmla="*/ 17223 h 1872667"/>
                  <a:gd name="connsiteX6" fmla="*/ 435511 w 8164168"/>
                  <a:gd name="connsiteY6" fmla="*/ 25818 h 1872667"/>
                  <a:gd name="connsiteX7" fmla="*/ 500311 w 8164168"/>
                  <a:gd name="connsiteY7" fmla="*/ 25818 h 1872667"/>
                  <a:gd name="connsiteX8" fmla="*/ 500311 w 8164168"/>
                  <a:gd name="connsiteY8" fmla="*/ 43288 h 1872667"/>
                  <a:gd name="connsiteX9" fmla="*/ 682834 w 8164168"/>
                  <a:gd name="connsiteY9" fmla="*/ 43288 h 1872667"/>
                  <a:gd name="connsiteX10" fmla="*/ 682834 w 8164168"/>
                  <a:gd name="connsiteY10" fmla="*/ 52023 h 1872667"/>
                  <a:gd name="connsiteX11" fmla="*/ 706340 w 8164168"/>
                  <a:gd name="connsiteY11" fmla="*/ 52023 h 1872667"/>
                  <a:gd name="connsiteX12" fmla="*/ 706340 w 8164168"/>
                  <a:gd name="connsiteY12" fmla="*/ 60882 h 1872667"/>
                  <a:gd name="connsiteX13" fmla="*/ 712216 w 8164168"/>
                  <a:gd name="connsiteY13" fmla="*/ 60882 h 1872667"/>
                  <a:gd name="connsiteX14" fmla="*/ 712216 w 8164168"/>
                  <a:gd name="connsiteY14" fmla="*/ 69618 h 1872667"/>
                  <a:gd name="connsiteX15" fmla="*/ 794663 w 8164168"/>
                  <a:gd name="connsiteY15" fmla="*/ 69618 h 1872667"/>
                  <a:gd name="connsiteX16" fmla="*/ 794663 w 8164168"/>
                  <a:gd name="connsiteY16" fmla="*/ 78476 h 1872667"/>
                  <a:gd name="connsiteX17" fmla="*/ 812293 w 8164168"/>
                  <a:gd name="connsiteY17" fmla="*/ 78476 h 1872667"/>
                  <a:gd name="connsiteX18" fmla="*/ 812293 w 8164168"/>
                  <a:gd name="connsiteY18" fmla="*/ 87212 h 1872667"/>
                  <a:gd name="connsiteX19" fmla="*/ 841693 w 8164168"/>
                  <a:gd name="connsiteY19" fmla="*/ 87212 h 1872667"/>
                  <a:gd name="connsiteX20" fmla="*/ 841693 w 8164168"/>
                  <a:gd name="connsiteY20" fmla="*/ 96070 h 1872667"/>
                  <a:gd name="connsiteX21" fmla="*/ 929998 w 8164168"/>
                  <a:gd name="connsiteY21" fmla="*/ 96070 h 1872667"/>
                  <a:gd name="connsiteX22" fmla="*/ 929998 w 8164168"/>
                  <a:gd name="connsiteY22" fmla="*/ 104806 h 1872667"/>
                  <a:gd name="connsiteX23" fmla="*/ 965275 w 8164168"/>
                  <a:gd name="connsiteY23" fmla="*/ 104806 h 1872667"/>
                  <a:gd name="connsiteX24" fmla="*/ 965275 w 8164168"/>
                  <a:gd name="connsiteY24" fmla="*/ 113664 h 1872667"/>
                  <a:gd name="connsiteX25" fmla="*/ 1000692 w 8164168"/>
                  <a:gd name="connsiteY25" fmla="*/ 113664 h 1872667"/>
                  <a:gd name="connsiteX26" fmla="*/ 1000692 w 8164168"/>
                  <a:gd name="connsiteY26" fmla="*/ 122523 h 1872667"/>
                  <a:gd name="connsiteX27" fmla="*/ 1024198 w 8164168"/>
                  <a:gd name="connsiteY27" fmla="*/ 122523 h 1872667"/>
                  <a:gd name="connsiteX28" fmla="*/ 1024198 w 8164168"/>
                  <a:gd name="connsiteY28" fmla="*/ 140117 h 1872667"/>
                  <a:gd name="connsiteX29" fmla="*/ 1071228 w 8164168"/>
                  <a:gd name="connsiteY29" fmla="*/ 140117 h 1872667"/>
                  <a:gd name="connsiteX30" fmla="*/ 1071228 w 8164168"/>
                  <a:gd name="connsiteY30" fmla="*/ 148976 h 1872667"/>
                  <a:gd name="connsiteX31" fmla="*/ 1100751 w 8164168"/>
                  <a:gd name="connsiteY31" fmla="*/ 148976 h 1872667"/>
                  <a:gd name="connsiteX32" fmla="*/ 1100751 w 8164168"/>
                  <a:gd name="connsiteY32" fmla="*/ 157835 h 1872667"/>
                  <a:gd name="connsiteX33" fmla="*/ 1112522 w 8164168"/>
                  <a:gd name="connsiteY33" fmla="*/ 157835 h 1872667"/>
                  <a:gd name="connsiteX34" fmla="*/ 1112522 w 8164168"/>
                  <a:gd name="connsiteY34" fmla="*/ 166694 h 1872667"/>
                  <a:gd name="connsiteX35" fmla="*/ 1183057 w 8164168"/>
                  <a:gd name="connsiteY35" fmla="*/ 166694 h 1872667"/>
                  <a:gd name="connsiteX36" fmla="*/ 1183057 w 8164168"/>
                  <a:gd name="connsiteY36" fmla="*/ 175553 h 1872667"/>
                  <a:gd name="connsiteX37" fmla="*/ 1236104 w 8164168"/>
                  <a:gd name="connsiteY37" fmla="*/ 175553 h 1872667"/>
                  <a:gd name="connsiteX38" fmla="*/ 1236104 w 8164168"/>
                  <a:gd name="connsiteY38" fmla="*/ 184553 h 1872667"/>
                  <a:gd name="connsiteX39" fmla="*/ 1247857 w 8164168"/>
                  <a:gd name="connsiteY39" fmla="*/ 184553 h 1872667"/>
                  <a:gd name="connsiteX40" fmla="*/ 1247857 w 8164168"/>
                  <a:gd name="connsiteY40" fmla="*/ 193412 h 1872667"/>
                  <a:gd name="connsiteX41" fmla="*/ 1259627 w 8164168"/>
                  <a:gd name="connsiteY41" fmla="*/ 193412 h 1872667"/>
                  <a:gd name="connsiteX42" fmla="*/ 1259627 w 8164168"/>
                  <a:gd name="connsiteY42" fmla="*/ 202394 h 1872667"/>
                  <a:gd name="connsiteX43" fmla="*/ 1277257 w 8164168"/>
                  <a:gd name="connsiteY43" fmla="*/ 202394 h 1872667"/>
                  <a:gd name="connsiteX44" fmla="*/ 1277257 w 8164168"/>
                  <a:gd name="connsiteY44" fmla="*/ 211252 h 1872667"/>
                  <a:gd name="connsiteX45" fmla="*/ 1312656 w 8164168"/>
                  <a:gd name="connsiteY45" fmla="*/ 211252 h 1872667"/>
                  <a:gd name="connsiteX46" fmla="*/ 1312656 w 8164168"/>
                  <a:gd name="connsiteY46" fmla="*/ 220235 h 1872667"/>
                  <a:gd name="connsiteX47" fmla="*/ 1324427 w 8164168"/>
                  <a:gd name="connsiteY47" fmla="*/ 220235 h 1872667"/>
                  <a:gd name="connsiteX48" fmla="*/ 1324427 w 8164168"/>
                  <a:gd name="connsiteY48" fmla="*/ 229094 h 1872667"/>
                  <a:gd name="connsiteX49" fmla="*/ 1394962 w 8164168"/>
                  <a:gd name="connsiteY49" fmla="*/ 229094 h 1872667"/>
                  <a:gd name="connsiteX50" fmla="*/ 1394962 w 8164168"/>
                  <a:gd name="connsiteY50" fmla="*/ 246953 h 1872667"/>
                  <a:gd name="connsiteX51" fmla="*/ 1495039 w 8164168"/>
                  <a:gd name="connsiteY51" fmla="*/ 246953 h 1872667"/>
                  <a:gd name="connsiteX52" fmla="*/ 1495039 w 8164168"/>
                  <a:gd name="connsiteY52" fmla="*/ 255935 h 1872667"/>
                  <a:gd name="connsiteX53" fmla="*/ 1542209 w 8164168"/>
                  <a:gd name="connsiteY53" fmla="*/ 255935 h 1872667"/>
                  <a:gd name="connsiteX54" fmla="*/ 1542209 w 8164168"/>
                  <a:gd name="connsiteY54" fmla="*/ 264917 h 1872667"/>
                  <a:gd name="connsiteX55" fmla="*/ 1577486 w 8164168"/>
                  <a:gd name="connsiteY55" fmla="*/ 264917 h 1872667"/>
                  <a:gd name="connsiteX56" fmla="*/ 1577486 w 8164168"/>
                  <a:gd name="connsiteY56" fmla="*/ 274041 h 1872667"/>
                  <a:gd name="connsiteX57" fmla="*/ 1583362 w 8164168"/>
                  <a:gd name="connsiteY57" fmla="*/ 274041 h 1872667"/>
                  <a:gd name="connsiteX58" fmla="*/ 1583362 w 8164168"/>
                  <a:gd name="connsiteY58" fmla="*/ 283023 h 1872667"/>
                  <a:gd name="connsiteX59" fmla="*/ 1618762 w 8164168"/>
                  <a:gd name="connsiteY59" fmla="*/ 283023 h 1872667"/>
                  <a:gd name="connsiteX60" fmla="*/ 1618762 w 8164168"/>
                  <a:gd name="connsiteY60" fmla="*/ 292005 h 1872667"/>
                  <a:gd name="connsiteX61" fmla="*/ 1836544 w 8164168"/>
                  <a:gd name="connsiteY61" fmla="*/ 292005 h 1872667"/>
                  <a:gd name="connsiteX62" fmla="*/ 1836544 w 8164168"/>
                  <a:gd name="connsiteY62" fmla="*/ 300988 h 1872667"/>
                  <a:gd name="connsiteX63" fmla="*/ 1860067 w 8164168"/>
                  <a:gd name="connsiteY63" fmla="*/ 300988 h 1872667"/>
                  <a:gd name="connsiteX64" fmla="*/ 1860067 w 8164168"/>
                  <a:gd name="connsiteY64" fmla="*/ 310111 h 1872667"/>
                  <a:gd name="connsiteX65" fmla="*/ 1995403 w 8164168"/>
                  <a:gd name="connsiteY65" fmla="*/ 310111 h 1872667"/>
                  <a:gd name="connsiteX66" fmla="*/ 1995403 w 8164168"/>
                  <a:gd name="connsiteY66" fmla="*/ 319217 h 1872667"/>
                  <a:gd name="connsiteX67" fmla="*/ 2024802 w 8164168"/>
                  <a:gd name="connsiteY67" fmla="*/ 319217 h 1872667"/>
                  <a:gd name="connsiteX68" fmla="*/ 2024802 w 8164168"/>
                  <a:gd name="connsiteY68" fmla="*/ 328341 h 1872667"/>
                  <a:gd name="connsiteX69" fmla="*/ 2036555 w 8164168"/>
                  <a:gd name="connsiteY69" fmla="*/ 328341 h 1872667"/>
                  <a:gd name="connsiteX70" fmla="*/ 2036555 w 8164168"/>
                  <a:gd name="connsiteY70" fmla="*/ 337446 h 1872667"/>
                  <a:gd name="connsiteX71" fmla="*/ 2054326 w 8164168"/>
                  <a:gd name="connsiteY71" fmla="*/ 337446 h 1872667"/>
                  <a:gd name="connsiteX72" fmla="*/ 2054326 w 8164168"/>
                  <a:gd name="connsiteY72" fmla="*/ 346570 h 1872667"/>
                  <a:gd name="connsiteX73" fmla="*/ 2060202 w 8164168"/>
                  <a:gd name="connsiteY73" fmla="*/ 346570 h 1872667"/>
                  <a:gd name="connsiteX74" fmla="*/ 2060202 w 8164168"/>
                  <a:gd name="connsiteY74" fmla="*/ 355676 h 1872667"/>
                  <a:gd name="connsiteX75" fmla="*/ 2124879 w 8164168"/>
                  <a:gd name="connsiteY75" fmla="*/ 355676 h 1872667"/>
                  <a:gd name="connsiteX76" fmla="*/ 2124879 w 8164168"/>
                  <a:gd name="connsiteY76" fmla="*/ 364782 h 1872667"/>
                  <a:gd name="connsiteX77" fmla="*/ 2195555 w 8164168"/>
                  <a:gd name="connsiteY77" fmla="*/ 364782 h 1872667"/>
                  <a:gd name="connsiteX78" fmla="*/ 2195555 w 8164168"/>
                  <a:gd name="connsiteY78" fmla="*/ 383011 h 1872667"/>
                  <a:gd name="connsiteX79" fmla="*/ 2201432 w 8164168"/>
                  <a:gd name="connsiteY79" fmla="*/ 383011 h 1872667"/>
                  <a:gd name="connsiteX80" fmla="*/ 2201432 w 8164168"/>
                  <a:gd name="connsiteY80" fmla="*/ 392134 h 1872667"/>
                  <a:gd name="connsiteX81" fmla="*/ 2283879 w 8164168"/>
                  <a:gd name="connsiteY81" fmla="*/ 392134 h 1872667"/>
                  <a:gd name="connsiteX82" fmla="*/ 2283879 w 8164168"/>
                  <a:gd name="connsiteY82" fmla="*/ 401364 h 1872667"/>
                  <a:gd name="connsiteX83" fmla="*/ 2289755 w 8164168"/>
                  <a:gd name="connsiteY83" fmla="*/ 401364 h 1872667"/>
                  <a:gd name="connsiteX84" fmla="*/ 2289755 w 8164168"/>
                  <a:gd name="connsiteY84" fmla="*/ 410611 h 1872667"/>
                  <a:gd name="connsiteX85" fmla="*/ 2342661 w 8164168"/>
                  <a:gd name="connsiteY85" fmla="*/ 410611 h 1872667"/>
                  <a:gd name="connsiteX86" fmla="*/ 2342661 w 8164168"/>
                  <a:gd name="connsiteY86" fmla="*/ 419840 h 1872667"/>
                  <a:gd name="connsiteX87" fmla="*/ 2360431 w 8164168"/>
                  <a:gd name="connsiteY87" fmla="*/ 419840 h 1872667"/>
                  <a:gd name="connsiteX88" fmla="*/ 2360431 w 8164168"/>
                  <a:gd name="connsiteY88" fmla="*/ 447440 h 1872667"/>
                  <a:gd name="connsiteX89" fmla="*/ 2389831 w 8164168"/>
                  <a:gd name="connsiteY89" fmla="*/ 447440 h 1872667"/>
                  <a:gd name="connsiteX90" fmla="*/ 2389831 w 8164168"/>
                  <a:gd name="connsiteY90" fmla="*/ 456546 h 1872667"/>
                  <a:gd name="connsiteX91" fmla="*/ 2413337 w 8164168"/>
                  <a:gd name="connsiteY91" fmla="*/ 456546 h 1872667"/>
                  <a:gd name="connsiteX92" fmla="*/ 2413337 w 8164168"/>
                  <a:gd name="connsiteY92" fmla="*/ 465793 h 1872667"/>
                  <a:gd name="connsiteX93" fmla="*/ 2436860 w 8164168"/>
                  <a:gd name="connsiteY93" fmla="*/ 465793 h 1872667"/>
                  <a:gd name="connsiteX94" fmla="*/ 2436860 w 8164168"/>
                  <a:gd name="connsiteY94" fmla="*/ 484270 h 1872667"/>
                  <a:gd name="connsiteX95" fmla="*/ 2442737 w 8164168"/>
                  <a:gd name="connsiteY95" fmla="*/ 484270 h 1872667"/>
                  <a:gd name="connsiteX96" fmla="*/ 2442737 w 8164168"/>
                  <a:gd name="connsiteY96" fmla="*/ 502623 h 1872667"/>
                  <a:gd name="connsiteX97" fmla="*/ 2448613 w 8164168"/>
                  <a:gd name="connsiteY97" fmla="*/ 502623 h 1872667"/>
                  <a:gd name="connsiteX98" fmla="*/ 2448613 w 8164168"/>
                  <a:gd name="connsiteY98" fmla="*/ 511870 h 1872667"/>
                  <a:gd name="connsiteX99" fmla="*/ 2484014 w 8164168"/>
                  <a:gd name="connsiteY99" fmla="*/ 511870 h 1872667"/>
                  <a:gd name="connsiteX100" fmla="*/ 2484014 w 8164168"/>
                  <a:gd name="connsiteY100" fmla="*/ 521099 h 1872667"/>
                  <a:gd name="connsiteX101" fmla="*/ 2566319 w 8164168"/>
                  <a:gd name="connsiteY101" fmla="*/ 521099 h 1872667"/>
                  <a:gd name="connsiteX102" fmla="*/ 2566319 w 8164168"/>
                  <a:gd name="connsiteY102" fmla="*/ 530346 h 1872667"/>
                  <a:gd name="connsiteX103" fmla="*/ 2595843 w 8164168"/>
                  <a:gd name="connsiteY103" fmla="*/ 530346 h 1872667"/>
                  <a:gd name="connsiteX104" fmla="*/ 2595843 w 8164168"/>
                  <a:gd name="connsiteY104" fmla="*/ 539717 h 1872667"/>
                  <a:gd name="connsiteX105" fmla="*/ 2607613 w 8164168"/>
                  <a:gd name="connsiteY105" fmla="*/ 539717 h 1872667"/>
                  <a:gd name="connsiteX106" fmla="*/ 2607613 w 8164168"/>
                  <a:gd name="connsiteY106" fmla="*/ 549087 h 1872667"/>
                  <a:gd name="connsiteX107" fmla="*/ 2642890 w 8164168"/>
                  <a:gd name="connsiteY107" fmla="*/ 549087 h 1872667"/>
                  <a:gd name="connsiteX108" fmla="*/ 2642890 w 8164168"/>
                  <a:gd name="connsiteY108" fmla="*/ 558317 h 1872667"/>
                  <a:gd name="connsiteX109" fmla="*/ 2648766 w 8164168"/>
                  <a:gd name="connsiteY109" fmla="*/ 558317 h 1872667"/>
                  <a:gd name="connsiteX110" fmla="*/ 2648766 w 8164168"/>
                  <a:gd name="connsiteY110" fmla="*/ 577058 h 1872667"/>
                  <a:gd name="connsiteX111" fmla="*/ 2678148 w 8164168"/>
                  <a:gd name="connsiteY111" fmla="*/ 577058 h 1872667"/>
                  <a:gd name="connsiteX112" fmla="*/ 2678148 w 8164168"/>
                  <a:gd name="connsiteY112" fmla="*/ 586428 h 1872667"/>
                  <a:gd name="connsiteX113" fmla="*/ 2684166 w 8164168"/>
                  <a:gd name="connsiteY113" fmla="*/ 586428 h 1872667"/>
                  <a:gd name="connsiteX114" fmla="*/ 2684166 w 8164168"/>
                  <a:gd name="connsiteY114" fmla="*/ 595781 h 1872667"/>
                  <a:gd name="connsiteX115" fmla="*/ 2725319 w 8164168"/>
                  <a:gd name="connsiteY115" fmla="*/ 595781 h 1872667"/>
                  <a:gd name="connsiteX116" fmla="*/ 2725319 w 8164168"/>
                  <a:gd name="connsiteY116" fmla="*/ 605152 h 1872667"/>
                  <a:gd name="connsiteX117" fmla="*/ 2737072 w 8164168"/>
                  <a:gd name="connsiteY117" fmla="*/ 605152 h 1872667"/>
                  <a:gd name="connsiteX118" fmla="*/ 2737072 w 8164168"/>
                  <a:gd name="connsiteY118" fmla="*/ 623893 h 1872667"/>
                  <a:gd name="connsiteX119" fmla="*/ 2778225 w 8164168"/>
                  <a:gd name="connsiteY119" fmla="*/ 623893 h 1872667"/>
                  <a:gd name="connsiteX120" fmla="*/ 2778225 w 8164168"/>
                  <a:gd name="connsiteY120" fmla="*/ 633387 h 1872667"/>
                  <a:gd name="connsiteX121" fmla="*/ 2801872 w 8164168"/>
                  <a:gd name="connsiteY121" fmla="*/ 633387 h 1872667"/>
                  <a:gd name="connsiteX122" fmla="*/ 2801872 w 8164168"/>
                  <a:gd name="connsiteY122" fmla="*/ 642740 h 1872667"/>
                  <a:gd name="connsiteX123" fmla="*/ 2819519 w 8164168"/>
                  <a:gd name="connsiteY123" fmla="*/ 642740 h 1872667"/>
                  <a:gd name="connsiteX124" fmla="*/ 2819519 w 8164168"/>
                  <a:gd name="connsiteY124" fmla="*/ 652111 h 1872667"/>
                  <a:gd name="connsiteX125" fmla="*/ 2843025 w 8164168"/>
                  <a:gd name="connsiteY125" fmla="*/ 652111 h 1872667"/>
                  <a:gd name="connsiteX126" fmla="*/ 2843025 w 8164168"/>
                  <a:gd name="connsiteY126" fmla="*/ 661605 h 1872667"/>
                  <a:gd name="connsiteX127" fmla="*/ 2854795 w 8164168"/>
                  <a:gd name="connsiteY127" fmla="*/ 661605 h 1872667"/>
                  <a:gd name="connsiteX128" fmla="*/ 2854795 w 8164168"/>
                  <a:gd name="connsiteY128" fmla="*/ 671099 h 1872667"/>
                  <a:gd name="connsiteX129" fmla="*/ 2878301 w 8164168"/>
                  <a:gd name="connsiteY129" fmla="*/ 671099 h 1872667"/>
                  <a:gd name="connsiteX130" fmla="*/ 2878301 w 8164168"/>
                  <a:gd name="connsiteY130" fmla="*/ 680469 h 1872667"/>
                  <a:gd name="connsiteX131" fmla="*/ 2896072 w 8164168"/>
                  <a:gd name="connsiteY131" fmla="*/ 680469 h 1872667"/>
                  <a:gd name="connsiteX132" fmla="*/ 2896072 w 8164168"/>
                  <a:gd name="connsiteY132" fmla="*/ 689964 h 1872667"/>
                  <a:gd name="connsiteX133" fmla="*/ 2901948 w 8164168"/>
                  <a:gd name="connsiteY133" fmla="*/ 689964 h 1872667"/>
                  <a:gd name="connsiteX134" fmla="*/ 2901948 w 8164168"/>
                  <a:gd name="connsiteY134" fmla="*/ 699458 h 1872667"/>
                  <a:gd name="connsiteX135" fmla="*/ 2943101 w 8164168"/>
                  <a:gd name="connsiteY135" fmla="*/ 699458 h 1872667"/>
                  <a:gd name="connsiteX136" fmla="*/ 2943101 w 8164168"/>
                  <a:gd name="connsiteY136" fmla="*/ 708952 h 1872667"/>
                  <a:gd name="connsiteX137" fmla="*/ 2948977 w 8164168"/>
                  <a:gd name="connsiteY137" fmla="*/ 708952 h 1872667"/>
                  <a:gd name="connsiteX138" fmla="*/ 2948977 w 8164168"/>
                  <a:gd name="connsiteY138" fmla="*/ 718446 h 1872667"/>
                  <a:gd name="connsiteX139" fmla="*/ 2966624 w 8164168"/>
                  <a:gd name="connsiteY139" fmla="*/ 718446 h 1872667"/>
                  <a:gd name="connsiteX140" fmla="*/ 2966624 w 8164168"/>
                  <a:gd name="connsiteY140" fmla="*/ 727799 h 1872667"/>
                  <a:gd name="connsiteX141" fmla="*/ 3007901 w 8164168"/>
                  <a:gd name="connsiteY141" fmla="*/ 727799 h 1872667"/>
                  <a:gd name="connsiteX142" fmla="*/ 3007901 w 8164168"/>
                  <a:gd name="connsiteY142" fmla="*/ 737416 h 1872667"/>
                  <a:gd name="connsiteX143" fmla="*/ 3025530 w 8164168"/>
                  <a:gd name="connsiteY143" fmla="*/ 737416 h 1872667"/>
                  <a:gd name="connsiteX144" fmla="*/ 3025530 w 8164168"/>
                  <a:gd name="connsiteY144" fmla="*/ 756405 h 1872667"/>
                  <a:gd name="connsiteX145" fmla="*/ 3037301 w 8164168"/>
                  <a:gd name="connsiteY145" fmla="*/ 756405 h 1872667"/>
                  <a:gd name="connsiteX146" fmla="*/ 3037301 w 8164168"/>
                  <a:gd name="connsiteY146" fmla="*/ 765899 h 1872667"/>
                  <a:gd name="connsiteX147" fmla="*/ 3207912 w 8164168"/>
                  <a:gd name="connsiteY147" fmla="*/ 765899 h 1872667"/>
                  <a:gd name="connsiteX148" fmla="*/ 3207912 w 8164168"/>
                  <a:gd name="connsiteY148" fmla="*/ 775516 h 1872667"/>
                  <a:gd name="connsiteX149" fmla="*/ 3225683 w 8164168"/>
                  <a:gd name="connsiteY149" fmla="*/ 775516 h 1872667"/>
                  <a:gd name="connsiteX150" fmla="*/ 3225683 w 8164168"/>
                  <a:gd name="connsiteY150" fmla="*/ 785275 h 1872667"/>
                  <a:gd name="connsiteX151" fmla="*/ 3266835 w 8164168"/>
                  <a:gd name="connsiteY151" fmla="*/ 785275 h 1872667"/>
                  <a:gd name="connsiteX152" fmla="*/ 3266835 w 8164168"/>
                  <a:gd name="connsiteY152" fmla="*/ 795016 h 1872667"/>
                  <a:gd name="connsiteX153" fmla="*/ 3272712 w 8164168"/>
                  <a:gd name="connsiteY153" fmla="*/ 795016 h 1872667"/>
                  <a:gd name="connsiteX154" fmla="*/ 3272712 w 8164168"/>
                  <a:gd name="connsiteY154" fmla="*/ 804757 h 1872667"/>
                  <a:gd name="connsiteX155" fmla="*/ 3290359 w 8164168"/>
                  <a:gd name="connsiteY155" fmla="*/ 804757 h 1872667"/>
                  <a:gd name="connsiteX156" fmla="*/ 3290359 w 8164168"/>
                  <a:gd name="connsiteY156" fmla="*/ 814640 h 1872667"/>
                  <a:gd name="connsiteX157" fmla="*/ 3302112 w 8164168"/>
                  <a:gd name="connsiteY157" fmla="*/ 814640 h 1872667"/>
                  <a:gd name="connsiteX158" fmla="*/ 3302112 w 8164168"/>
                  <a:gd name="connsiteY158" fmla="*/ 824381 h 1872667"/>
                  <a:gd name="connsiteX159" fmla="*/ 3325759 w 8164168"/>
                  <a:gd name="connsiteY159" fmla="*/ 824381 h 1872667"/>
                  <a:gd name="connsiteX160" fmla="*/ 3325759 w 8164168"/>
                  <a:gd name="connsiteY160" fmla="*/ 844004 h 1872667"/>
                  <a:gd name="connsiteX161" fmla="*/ 3337512 w 8164168"/>
                  <a:gd name="connsiteY161" fmla="*/ 844004 h 1872667"/>
                  <a:gd name="connsiteX162" fmla="*/ 3337512 w 8164168"/>
                  <a:gd name="connsiteY162" fmla="*/ 853869 h 1872667"/>
                  <a:gd name="connsiteX163" fmla="*/ 3349283 w 8164168"/>
                  <a:gd name="connsiteY163" fmla="*/ 853869 h 1872667"/>
                  <a:gd name="connsiteX164" fmla="*/ 3349283 w 8164168"/>
                  <a:gd name="connsiteY164" fmla="*/ 863751 h 1872667"/>
                  <a:gd name="connsiteX165" fmla="*/ 3361036 w 8164168"/>
                  <a:gd name="connsiteY165" fmla="*/ 863751 h 1872667"/>
                  <a:gd name="connsiteX166" fmla="*/ 3361036 w 8164168"/>
                  <a:gd name="connsiteY166" fmla="*/ 873740 h 1872667"/>
                  <a:gd name="connsiteX167" fmla="*/ 3402188 w 8164168"/>
                  <a:gd name="connsiteY167" fmla="*/ 873740 h 1872667"/>
                  <a:gd name="connsiteX168" fmla="*/ 3402188 w 8164168"/>
                  <a:gd name="connsiteY168" fmla="*/ 883745 h 1872667"/>
                  <a:gd name="connsiteX169" fmla="*/ 3437588 w 8164168"/>
                  <a:gd name="connsiteY169" fmla="*/ 883745 h 1872667"/>
                  <a:gd name="connsiteX170" fmla="*/ 3437588 w 8164168"/>
                  <a:gd name="connsiteY170" fmla="*/ 903987 h 1872667"/>
                  <a:gd name="connsiteX171" fmla="*/ 3461112 w 8164168"/>
                  <a:gd name="connsiteY171" fmla="*/ 903987 h 1872667"/>
                  <a:gd name="connsiteX172" fmla="*/ 3461112 w 8164168"/>
                  <a:gd name="connsiteY172" fmla="*/ 914240 h 1872667"/>
                  <a:gd name="connsiteX173" fmla="*/ 3514017 w 8164168"/>
                  <a:gd name="connsiteY173" fmla="*/ 914240 h 1872667"/>
                  <a:gd name="connsiteX174" fmla="*/ 3514017 w 8164168"/>
                  <a:gd name="connsiteY174" fmla="*/ 924634 h 1872667"/>
                  <a:gd name="connsiteX175" fmla="*/ 3555294 w 8164168"/>
                  <a:gd name="connsiteY175" fmla="*/ 924634 h 1872667"/>
                  <a:gd name="connsiteX176" fmla="*/ 3555294 w 8164168"/>
                  <a:gd name="connsiteY176" fmla="*/ 935257 h 1872667"/>
                  <a:gd name="connsiteX177" fmla="*/ 3578817 w 8164168"/>
                  <a:gd name="connsiteY177" fmla="*/ 935257 h 1872667"/>
                  <a:gd name="connsiteX178" fmla="*/ 3578817 w 8164168"/>
                  <a:gd name="connsiteY178" fmla="*/ 946022 h 1872667"/>
                  <a:gd name="connsiteX179" fmla="*/ 3608218 w 8164168"/>
                  <a:gd name="connsiteY179" fmla="*/ 946022 h 1872667"/>
                  <a:gd name="connsiteX180" fmla="*/ 3608218 w 8164168"/>
                  <a:gd name="connsiteY180" fmla="*/ 956769 h 1872667"/>
                  <a:gd name="connsiteX181" fmla="*/ 3614094 w 8164168"/>
                  <a:gd name="connsiteY181" fmla="*/ 956769 h 1872667"/>
                  <a:gd name="connsiteX182" fmla="*/ 3614094 w 8164168"/>
                  <a:gd name="connsiteY182" fmla="*/ 967534 h 1872667"/>
                  <a:gd name="connsiteX183" fmla="*/ 3643617 w 8164168"/>
                  <a:gd name="connsiteY183" fmla="*/ 967534 h 1872667"/>
                  <a:gd name="connsiteX184" fmla="*/ 3643617 w 8164168"/>
                  <a:gd name="connsiteY184" fmla="*/ 978422 h 1872667"/>
                  <a:gd name="connsiteX185" fmla="*/ 3649494 w 8164168"/>
                  <a:gd name="connsiteY185" fmla="*/ 978422 h 1872667"/>
                  <a:gd name="connsiteX186" fmla="*/ 3649494 w 8164168"/>
                  <a:gd name="connsiteY186" fmla="*/ 989310 h 1872667"/>
                  <a:gd name="connsiteX187" fmla="*/ 3655370 w 8164168"/>
                  <a:gd name="connsiteY187" fmla="*/ 989310 h 1872667"/>
                  <a:gd name="connsiteX188" fmla="*/ 3655370 w 8164168"/>
                  <a:gd name="connsiteY188" fmla="*/ 1000198 h 1872667"/>
                  <a:gd name="connsiteX189" fmla="*/ 3673017 w 8164168"/>
                  <a:gd name="connsiteY189" fmla="*/ 1000198 h 1872667"/>
                  <a:gd name="connsiteX190" fmla="*/ 3673017 w 8164168"/>
                  <a:gd name="connsiteY190" fmla="*/ 1011210 h 1872667"/>
                  <a:gd name="connsiteX191" fmla="*/ 3714170 w 8164168"/>
                  <a:gd name="connsiteY191" fmla="*/ 1011210 h 1872667"/>
                  <a:gd name="connsiteX192" fmla="*/ 3714170 w 8164168"/>
                  <a:gd name="connsiteY192" fmla="*/ 1022222 h 1872667"/>
                  <a:gd name="connsiteX193" fmla="*/ 3725923 w 8164168"/>
                  <a:gd name="connsiteY193" fmla="*/ 1022222 h 1872667"/>
                  <a:gd name="connsiteX194" fmla="*/ 3725923 w 8164168"/>
                  <a:gd name="connsiteY194" fmla="*/ 1033357 h 1872667"/>
                  <a:gd name="connsiteX195" fmla="*/ 3778970 w 8164168"/>
                  <a:gd name="connsiteY195" fmla="*/ 1033357 h 1872667"/>
                  <a:gd name="connsiteX196" fmla="*/ 3778970 w 8164168"/>
                  <a:gd name="connsiteY196" fmla="*/ 1044616 h 1872667"/>
                  <a:gd name="connsiteX197" fmla="*/ 3790723 w 8164168"/>
                  <a:gd name="connsiteY197" fmla="*/ 1044616 h 1872667"/>
                  <a:gd name="connsiteX198" fmla="*/ 3790723 w 8164168"/>
                  <a:gd name="connsiteY198" fmla="*/ 1067522 h 1872667"/>
                  <a:gd name="connsiteX199" fmla="*/ 3814229 w 8164168"/>
                  <a:gd name="connsiteY199" fmla="*/ 1067522 h 1872667"/>
                  <a:gd name="connsiteX200" fmla="*/ 3814229 w 8164168"/>
                  <a:gd name="connsiteY200" fmla="*/ 1079045 h 1872667"/>
                  <a:gd name="connsiteX201" fmla="*/ 3826000 w 8164168"/>
                  <a:gd name="connsiteY201" fmla="*/ 1079045 h 1872667"/>
                  <a:gd name="connsiteX202" fmla="*/ 3826000 w 8164168"/>
                  <a:gd name="connsiteY202" fmla="*/ 1090569 h 1872667"/>
                  <a:gd name="connsiteX203" fmla="*/ 3884923 w 8164168"/>
                  <a:gd name="connsiteY203" fmla="*/ 1090569 h 1872667"/>
                  <a:gd name="connsiteX204" fmla="*/ 3884923 w 8164168"/>
                  <a:gd name="connsiteY204" fmla="*/ 1102339 h 1872667"/>
                  <a:gd name="connsiteX205" fmla="*/ 3908429 w 8164168"/>
                  <a:gd name="connsiteY205" fmla="*/ 1102339 h 1872667"/>
                  <a:gd name="connsiteX206" fmla="*/ 3908429 w 8164168"/>
                  <a:gd name="connsiteY206" fmla="*/ 1114110 h 1872667"/>
                  <a:gd name="connsiteX207" fmla="*/ 3990875 w 8164168"/>
                  <a:gd name="connsiteY207" fmla="*/ 1114110 h 1872667"/>
                  <a:gd name="connsiteX208" fmla="*/ 3990875 w 8164168"/>
                  <a:gd name="connsiteY208" fmla="*/ 1126392 h 1872667"/>
                  <a:gd name="connsiteX209" fmla="*/ 4002628 w 8164168"/>
                  <a:gd name="connsiteY209" fmla="*/ 1126392 h 1872667"/>
                  <a:gd name="connsiteX210" fmla="*/ 4002628 w 8164168"/>
                  <a:gd name="connsiteY210" fmla="*/ 1138657 h 1872667"/>
                  <a:gd name="connsiteX211" fmla="*/ 4202781 w 8164168"/>
                  <a:gd name="connsiteY211" fmla="*/ 1138657 h 1872667"/>
                  <a:gd name="connsiteX212" fmla="*/ 4202781 w 8164168"/>
                  <a:gd name="connsiteY212" fmla="*/ 1151574 h 1872667"/>
                  <a:gd name="connsiteX213" fmla="*/ 4208658 w 8164168"/>
                  <a:gd name="connsiteY213" fmla="*/ 1151574 h 1872667"/>
                  <a:gd name="connsiteX214" fmla="*/ 4208658 w 8164168"/>
                  <a:gd name="connsiteY214" fmla="*/ 1164616 h 1872667"/>
                  <a:gd name="connsiteX215" fmla="*/ 4226287 w 8164168"/>
                  <a:gd name="connsiteY215" fmla="*/ 1164616 h 1872667"/>
                  <a:gd name="connsiteX216" fmla="*/ 4226287 w 8164168"/>
                  <a:gd name="connsiteY216" fmla="*/ 1177780 h 1872667"/>
                  <a:gd name="connsiteX217" fmla="*/ 4361640 w 8164168"/>
                  <a:gd name="connsiteY217" fmla="*/ 1177780 h 1872667"/>
                  <a:gd name="connsiteX218" fmla="*/ 4361640 w 8164168"/>
                  <a:gd name="connsiteY218" fmla="*/ 1192463 h 1872667"/>
                  <a:gd name="connsiteX219" fmla="*/ 4679498 w 8164168"/>
                  <a:gd name="connsiteY219" fmla="*/ 1192463 h 1872667"/>
                  <a:gd name="connsiteX220" fmla="*/ 4679498 w 8164168"/>
                  <a:gd name="connsiteY220" fmla="*/ 1208786 h 1872667"/>
                  <a:gd name="connsiteX221" fmla="*/ 4685375 w 8164168"/>
                  <a:gd name="connsiteY221" fmla="*/ 1208786 h 1872667"/>
                  <a:gd name="connsiteX222" fmla="*/ 4685375 w 8164168"/>
                  <a:gd name="connsiteY222" fmla="*/ 1224986 h 1872667"/>
                  <a:gd name="connsiteX223" fmla="*/ 4744298 w 8164168"/>
                  <a:gd name="connsiteY223" fmla="*/ 1224986 h 1872667"/>
                  <a:gd name="connsiteX224" fmla="*/ 4744298 w 8164168"/>
                  <a:gd name="connsiteY224" fmla="*/ 1241698 h 1872667"/>
                  <a:gd name="connsiteX225" fmla="*/ 4767804 w 8164168"/>
                  <a:gd name="connsiteY225" fmla="*/ 1241698 h 1872667"/>
                  <a:gd name="connsiteX226" fmla="*/ 4767804 w 8164168"/>
                  <a:gd name="connsiteY226" fmla="*/ 1258904 h 1872667"/>
                  <a:gd name="connsiteX227" fmla="*/ 4797203 w 8164168"/>
                  <a:gd name="connsiteY227" fmla="*/ 1258904 h 1872667"/>
                  <a:gd name="connsiteX228" fmla="*/ 4797203 w 8164168"/>
                  <a:gd name="connsiteY228" fmla="*/ 1276374 h 1872667"/>
                  <a:gd name="connsiteX229" fmla="*/ 4820851 w 8164168"/>
                  <a:gd name="connsiteY229" fmla="*/ 1276374 h 1872667"/>
                  <a:gd name="connsiteX230" fmla="*/ 4820851 w 8164168"/>
                  <a:gd name="connsiteY230" fmla="*/ 1293968 h 1872667"/>
                  <a:gd name="connsiteX231" fmla="*/ 4838480 w 8164168"/>
                  <a:gd name="connsiteY231" fmla="*/ 1293968 h 1872667"/>
                  <a:gd name="connsiteX232" fmla="*/ 4838480 w 8164168"/>
                  <a:gd name="connsiteY232" fmla="*/ 1311686 h 1872667"/>
                  <a:gd name="connsiteX233" fmla="*/ 4844374 w 8164168"/>
                  <a:gd name="connsiteY233" fmla="*/ 1311686 h 1872667"/>
                  <a:gd name="connsiteX234" fmla="*/ 4844374 w 8164168"/>
                  <a:gd name="connsiteY234" fmla="*/ 1329404 h 1872667"/>
                  <a:gd name="connsiteX235" fmla="*/ 4985586 w 8164168"/>
                  <a:gd name="connsiteY235" fmla="*/ 1329404 h 1872667"/>
                  <a:gd name="connsiteX236" fmla="*/ 4985586 w 8164168"/>
                  <a:gd name="connsiteY236" fmla="*/ 1348780 h 1872667"/>
                  <a:gd name="connsiteX237" fmla="*/ 5085662 w 8164168"/>
                  <a:gd name="connsiteY237" fmla="*/ 1348780 h 1872667"/>
                  <a:gd name="connsiteX238" fmla="*/ 5085662 w 8164168"/>
                  <a:gd name="connsiteY238" fmla="*/ 1369533 h 1872667"/>
                  <a:gd name="connsiteX239" fmla="*/ 5226891 w 8164168"/>
                  <a:gd name="connsiteY239" fmla="*/ 1369533 h 1872667"/>
                  <a:gd name="connsiteX240" fmla="*/ 5226891 w 8164168"/>
                  <a:gd name="connsiteY240" fmla="*/ 1392703 h 1872667"/>
                  <a:gd name="connsiteX241" fmla="*/ 5326967 w 8164168"/>
                  <a:gd name="connsiteY241" fmla="*/ 1392703 h 1872667"/>
                  <a:gd name="connsiteX242" fmla="*/ 5326967 w 8164168"/>
                  <a:gd name="connsiteY242" fmla="*/ 1416615 h 1872667"/>
                  <a:gd name="connsiteX243" fmla="*/ 5409397 w 8164168"/>
                  <a:gd name="connsiteY243" fmla="*/ 1416615 h 1872667"/>
                  <a:gd name="connsiteX244" fmla="*/ 5409397 w 8164168"/>
                  <a:gd name="connsiteY244" fmla="*/ 1441551 h 1872667"/>
                  <a:gd name="connsiteX245" fmla="*/ 5415273 w 8164168"/>
                  <a:gd name="connsiteY245" fmla="*/ 1441551 h 1872667"/>
                  <a:gd name="connsiteX246" fmla="*/ 5415273 w 8164168"/>
                  <a:gd name="connsiteY246" fmla="*/ 1466486 h 1872667"/>
                  <a:gd name="connsiteX247" fmla="*/ 5503597 w 8164168"/>
                  <a:gd name="connsiteY247" fmla="*/ 1466486 h 1872667"/>
                  <a:gd name="connsiteX248" fmla="*/ 5503597 w 8164168"/>
                  <a:gd name="connsiteY248" fmla="*/ 1493327 h 1872667"/>
                  <a:gd name="connsiteX249" fmla="*/ 5856731 w 8164168"/>
                  <a:gd name="connsiteY249" fmla="*/ 1493327 h 1872667"/>
                  <a:gd name="connsiteX250" fmla="*/ 5856731 w 8164168"/>
                  <a:gd name="connsiteY250" fmla="*/ 1529027 h 1872667"/>
                  <a:gd name="connsiteX251" fmla="*/ 6145190 w 8164168"/>
                  <a:gd name="connsiteY251" fmla="*/ 1529027 h 1872667"/>
                  <a:gd name="connsiteX252" fmla="*/ 6145190 w 8164168"/>
                  <a:gd name="connsiteY252" fmla="*/ 1577238 h 1872667"/>
                  <a:gd name="connsiteX253" fmla="*/ 6357095 w 8164168"/>
                  <a:gd name="connsiteY253" fmla="*/ 1577238 h 1872667"/>
                  <a:gd name="connsiteX254" fmla="*/ 6357095 w 8164168"/>
                  <a:gd name="connsiteY254" fmla="*/ 1635968 h 1872667"/>
                  <a:gd name="connsiteX255" fmla="*/ 6421895 w 8164168"/>
                  <a:gd name="connsiteY255" fmla="*/ 1635968 h 1872667"/>
                  <a:gd name="connsiteX256" fmla="*/ 6421895 w 8164168"/>
                  <a:gd name="connsiteY256" fmla="*/ 1696726 h 1872667"/>
                  <a:gd name="connsiteX257" fmla="*/ 7028088 w 8164168"/>
                  <a:gd name="connsiteY257" fmla="*/ 1696726 h 1872667"/>
                  <a:gd name="connsiteX258" fmla="*/ 7028088 w 8164168"/>
                  <a:gd name="connsiteY258" fmla="*/ 1872667 h 1872667"/>
                  <a:gd name="connsiteX259" fmla="*/ 8164169 w 8164168"/>
                  <a:gd name="connsiteY259" fmla="*/ 1872667 h 1872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Lst>
                <a:rect l="l" t="t" r="r" b="b"/>
                <a:pathLst>
                  <a:path w="8164168" h="1872667">
                    <a:moveTo>
                      <a:pt x="0" y="0"/>
                    </a:moveTo>
                    <a:lnTo>
                      <a:pt x="335505" y="0"/>
                    </a:lnTo>
                    <a:lnTo>
                      <a:pt x="335505" y="8612"/>
                    </a:lnTo>
                    <a:lnTo>
                      <a:pt x="359064" y="8612"/>
                    </a:lnTo>
                    <a:lnTo>
                      <a:pt x="359064" y="17223"/>
                    </a:lnTo>
                    <a:lnTo>
                      <a:pt x="435511" y="17223"/>
                    </a:lnTo>
                    <a:lnTo>
                      <a:pt x="435511" y="25818"/>
                    </a:lnTo>
                    <a:lnTo>
                      <a:pt x="500311" y="25818"/>
                    </a:lnTo>
                    <a:lnTo>
                      <a:pt x="500311" y="43288"/>
                    </a:lnTo>
                    <a:lnTo>
                      <a:pt x="682834" y="43288"/>
                    </a:lnTo>
                    <a:lnTo>
                      <a:pt x="682834" y="52023"/>
                    </a:lnTo>
                    <a:lnTo>
                      <a:pt x="706340" y="52023"/>
                    </a:lnTo>
                    <a:lnTo>
                      <a:pt x="706340" y="60882"/>
                    </a:lnTo>
                    <a:lnTo>
                      <a:pt x="712216" y="60882"/>
                    </a:lnTo>
                    <a:lnTo>
                      <a:pt x="712216" y="69618"/>
                    </a:lnTo>
                    <a:lnTo>
                      <a:pt x="794663" y="69618"/>
                    </a:lnTo>
                    <a:lnTo>
                      <a:pt x="794663" y="78476"/>
                    </a:lnTo>
                    <a:lnTo>
                      <a:pt x="812293" y="78476"/>
                    </a:lnTo>
                    <a:lnTo>
                      <a:pt x="812293" y="87212"/>
                    </a:lnTo>
                    <a:lnTo>
                      <a:pt x="841693" y="87212"/>
                    </a:lnTo>
                    <a:lnTo>
                      <a:pt x="841693" y="96070"/>
                    </a:lnTo>
                    <a:lnTo>
                      <a:pt x="929998" y="96070"/>
                    </a:lnTo>
                    <a:lnTo>
                      <a:pt x="929998" y="104806"/>
                    </a:lnTo>
                    <a:lnTo>
                      <a:pt x="965275" y="104806"/>
                    </a:lnTo>
                    <a:lnTo>
                      <a:pt x="965275" y="113664"/>
                    </a:lnTo>
                    <a:lnTo>
                      <a:pt x="1000692" y="113664"/>
                    </a:lnTo>
                    <a:lnTo>
                      <a:pt x="1000692" y="122523"/>
                    </a:lnTo>
                    <a:lnTo>
                      <a:pt x="1024198" y="122523"/>
                    </a:lnTo>
                    <a:lnTo>
                      <a:pt x="1024198" y="140117"/>
                    </a:lnTo>
                    <a:lnTo>
                      <a:pt x="1071228" y="140117"/>
                    </a:lnTo>
                    <a:lnTo>
                      <a:pt x="1071228" y="148976"/>
                    </a:lnTo>
                    <a:lnTo>
                      <a:pt x="1100751" y="148976"/>
                    </a:lnTo>
                    <a:lnTo>
                      <a:pt x="1100751" y="157835"/>
                    </a:lnTo>
                    <a:lnTo>
                      <a:pt x="1112522" y="157835"/>
                    </a:lnTo>
                    <a:lnTo>
                      <a:pt x="1112522" y="166694"/>
                    </a:lnTo>
                    <a:lnTo>
                      <a:pt x="1183057" y="166694"/>
                    </a:lnTo>
                    <a:lnTo>
                      <a:pt x="1183057" y="175553"/>
                    </a:lnTo>
                    <a:lnTo>
                      <a:pt x="1236104" y="175553"/>
                    </a:lnTo>
                    <a:lnTo>
                      <a:pt x="1236104" y="184553"/>
                    </a:lnTo>
                    <a:lnTo>
                      <a:pt x="1247857" y="184553"/>
                    </a:lnTo>
                    <a:lnTo>
                      <a:pt x="1247857" y="193412"/>
                    </a:lnTo>
                    <a:lnTo>
                      <a:pt x="1259627" y="193412"/>
                    </a:lnTo>
                    <a:lnTo>
                      <a:pt x="1259627" y="202394"/>
                    </a:lnTo>
                    <a:lnTo>
                      <a:pt x="1277257" y="202394"/>
                    </a:lnTo>
                    <a:lnTo>
                      <a:pt x="1277257" y="211252"/>
                    </a:lnTo>
                    <a:lnTo>
                      <a:pt x="1312656" y="211252"/>
                    </a:lnTo>
                    <a:lnTo>
                      <a:pt x="1312656" y="220235"/>
                    </a:lnTo>
                    <a:lnTo>
                      <a:pt x="1324427" y="220235"/>
                    </a:lnTo>
                    <a:lnTo>
                      <a:pt x="1324427" y="229094"/>
                    </a:lnTo>
                    <a:lnTo>
                      <a:pt x="1394962" y="229094"/>
                    </a:lnTo>
                    <a:lnTo>
                      <a:pt x="1394962" y="246953"/>
                    </a:lnTo>
                    <a:lnTo>
                      <a:pt x="1495039" y="246953"/>
                    </a:lnTo>
                    <a:lnTo>
                      <a:pt x="1495039" y="255935"/>
                    </a:lnTo>
                    <a:lnTo>
                      <a:pt x="1542209" y="255935"/>
                    </a:lnTo>
                    <a:lnTo>
                      <a:pt x="1542209" y="264917"/>
                    </a:lnTo>
                    <a:lnTo>
                      <a:pt x="1577486" y="264917"/>
                    </a:lnTo>
                    <a:lnTo>
                      <a:pt x="1577486" y="274041"/>
                    </a:lnTo>
                    <a:lnTo>
                      <a:pt x="1583362" y="274041"/>
                    </a:lnTo>
                    <a:lnTo>
                      <a:pt x="1583362" y="283023"/>
                    </a:lnTo>
                    <a:lnTo>
                      <a:pt x="1618762" y="283023"/>
                    </a:lnTo>
                    <a:lnTo>
                      <a:pt x="1618762" y="292005"/>
                    </a:lnTo>
                    <a:lnTo>
                      <a:pt x="1836544" y="292005"/>
                    </a:lnTo>
                    <a:lnTo>
                      <a:pt x="1836544" y="300988"/>
                    </a:lnTo>
                    <a:lnTo>
                      <a:pt x="1860067" y="300988"/>
                    </a:lnTo>
                    <a:lnTo>
                      <a:pt x="1860067" y="310111"/>
                    </a:lnTo>
                    <a:lnTo>
                      <a:pt x="1995403" y="310111"/>
                    </a:lnTo>
                    <a:lnTo>
                      <a:pt x="1995403" y="319217"/>
                    </a:lnTo>
                    <a:lnTo>
                      <a:pt x="2024802" y="319217"/>
                    </a:lnTo>
                    <a:lnTo>
                      <a:pt x="2024802" y="328341"/>
                    </a:lnTo>
                    <a:lnTo>
                      <a:pt x="2036555" y="328341"/>
                    </a:lnTo>
                    <a:lnTo>
                      <a:pt x="2036555" y="337446"/>
                    </a:lnTo>
                    <a:lnTo>
                      <a:pt x="2054326" y="337446"/>
                    </a:lnTo>
                    <a:lnTo>
                      <a:pt x="2054326" y="346570"/>
                    </a:lnTo>
                    <a:lnTo>
                      <a:pt x="2060202" y="346570"/>
                    </a:lnTo>
                    <a:lnTo>
                      <a:pt x="2060202" y="355676"/>
                    </a:lnTo>
                    <a:lnTo>
                      <a:pt x="2124879" y="355676"/>
                    </a:lnTo>
                    <a:lnTo>
                      <a:pt x="2124879" y="364782"/>
                    </a:lnTo>
                    <a:lnTo>
                      <a:pt x="2195555" y="364782"/>
                    </a:lnTo>
                    <a:lnTo>
                      <a:pt x="2195555" y="383011"/>
                    </a:lnTo>
                    <a:lnTo>
                      <a:pt x="2201432" y="383011"/>
                    </a:lnTo>
                    <a:lnTo>
                      <a:pt x="2201432" y="392134"/>
                    </a:lnTo>
                    <a:lnTo>
                      <a:pt x="2283879" y="392134"/>
                    </a:lnTo>
                    <a:lnTo>
                      <a:pt x="2283879" y="401364"/>
                    </a:lnTo>
                    <a:lnTo>
                      <a:pt x="2289755" y="401364"/>
                    </a:lnTo>
                    <a:lnTo>
                      <a:pt x="2289755" y="410611"/>
                    </a:lnTo>
                    <a:lnTo>
                      <a:pt x="2342661" y="410611"/>
                    </a:lnTo>
                    <a:lnTo>
                      <a:pt x="2342661" y="419840"/>
                    </a:lnTo>
                    <a:lnTo>
                      <a:pt x="2360431" y="419840"/>
                    </a:lnTo>
                    <a:lnTo>
                      <a:pt x="2360431" y="447440"/>
                    </a:lnTo>
                    <a:lnTo>
                      <a:pt x="2389831" y="447440"/>
                    </a:lnTo>
                    <a:lnTo>
                      <a:pt x="2389831" y="456546"/>
                    </a:lnTo>
                    <a:lnTo>
                      <a:pt x="2413337" y="456546"/>
                    </a:lnTo>
                    <a:lnTo>
                      <a:pt x="2413337" y="465793"/>
                    </a:lnTo>
                    <a:lnTo>
                      <a:pt x="2436860" y="465793"/>
                    </a:lnTo>
                    <a:lnTo>
                      <a:pt x="2436860" y="484270"/>
                    </a:lnTo>
                    <a:lnTo>
                      <a:pt x="2442737" y="484270"/>
                    </a:lnTo>
                    <a:lnTo>
                      <a:pt x="2442737" y="502623"/>
                    </a:lnTo>
                    <a:lnTo>
                      <a:pt x="2448613" y="502623"/>
                    </a:lnTo>
                    <a:lnTo>
                      <a:pt x="2448613" y="511870"/>
                    </a:lnTo>
                    <a:lnTo>
                      <a:pt x="2484014" y="511870"/>
                    </a:lnTo>
                    <a:lnTo>
                      <a:pt x="2484014" y="521099"/>
                    </a:lnTo>
                    <a:lnTo>
                      <a:pt x="2566319" y="521099"/>
                    </a:lnTo>
                    <a:lnTo>
                      <a:pt x="2566319" y="530346"/>
                    </a:lnTo>
                    <a:lnTo>
                      <a:pt x="2595843" y="530346"/>
                    </a:lnTo>
                    <a:lnTo>
                      <a:pt x="2595843" y="539717"/>
                    </a:lnTo>
                    <a:lnTo>
                      <a:pt x="2607613" y="539717"/>
                    </a:lnTo>
                    <a:lnTo>
                      <a:pt x="2607613" y="549087"/>
                    </a:lnTo>
                    <a:lnTo>
                      <a:pt x="2642890" y="549087"/>
                    </a:lnTo>
                    <a:lnTo>
                      <a:pt x="2642890" y="558317"/>
                    </a:lnTo>
                    <a:lnTo>
                      <a:pt x="2648766" y="558317"/>
                    </a:lnTo>
                    <a:lnTo>
                      <a:pt x="2648766" y="577058"/>
                    </a:lnTo>
                    <a:lnTo>
                      <a:pt x="2678148" y="577058"/>
                    </a:lnTo>
                    <a:lnTo>
                      <a:pt x="2678148" y="586428"/>
                    </a:lnTo>
                    <a:lnTo>
                      <a:pt x="2684166" y="586428"/>
                    </a:lnTo>
                    <a:lnTo>
                      <a:pt x="2684166" y="595781"/>
                    </a:lnTo>
                    <a:lnTo>
                      <a:pt x="2725319" y="595781"/>
                    </a:lnTo>
                    <a:lnTo>
                      <a:pt x="2725319" y="605152"/>
                    </a:lnTo>
                    <a:lnTo>
                      <a:pt x="2737072" y="605152"/>
                    </a:lnTo>
                    <a:lnTo>
                      <a:pt x="2737072" y="623893"/>
                    </a:lnTo>
                    <a:lnTo>
                      <a:pt x="2778225" y="623893"/>
                    </a:lnTo>
                    <a:lnTo>
                      <a:pt x="2778225" y="633387"/>
                    </a:lnTo>
                    <a:lnTo>
                      <a:pt x="2801872" y="633387"/>
                    </a:lnTo>
                    <a:lnTo>
                      <a:pt x="2801872" y="642740"/>
                    </a:lnTo>
                    <a:lnTo>
                      <a:pt x="2819519" y="642740"/>
                    </a:lnTo>
                    <a:lnTo>
                      <a:pt x="2819519" y="652111"/>
                    </a:lnTo>
                    <a:lnTo>
                      <a:pt x="2843025" y="652111"/>
                    </a:lnTo>
                    <a:lnTo>
                      <a:pt x="2843025" y="661605"/>
                    </a:lnTo>
                    <a:lnTo>
                      <a:pt x="2854795" y="661605"/>
                    </a:lnTo>
                    <a:lnTo>
                      <a:pt x="2854795" y="671099"/>
                    </a:lnTo>
                    <a:lnTo>
                      <a:pt x="2878301" y="671099"/>
                    </a:lnTo>
                    <a:lnTo>
                      <a:pt x="2878301" y="680469"/>
                    </a:lnTo>
                    <a:lnTo>
                      <a:pt x="2896072" y="680469"/>
                    </a:lnTo>
                    <a:lnTo>
                      <a:pt x="2896072" y="689964"/>
                    </a:lnTo>
                    <a:lnTo>
                      <a:pt x="2901948" y="689964"/>
                    </a:lnTo>
                    <a:lnTo>
                      <a:pt x="2901948" y="699458"/>
                    </a:lnTo>
                    <a:lnTo>
                      <a:pt x="2943101" y="699458"/>
                    </a:lnTo>
                    <a:lnTo>
                      <a:pt x="2943101" y="708952"/>
                    </a:lnTo>
                    <a:lnTo>
                      <a:pt x="2948977" y="708952"/>
                    </a:lnTo>
                    <a:lnTo>
                      <a:pt x="2948977" y="718446"/>
                    </a:lnTo>
                    <a:lnTo>
                      <a:pt x="2966624" y="718446"/>
                    </a:lnTo>
                    <a:lnTo>
                      <a:pt x="2966624" y="727799"/>
                    </a:lnTo>
                    <a:lnTo>
                      <a:pt x="3007901" y="727799"/>
                    </a:lnTo>
                    <a:lnTo>
                      <a:pt x="3007901" y="737416"/>
                    </a:lnTo>
                    <a:lnTo>
                      <a:pt x="3025530" y="737416"/>
                    </a:lnTo>
                    <a:lnTo>
                      <a:pt x="3025530" y="756405"/>
                    </a:lnTo>
                    <a:lnTo>
                      <a:pt x="3037301" y="756405"/>
                    </a:lnTo>
                    <a:lnTo>
                      <a:pt x="3037301" y="765899"/>
                    </a:lnTo>
                    <a:lnTo>
                      <a:pt x="3207912" y="765899"/>
                    </a:lnTo>
                    <a:lnTo>
                      <a:pt x="3207912" y="775516"/>
                    </a:lnTo>
                    <a:lnTo>
                      <a:pt x="3225683" y="775516"/>
                    </a:lnTo>
                    <a:lnTo>
                      <a:pt x="3225683" y="785275"/>
                    </a:lnTo>
                    <a:lnTo>
                      <a:pt x="3266835" y="785275"/>
                    </a:lnTo>
                    <a:lnTo>
                      <a:pt x="3266835" y="795016"/>
                    </a:lnTo>
                    <a:lnTo>
                      <a:pt x="3272712" y="795016"/>
                    </a:lnTo>
                    <a:lnTo>
                      <a:pt x="3272712" y="804757"/>
                    </a:lnTo>
                    <a:lnTo>
                      <a:pt x="3290359" y="804757"/>
                    </a:lnTo>
                    <a:lnTo>
                      <a:pt x="3290359" y="814640"/>
                    </a:lnTo>
                    <a:lnTo>
                      <a:pt x="3302112" y="814640"/>
                    </a:lnTo>
                    <a:lnTo>
                      <a:pt x="3302112" y="824381"/>
                    </a:lnTo>
                    <a:lnTo>
                      <a:pt x="3325759" y="824381"/>
                    </a:lnTo>
                    <a:lnTo>
                      <a:pt x="3325759" y="844004"/>
                    </a:lnTo>
                    <a:lnTo>
                      <a:pt x="3337512" y="844004"/>
                    </a:lnTo>
                    <a:lnTo>
                      <a:pt x="3337512" y="853869"/>
                    </a:lnTo>
                    <a:lnTo>
                      <a:pt x="3349283" y="853869"/>
                    </a:lnTo>
                    <a:lnTo>
                      <a:pt x="3349283" y="863751"/>
                    </a:lnTo>
                    <a:lnTo>
                      <a:pt x="3361036" y="863751"/>
                    </a:lnTo>
                    <a:lnTo>
                      <a:pt x="3361036" y="873740"/>
                    </a:lnTo>
                    <a:lnTo>
                      <a:pt x="3402188" y="873740"/>
                    </a:lnTo>
                    <a:lnTo>
                      <a:pt x="3402188" y="883745"/>
                    </a:lnTo>
                    <a:lnTo>
                      <a:pt x="3437588" y="883745"/>
                    </a:lnTo>
                    <a:lnTo>
                      <a:pt x="3437588" y="903987"/>
                    </a:lnTo>
                    <a:lnTo>
                      <a:pt x="3461112" y="903987"/>
                    </a:lnTo>
                    <a:lnTo>
                      <a:pt x="3461112" y="914240"/>
                    </a:lnTo>
                    <a:lnTo>
                      <a:pt x="3514017" y="914240"/>
                    </a:lnTo>
                    <a:lnTo>
                      <a:pt x="3514017" y="924634"/>
                    </a:lnTo>
                    <a:lnTo>
                      <a:pt x="3555294" y="924634"/>
                    </a:lnTo>
                    <a:lnTo>
                      <a:pt x="3555294" y="935257"/>
                    </a:lnTo>
                    <a:lnTo>
                      <a:pt x="3578817" y="935257"/>
                    </a:lnTo>
                    <a:lnTo>
                      <a:pt x="3578817" y="946022"/>
                    </a:lnTo>
                    <a:lnTo>
                      <a:pt x="3608218" y="946022"/>
                    </a:lnTo>
                    <a:lnTo>
                      <a:pt x="3608218" y="956769"/>
                    </a:lnTo>
                    <a:lnTo>
                      <a:pt x="3614094" y="956769"/>
                    </a:lnTo>
                    <a:lnTo>
                      <a:pt x="3614094" y="967534"/>
                    </a:lnTo>
                    <a:lnTo>
                      <a:pt x="3643617" y="967534"/>
                    </a:lnTo>
                    <a:lnTo>
                      <a:pt x="3643617" y="978422"/>
                    </a:lnTo>
                    <a:lnTo>
                      <a:pt x="3649494" y="978422"/>
                    </a:lnTo>
                    <a:lnTo>
                      <a:pt x="3649494" y="989310"/>
                    </a:lnTo>
                    <a:lnTo>
                      <a:pt x="3655370" y="989310"/>
                    </a:lnTo>
                    <a:lnTo>
                      <a:pt x="3655370" y="1000198"/>
                    </a:lnTo>
                    <a:lnTo>
                      <a:pt x="3673017" y="1000198"/>
                    </a:lnTo>
                    <a:lnTo>
                      <a:pt x="3673017" y="1011210"/>
                    </a:lnTo>
                    <a:lnTo>
                      <a:pt x="3714170" y="1011210"/>
                    </a:lnTo>
                    <a:lnTo>
                      <a:pt x="3714170" y="1022222"/>
                    </a:lnTo>
                    <a:lnTo>
                      <a:pt x="3725923" y="1022222"/>
                    </a:lnTo>
                    <a:lnTo>
                      <a:pt x="3725923" y="1033357"/>
                    </a:lnTo>
                    <a:lnTo>
                      <a:pt x="3778970" y="1033357"/>
                    </a:lnTo>
                    <a:lnTo>
                      <a:pt x="3778970" y="1044616"/>
                    </a:lnTo>
                    <a:lnTo>
                      <a:pt x="3790723" y="1044616"/>
                    </a:lnTo>
                    <a:lnTo>
                      <a:pt x="3790723" y="1067522"/>
                    </a:lnTo>
                    <a:lnTo>
                      <a:pt x="3814229" y="1067522"/>
                    </a:lnTo>
                    <a:lnTo>
                      <a:pt x="3814229" y="1079045"/>
                    </a:lnTo>
                    <a:lnTo>
                      <a:pt x="3826000" y="1079045"/>
                    </a:lnTo>
                    <a:lnTo>
                      <a:pt x="3826000" y="1090569"/>
                    </a:lnTo>
                    <a:lnTo>
                      <a:pt x="3884923" y="1090569"/>
                    </a:lnTo>
                    <a:lnTo>
                      <a:pt x="3884923" y="1102339"/>
                    </a:lnTo>
                    <a:lnTo>
                      <a:pt x="3908429" y="1102339"/>
                    </a:lnTo>
                    <a:lnTo>
                      <a:pt x="3908429" y="1114110"/>
                    </a:lnTo>
                    <a:lnTo>
                      <a:pt x="3990875" y="1114110"/>
                    </a:lnTo>
                    <a:lnTo>
                      <a:pt x="3990875" y="1126392"/>
                    </a:lnTo>
                    <a:lnTo>
                      <a:pt x="4002628" y="1126392"/>
                    </a:lnTo>
                    <a:lnTo>
                      <a:pt x="4002628" y="1138657"/>
                    </a:lnTo>
                    <a:lnTo>
                      <a:pt x="4202781" y="1138657"/>
                    </a:lnTo>
                    <a:lnTo>
                      <a:pt x="4202781" y="1151574"/>
                    </a:lnTo>
                    <a:lnTo>
                      <a:pt x="4208658" y="1151574"/>
                    </a:lnTo>
                    <a:lnTo>
                      <a:pt x="4208658" y="1164616"/>
                    </a:lnTo>
                    <a:lnTo>
                      <a:pt x="4226287" y="1164616"/>
                    </a:lnTo>
                    <a:lnTo>
                      <a:pt x="4226287" y="1177780"/>
                    </a:lnTo>
                    <a:lnTo>
                      <a:pt x="4361640" y="1177780"/>
                    </a:lnTo>
                    <a:lnTo>
                      <a:pt x="4361640" y="1192463"/>
                    </a:lnTo>
                    <a:lnTo>
                      <a:pt x="4679498" y="1192463"/>
                    </a:lnTo>
                    <a:lnTo>
                      <a:pt x="4679498" y="1208786"/>
                    </a:lnTo>
                    <a:lnTo>
                      <a:pt x="4685375" y="1208786"/>
                    </a:lnTo>
                    <a:lnTo>
                      <a:pt x="4685375" y="1224986"/>
                    </a:lnTo>
                    <a:lnTo>
                      <a:pt x="4744298" y="1224986"/>
                    </a:lnTo>
                    <a:lnTo>
                      <a:pt x="4744298" y="1241698"/>
                    </a:lnTo>
                    <a:lnTo>
                      <a:pt x="4767804" y="1241698"/>
                    </a:lnTo>
                    <a:lnTo>
                      <a:pt x="4767804" y="1258904"/>
                    </a:lnTo>
                    <a:lnTo>
                      <a:pt x="4797203" y="1258904"/>
                    </a:lnTo>
                    <a:lnTo>
                      <a:pt x="4797203" y="1276374"/>
                    </a:lnTo>
                    <a:lnTo>
                      <a:pt x="4820851" y="1276374"/>
                    </a:lnTo>
                    <a:lnTo>
                      <a:pt x="4820851" y="1293968"/>
                    </a:lnTo>
                    <a:lnTo>
                      <a:pt x="4838480" y="1293968"/>
                    </a:lnTo>
                    <a:lnTo>
                      <a:pt x="4838480" y="1311686"/>
                    </a:lnTo>
                    <a:lnTo>
                      <a:pt x="4844374" y="1311686"/>
                    </a:lnTo>
                    <a:lnTo>
                      <a:pt x="4844374" y="1329404"/>
                    </a:lnTo>
                    <a:lnTo>
                      <a:pt x="4985586" y="1329404"/>
                    </a:lnTo>
                    <a:lnTo>
                      <a:pt x="4985586" y="1348780"/>
                    </a:lnTo>
                    <a:lnTo>
                      <a:pt x="5085662" y="1348780"/>
                    </a:lnTo>
                    <a:lnTo>
                      <a:pt x="5085662" y="1369533"/>
                    </a:lnTo>
                    <a:lnTo>
                      <a:pt x="5226891" y="1369533"/>
                    </a:lnTo>
                    <a:lnTo>
                      <a:pt x="5226891" y="1392703"/>
                    </a:lnTo>
                    <a:lnTo>
                      <a:pt x="5326967" y="1392703"/>
                    </a:lnTo>
                    <a:lnTo>
                      <a:pt x="5326967" y="1416615"/>
                    </a:lnTo>
                    <a:lnTo>
                      <a:pt x="5409397" y="1416615"/>
                    </a:lnTo>
                    <a:lnTo>
                      <a:pt x="5409397" y="1441551"/>
                    </a:lnTo>
                    <a:lnTo>
                      <a:pt x="5415273" y="1441551"/>
                    </a:lnTo>
                    <a:lnTo>
                      <a:pt x="5415273" y="1466486"/>
                    </a:lnTo>
                    <a:lnTo>
                      <a:pt x="5503597" y="1466486"/>
                    </a:lnTo>
                    <a:lnTo>
                      <a:pt x="5503597" y="1493327"/>
                    </a:lnTo>
                    <a:lnTo>
                      <a:pt x="5856731" y="1493327"/>
                    </a:lnTo>
                    <a:lnTo>
                      <a:pt x="5856731" y="1529027"/>
                    </a:lnTo>
                    <a:lnTo>
                      <a:pt x="6145190" y="1529027"/>
                    </a:lnTo>
                    <a:lnTo>
                      <a:pt x="6145190" y="1577238"/>
                    </a:lnTo>
                    <a:lnTo>
                      <a:pt x="6357095" y="1577238"/>
                    </a:lnTo>
                    <a:lnTo>
                      <a:pt x="6357095" y="1635968"/>
                    </a:lnTo>
                    <a:lnTo>
                      <a:pt x="6421895" y="1635968"/>
                    </a:lnTo>
                    <a:lnTo>
                      <a:pt x="6421895" y="1696726"/>
                    </a:lnTo>
                    <a:lnTo>
                      <a:pt x="7028088" y="1696726"/>
                    </a:lnTo>
                    <a:lnTo>
                      <a:pt x="7028088" y="1872667"/>
                    </a:lnTo>
                    <a:lnTo>
                      <a:pt x="8164169" y="1872667"/>
                    </a:lnTo>
                  </a:path>
                </a:pathLst>
              </a:custGeom>
              <a:noFill/>
              <a:ln w="9638" cap="flat">
                <a:solidFill>
                  <a:srgbClr val="27377D"/>
                </a:solidFill>
                <a:prstDash val="solid"/>
                <a:miter/>
              </a:ln>
            </p:spPr>
            <p:txBody>
              <a:bodyPr rtlCol="0" anchor="ctr"/>
              <a:lstStyle/>
              <a:p>
                <a:endParaRPr lang="en-US" sz="1800" dirty="0"/>
              </a:p>
            </p:txBody>
          </p:sp>
          <p:sp>
            <p:nvSpPr>
              <p:cNvPr id="5" name="Freeform 6">
                <a:extLst>
                  <a:ext uri="{FF2B5EF4-FFF2-40B4-BE49-F238E27FC236}">
                    <a16:creationId xmlns:a16="http://schemas.microsoft.com/office/drawing/2014/main" id="{82A19E24-4D25-24B2-B283-92B6257406AE}"/>
                  </a:ext>
                </a:extLst>
              </p:cNvPr>
              <p:cNvSpPr/>
              <p:nvPr/>
            </p:nvSpPr>
            <p:spPr>
              <a:xfrm>
                <a:off x="2379988" y="1167315"/>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endParaRPr lang="en-US" sz="1800" dirty="0"/>
              </a:p>
            </p:txBody>
          </p:sp>
          <p:sp>
            <p:nvSpPr>
              <p:cNvPr id="6" name="Freeform 7">
                <a:extLst>
                  <a:ext uri="{FF2B5EF4-FFF2-40B4-BE49-F238E27FC236}">
                    <a16:creationId xmlns:a16="http://schemas.microsoft.com/office/drawing/2014/main" id="{151EC329-7F8B-EEF6-5354-4D244D72D8B7}"/>
                  </a:ext>
                </a:extLst>
              </p:cNvPr>
              <p:cNvSpPr/>
              <p:nvPr/>
            </p:nvSpPr>
            <p:spPr>
              <a:xfrm>
                <a:off x="2409370" y="1138833"/>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endParaRPr lang="en-US" sz="1800" dirty="0"/>
              </a:p>
            </p:txBody>
          </p:sp>
          <p:sp>
            <p:nvSpPr>
              <p:cNvPr id="7" name="Freeform 8">
                <a:extLst>
                  <a:ext uri="{FF2B5EF4-FFF2-40B4-BE49-F238E27FC236}">
                    <a16:creationId xmlns:a16="http://schemas.microsoft.com/office/drawing/2014/main" id="{E7381394-83F7-4CBF-848C-A7634F0C4B01}"/>
                  </a:ext>
                </a:extLst>
              </p:cNvPr>
              <p:cNvSpPr/>
              <p:nvPr/>
            </p:nvSpPr>
            <p:spPr>
              <a:xfrm>
                <a:off x="2491817" y="1167315"/>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8" name="Freeform 9">
                <a:extLst>
                  <a:ext uri="{FF2B5EF4-FFF2-40B4-BE49-F238E27FC236}">
                    <a16:creationId xmlns:a16="http://schemas.microsoft.com/office/drawing/2014/main" id="{413A6B89-439C-920E-FB5C-EE1361AB8AF2}"/>
                  </a:ext>
                </a:extLst>
              </p:cNvPr>
              <p:cNvSpPr/>
              <p:nvPr/>
            </p:nvSpPr>
            <p:spPr>
              <a:xfrm>
                <a:off x="2521217" y="1138833"/>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endParaRPr lang="en-US" sz="1800" dirty="0"/>
              </a:p>
            </p:txBody>
          </p:sp>
          <p:sp>
            <p:nvSpPr>
              <p:cNvPr id="10" name="Freeform 10">
                <a:extLst>
                  <a:ext uri="{FF2B5EF4-FFF2-40B4-BE49-F238E27FC236}">
                    <a16:creationId xmlns:a16="http://schemas.microsoft.com/office/drawing/2014/main" id="{FC5D16C3-A30D-B723-26CF-C949410604AB}"/>
                  </a:ext>
                </a:extLst>
              </p:cNvPr>
              <p:cNvSpPr/>
              <p:nvPr/>
            </p:nvSpPr>
            <p:spPr>
              <a:xfrm>
                <a:off x="2556564" y="1167315"/>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12" name="Freeform 11">
                <a:extLst>
                  <a:ext uri="{FF2B5EF4-FFF2-40B4-BE49-F238E27FC236}">
                    <a16:creationId xmlns:a16="http://schemas.microsoft.com/office/drawing/2014/main" id="{4244087E-035D-883E-04C8-3BF793D0DB67}"/>
                  </a:ext>
                </a:extLst>
              </p:cNvPr>
              <p:cNvSpPr/>
              <p:nvPr/>
            </p:nvSpPr>
            <p:spPr>
              <a:xfrm>
                <a:off x="2585964" y="1138833"/>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endParaRPr lang="en-US" sz="1800" dirty="0"/>
              </a:p>
            </p:txBody>
          </p:sp>
          <p:sp>
            <p:nvSpPr>
              <p:cNvPr id="13" name="Freeform 12">
                <a:extLst>
                  <a:ext uri="{FF2B5EF4-FFF2-40B4-BE49-F238E27FC236}">
                    <a16:creationId xmlns:a16="http://schemas.microsoft.com/office/drawing/2014/main" id="{4437323F-EFA6-8CFC-C50F-5AB83D547F0E}"/>
                  </a:ext>
                </a:extLst>
              </p:cNvPr>
              <p:cNvSpPr/>
              <p:nvPr/>
            </p:nvSpPr>
            <p:spPr>
              <a:xfrm>
                <a:off x="2633082" y="1167315"/>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14" name="Freeform 13">
                <a:extLst>
                  <a:ext uri="{FF2B5EF4-FFF2-40B4-BE49-F238E27FC236}">
                    <a16:creationId xmlns:a16="http://schemas.microsoft.com/office/drawing/2014/main" id="{356850CA-F011-6C91-D9F1-5339CADA1563}"/>
                  </a:ext>
                </a:extLst>
              </p:cNvPr>
              <p:cNvSpPr/>
              <p:nvPr/>
            </p:nvSpPr>
            <p:spPr>
              <a:xfrm>
                <a:off x="2662482" y="1138833"/>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endParaRPr lang="en-US" sz="1800" dirty="0"/>
              </a:p>
            </p:txBody>
          </p:sp>
          <p:sp>
            <p:nvSpPr>
              <p:cNvPr id="15" name="Freeform 14">
                <a:extLst>
                  <a:ext uri="{FF2B5EF4-FFF2-40B4-BE49-F238E27FC236}">
                    <a16:creationId xmlns:a16="http://schemas.microsoft.com/office/drawing/2014/main" id="{1513E006-3994-0245-6D9B-E319F8F6B05E}"/>
                  </a:ext>
                </a:extLst>
              </p:cNvPr>
              <p:cNvSpPr/>
              <p:nvPr/>
            </p:nvSpPr>
            <p:spPr>
              <a:xfrm>
                <a:off x="2691952" y="1175927"/>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endParaRPr lang="en-US" sz="1800" dirty="0"/>
              </a:p>
            </p:txBody>
          </p:sp>
          <p:sp>
            <p:nvSpPr>
              <p:cNvPr id="16" name="Freeform 15">
                <a:extLst>
                  <a:ext uri="{FF2B5EF4-FFF2-40B4-BE49-F238E27FC236}">
                    <a16:creationId xmlns:a16="http://schemas.microsoft.com/office/drawing/2014/main" id="{F1BBAA28-12A2-5615-1510-2E4DBF49D0EB}"/>
                  </a:ext>
                </a:extLst>
              </p:cNvPr>
              <p:cNvSpPr/>
              <p:nvPr/>
            </p:nvSpPr>
            <p:spPr>
              <a:xfrm>
                <a:off x="2721334" y="1147444"/>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endParaRPr lang="en-US" sz="1800" dirty="0"/>
              </a:p>
            </p:txBody>
          </p:sp>
          <p:sp>
            <p:nvSpPr>
              <p:cNvPr id="17" name="Freeform 16">
                <a:extLst>
                  <a:ext uri="{FF2B5EF4-FFF2-40B4-BE49-F238E27FC236}">
                    <a16:creationId xmlns:a16="http://schemas.microsoft.com/office/drawing/2014/main" id="{10CA7016-44E9-B58D-AB4C-1CFEC5B11107}"/>
                  </a:ext>
                </a:extLst>
              </p:cNvPr>
              <p:cNvSpPr/>
              <p:nvPr/>
            </p:nvSpPr>
            <p:spPr>
              <a:xfrm>
                <a:off x="2739034" y="1184538"/>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18" name="Freeform 17">
                <a:extLst>
                  <a:ext uri="{FF2B5EF4-FFF2-40B4-BE49-F238E27FC236}">
                    <a16:creationId xmlns:a16="http://schemas.microsoft.com/office/drawing/2014/main" id="{7E4BF9B6-FC8B-619C-86BC-9E29BE90B192}"/>
                  </a:ext>
                </a:extLst>
              </p:cNvPr>
              <p:cNvSpPr/>
              <p:nvPr/>
            </p:nvSpPr>
            <p:spPr>
              <a:xfrm>
                <a:off x="2768434" y="1156056"/>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endParaRPr lang="en-US" sz="1800" dirty="0"/>
              </a:p>
            </p:txBody>
          </p:sp>
          <p:sp>
            <p:nvSpPr>
              <p:cNvPr id="19" name="Freeform 18">
                <a:extLst>
                  <a:ext uri="{FF2B5EF4-FFF2-40B4-BE49-F238E27FC236}">
                    <a16:creationId xmlns:a16="http://schemas.microsoft.com/office/drawing/2014/main" id="{AF02609D-498D-9AF5-F182-1CDD6FB0A698}"/>
                  </a:ext>
                </a:extLst>
              </p:cNvPr>
              <p:cNvSpPr/>
              <p:nvPr/>
            </p:nvSpPr>
            <p:spPr>
              <a:xfrm>
                <a:off x="2774364" y="1184538"/>
                <a:ext cx="58746" cy="17647"/>
              </a:xfrm>
              <a:custGeom>
                <a:avLst/>
                <a:gdLst>
                  <a:gd name="connsiteX0" fmla="*/ 0 w 58746"/>
                  <a:gd name="connsiteY0" fmla="*/ 0 h 17647"/>
                  <a:gd name="connsiteX1" fmla="*/ 58747 w 58746"/>
                  <a:gd name="connsiteY1" fmla="*/ 0 h 17647"/>
                </a:gdLst>
                <a:ahLst/>
                <a:cxnLst>
                  <a:cxn ang="0">
                    <a:pos x="connsiteX0" y="connsiteY0"/>
                  </a:cxn>
                  <a:cxn ang="0">
                    <a:pos x="connsiteX1" y="connsiteY1"/>
                  </a:cxn>
                </a:cxnLst>
                <a:rect l="l" t="t" r="r" b="b"/>
                <a:pathLst>
                  <a:path w="58746" h="17647">
                    <a:moveTo>
                      <a:pt x="0" y="0"/>
                    </a:moveTo>
                    <a:lnTo>
                      <a:pt x="58747" y="0"/>
                    </a:lnTo>
                  </a:path>
                </a:pathLst>
              </a:custGeom>
              <a:ln w="9638" cap="sq">
                <a:solidFill>
                  <a:srgbClr val="27377D"/>
                </a:solidFill>
                <a:prstDash val="solid"/>
                <a:miter/>
              </a:ln>
            </p:spPr>
            <p:txBody>
              <a:bodyPr rtlCol="0" anchor="ctr"/>
              <a:lstStyle/>
              <a:p>
                <a:endParaRPr lang="en-US" sz="1800" dirty="0"/>
              </a:p>
            </p:txBody>
          </p:sp>
          <p:sp>
            <p:nvSpPr>
              <p:cNvPr id="20" name="Freeform 19">
                <a:extLst>
                  <a:ext uri="{FF2B5EF4-FFF2-40B4-BE49-F238E27FC236}">
                    <a16:creationId xmlns:a16="http://schemas.microsoft.com/office/drawing/2014/main" id="{3043D157-FDA8-4977-A03F-8F73FD2C6510}"/>
                  </a:ext>
                </a:extLst>
              </p:cNvPr>
              <p:cNvSpPr/>
              <p:nvPr/>
            </p:nvSpPr>
            <p:spPr>
              <a:xfrm>
                <a:off x="2803711" y="1156056"/>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endParaRPr lang="en-US" sz="1800" dirty="0"/>
              </a:p>
            </p:txBody>
          </p:sp>
          <p:sp>
            <p:nvSpPr>
              <p:cNvPr id="21" name="Freeform 20">
                <a:extLst>
                  <a:ext uri="{FF2B5EF4-FFF2-40B4-BE49-F238E27FC236}">
                    <a16:creationId xmlns:a16="http://schemas.microsoft.com/office/drawing/2014/main" id="{1C71F592-E4E2-BC2C-4179-AB63A280A76F}"/>
                  </a:ext>
                </a:extLst>
              </p:cNvPr>
              <p:cNvSpPr/>
              <p:nvPr/>
            </p:nvSpPr>
            <p:spPr>
              <a:xfrm>
                <a:off x="2797958" y="1193132"/>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22" name="Freeform 21">
                <a:extLst>
                  <a:ext uri="{FF2B5EF4-FFF2-40B4-BE49-F238E27FC236}">
                    <a16:creationId xmlns:a16="http://schemas.microsoft.com/office/drawing/2014/main" id="{D215032F-40B2-9B57-C96F-87537ECC1F06}"/>
                  </a:ext>
                </a:extLst>
              </p:cNvPr>
              <p:cNvSpPr/>
              <p:nvPr/>
            </p:nvSpPr>
            <p:spPr>
              <a:xfrm>
                <a:off x="2827358" y="1164650"/>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endParaRPr lang="en-US" sz="1800" dirty="0"/>
              </a:p>
            </p:txBody>
          </p:sp>
          <p:sp>
            <p:nvSpPr>
              <p:cNvPr id="23" name="Freeform 22">
                <a:extLst>
                  <a:ext uri="{FF2B5EF4-FFF2-40B4-BE49-F238E27FC236}">
                    <a16:creationId xmlns:a16="http://schemas.microsoft.com/office/drawing/2014/main" id="{16A58A94-6217-A6DB-071C-E32C07952482}"/>
                  </a:ext>
                </a:extLst>
              </p:cNvPr>
              <p:cNvSpPr/>
              <p:nvPr/>
            </p:nvSpPr>
            <p:spPr>
              <a:xfrm>
                <a:off x="2815605" y="1193132"/>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endParaRPr lang="en-US" sz="1800" dirty="0"/>
              </a:p>
            </p:txBody>
          </p:sp>
          <p:sp>
            <p:nvSpPr>
              <p:cNvPr id="24" name="Freeform 23">
                <a:extLst>
                  <a:ext uri="{FF2B5EF4-FFF2-40B4-BE49-F238E27FC236}">
                    <a16:creationId xmlns:a16="http://schemas.microsoft.com/office/drawing/2014/main" id="{9422D557-E8E8-DFEA-50FA-9ABCC59B78D0}"/>
                  </a:ext>
                </a:extLst>
              </p:cNvPr>
              <p:cNvSpPr/>
              <p:nvPr/>
            </p:nvSpPr>
            <p:spPr>
              <a:xfrm>
                <a:off x="2844987" y="1164650"/>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endParaRPr lang="en-US" sz="1800" dirty="0"/>
              </a:p>
            </p:txBody>
          </p:sp>
          <p:sp>
            <p:nvSpPr>
              <p:cNvPr id="25" name="Freeform 24">
                <a:extLst>
                  <a:ext uri="{FF2B5EF4-FFF2-40B4-BE49-F238E27FC236}">
                    <a16:creationId xmlns:a16="http://schemas.microsoft.com/office/drawing/2014/main" id="{051CE601-15C3-B3F2-C03E-32841ADE530B}"/>
                  </a:ext>
                </a:extLst>
              </p:cNvPr>
              <p:cNvSpPr/>
              <p:nvPr/>
            </p:nvSpPr>
            <p:spPr>
              <a:xfrm>
                <a:off x="2856758" y="1210603"/>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endParaRPr lang="en-US" sz="1800" dirty="0"/>
              </a:p>
            </p:txBody>
          </p:sp>
          <p:sp>
            <p:nvSpPr>
              <p:cNvPr id="26" name="Freeform 25">
                <a:extLst>
                  <a:ext uri="{FF2B5EF4-FFF2-40B4-BE49-F238E27FC236}">
                    <a16:creationId xmlns:a16="http://schemas.microsoft.com/office/drawing/2014/main" id="{3EC9C348-221B-633F-AF24-58406DFC8E11}"/>
                  </a:ext>
                </a:extLst>
              </p:cNvPr>
              <p:cNvSpPr/>
              <p:nvPr/>
            </p:nvSpPr>
            <p:spPr>
              <a:xfrm>
                <a:off x="2886140" y="1182121"/>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endParaRPr lang="en-US" sz="1800" dirty="0"/>
              </a:p>
            </p:txBody>
          </p:sp>
          <p:sp>
            <p:nvSpPr>
              <p:cNvPr id="27" name="Freeform 26">
                <a:extLst>
                  <a:ext uri="{FF2B5EF4-FFF2-40B4-BE49-F238E27FC236}">
                    <a16:creationId xmlns:a16="http://schemas.microsoft.com/office/drawing/2014/main" id="{C01DFE43-302B-AFE4-7311-CACA89F2F0B2}"/>
                  </a:ext>
                </a:extLst>
              </p:cNvPr>
              <p:cNvSpPr/>
              <p:nvPr/>
            </p:nvSpPr>
            <p:spPr>
              <a:xfrm>
                <a:off x="2862634" y="1210603"/>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endParaRPr lang="en-US" sz="1800" dirty="0"/>
              </a:p>
            </p:txBody>
          </p:sp>
          <p:sp>
            <p:nvSpPr>
              <p:cNvPr id="28" name="Freeform 27">
                <a:extLst>
                  <a:ext uri="{FF2B5EF4-FFF2-40B4-BE49-F238E27FC236}">
                    <a16:creationId xmlns:a16="http://schemas.microsoft.com/office/drawing/2014/main" id="{DACD44C1-0D0A-5BC8-9974-809176DBCEA9}"/>
                  </a:ext>
                </a:extLst>
              </p:cNvPr>
              <p:cNvSpPr/>
              <p:nvPr/>
            </p:nvSpPr>
            <p:spPr>
              <a:xfrm>
                <a:off x="2892034" y="1182121"/>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endParaRPr lang="en-US" sz="1800" dirty="0"/>
              </a:p>
            </p:txBody>
          </p:sp>
          <p:sp>
            <p:nvSpPr>
              <p:cNvPr id="29" name="Freeform 28">
                <a:extLst>
                  <a:ext uri="{FF2B5EF4-FFF2-40B4-BE49-F238E27FC236}">
                    <a16:creationId xmlns:a16="http://schemas.microsoft.com/office/drawing/2014/main" id="{AC2DAC13-B00F-72A1-119C-A6A63B304F9C}"/>
                  </a:ext>
                </a:extLst>
              </p:cNvPr>
              <p:cNvSpPr/>
              <p:nvPr/>
            </p:nvSpPr>
            <p:spPr>
              <a:xfrm>
                <a:off x="2903911" y="1210603"/>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30" name="Freeform 29">
                <a:extLst>
                  <a:ext uri="{FF2B5EF4-FFF2-40B4-BE49-F238E27FC236}">
                    <a16:creationId xmlns:a16="http://schemas.microsoft.com/office/drawing/2014/main" id="{5B268313-0277-670D-6B1B-62ACBAF3332E}"/>
                  </a:ext>
                </a:extLst>
              </p:cNvPr>
              <p:cNvSpPr/>
              <p:nvPr/>
            </p:nvSpPr>
            <p:spPr>
              <a:xfrm>
                <a:off x="2933311" y="1182121"/>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endParaRPr lang="en-US" sz="1800" dirty="0"/>
              </a:p>
            </p:txBody>
          </p:sp>
          <p:sp>
            <p:nvSpPr>
              <p:cNvPr id="31" name="Freeform 30">
                <a:extLst>
                  <a:ext uri="{FF2B5EF4-FFF2-40B4-BE49-F238E27FC236}">
                    <a16:creationId xmlns:a16="http://schemas.microsoft.com/office/drawing/2014/main" id="{23939226-B9D0-80EC-8B4E-557E0D00339D}"/>
                  </a:ext>
                </a:extLst>
              </p:cNvPr>
              <p:cNvSpPr/>
              <p:nvPr/>
            </p:nvSpPr>
            <p:spPr>
              <a:xfrm>
                <a:off x="2933311" y="1210603"/>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endParaRPr lang="en-US" sz="1800" dirty="0"/>
              </a:p>
            </p:txBody>
          </p:sp>
          <p:sp>
            <p:nvSpPr>
              <p:cNvPr id="32" name="Freeform 31">
                <a:extLst>
                  <a:ext uri="{FF2B5EF4-FFF2-40B4-BE49-F238E27FC236}">
                    <a16:creationId xmlns:a16="http://schemas.microsoft.com/office/drawing/2014/main" id="{C6634BC2-BB58-432F-977D-B60A9E1CC777}"/>
                  </a:ext>
                </a:extLst>
              </p:cNvPr>
              <p:cNvSpPr/>
              <p:nvPr/>
            </p:nvSpPr>
            <p:spPr>
              <a:xfrm>
                <a:off x="2962711" y="1182121"/>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endParaRPr lang="en-US" sz="1800" dirty="0"/>
              </a:p>
            </p:txBody>
          </p:sp>
          <p:sp>
            <p:nvSpPr>
              <p:cNvPr id="33" name="Freeform 32">
                <a:extLst>
                  <a:ext uri="{FF2B5EF4-FFF2-40B4-BE49-F238E27FC236}">
                    <a16:creationId xmlns:a16="http://schemas.microsoft.com/office/drawing/2014/main" id="{1E7202AE-B41D-0A66-E635-E5411692AD32}"/>
                  </a:ext>
                </a:extLst>
              </p:cNvPr>
              <p:cNvSpPr/>
              <p:nvPr/>
            </p:nvSpPr>
            <p:spPr>
              <a:xfrm>
                <a:off x="3280569" y="1263385"/>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endParaRPr lang="en-US" sz="1800" dirty="0"/>
              </a:p>
            </p:txBody>
          </p:sp>
          <p:sp>
            <p:nvSpPr>
              <p:cNvPr id="34" name="Freeform 33">
                <a:extLst>
                  <a:ext uri="{FF2B5EF4-FFF2-40B4-BE49-F238E27FC236}">
                    <a16:creationId xmlns:a16="http://schemas.microsoft.com/office/drawing/2014/main" id="{925FF01C-9EE0-AE8A-1DB3-003EAFA229CC}"/>
                  </a:ext>
                </a:extLst>
              </p:cNvPr>
              <p:cNvSpPr/>
              <p:nvPr/>
            </p:nvSpPr>
            <p:spPr>
              <a:xfrm>
                <a:off x="3309951" y="1234903"/>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endParaRPr lang="en-US" sz="1800" dirty="0"/>
              </a:p>
            </p:txBody>
          </p:sp>
          <p:sp>
            <p:nvSpPr>
              <p:cNvPr id="35" name="Freeform 34">
                <a:extLst>
                  <a:ext uri="{FF2B5EF4-FFF2-40B4-BE49-F238E27FC236}">
                    <a16:creationId xmlns:a16="http://schemas.microsoft.com/office/drawing/2014/main" id="{7B5B49E1-89C8-A8BB-5395-E903AFC5DF5A}"/>
                  </a:ext>
                </a:extLst>
              </p:cNvPr>
              <p:cNvSpPr/>
              <p:nvPr/>
            </p:nvSpPr>
            <p:spPr>
              <a:xfrm>
                <a:off x="3392398" y="1307432"/>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endParaRPr lang="en-US" sz="1800" dirty="0"/>
              </a:p>
            </p:txBody>
          </p:sp>
          <p:sp>
            <p:nvSpPr>
              <p:cNvPr id="36" name="Freeform 35">
                <a:extLst>
                  <a:ext uri="{FF2B5EF4-FFF2-40B4-BE49-F238E27FC236}">
                    <a16:creationId xmlns:a16="http://schemas.microsoft.com/office/drawing/2014/main" id="{83CC0600-E89E-90F9-EA2C-87149804F8CF}"/>
                  </a:ext>
                </a:extLst>
              </p:cNvPr>
              <p:cNvSpPr/>
              <p:nvPr/>
            </p:nvSpPr>
            <p:spPr>
              <a:xfrm>
                <a:off x="3421780" y="1278950"/>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endParaRPr lang="en-US" sz="1800" dirty="0"/>
              </a:p>
            </p:txBody>
          </p:sp>
          <p:sp>
            <p:nvSpPr>
              <p:cNvPr id="37" name="Freeform 36">
                <a:extLst>
                  <a:ext uri="{FF2B5EF4-FFF2-40B4-BE49-F238E27FC236}">
                    <a16:creationId xmlns:a16="http://schemas.microsoft.com/office/drawing/2014/main" id="{23A0FCF4-DD15-7461-D809-2197E28C3B64}"/>
                  </a:ext>
                </a:extLst>
              </p:cNvPr>
              <p:cNvSpPr/>
              <p:nvPr/>
            </p:nvSpPr>
            <p:spPr>
              <a:xfrm>
                <a:off x="3433551" y="1316291"/>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endParaRPr lang="en-US" sz="1800" dirty="0"/>
              </a:p>
            </p:txBody>
          </p:sp>
          <p:sp>
            <p:nvSpPr>
              <p:cNvPr id="38" name="Freeform 37">
                <a:extLst>
                  <a:ext uri="{FF2B5EF4-FFF2-40B4-BE49-F238E27FC236}">
                    <a16:creationId xmlns:a16="http://schemas.microsoft.com/office/drawing/2014/main" id="{380E5EC6-73A5-9996-09B6-0BF55729E412}"/>
                  </a:ext>
                </a:extLst>
              </p:cNvPr>
              <p:cNvSpPr/>
              <p:nvPr/>
            </p:nvSpPr>
            <p:spPr>
              <a:xfrm>
                <a:off x="3462933" y="1287809"/>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endParaRPr lang="en-US" sz="1800" dirty="0"/>
              </a:p>
            </p:txBody>
          </p:sp>
          <p:sp>
            <p:nvSpPr>
              <p:cNvPr id="39" name="Freeform 38">
                <a:extLst>
                  <a:ext uri="{FF2B5EF4-FFF2-40B4-BE49-F238E27FC236}">
                    <a16:creationId xmlns:a16="http://schemas.microsoft.com/office/drawing/2014/main" id="{164E2E3B-AB1A-6A45-45C5-C1C2F1834AD4}"/>
                  </a:ext>
                </a:extLst>
              </p:cNvPr>
              <p:cNvSpPr/>
              <p:nvPr/>
            </p:nvSpPr>
            <p:spPr>
              <a:xfrm>
                <a:off x="3515980" y="1334009"/>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40" name="Freeform 39">
                <a:extLst>
                  <a:ext uri="{FF2B5EF4-FFF2-40B4-BE49-F238E27FC236}">
                    <a16:creationId xmlns:a16="http://schemas.microsoft.com/office/drawing/2014/main" id="{7281D963-FDEA-14C4-B085-19701105E0BD}"/>
                  </a:ext>
                </a:extLst>
              </p:cNvPr>
              <p:cNvSpPr/>
              <p:nvPr/>
            </p:nvSpPr>
            <p:spPr>
              <a:xfrm>
                <a:off x="3545380" y="1305526"/>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endParaRPr lang="en-US" sz="1800" dirty="0"/>
              </a:p>
            </p:txBody>
          </p:sp>
          <p:sp>
            <p:nvSpPr>
              <p:cNvPr id="41" name="Freeform 40">
                <a:extLst>
                  <a:ext uri="{FF2B5EF4-FFF2-40B4-BE49-F238E27FC236}">
                    <a16:creationId xmlns:a16="http://schemas.microsoft.com/office/drawing/2014/main" id="{38E7BB5A-3B16-46AD-8C3E-225F2750A1DB}"/>
                  </a:ext>
                </a:extLst>
              </p:cNvPr>
              <p:cNvSpPr/>
              <p:nvPr/>
            </p:nvSpPr>
            <p:spPr>
              <a:xfrm>
                <a:off x="3551380" y="1342868"/>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42" name="Freeform 41">
                <a:extLst>
                  <a:ext uri="{FF2B5EF4-FFF2-40B4-BE49-F238E27FC236}">
                    <a16:creationId xmlns:a16="http://schemas.microsoft.com/office/drawing/2014/main" id="{35BE1704-3B3F-1234-04C7-71521F11DE4F}"/>
                  </a:ext>
                </a:extLst>
              </p:cNvPr>
              <p:cNvSpPr/>
              <p:nvPr/>
            </p:nvSpPr>
            <p:spPr>
              <a:xfrm>
                <a:off x="3580780" y="1314403"/>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endParaRPr lang="en-US" sz="1800" dirty="0"/>
              </a:p>
            </p:txBody>
          </p:sp>
          <p:sp>
            <p:nvSpPr>
              <p:cNvPr id="43" name="Freeform 42">
                <a:extLst>
                  <a:ext uri="{FF2B5EF4-FFF2-40B4-BE49-F238E27FC236}">
                    <a16:creationId xmlns:a16="http://schemas.microsoft.com/office/drawing/2014/main" id="{C1ADA753-227D-A9F8-A126-89ABFBB50B51}"/>
                  </a:ext>
                </a:extLst>
              </p:cNvPr>
              <p:cNvSpPr/>
              <p:nvPr/>
            </p:nvSpPr>
            <p:spPr>
              <a:xfrm>
                <a:off x="3710256" y="1396409"/>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endParaRPr lang="en-US" sz="1800" dirty="0"/>
              </a:p>
            </p:txBody>
          </p:sp>
          <p:sp>
            <p:nvSpPr>
              <p:cNvPr id="44" name="Freeform 43">
                <a:extLst>
                  <a:ext uri="{FF2B5EF4-FFF2-40B4-BE49-F238E27FC236}">
                    <a16:creationId xmlns:a16="http://schemas.microsoft.com/office/drawing/2014/main" id="{FFEF0FBD-EB11-CAF2-2E15-1956D3B6937B}"/>
                  </a:ext>
                </a:extLst>
              </p:cNvPr>
              <p:cNvSpPr/>
              <p:nvPr/>
            </p:nvSpPr>
            <p:spPr>
              <a:xfrm>
                <a:off x="3739639" y="1367944"/>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endParaRPr lang="en-US" sz="1800" dirty="0"/>
              </a:p>
            </p:txBody>
          </p:sp>
          <p:sp>
            <p:nvSpPr>
              <p:cNvPr id="45" name="Freeform 44">
                <a:extLst>
                  <a:ext uri="{FF2B5EF4-FFF2-40B4-BE49-F238E27FC236}">
                    <a16:creationId xmlns:a16="http://schemas.microsoft.com/office/drawing/2014/main" id="{D2DF643B-D306-CCCD-FB88-38451A125F6A}"/>
                  </a:ext>
                </a:extLst>
              </p:cNvPr>
              <p:cNvSpPr/>
              <p:nvPr/>
            </p:nvSpPr>
            <p:spPr>
              <a:xfrm>
                <a:off x="3786809" y="1414267"/>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endParaRPr lang="en-US" sz="1800" dirty="0"/>
              </a:p>
            </p:txBody>
          </p:sp>
          <p:sp>
            <p:nvSpPr>
              <p:cNvPr id="46" name="Freeform 45">
                <a:extLst>
                  <a:ext uri="{FF2B5EF4-FFF2-40B4-BE49-F238E27FC236}">
                    <a16:creationId xmlns:a16="http://schemas.microsoft.com/office/drawing/2014/main" id="{CC2F8D47-7CC5-8B49-27EA-A370F8B594FE}"/>
                  </a:ext>
                </a:extLst>
              </p:cNvPr>
              <p:cNvSpPr/>
              <p:nvPr/>
            </p:nvSpPr>
            <p:spPr>
              <a:xfrm>
                <a:off x="3816209" y="1385785"/>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endParaRPr lang="en-US" sz="1800" dirty="0"/>
              </a:p>
            </p:txBody>
          </p:sp>
          <p:sp>
            <p:nvSpPr>
              <p:cNvPr id="47" name="Freeform 46">
                <a:extLst>
                  <a:ext uri="{FF2B5EF4-FFF2-40B4-BE49-F238E27FC236}">
                    <a16:creationId xmlns:a16="http://schemas.microsoft.com/office/drawing/2014/main" id="{AB0B34EF-2C30-C893-6CD1-ED93C92C3855}"/>
                  </a:ext>
                </a:extLst>
              </p:cNvPr>
              <p:cNvSpPr/>
              <p:nvPr/>
            </p:nvSpPr>
            <p:spPr>
              <a:xfrm>
                <a:off x="3786809" y="1414267"/>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endParaRPr lang="en-US" sz="1800" dirty="0"/>
              </a:p>
            </p:txBody>
          </p:sp>
          <p:sp>
            <p:nvSpPr>
              <p:cNvPr id="48" name="Freeform 47">
                <a:extLst>
                  <a:ext uri="{FF2B5EF4-FFF2-40B4-BE49-F238E27FC236}">
                    <a16:creationId xmlns:a16="http://schemas.microsoft.com/office/drawing/2014/main" id="{68370534-B9BE-81BC-7919-EBB57E424DFC}"/>
                  </a:ext>
                </a:extLst>
              </p:cNvPr>
              <p:cNvSpPr/>
              <p:nvPr/>
            </p:nvSpPr>
            <p:spPr>
              <a:xfrm>
                <a:off x="3816209" y="1385785"/>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endParaRPr lang="en-US" sz="1800" dirty="0"/>
              </a:p>
            </p:txBody>
          </p:sp>
          <p:sp>
            <p:nvSpPr>
              <p:cNvPr id="49" name="Freeform 48">
                <a:extLst>
                  <a:ext uri="{FF2B5EF4-FFF2-40B4-BE49-F238E27FC236}">
                    <a16:creationId xmlns:a16="http://schemas.microsoft.com/office/drawing/2014/main" id="{1E84F47B-711C-14D4-3771-C123B304DCA8}"/>
                  </a:ext>
                </a:extLst>
              </p:cNvPr>
              <p:cNvSpPr/>
              <p:nvPr/>
            </p:nvSpPr>
            <p:spPr>
              <a:xfrm>
                <a:off x="3945668" y="1450338"/>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50" name="Freeform 49">
                <a:extLst>
                  <a:ext uri="{FF2B5EF4-FFF2-40B4-BE49-F238E27FC236}">
                    <a16:creationId xmlns:a16="http://schemas.microsoft.com/office/drawing/2014/main" id="{1B31B9E4-B107-F43A-4014-6A1FDF6E8593}"/>
                  </a:ext>
                </a:extLst>
              </p:cNvPr>
              <p:cNvSpPr/>
              <p:nvPr/>
            </p:nvSpPr>
            <p:spPr>
              <a:xfrm>
                <a:off x="3975068" y="1421856"/>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endParaRPr lang="en-US" sz="1800" dirty="0"/>
              </a:p>
            </p:txBody>
          </p:sp>
          <p:sp>
            <p:nvSpPr>
              <p:cNvPr id="51" name="Freeform 50">
                <a:extLst>
                  <a:ext uri="{FF2B5EF4-FFF2-40B4-BE49-F238E27FC236}">
                    <a16:creationId xmlns:a16="http://schemas.microsoft.com/office/drawing/2014/main" id="{2AE472E9-0BE2-7AA8-CF2B-F048712AED42}"/>
                  </a:ext>
                </a:extLst>
              </p:cNvPr>
              <p:cNvSpPr/>
              <p:nvPr/>
            </p:nvSpPr>
            <p:spPr>
              <a:xfrm>
                <a:off x="4087020" y="1459320"/>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52" name="Freeform 51">
                <a:extLst>
                  <a:ext uri="{FF2B5EF4-FFF2-40B4-BE49-F238E27FC236}">
                    <a16:creationId xmlns:a16="http://schemas.microsoft.com/office/drawing/2014/main" id="{625794F6-EABD-418B-430C-E01354454541}"/>
                  </a:ext>
                </a:extLst>
              </p:cNvPr>
              <p:cNvSpPr/>
              <p:nvPr/>
            </p:nvSpPr>
            <p:spPr>
              <a:xfrm>
                <a:off x="4116420" y="1430838"/>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endParaRPr lang="en-US" sz="1800" dirty="0"/>
              </a:p>
            </p:txBody>
          </p:sp>
          <p:sp>
            <p:nvSpPr>
              <p:cNvPr id="53" name="Freeform 52">
                <a:extLst>
                  <a:ext uri="{FF2B5EF4-FFF2-40B4-BE49-F238E27FC236}">
                    <a16:creationId xmlns:a16="http://schemas.microsoft.com/office/drawing/2014/main" id="{551FC0AF-983F-A789-F132-D22C26C5A1C3}"/>
                  </a:ext>
                </a:extLst>
              </p:cNvPr>
              <p:cNvSpPr/>
              <p:nvPr/>
            </p:nvSpPr>
            <p:spPr>
              <a:xfrm>
                <a:off x="4198867" y="1468303"/>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endParaRPr lang="en-US" sz="1800" dirty="0"/>
              </a:p>
            </p:txBody>
          </p:sp>
          <p:sp>
            <p:nvSpPr>
              <p:cNvPr id="54" name="Freeform 53">
                <a:extLst>
                  <a:ext uri="{FF2B5EF4-FFF2-40B4-BE49-F238E27FC236}">
                    <a16:creationId xmlns:a16="http://schemas.microsoft.com/office/drawing/2014/main" id="{20DB7737-BCBB-F5BF-93CC-1BAEB1AC2AD9}"/>
                  </a:ext>
                </a:extLst>
              </p:cNvPr>
              <p:cNvSpPr/>
              <p:nvPr/>
            </p:nvSpPr>
            <p:spPr>
              <a:xfrm>
                <a:off x="4228249" y="1439838"/>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endParaRPr lang="en-US" sz="1800" dirty="0"/>
              </a:p>
            </p:txBody>
          </p:sp>
          <p:sp>
            <p:nvSpPr>
              <p:cNvPr id="55" name="Freeform 54">
                <a:extLst>
                  <a:ext uri="{FF2B5EF4-FFF2-40B4-BE49-F238E27FC236}">
                    <a16:creationId xmlns:a16="http://schemas.microsoft.com/office/drawing/2014/main" id="{39863BD0-7605-2943-B1D9-F28975268666}"/>
                  </a:ext>
                </a:extLst>
              </p:cNvPr>
              <p:cNvSpPr/>
              <p:nvPr/>
            </p:nvSpPr>
            <p:spPr>
              <a:xfrm>
                <a:off x="4222373" y="1477426"/>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56" name="Freeform 55">
                <a:extLst>
                  <a:ext uri="{FF2B5EF4-FFF2-40B4-BE49-F238E27FC236}">
                    <a16:creationId xmlns:a16="http://schemas.microsoft.com/office/drawing/2014/main" id="{409FF8AA-B370-5517-F962-4AB7F7C1FB8F}"/>
                  </a:ext>
                </a:extLst>
              </p:cNvPr>
              <p:cNvSpPr/>
              <p:nvPr/>
            </p:nvSpPr>
            <p:spPr>
              <a:xfrm>
                <a:off x="4251773" y="1448944"/>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endParaRPr lang="en-US" sz="1800" dirty="0"/>
              </a:p>
            </p:txBody>
          </p:sp>
          <p:sp>
            <p:nvSpPr>
              <p:cNvPr id="57" name="Freeform 56">
                <a:extLst>
                  <a:ext uri="{FF2B5EF4-FFF2-40B4-BE49-F238E27FC236}">
                    <a16:creationId xmlns:a16="http://schemas.microsoft.com/office/drawing/2014/main" id="{AF1E7AD5-6874-57C8-6F44-4AF94315F9F3}"/>
                  </a:ext>
                </a:extLst>
              </p:cNvPr>
              <p:cNvSpPr/>
              <p:nvPr/>
            </p:nvSpPr>
            <p:spPr>
              <a:xfrm>
                <a:off x="4369479" y="1486532"/>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58" name="Freeform 57">
                <a:extLst>
                  <a:ext uri="{FF2B5EF4-FFF2-40B4-BE49-F238E27FC236}">
                    <a16:creationId xmlns:a16="http://schemas.microsoft.com/office/drawing/2014/main" id="{22EAC880-EA10-4053-256E-E5C2E2CAE52C}"/>
                  </a:ext>
                </a:extLst>
              </p:cNvPr>
              <p:cNvSpPr/>
              <p:nvPr/>
            </p:nvSpPr>
            <p:spPr>
              <a:xfrm>
                <a:off x="4398879" y="1458050"/>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endParaRPr lang="en-US" sz="1800" dirty="0"/>
              </a:p>
            </p:txBody>
          </p:sp>
          <p:sp>
            <p:nvSpPr>
              <p:cNvPr id="59" name="Freeform 58">
                <a:extLst>
                  <a:ext uri="{FF2B5EF4-FFF2-40B4-BE49-F238E27FC236}">
                    <a16:creationId xmlns:a16="http://schemas.microsoft.com/office/drawing/2014/main" id="{BFBC5BF6-9211-F5CD-A130-3A81DAD512BB}"/>
                  </a:ext>
                </a:extLst>
              </p:cNvPr>
              <p:cNvSpPr/>
              <p:nvPr/>
            </p:nvSpPr>
            <p:spPr>
              <a:xfrm>
                <a:off x="4551984" y="1550326"/>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60" name="Freeform 59">
                <a:extLst>
                  <a:ext uri="{FF2B5EF4-FFF2-40B4-BE49-F238E27FC236}">
                    <a16:creationId xmlns:a16="http://schemas.microsoft.com/office/drawing/2014/main" id="{95F003DA-F2E0-CE37-6A77-EC7B387AC519}"/>
                  </a:ext>
                </a:extLst>
              </p:cNvPr>
              <p:cNvSpPr/>
              <p:nvPr/>
            </p:nvSpPr>
            <p:spPr>
              <a:xfrm>
                <a:off x="4581384" y="1521844"/>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27377D"/>
                </a:solidFill>
                <a:prstDash val="solid"/>
                <a:miter/>
              </a:ln>
            </p:spPr>
            <p:txBody>
              <a:bodyPr rtlCol="0" anchor="ctr"/>
              <a:lstStyle/>
              <a:p>
                <a:endParaRPr lang="en-US" sz="1800" dirty="0"/>
              </a:p>
            </p:txBody>
          </p:sp>
          <p:sp>
            <p:nvSpPr>
              <p:cNvPr id="61" name="Freeform 60">
                <a:extLst>
                  <a:ext uri="{FF2B5EF4-FFF2-40B4-BE49-F238E27FC236}">
                    <a16:creationId xmlns:a16="http://schemas.microsoft.com/office/drawing/2014/main" id="{625E57A0-1FC3-6D51-124D-35A183CA9C04}"/>
                  </a:ext>
                </a:extLst>
              </p:cNvPr>
              <p:cNvSpPr/>
              <p:nvPr/>
            </p:nvSpPr>
            <p:spPr>
              <a:xfrm>
                <a:off x="4599014" y="1559449"/>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62" name="Freeform 61">
                <a:extLst>
                  <a:ext uri="{FF2B5EF4-FFF2-40B4-BE49-F238E27FC236}">
                    <a16:creationId xmlns:a16="http://schemas.microsoft.com/office/drawing/2014/main" id="{FC3750F6-5B5B-0E49-5342-71306068E714}"/>
                  </a:ext>
                </a:extLst>
              </p:cNvPr>
              <p:cNvSpPr/>
              <p:nvPr/>
            </p:nvSpPr>
            <p:spPr>
              <a:xfrm>
                <a:off x="4628413" y="1530967"/>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endParaRPr lang="en-US" sz="1800" dirty="0"/>
              </a:p>
            </p:txBody>
          </p:sp>
          <p:sp>
            <p:nvSpPr>
              <p:cNvPr id="63" name="Freeform 62">
                <a:extLst>
                  <a:ext uri="{FF2B5EF4-FFF2-40B4-BE49-F238E27FC236}">
                    <a16:creationId xmlns:a16="http://schemas.microsoft.com/office/drawing/2014/main" id="{E02A9341-EB8B-3B63-077C-1BCCFF1D5C73}"/>
                  </a:ext>
                </a:extLst>
              </p:cNvPr>
              <p:cNvSpPr/>
              <p:nvPr/>
            </p:nvSpPr>
            <p:spPr>
              <a:xfrm>
                <a:off x="4604908" y="1559449"/>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endParaRPr lang="en-US" sz="1800" dirty="0"/>
              </a:p>
            </p:txBody>
          </p:sp>
          <p:sp>
            <p:nvSpPr>
              <p:cNvPr id="64" name="Freeform 63">
                <a:extLst>
                  <a:ext uri="{FF2B5EF4-FFF2-40B4-BE49-F238E27FC236}">
                    <a16:creationId xmlns:a16="http://schemas.microsoft.com/office/drawing/2014/main" id="{144C17EC-A116-E0E3-4A07-80D8C0DFBC09}"/>
                  </a:ext>
                </a:extLst>
              </p:cNvPr>
              <p:cNvSpPr/>
              <p:nvPr/>
            </p:nvSpPr>
            <p:spPr>
              <a:xfrm>
                <a:off x="4634290" y="1530967"/>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endParaRPr lang="en-US" sz="1800" dirty="0"/>
              </a:p>
            </p:txBody>
          </p:sp>
          <p:sp>
            <p:nvSpPr>
              <p:cNvPr id="65" name="Freeform 64">
                <a:extLst>
                  <a:ext uri="{FF2B5EF4-FFF2-40B4-BE49-F238E27FC236}">
                    <a16:creationId xmlns:a16="http://schemas.microsoft.com/office/drawing/2014/main" id="{B949CDF4-C899-44AD-2E01-15AC5F979393}"/>
                  </a:ext>
                </a:extLst>
              </p:cNvPr>
              <p:cNvSpPr/>
              <p:nvPr/>
            </p:nvSpPr>
            <p:spPr>
              <a:xfrm>
                <a:off x="4805043" y="1679185"/>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66" name="Freeform 65">
                <a:extLst>
                  <a:ext uri="{FF2B5EF4-FFF2-40B4-BE49-F238E27FC236}">
                    <a16:creationId xmlns:a16="http://schemas.microsoft.com/office/drawing/2014/main" id="{596DEEF3-386D-5CF1-D115-9D7442E3C2F0}"/>
                  </a:ext>
                </a:extLst>
              </p:cNvPr>
              <p:cNvSpPr/>
              <p:nvPr/>
            </p:nvSpPr>
            <p:spPr>
              <a:xfrm>
                <a:off x="4834443" y="1650702"/>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endParaRPr lang="en-US" sz="1800" dirty="0"/>
              </a:p>
            </p:txBody>
          </p:sp>
          <p:sp>
            <p:nvSpPr>
              <p:cNvPr id="67" name="Freeform 66">
                <a:extLst>
                  <a:ext uri="{FF2B5EF4-FFF2-40B4-BE49-F238E27FC236}">
                    <a16:creationId xmlns:a16="http://schemas.microsoft.com/office/drawing/2014/main" id="{89F28C6D-C12C-FD9A-7B9F-F96DC3868314}"/>
                  </a:ext>
                </a:extLst>
              </p:cNvPr>
              <p:cNvSpPr/>
              <p:nvPr/>
            </p:nvSpPr>
            <p:spPr>
              <a:xfrm>
                <a:off x="4840460" y="1688414"/>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endParaRPr lang="en-US" sz="1800" dirty="0"/>
              </a:p>
            </p:txBody>
          </p:sp>
          <p:sp>
            <p:nvSpPr>
              <p:cNvPr id="68" name="Freeform 67">
                <a:extLst>
                  <a:ext uri="{FF2B5EF4-FFF2-40B4-BE49-F238E27FC236}">
                    <a16:creationId xmlns:a16="http://schemas.microsoft.com/office/drawing/2014/main" id="{9F07994B-6CE6-93EB-9D64-587B03BB3764}"/>
                  </a:ext>
                </a:extLst>
              </p:cNvPr>
              <p:cNvSpPr/>
              <p:nvPr/>
            </p:nvSpPr>
            <p:spPr>
              <a:xfrm>
                <a:off x="4869842" y="1659949"/>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endParaRPr lang="en-US" sz="1800" dirty="0"/>
              </a:p>
            </p:txBody>
          </p:sp>
          <p:sp>
            <p:nvSpPr>
              <p:cNvPr id="69" name="Freeform 68">
                <a:extLst>
                  <a:ext uri="{FF2B5EF4-FFF2-40B4-BE49-F238E27FC236}">
                    <a16:creationId xmlns:a16="http://schemas.microsoft.com/office/drawing/2014/main" id="{D29B6A39-8077-06DF-8AC0-AD5420A74C14}"/>
                  </a:ext>
                </a:extLst>
              </p:cNvPr>
              <p:cNvSpPr/>
              <p:nvPr/>
            </p:nvSpPr>
            <p:spPr>
              <a:xfrm>
                <a:off x="4875719" y="1688414"/>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70" name="Freeform 69">
                <a:extLst>
                  <a:ext uri="{FF2B5EF4-FFF2-40B4-BE49-F238E27FC236}">
                    <a16:creationId xmlns:a16="http://schemas.microsoft.com/office/drawing/2014/main" id="{1C3F7B8E-5D0E-C81C-2468-649EDA34A800}"/>
                  </a:ext>
                </a:extLst>
              </p:cNvPr>
              <p:cNvSpPr/>
              <p:nvPr/>
            </p:nvSpPr>
            <p:spPr>
              <a:xfrm>
                <a:off x="4905119" y="1659949"/>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endParaRPr lang="en-US" sz="1800" dirty="0"/>
              </a:p>
            </p:txBody>
          </p:sp>
          <p:sp>
            <p:nvSpPr>
              <p:cNvPr id="71" name="Freeform 70">
                <a:extLst>
                  <a:ext uri="{FF2B5EF4-FFF2-40B4-BE49-F238E27FC236}">
                    <a16:creationId xmlns:a16="http://schemas.microsoft.com/office/drawing/2014/main" id="{9B5048CC-A05E-D761-FBE9-91771131D1B2}"/>
                  </a:ext>
                </a:extLst>
              </p:cNvPr>
              <p:cNvSpPr/>
              <p:nvPr/>
            </p:nvSpPr>
            <p:spPr>
              <a:xfrm>
                <a:off x="4893366" y="1688414"/>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endParaRPr lang="en-US" sz="1800" dirty="0"/>
              </a:p>
            </p:txBody>
          </p:sp>
          <p:sp>
            <p:nvSpPr>
              <p:cNvPr id="72" name="Freeform 71">
                <a:extLst>
                  <a:ext uri="{FF2B5EF4-FFF2-40B4-BE49-F238E27FC236}">
                    <a16:creationId xmlns:a16="http://schemas.microsoft.com/office/drawing/2014/main" id="{E16E90C9-148A-763E-A972-6C5ED82AACBE}"/>
                  </a:ext>
                </a:extLst>
              </p:cNvPr>
              <p:cNvSpPr/>
              <p:nvPr/>
            </p:nvSpPr>
            <p:spPr>
              <a:xfrm>
                <a:off x="4922766" y="1659949"/>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endParaRPr lang="en-US" sz="1800" dirty="0"/>
              </a:p>
            </p:txBody>
          </p:sp>
          <p:sp>
            <p:nvSpPr>
              <p:cNvPr id="73" name="Freeform 72">
                <a:extLst>
                  <a:ext uri="{FF2B5EF4-FFF2-40B4-BE49-F238E27FC236}">
                    <a16:creationId xmlns:a16="http://schemas.microsoft.com/office/drawing/2014/main" id="{EEE19470-CE20-72B1-2BB7-C13DD2D4DB2F}"/>
                  </a:ext>
                </a:extLst>
              </p:cNvPr>
              <p:cNvSpPr/>
              <p:nvPr/>
            </p:nvSpPr>
            <p:spPr>
              <a:xfrm>
                <a:off x="4981672" y="1716402"/>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74" name="Freeform 73">
                <a:extLst>
                  <a:ext uri="{FF2B5EF4-FFF2-40B4-BE49-F238E27FC236}">
                    <a16:creationId xmlns:a16="http://schemas.microsoft.com/office/drawing/2014/main" id="{875DE735-05C0-5F5C-5457-048AFB267C68}"/>
                  </a:ext>
                </a:extLst>
              </p:cNvPr>
              <p:cNvSpPr/>
              <p:nvPr/>
            </p:nvSpPr>
            <p:spPr>
              <a:xfrm>
                <a:off x="5011072" y="1687920"/>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endParaRPr lang="en-US" sz="1800" dirty="0"/>
              </a:p>
            </p:txBody>
          </p:sp>
          <p:sp>
            <p:nvSpPr>
              <p:cNvPr id="75" name="Freeform 74">
                <a:extLst>
                  <a:ext uri="{FF2B5EF4-FFF2-40B4-BE49-F238E27FC236}">
                    <a16:creationId xmlns:a16="http://schemas.microsoft.com/office/drawing/2014/main" id="{2A07FF93-6DEF-0056-EB0F-512A6BA6397A}"/>
                  </a:ext>
                </a:extLst>
              </p:cNvPr>
              <p:cNvSpPr/>
              <p:nvPr/>
            </p:nvSpPr>
            <p:spPr>
              <a:xfrm>
                <a:off x="5064119" y="1763096"/>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endParaRPr lang="en-US" sz="1800" dirty="0"/>
              </a:p>
            </p:txBody>
          </p:sp>
          <p:sp>
            <p:nvSpPr>
              <p:cNvPr id="76" name="Freeform 75">
                <a:extLst>
                  <a:ext uri="{FF2B5EF4-FFF2-40B4-BE49-F238E27FC236}">
                    <a16:creationId xmlns:a16="http://schemas.microsoft.com/office/drawing/2014/main" id="{329376B6-0A59-8F80-E128-A03F1072790B}"/>
                  </a:ext>
                </a:extLst>
              </p:cNvPr>
              <p:cNvSpPr/>
              <p:nvPr/>
            </p:nvSpPr>
            <p:spPr>
              <a:xfrm>
                <a:off x="5093519" y="1734614"/>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endParaRPr lang="en-US" sz="1800" dirty="0"/>
              </a:p>
            </p:txBody>
          </p:sp>
          <p:sp>
            <p:nvSpPr>
              <p:cNvPr id="77" name="Freeform 76">
                <a:extLst>
                  <a:ext uri="{FF2B5EF4-FFF2-40B4-BE49-F238E27FC236}">
                    <a16:creationId xmlns:a16="http://schemas.microsoft.com/office/drawing/2014/main" id="{7C70F246-29DC-8526-C200-1899B1DBECA2}"/>
                  </a:ext>
                </a:extLst>
              </p:cNvPr>
              <p:cNvSpPr/>
              <p:nvPr/>
            </p:nvSpPr>
            <p:spPr>
              <a:xfrm>
                <a:off x="5093519" y="1791208"/>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endParaRPr lang="en-US" sz="1800" dirty="0"/>
              </a:p>
            </p:txBody>
          </p:sp>
          <p:sp>
            <p:nvSpPr>
              <p:cNvPr id="78" name="Freeform 77">
                <a:extLst>
                  <a:ext uri="{FF2B5EF4-FFF2-40B4-BE49-F238E27FC236}">
                    <a16:creationId xmlns:a16="http://schemas.microsoft.com/office/drawing/2014/main" id="{2545F1F4-1AB6-917E-B16A-BC341DFCF8C7}"/>
                  </a:ext>
                </a:extLst>
              </p:cNvPr>
              <p:cNvSpPr/>
              <p:nvPr/>
            </p:nvSpPr>
            <p:spPr>
              <a:xfrm>
                <a:off x="5122901" y="1762726"/>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endParaRPr lang="en-US" sz="1800" dirty="0"/>
              </a:p>
            </p:txBody>
          </p:sp>
          <p:sp>
            <p:nvSpPr>
              <p:cNvPr id="79" name="Freeform 78">
                <a:extLst>
                  <a:ext uri="{FF2B5EF4-FFF2-40B4-BE49-F238E27FC236}">
                    <a16:creationId xmlns:a16="http://schemas.microsoft.com/office/drawing/2014/main" id="{9C0616B7-02D5-2E94-5EC9-0190421C3351}"/>
                  </a:ext>
                </a:extLst>
              </p:cNvPr>
              <p:cNvSpPr/>
              <p:nvPr/>
            </p:nvSpPr>
            <p:spPr>
              <a:xfrm>
                <a:off x="5181824" y="1819425"/>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80" name="Freeform 79">
                <a:extLst>
                  <a:ext uri="{FF2B5EF4-FFF2-40B4-BE49-F238E27FC236}">
                    <a16:creationId xmlns:a16="http://schemas.microsoft.com/office/drawing/2014/main" id="{87396E59-639C-E245-9CFB-41A669A2D0C4}"/>
                  </a:ext>
                </a:extLst>
              </p:cNvPr>
              <p:cNvSpPr/>
              <p:nvPr/>
            </p:nvSpPr>
            <p:spPr>
              <a:xfrm>
                <a:off x="5211224" y="1790943"/>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endParaRPr lang="en-US" sz="1800" dirty="0"/>
              </a:p>
            </p:txBody>
          </p:sp>
          <p:sp>
            <p:nvSpPr>
              <p:cNvPr id="81" name="Freeform 80">
                <a:extLst>
                  <a:ext uri="{FF2B5EF4-FFF2-40B4-BE49-F238E27FC236}">
                    <a16:creationId xmlns:a16="http://schemas.microsoft.com/office/drawing/2014/main" id="{38AB64B1-D078-5773-7153-A0C72A35B9FB}"/>
                  </a:ext>
                </a:extLst>
              </p:cNvPr>
              <p:cNvSpPr/>
              <p:nvPr/>
            </p:nvSpPr>
            <p:spPr>
              <a:xfrm>
                <a:off x="5246501" y="1847784"/>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endParaRPr lang="en-US" sz="1800" dirty="0"/>
              </a:p>
            </p:txBody>
          </p:sp>
          <p:sp>
            <p:nvSpPr>
              <p:cNvPr id="82" name="Freeform 81">
                <a:extLst>
                  <a:ext uri="{FF2B5EF4-FFF2-40B4-BE49-F238E27FC236}">
                    <a16:creationId xmlns:a16="http://schemas.microsoft.com/office/drawing/2014/main" id="{D856A337-FBD4-6C2E-7347-FC1BFDE6FCBB}"/>
                  </a:ext>
                </a:extLst>
              </p:cNvPr>
              <p:cNvSpPr/>
              <p:nvPr/>
            </p:nvSpPr>
            <p:spPr>
              <a:xfrm>
                <a:off x="5275883" y="1819302"/>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endParaRPr lang="en-US" sz="1800" dirty="0"/>
              </a:p>
            </p:txBody>
          </p:sp>
          <p:sp>
            <p:nvSpPr>
              <p:cNvPr id="83" name="Freeform 82">
                <a:extLst>
                  <a:ext uri="{FF2B5EF4-FFF2-40B4-BE49-F238E27FC236}">
                    <a16:creationId xmlns:a16="http://schemas.microsoft.com/office/drawing/2014/main" id="{B5FD25F1-DCA2-9210-1ECD-B770D0966006}"/>
                  </a:ext>
                </a:extLst>
              </p:cNvPr>
              <p:cNvSpPr/>
              <p:nvPr/>
            </p:nvSpPr>
            <p:spPr>
              <a:xfrm>
                <a:off x="5323053" y="1895114"/>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endParaRPr lang="en-US" sz="1800" dirty="0"/>
              </a:p>
            </p:txBody>
          </p:sp>
          <p:sp>
            <p:nvSpPr>
              <p:cNvPr id="84" name="Freeform 83">
                <a:extLst>
                  <a:ext uri="{FF2B5EF4-FFF2-40B4-BE49-F238E27FC236}">
                    <a16:creationId xmlns:a16="http://schemas.microsoft.com/office/drawing/2014/main" id="{29C86CA6-42EE-F2E9-D47C-3D19C0C4C067}"/>
                  </a:ext>
                </a:extLst>
              </p:cNvPr>
              <p:cNvSpPr/>
              <p:nvPr/>
            </p:nvSpPr>
            <p:spPr>
              <a:xfrm>
                <a:off x="5352453" y="1866631"/>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endParaRPr lang="en-US" sz="1800" dirty="0"/>
              </a:p>
            </p:txBody>
          </p:sp>
          <p:sp>
            <p:nvSpPr>
              <p:cNvPr id="85" name="Freeform 84">
                <a:extLst>
                  <a:ext uri="{FF2B5EF4-FFF2-40B4-BE49-F238E27FC236}">
                    <a16:creationId xmlns:a16="http://schemas.microsoft.com/office/drawing/2014/main" id="{E645D536-FC09-7664-9953-16504E2E7569}"/>
                  </a:ext>
                </a:extLst>
              </p:cNvPr>
              <p:cNvSpPr/>
              <p:nvPr/>
            </p:nvSpPr>
            <p:spPr>
              <a:xfrm>
                <a:off x="5381977" y="1923719"/>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endParaRPr lang="en-US" sz="1800" dirty="0"/>
              </a:p>
            </p:txBody>
          </p:sp>
          <p:sp>
            <p:nvSpPr>
              <p:cNvPr id="86" name="Freeform 85">
                <a:extLst>
                  <a:ext uri="{FF2B5EF4-FFF2-40B4-BE49-F238E27FC236}">
                    <a16:creationId xmlns:a16="http://schemas.microsoft.com/office/drawing/2014/main" id="{EBD229A3-7A31-2692-BBE2-93444F7FC742}"/>
                  </a:ext>
                </a:extLst>
              </p:cNvPr>
              <p:cNvSpPr/>
              <p:nvPr/>
            </p:nvSpPr>
            <p:spPr>
              <a:xfrm>
                <a:off x="5411359" y="1895237"/>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endParaRPr lang="en-US" sz="1800" dirty="0"/>
              </a:p>
            </p:txBody>
          </p:sp>
          <p:sp>
            <p:nvSpPr>
              <p:cNvPr id="87" name="Freeform 86">
                <a:extLst>
                  <a:ext uri="{FF2B5EF4-FFF2-40B4-BE49-F238E27FC236}">
                    <a16:creationId xmlns:a16="http://schemas.microsoft.com/office/drawing/2014/main" id="{CAFD3F88-0C15-A6B2-0906-48026A24C76B}"/>
                  </a:ext>
                </a:extLst>
              </p:cNvPr>
              <p:cNvSpPr/>
              <p:nvPr/>
            </p:nvSpPr>
            <p:spPr>
              <a:xfrm>
                <a:off x="5493806" y="1933214"/>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endParaRPr lang="en-US" sz="1800" dirty="0"/>
              </a:p>
            </p:txBody>
          </p:sp>
          <p:sp>
            <p:nvSpPr>
              <p:cNvPr id="88" name="Freeform 87">
                <a:extLst>
                  <a:ext uri="{FF2B5EF4-FFF2-40B4-BE49-F238E27FC236}">
                    <a16:creationId xmlns:a16="http://schemas.microsoft.com/office/drawing/2014/main" id="{AD74D4F7-5E8D-314F-3374-52206B8EB28F}"/>
                  </a:ext>
                </a:extLst>
              </p:cNvPr>
              <p:cNvSpPr/>
              <p:nvPr/>
            </p:nvSpPr>
            <p:spPr>
              <a:xfrm>
                <a:off x="5523206" y="1904731"/>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endParaRPr lang="en-US" sz="1800" dirty="0"/>
              </a:p>
            </p:txBody>
          </p:sp>
          <p:sp>
            <p:nvSpPr>
              <p:cNvPr id="89" name="Freeform 88">
                <a:extLst>
                  <a:ext uri="{FF2B5EF4-FFF2-40B4-BE49-F238E27FC236}">
                    <a16:creationId xmlns:a16="http://schemas.microsoft.com/office/drawing/2014/main" id="{5EB42348-3820-935F-7F95-B55AB55CB7EB}"/>
                  </a:ext>
                </a:extLst>
              </p:cNvPr>
              <p:cNvSpPr/>
              <p:nvPr/>
            </p:nvSpPr>
            <p:spPr>
              <a:xfrm>
                <a:off x="5558465" y="1933214"/>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90" name="Freeform 89">
                <a:extLst>
                  <a:ext uri="{FF2B5EF4-FFF2-40B4-BE49-F238E27FC236}">
                    <a16:creationId xmlns:a16="http://schemas.microsoft.com/office/drawing/2014/main" id="{7C501ECC-386F-0A54-6BF5-BB8A7A8F2E77}"/>
                  </a:ext>
                </a:extLst>
              </p:cNvPr>
              <p:cNvSpPr/>
              <p:nvPr/>
            </p:nvSpPr>
            <p:spPr>
              <a:xfrm>
                <a:off x="5587865" y="1904731"/>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endParaRPr lang="en-US" sz="1800" dirty="0"/>
              </a:p>
            </p:txBody>
          </p:sp>
          <p:sp>
            <p:nvSpPr>
              <p:cNvPr id="91" name="Freeform 90">
                <a:extLst>
                  <a:ext uri="{FF2B5EF4-FFF2-40B4-BE49-F238E27FC236}">
                    <a16:creationId xmlns:a16="http://schemas.microsoft.com/office/drawing/2014/main" id="{231BC373-1284-62A3-9829-30125482CF64}"/>
                  </a:ext>
                </a:extLst>
              </p:cNvPr>
              <p:cNvSpPr/>
              <p:nvPr/>
            </p:nvSpPr>
            <p:spPr>
              <a:xfrm>
                <a:off x="5564359" y="1942831"/>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endParaRPr lang="en-US" sz="1800" dirty="0"/>
              </a:p>
            </p:txBody>
          </p:sp>
          <p:sp>
            <p:nvSpPr>
              <p:cNvPr id="92" name="Freeform 91">
                <a:extLst>
                  <a:ext uri="{FF2B5EF4-FFF2-40B4-BE49-F238E27FC236}">
                    <a16:creationId xmlns:a16="http://schemas.microsoft.com/office/drawing/2014/main" id="{89F80B39-370E-4086-3C34-506F1C51BD9F}"/>
                  </a:ext>
                </a:extLst>
              </p:cNvPr>
              <p:cNvSpPr/>
              <p:nvPr/>
            </p:nvSpPr>
            <p:spPr>
              <a:xfrm>
                <a:off x="5593741" y="1914367"/>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endParaRPr lang="en-US" sz="1800" dirty="0"/>
              </a:p>
            </p:txBody>
          </p:sp>
          <p:sp>
            <p:nvSpPr>
              <p:cNvPr id="93" name="Freeform 92">
                <a:extLst>
                  <a:ext uri="{FF2B5EF4-FFF2-40B4-BE49-F238E27FC236}">
                    <a16:creationId xmlns:a16="http://schemas.microsoft.com/office/drawing/2014/main" id="{404E1CBE-E61C-43F4-15B9-ED375564C209}"/>
                  </a:ext>
                </a:extLst>
              </p:cNvPr>
              <p:cNvSpPr/>
              <p:nvPr/>
            </p:nvSpPr>
            <p:spPr>
              <a:xfrm>
                <a:off x="5564359" y="1942831"/>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endParaRPr lang="en-US" sz="1800" dirty="0"/>
              </a:p>
            </p:txBody>
          </p:sp>
          <p:sp>
            <p:nvSpPr>
              <p:cNvPr id="94" name="Freeform 93">
                <a:extLst>
                  <a:ext uri="{FF2B5EF4-FFF2-40B4-BE49-F238E27FC236}">
                    <a16:creationId xmlns:a16="http://schemas.microsoft.com/office/drawing/2014/main" id="{999186CB-EF38-692F-1FE0-CC83DAF2724D}"/>
                  </a:ext>
                </a:extLst>
              </p:cNvPr>
              <p:cNvSpPr/>
              <p:nvPr/>
            </p:nvSpPr>
            <p:spPr>
              <a:xfrm>
                <a:off x="5593741" y="1914367"/>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endParaRPr lang="en-US" sz="1800" dirty="0"/>
              </a:p>
            </p:txBody>
          </p:sp>
          <p:sp>
            <p:nvSpPr>
              <p:cNvPr id="95" name="Freeform 94">
                <a:extLst>
                  <a:ext uri="{FF2B5EF4-FFF2-40B4-BE49-F238E27FC236}">
                    <a16:creationId xmlns:a16="http://schemas.microsoft.com/office/drawing/2014/main" id="{6D5889A5-2B1D-B50E-EFA5-9DF25BFF7A13}"/>
                  </a:ext>
                </a:extLst>
              </p:cNvPr>
              <p:cNvSpPr/>
              <p:nvPr/>
            </p:nvSpPr>
            <p:spPr>
              <a:xfrm>
                <a:off x="5599759" y="1952590"/>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endParaRPr lang="en-US" sz="1800" dirty="0"/>
              </a:p>
            </p:txBody>
          </p:sp>
          <p:sp>
            <p:nvSpPr>
              <p:cNvPr id="96" name="Freeform 95">
                <a:extLst>
                  <a:ext uri="{FF2B5EF4-FFF2-40B4-BE49-F238E27FC236}">
                    <a16:creationId xmlns:a16="http://schemas.microsoft.com/office/drawing/2014/main" id="{028C7D07-F77A-667B-970D-BA3331A2E831}"/>
                  </a:ext>
                </a:extLst>
              </p:cNvPr>
              <p:cNvSpPr/>
              <p:nvPr/>
            </p:nvSpPr>
            <p:spPr>
              <a:xfrm>
                <a:off x="5629159" y="1924108"/>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endParaRPr lang="en-US" sz="1800" dirty="0"/>
              </a:p>
            </p:txBody>
          </p:sp>
          <p:sp>
            <p:nvSpPr>
              <p:cNvPr id="97" name="Freeform 96">
                <a:extLst>
                  <a:ext uri="{FF2B5EF4-FFF2-40B4-BE49-F238E27FC236}">
                    <a16:creationId xmlns:a16="http://schemas.microsoft.com/office/drawing/2014/main" id="{69E71152-D913-9F66-4F87-01F693E34349}"/>
                  </a:ext>
                </a:extLst>
              </p:cNvPr>
              <p:cNvSpPr/>
              <p:nvPr/>
            </p:nvSpPr>
            <p:spPr>
              <a:xfrm>
                <a:off x="5605635" y="1952590"/>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endParaRPr lang="en-US" sz="1800" dirty="0"/>
              </a:p>
            </p:txBody>
          </p:sp>
          <p:sp>
            <p:nvSpPr>
              <p:cNvPr id="98" name="Freeform 97">
                <a:extLst>
                  <a:ext uri="{FF2B5EF4-FFF2-40B4-BE49-F238E27FC236}">
                    <a16:creationId xmlns:a16="http://schemas.microsoft.com/office/drawing/2014/main" id="{45E1916A-B2CD-D2FE-9D09-97E83FE5E568}"/>
                  </a:ext>
                </a:extLst>
              </p:cNvPr>
              <p:cNvSpPr/>
              <p:nvPr/>
            </p:nvSpPr>
            <p:spPr>
              <a:xfrm>
                <a:off x="5635035" y="1924108"/>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endParaRPr lang="en-US" sz="1800" dirty="0"/>
              </a:p>
            </p:txBody>
          </p:sp>
          <p:sp>
            <p:nvSpPr>
              <p:cNvPr id="99" name="Freeform 98">
                <a:extLst>
                  <a:ext uri="{FF2B5EF4-FFF2-40B4-BE49-F238E27FC236}">
                    <a16:creationId xmlns:a16="http://schemas.microsoft.com/office/drawing/2014/main" id="{5EF5A4AA-952F-B392-E021-A51E1C6C75C8}"/>
                  </a:ext>
                </a:extLst>
              </p:cNvPr>
              <p:cNvSpPr/>
              <p:nvPr/>
            </p:nvSpPr>
            <p:spPr>
              <a:xfrm>
                <a:off x="5617388" y="1952590"/>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100" name="Freeform 99">
                <a:extLst>
                  <a:ext uri="{FF2B5EF4-FFF2-40B4-BE49-F238E27FC236}">
                    <a16:creationId xmlns:a16="http://schemas.microsoft.com/office/drawing/2014/main" id="{FAF18C9F-3854-D02F-731B-A001FC1F2653}"/>
                  </a:ext>
                </a:extLst>
              </p:cNvPr>
              <p:cNvSpPr/>
              <p:nvPr/>
            </p:nvSpPr>
            <p:spPr>
              <a:xfrm>
                <a:off x="5646788" y="1924108"/>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endParaRPr lang="en-US" sz="1800" dirty="0"/>
              </a:p>
            </p:txBody>
          </p:sp>
          <p:sp>
            <p:nvSpPr>
              <p:cNvPr id="101" name="Freeform 100">
                <a:extLst>
                  <a:ext uri="{FF2B5EF4-FFF2-40B4-BE49-F238E27FC236}">
                    <a16:creationId xmlns:a16="http://schemas.microsoft.com/office/drawing/2014/main" id="{55D77854-297C-0741-C992-3D38B7B200E0}"/>
                  </a:ext>
                </a:extLst>
              </p:cNvPr>
              <p:cNvSpPr/>
              <p:nvPr/>
            </p:nvSpPr>
            <p:spPr>
              <a:xfrm>
                <a:off x="5676312" y="1991696"/>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102" name="Freeform 101">
                <a:extLst>
                  <a:ext uri="{FF2B5EF4-FFF2-40B4-BE49-F238E27FC236}">
                    <a16:creationId xmlns:a16="http://schemas.microsoft.com/office/drawing/2014/main" id="{E133DACF-1800-21EE-F411-5CC04D6C865E}"/>
                  </a:ext>
                </a:extLst>
              </p:cNvPr>
              <p:cNvSpPr/>
              <p:nvPr/>
            </p:nvSpPr>
            <p:spPr>
              <a:xfrm>
                <a:off x="5705712" y="1963213"/>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endParaRPr lang="en-US" sz="1800" dirty="0"/>
              </a:p>
            </p:txBody>
          </p:sp>
          <p:sp>
            <p:nvSpPr>
              <p:cNvPr id="103" name="Freeform 102">
                <a:extLst>
                  <a:ext uri="{FF2B5EF4-FFF2-40B4-BE49-F238E27FC236}">
                    <a16:creationId xmlns:a16="http://schemas.microsoft.com/office/drawing/2014/main" id="{2C2BB867-EB37-0553-6BA2-DA64745F85D1}"/>
                  </a:ext>
                </a:extLst>
              </p:cNvPr>
              <p:cNvSpPr/>
              <p:nvPr/>
            </p:nvSpPr>
            <p:spPr>
              <a:xfrm>
                <a:off x="5682188" y="2011319"/>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104" name="Freeform 103">
                <a:extLst>
                  <a:ext uri="{FF2B5EF4-FFF2-40B4-BE49-F238E27FC236}">
                    <a16:creationId xmlns:a16="http://schemas.microsoft.com/office/drawing/2014/main" id="{FB702C37-47B1-E125-1988-404D05AABC13}"/>
                  </a:ext>
                </a:extLst>
              </p:cNvPr>
              <p:cNvSpPr/>
              <p:nvPr/>
            </p:nvSpPr>
            <p:spPr>
              <a:xfrm>
                <a:off x="5711588" y="1982837"/>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27377D"/>
                </a:solidFill>
                <a:prstDash val="solid"/>
                <a:miter/>
              </a:ln>
            </p:spPr>
            <p:txBody>
              <a:bodyPr rtlCol="0" anchor="ctr"/>
              <a:lstStyle/>
              <a:p>
                <a:endParaRPr lang="en-US" sz="1800" dirty="0"/>
              </a:p>
            </p:txBody>
          </p:sp>
          <p:sp>
            <p:nvSpPr>
              <p:cNvPr id="105" name="Freeform 104">
                <a:extLst>
                  <a:ext uri="{FF2B5EF4-FFF2-40B4-BE49-F238E27FC236}">
                    <a16:creationId xmlns:a16="http://schemas.microsoft.com/office/drawing/2014/main" id="{0678AF1C-E7F5-B6AE-3BCF-C2FB3765ED05}"/>
                  </a:ext>
                </a:extLst>
              </p:cNvPr>
              <p:cNvSpPr/>
              <p:nvPr/>
            </p:nvSpPr>
            <p:spPr>
              <a:xfrm>
                <a:off x="5688065" y="2011319"/>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106" name="Freeform 105">
                <a:extLst>
                  <a:ext uri="{FF2B5EF4-FFF2-40B4-BE49-F238E27FC236}">
                    <a16:creationId xmlns:a16="http://schemas.microsoft.com/office/drawing/2014/main" id="{203DBFC9-0BBE-D16A-2845-EE25456A47C3}"/>
                  </a:ext>
                </a:extLst>
              </p:cNvPr>
              <p:cNvSpPr/>
              <p:nvPr/>
            </p:nvSpPr>
            <p:spPr>
              <a:xfrm>
                <a:off x="5717465" y="1982837"/>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27377D"/>
                </a:solidFill>
                <a:prstDash val="solid"/>
                <a:miter/>
              </a:ln>
            </p:spPr>
            <p:txBody>
              <a:bodyPr rtlCol="0" anchor="ctr"/>
              <a:lstStyle/>
              <a:p>
                <a:endParaRPr lang="en-US" sz="1800" dirty="0"/>
              </a:p>
            </p:txBody>
          </p:sp>
          <p:sp>
            <p:nvSpPr>
              <p:cNvPr id="107" name="Freeform 106">
                <a:extLst>
                  <a:ext uri="{FF2B5EF4-FFF2-40B4-BE49-F238E27FC236}">
                    <a16:creationId xmlns:a16="http://schemas.microsoft.com/office/drawing/2014/main" id="{EC0FD91B-2DDF-848F-0114-939EB5CE2895}"/>
                  </a:ext>
                </a:extLst>
              </p:cNvPr>
              <p:cNvSpPr/>
              <p:nvPr/>
            </p:nvSpPr>
            <p:spPr>
              <a:xfrm>
                <a:off x="5705712" y="2031066"/>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endParaRPr lang="en-US" sz="1800" dirty="0"/>
              </a:p>
            </p:txBody>
          </p:sp>
          <p:sp>
            <p:nvSpPr>
              <p:cNvPr id="108" name="Freeform 107">
                <a:extLst>
                  <a:ext uri="{FF2B5EF4-FFF2-40B4-BE49-F238E27FC236}">
                    <a16:creationId xmlns:a16="http://schemas.microsoft.com/office/drawing/2014/main" id="{DFD87261-82B6-A53D-E5F1-251A77A2369E}"/>
                  </a:ext>
                </a:extLst>
              </p:cNvPr>
              <p:cNvSpPr/>
              <p:nvPr/>
            </p:nvSpPr>
            <p:spPr>
              <a:xfrm>
                <a:off x="5735112" y="2002584"/>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endParaRPr lang="en-US" sz="1800" dirty="0"/>
              </a:p>
            </p:txBody>
          </p:sp>
          <p:sp>
            <p:nvSpPr>
              <p:cNvPr id="109" name="Freeform 108">
                <a:extLst>
                  <a:ext uri="{FF2B5EF4-FFF2-40B4-BE49-F238E27FC236}">
                    <a16:creationId xmlns:a16="http://schemas.microsoft.com/office/drawing/2014/main" id="{D7AB153E-EDFC-3C9D-3DCA-2A8DD9E4634D}"/>
                  </a:ext>
                </a:extLst>
              </p:cNvPr>
              <p:cNvSpPr/>
              <p:nvPr/>
            </p:nvSpPr>
            <p:spPr>
              <a:xfrm>
                <a:off x="5729217" y="2041055"/>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110" name="Freeform 109">
                <a:extLst>
                  <a:ext uri="{FF2B5EF4-FFF2-40B4-BE49-F238E27FC236}">
                    <a16:creationId xmlns:a16="http://schemas.microsoft.com/office/drawing/2014/main" id="{A556E70D-78A0-A714-C9F2-F8F0E6E2C366}"/>
                  </a:ext>
                </a:extLst>
              </p:cNvPr>
              <p:cNvSpPr/>
              <p:nvPr/>
            </p:nvSpPr>
            <p:spPr>
              <a:xfrm>
                <a:off x="5758617" y="2012572"/>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endParaRPr lang="en-US" sz="1800" dirty="0"/>
              </a:p>
            </p:txBody>
          </p:sp>
          <p:sp>
            <p:nvSpPr>
              <p:cNvPr id="111" name="Freeform 110">
                <a:extLst>
                  <a:ext uri="{FF2B5EF4-FFF2-40B4-BE49-F238E27FC236}">
                    <a16:creationId xmlns:a16="http://schemas.microsoft.com/office/drawing/2014/main" id="{D2B212D0-83BB-33B9-BBE2-D34EA6AE3EA9}"/>
                  </a:ext>
                </a:extLst>
              </p:cNvPr>
              <p:cNvSpPr/>
              <p:nvPr/>
            </p:nvSpPr>
            <p:spPr>
              <a:xfrm>
                <a:off x="5746864" y="2041055"/>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endParaRPr lang="en-US" sz="1800" dirty="0"/>
              </a:p>
            </p:txBody>
          </p:sp>
          <p:sp>
            <p:nvSpPr>
              <p:cNvPr id="112" name="Freeform 111">
                <a:extLst>
                  <a:ext uri="{FF2B5EF4-FFF2-40B4-BE49-F238E27FC236}">
                    <a16:creationId xmlns:a16="http://schemas.microsoft.com/office/drawing/2014/main" id="{EE55FE59-06BF-184B-76EC-4BAEF81C0228}"/>
                  </a:ext>
                </a:extLst>
              </p:cNvPr>
              <p:cNvSpPr/>
              <p:nvPr/>
            </p:nvSpPr>
            <p:spPr>
              <a:xfrm>
                <a:off x="5776264" y="2012572"/>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endParaRPr lang="en-US" sz="1800" dirty="0"/>
              </a:p>
            </p:txBody>
          </p:sp>
          <p:sp>
            <p:nvSpPr>
              <p:cNvPr id="113" name="Freeform 112">
                <a:extLst>
                  <a:ext uri="{FF2B5EF4-FFF2-40B4-BE49-F238E27FC236}">
                    <a16:creationId xmlns:a16="http://schemas.microsoft.com/office/drawing/2014/main" id="{C7CE6589-66A9-93D1-44C4-E7FF62CCB3FA}"/>
                  </a:ext>
                </a:extLst>
              </p:cNvPr>
              <p:cNvSpPr/>
              <p:nvPr/>
            </p:nvSpPr>
            <p:spPr>
              <a:xfrm>
                <a:off x="5764494" y="2051060"/>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114" name="Freeform 113">
                <a:extLst>
                  <a:ext uri="{FF2B5EF4-FFF2-40B4-BE49-F238E27FC236}">
                    <a16:creationId xmlns:a16="http://schemas.microsoft.com/office/drawing/2014/main" id="{66FE9B1C-66C1-458E-5BC8-BE8974AA5C2B}"/>
                  </a:ext>
                </a:extLst>
              </p:cNvPr>
              <p:cNvSpPr/>
              <p:nvPr/>
            </p:nvSpPr>
            <p:spPr>
              <a:xfrm>
                <a:off x="5793894" y="2022578"/>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27377D"/>
                </a:solidFill>
                <a:prstDash val="solid"/>
                <a:miter/>
              </a:ln>
            </p:spPr>
            <p:txBody>
              <a:bodyPr rtlCol="0" anchor="ctr"/>
              <a:lstStyle/>
              <a:p>
                <a:endParaRPr lang="en-US" sz="1800" dirty="0"/>
              </a:p>
            </p:txBody>
          </p:sp>
          <p:sp>
            <p:nvSpPr>
              <p:cNvPr id="115" name="Freeform 114">
                <a:extLst>
                  <a:ext uri="{FF2B5EF4-FFF2-40B4-BE49-F238E27FC236}">
                    <a16:creationId xmlns:a16="http://schemas.microsoft.com/office/drawing/2014/main" id="{61F74EE2-052E-B5F2-5F77-21FC86A68374}"/>
                  </a:ext>
                </a:extLst>
              </p:cNvPr>
              <p:cNvSpPr/>
              <p:nvPr/>
            </p:nvSpPr>
            <p:spPr>
              <a:xfrm>
                <a:off x="5770370" y="2051060"/>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116" name="Freeform 115">
                <a:extLst>
                  <a:ext uri="{FF2B5EF4-FFF2-40B4-BE49-F238E27FC236}">
                    <a16:creationId xmlns:a16="http://schemas.microsoft.com/office/drawing/2014/main" id="{1288750C-EC88-7046-A110-AB40C5B35EA0}"/>
                  </a:ext>
                </a:extLst>
              </p:cNvPr>
              <p:cNvSpPr/>
              <p:nvPr/>
            </p:nvSpPr>
            <p:spPr>
              <a:xfrm>
                <a:off x="5799770" y="2022578"/>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27377D"/>
                </a:solidFill>
                <a:prstDash val="solid"/>
                <a:miter/>
              </a:ln>
            </p:spPr>
            <p:txBody>
              <a:bodyPr rtlCol="0" anchor="ctr"/>
              <a:lstStyle/>
              <a:p>
                <a:endParaRPr lang="en-US" sz="1800" dirty="0"/>
              </a:p>
            </p:txBody>
          </p:sp>
          <p:sp>
            <p:nvSpPr>
              <p:cNvPr id="117" name="Freeform 116">
                <a:extLst>
                  <a:ext uri="{FF2B5EF4-FFF2-40B4-BE49-F238E27FC236}">
                    <a16:creationId xmlns:a16="http://schemas.microsoft.com/office/drawing/2014/main" id="{F0E7C6EF-DE40-E33A-279C-7C715735DFD0}"/>
                  </a:ext>
                </a:extLst>
              </p:cNvPr>
              <p:cNvSpPr/>
              <p:nvPr/>
            </p:nvSpPr>
            <p:spPr>
              <a:xfrm>
                <a:off x="5788141" y="2051060"/>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118" name="Freeform 117">
                <a:extLst>
                  <a:ext uri="{FF2B5EF4-FFF2-40B4-BE49-F238E27FC236}">
                    <a16:creationId xmlns:a16="http://schemas.microsoft.com/office/drawing/2014/main" id="{E8C20D25-1865-D35B-E7B4-88A75E658DB7}"/>
                  </a:ext>
                </a:extLst>
              </p:cNvPr>
              <p:cNvSpPr/>
              <p:nvPr/>
            </p:nvSpPr>
            <p:spPr>
              <a:xfrm>
                <a:off x="5817541" y="2022578"/>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27377D"/>
                </a:solidFill>
                <a:prstDash val="solid"/>
                <a:miter/>
              </a:ln>
            </p:spPr>
            <p:txBody>
              <a:bodyPr rtlCol="0" anchor="ctr"/>
              <a:lstStyle/>
              <a:p>
                <a:endParaRPr lang="en-US" sz="1800" dirty="0"/>
              </a:p>
            </p:txBody>
          </p:sp>
          <p:sp>
            <p:nvSpPr>
              <p:cNvPr id="119" name="Freeform 118">
                <a:extLst>
                  <a:ext uri="{FF2B5EF4-FFF2-40B4-BE49-F238E27FC236}">
                    <a16:creationId xmlns:a16="http://schemas.microsoft.com/office/drawing/2014/main" id="{C37016AC-0A48-4CA3-E6CB-CA7E77EB0131}"/>
                  </a:ext>
                </a:extLst>
              </p:cNvPr>
              <p:cNvSpPr/>
              <p:nvPr/>
            </p:nvSpPr>
            <p:spPr>
              <a:xfrm>
                <a:off x="5794017" y="2071302"/>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120" name="Freeform 119">
                <a:extLst>
                  <a:ext uri="{FF2B5EF4-FFF2-40B4-BE49-F238E27FC236}">
                    <a16:creationId xmlns:a16="http://schemas.microsoft.com/office/drawing/2014/main" id="{6A25C340-1B8D-DFFA-3890-2B82341E04CF}"/>
                  </a:ext>
                </a:extLst>
              </p:cNvPr>
              <p:cNvSpPr/>
              <p:nvPr/>
            </p:nvSpPr>
            <p:spPr>
              <a:xfrm>
                <a:off x="5823417" y="2042837"/>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endParaRPr lang="en-US" sz="1800" dirty="0"/>
              </a:p>
            </p:txBody>
          </p:sp>
          <p:sp>
            <p:nvSpPr>
              <p:cNvPr id="121" name="Freeform 120">
                <a:extLst>
                  <a:ext uri="{FF2B5EF4-FFF2-40B4-BE49-F238E27FC236}">
                    <a16:creationId xmlns:a16="http://schemas.microsoft.com/office/drawing/2014/main" id="{7BCBD789-8866-300F-1B9C-4EE7EA1293EA}"/>
                  </a:ext>
                </a:extLst>
              </p:cNvPr>
              <p:cNvSpPr/>
              <p:nvPr/>
            </p:nvSpPr>
            <p:spPr>
              <a:xfrm>
                <a:off x="5811664" y="2071302"/>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endParaRPr lang="en-US" sz="1800" dirty="0"/>
              </a:p>
            </p:txBody>
          </p:sp>
          <p:sp>
            <p:nvSpPr>
              <p:cNvPr id="122" name="Freeform 121">
                <a:extLst>
                  <a:ext uri="{FF2B5EF4-FFF2-40B4-BE49-F238E27FC236}">
                    <a16:creationId xmlns:a16="http://schemas.microsoft.com/office/drawing/2014/main" id="{BCBDB7DC-9454-586E-A524-D941374E624F}"/>
                  </a:ext>
                </a:extLst>
              </p:cNvPr>
              <p:cNvSpPr/>
              <p:nvPr/>
            </p:nvSpPr>
            <p:spPr>
              <a:xfrm>
                <a:off x="5841064" y="2042837"/>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endParaRPr lang="en-US" sz="1800" dirty="0"/>
              </a:p>
            </p:txBody>
          </p:sp>
          <p:sp>
            <p:nvSpPr>
              <p:cNvPr id="123" name="Freeform 122">
                <a:extLst>
                  <a:ext uri="{FF2B5EF4-FFF2-40B4-BE49-F238E27FC236}">
                    <a16:creationId xmlns:a16="http://schemas.microsoft.com/office/drawing/2014/main" id="{61612B28-0F87-F449-5A2E-F42F2A1E7A8D}"/>
                  </a:ext>
                </a:extLst>
              </p:cNvPr>
              <p:cNvSpPr/>
              <p:nvPr/>
            </p:nvSpPr>
            <p:spPr>
              <a:xfrm>
                <a:off x="5817541" y="2081554"/>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endParaRPr lang="en-US" sz="1800" dirty="0"/>
              </a:p>
            </p:txBody>
          </p:sp>
          <p:sp>
            <p:nvSpPr>
              <p:cNvPr id="124" name="Freeform 123">
                <a:extLst>
                  <a:ext uri="{FF2B5EF4-FFF2-40B4-BE49-F238E27FC236}">
                    <a16:creationId xmlns:a16="http://schemas.microsoft.com/office/drawing/2014/main" id="{09176484-3B8D-76CF-EE79-D70050E70040}"/>
                  </a:ext>
                </a:extLst>
              </p:cNvPr>
              <p:cNvSpPr/>
              <p:nvPr/>
            </p:nvSpPr>
            <p:spPr>
              <a:xfrm>
                <a:off x="5846941" y="2053090"/>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endParaRPr lang="en-US" sz="1800" dirty="0"/>
              </a:p>
            </p:txBody>
          </p:sp>
          <p:sp>
            <p:nvSpPr>
              <p:cNvPr id="125" name="Freeform 124">
                <a:extLst>
                  <a:ext uri="{FF2B5EF4-FFF2-40B4-BE49-F238E27FC236}">
                    <a16:creationId xmlns:a16="http://schemas.microsoft.com/office/drawing/2014/main" id="{A3FD712F-BFE7-187A-0101-ED9AF52743AF}"/>
                  </a:ext>
                </a:extLst>
              </p:cNvPr>
              <p:cNvSpPr/>
              <p:nvPr/>
            </p:nvSpPr>
            <p:spPr>
              <a:xfrm>
                <a:off x="5823417" y="2081554"/>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126" name="Freeform 125">
                <a:extLst>
                  <a:ext uri="{FF2B5EF4-FFF2-40B4-BE49-F238E27FC236}">
                    <a16:creationId xmlns:a16="http://schemas.microsoft.com/office/drawing/2014/main" id="{1CA64FB3-4ACB-0CA9-F1CB-14212D7C8E36}"/>
                  </a:ext>
                </a:extLst>
              </p:cNvPr>
              <p:cNvSpPr/>
              <p:nvPr/>
            </p:nvSpPr>
            <p:spPr>
              <a:xfrm>
                <a:off x="5852817" y="2053090"/>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endParaRPr lang="en-US" sz="1800" dirty="0"/>
              </a:p>
            </p:txBody>
          </p:sp>
          <p:sp>
            <p:nvSpPr>
              <p:cNvPr id="127" name="Freeform 126">
                <a:extLst>
                  <a:ext uri="{FF2B5EF4-FFF2-40B4-BE49-F238E27FC236}">
                    <a16:creationId xmlns:a16="http://schemas.microsoft.com/office/drawing/2014/main" id="{6914075E-50F6-E94C-6B0C-CF5C4B8A436F}"/>
                  </a:ext>
                </a:extLst>
              </p:cNvPr>
              <p:cNvSpPr/>
              <p:nvPr/>
            </p:nvSpPr>
            <p:spPr>
              <a:xfrm>
                <a:off x="5829294" y="2081554"/>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128" name="Freeform 127">
                <a:extLst>
                  <a:ext uri="{FF2B5EF4-FFF2-40B4-BE49-F238E27FC236}">
                    <a16:creationId xmlns:a16="http://schemas.microsoft.com/office/drawing/2014/main" id="{72866605-B1E5-0DDC-9F4D-4C386B9936EE}"/>
                  </a:ext>
                </a:extLst>
              </p:cNvPr>
              <p:cNvSpPr/>
              <p:nvPr/>
            </p:nvSpPr>
            <p:spPr>
              <a:xfrm>
                <a:off x="5858694" y="2053090"/>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endParaRPr lang="en-US" sz="1800" dirty="0"/>
              </a:p>
            </p:txBody>
          </p:sp>
          <p:sp>
            <p:nvSpPr>
              <p:cNvPr id="129" name="Freeform 128">
                <a:extLst>
                  <a:ext uri="{FF2B5EF4-FFF2-40B4-BE49-F238E27FC236}">
                    <a16:creationId xmlns:a16="http://schemas.microsoft.com/office/drawing/2014/main" id="{E2CD6B46-68C4-471A-BE8B-48F09175DB3C}"/>
                  </a:ext>
                </a:extLst>
              </p:cNvPr>
              <p:cNvSpPr/>
              <p:nvPr/>
            </p:nvSpPr>
            <p:spPr>
              <a:xfrm>
                <a:off x="5829294" y="2081554"/>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130" name="Freeform 129">
                <a:extLst>
                  <a:ext uri="{FF2B5EF4-FFF2-40B4-BE49-F238E27FC236}">
                    <a16:creationId xmlns:a16="http://schemas.microsoft.com/office/drawing/2014/main" id="{C47DFFA1-89D3-4853-FAAA-DA6002D1A825}"/>
                  </a:ext>
                </a:extLst>
              </p:cNvPr>
              <p:cNvSpPr/>
              <p:nvPr/>
            </p:nvSpPr>
            <p:spPr>
              <a:xfrm>
                <a:off x="5858694" y="2053090"/>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endParaRPr lang="en-US" sz="1800" dirty="0"/>
              </a:p>
            </p:txBody>
          </p:sp>
          <p:sp>
            <p:nvSpPr>
              <p:cNvPr id="131" name="Freeform 130">
                <a:extLst>
                  <a:ext uri="{FF2B5EF4-FFF2-40B4-BE49-F238E27FC236}">
                    <a16:creationId xmlns:a16="http://schemas.microsoft.com/office/drawing/2014/main" id="{20277B46-69A5-ED86-4AF5-D2FCB5B0A6DF}"/>
                  </a:ext>
                </a:extLst>
              </p:cNvPr>
              <p:cNvSpPr/>
              <p:nvPr/>
            </p:nvSpPr>
            <p:spPr>
              <a:xfrm>
                <a:off x="5841064" y="2081554"/>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endParaRPr lang="en-US" sz="1800" dirty="0"/>
              </a:p>
            </p:txBody>
          </p:sp>
          <p:sp>
            <p:nvSpPr>
              <p:cNvPr id="132" name="Freeform 131">
                <a:extLst>
                  <a:ext uri="{FF2B5EF4-FFF2-40B4-BE49-F238E27FC236}">
                    <a16:creationId xmlns:a16="http://schemas.microsoft.com/office/drawing/2014/main" id="{A5C1D00F-7C34-BB37-FCCF-67C0FEE48481}"/>
                  </a:ext>
                </a:extLst>
              </p:cNvPr>
              <p:cNvSpPr/>
              <p:nvPr/>
            </p:nvSpPr>
            <p:spPr>
              <a:xfrm>
                <a:off x="5870447" y="2053090"/>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endParaRPr lang="en-US" sz="1800" dirty="0"/>
              </a:p>
            </p:txBody>
          </p:sp>
          <p:sp>
            <p:nvSpPr>
              <p:cNvPr id="133" name="Freeform 132">
                <a:extLst>
                  <a:ext uri="{FF2B5EF4-FFF2-40B4-BE49-F238E27FC236}">
                    <a16:creationId xmlns:a16="http://schemas.microsoft.com/office/drawing/2014/main" id="{AE7BA1F2-9752-E8F7-5146-84CDA94354C9}"/>
                  </a:ext>
                </a:extLst>
              </p:cNvPr>
              <p:cNvSpPr/>
              <p:nvPr/>
            </p:nvSpPr>
            <p:spPr>
              <a:xfrm>
                <a:off x="5858694" y="2081554"/>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endParaRPr lang="en-US" sz="1800" dirty="0"/>
              </a:p>
            </p:txBody>
          </p:sp>
          <p:sp>
            <p:nvSpPr>
              <p:cNvPr id="134" name="Freeform 133">
                <a:extLst>
                  <a:ext uri="{FF2B5EF4-FFF2-40B4-BE49-F238E27FC236}">
                    <a16:creationId xmlns:a16="http://schemas.microsoft.com/office/drawing/2014/main" id="{6D6A08E4-17B2-6E94-F08B-31977B90723D}"/>
                  </a:ext>
                </a:extLst>
              </p:cNvPr>
              <p:cNvSpPr/>
              <p:nvPr/>
            </p:nvSpPr>
            <p:spPr>
              <a:xfrm>
                <a:off x="5888094" y="2053090"/>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endParaRPr lang="en-US" sz="1800" dirty="0"/>
              </a:p>
            </p:txBody>
          </p:sp>
          <p:sp>
            <p:nvSpPr>
              <p:cNvPr id="135" name="Freeform 134">
                <a:extLst>
                  <a:ext uri="{FF2B5EF4-FFF2-40B4-BE49-F238E27FC236}">
                    <a16:creationId xmlns:a16="http://schemas.microsoft.com/office/drawing/2014/main" id="{2F8C5F18-B1FC-26EC-99CC-16F06141A92B}"/>
                  </a:ext>
                </a:extLst>
              </p:cNvPr>
              <p:cNvSpPr/>
              <p:nvPr/>
            </p:nvSpPr>
            <p:spPr>
              <a:xfrm>
                <a:off x="5870447" y="2091949"/>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136" name="Freeform 135">
                <a:extLst>
                  <a:ext uri="{FF2B5EF4-FFF2-40B4-BE49-F238E27FC236}">
                    <a16:creationId xmlns:a16="http://schemas.microsoft.com/office/drawing/2014/main" id="{3243F5B3-AEF0-5BD7-8F02-33910BFAF6E0}"/>
                  </a:ext>
                </a:extLst>
              </p:cNvPr>
              <p:cNvSpPr/>
              <p:nvPr/>
            </p:nvSpPr>
            <p:spPr>
              <a:xfrm>
                <a:off x="5899847" y="2063466"/>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endParaRPr lang="en-US" sz="1800" dirty="0"/>
              </a:p>
            </p:txBody>
          </p:sp>
          <p:sp>
            <p:nvSpPr>
              <p:cNvPr id="137" name="Freeform 136">
                <a:extLst>
                  <a:ext uri="{FF2B5EF4-FFF2-40B4-BE49-F238E27FC236}">
                    <a16:creationId xmlns:a16="http://schemas.microsoft.com/office/drawing/2014/main" id="{59646687-D43A-A9F7-695C-48DF937B0B5A}"/>
                  </a:ext>
                </a:extLst>
              </p:cNvPr>
              <p:cNvSpPr/>
              <p:nvPr/>
            </p:nvSpPr>
            <p:spPr>
              <a:xfrm>
                <a:off x="5876323" y="2091949"/>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138" name="Freeform 137">
                <a:extLst>
                  <a:ext uri="{FF2B5EF4-FFF2-40B4-BE49-F238E27FC236}">
                    <a16:creationId xmlns:a16="http://schemas.microsoft.com/office/drawing/2014/main" id="{A07F885A-1F2A-B66A-F423-650D036D9295}"/>
                  </a:ext>
                </a:extLst>
              </p:cNvPr>
              <p:cNvSpPr/>
              <p:nvPr/>
            </p:nvSpPr>
            <p:spPr>
              <a:xfrm>
                <a:off x="5905723" y="2063466"/>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endParaRPr lang="en-US" sz="1800" dirty="0"/>
              </a:p>
            </p:txBody>
          </p:sp>
          <p:sp>
            <p:nvSpPr>
              <p:cNvPr id="139" name="Freeform 138">
                <a:extLst>
                  <a:ext uri="{FF2B5EF4-FFF2-40B4-BE49-F238E27FC236}">
                    <a16:creationId xmlns:a16="http://schemas.microsoft.com/office/drawing/2014/main" id="{24C3EBDD-84AF-C909-56A9-D2B6A5D2EE40}"/>
                  </a:ext>
                </a:extLst>
              </p:cNvPr>
              <p:cNvSpPr/>
              <p:nvPr/>
            </p:nvSpPr>
            <p:spPr>
              <a:xfrm>
                <a:off x="5905864" y="2091949"/>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endParaRPr lang="en-US" sz="1800" dirty="0"/>
              </a:p>
            </p:txBody>
          </p:sp>
          <p:sp>
            <p:nvSpPr>
              <p:cNvPr id="140" name="Freeform 139">
                <a:extLst>
                  <a:ext uri="{FF2B5EF4-FFF2-40B4-BE49-F238E27FC236}">
                    <a16:creationId xmlns:a16="http://schemas.microsoft.com/office/drawing/2014/main" id="{3A23D10B-4270-2712-4C04-C1A551E13909}"/>
                  </a:ext>
                </a:extLst>
              </p:cNvPr>
              <p:cNvSpPr/>
              <p:nvPr/>
            </p:nvSpPr>
            <p:spPr>
              <a:xfrm>
                <a:off x="5935246" y="2063466"/>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endParaRPr lang="en-US" sz="1800" dirty="0"/>
              </a:p>
            </p:txBody>
          </p:sp>
          <p:sp>
            <p:nvSpPr>
              <p:cNvPr id="141" name="Freeform 140">
                <a:extLst>
                  <a:ext uri="{FF2B5EF4-FFF2-40B4-BE49-F238E27FC236}">
                    <a16:creationId xmlns:a16="http://schemas.microsoft.com/office/drawing/2014/main" id="{5508B143-F385-AAD2-396E-2D8B07816D72}"/>
                  </a:ext>
                </a:extLst>
              </p:cNvPr>
              <p:cNvSpPr/>
              <p:nvPr/>
            </p:nvSpPr>
            <p:spPr>
              <a:xfrm>
                <a:off x="5911741" y="2102572"/>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endParaRPr lang="en-US" sz="1800" dirty="0"/>
              </a:p>
            </p:txBody>
          </p:sp>
          <p:sp>
            <p:nvSpPr>
              <p:cNvPr id="142" name="Freeform 141">
                <a:extLst>
                  <a:ext uri="{FF2B5EF4-FFF2-40B4-BE49-F238E27FC236}">
                    <a16:creationId xmlns:a16="http://schemas.microsoft.com/office/drawing/2014/main" id="{81C09029-7395-770B-276A-77A5CFAB71BA}"/>
                  </a:ext>
                </a:extLst>
              </p:cNvPr>
              <p:cNvSpPr/>
              <p:nvPr/>
            </p:nvSpPr>
            <p:spPr>
              <a:xfrm>
                <a:off x="5941123" y="2074090"/>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endParaRPr lang="en-US" sz="1800" dirty="0"/>
              </a:p>
            </p:txBody>
          </p:sp>
          <p:sp>
            <p:nvSpPr>
              <p:cNvPr id="143" name="Freeform 142">
                <a:extLst>
                  <a:ext uri="{FF2B5EF4-FFF2-40B4-BE49-F238E27FC236}">
                    <a16:creationId xmlns:a16="http://schemas.microsoft.com/office/drawing/2014/main" id="{31FA76C0-7C07-9599-A601-E47130E58533}"/>
                  </a:ext>
                </a:extLst>
              </p:cNvPr>
              <p:cNvSpPr/>
              <p:nvPr/>
            </p:nvSpPr>
            <p:spPr>
              <a:xfrm>
                <a:off x="5929370" y="2102572"/>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144" name="Freeform 143">
                <a:extLst>
                  <a:ext uri="{FF2B5EF4-FFF2-40B4-BE49-F238E27FC236}">
                    <a16:creationId xmlns:a16="http://schemas.microsoft.com/office/drawing/2014/main" id="{38753E83-5C23-8B02-C7B1-5635F1E1519C}"/>
                  </a:ext>
                </a:extLst>
              </p:cNvPr>
              <p:cNvSpPr/>
              <p:nvPr/>
            </p:nvSpPr>
            <p:spPr>
              <a:xfrm>
                <a:off x="5958770" y="2074090"/>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endParaRPr lang="en-US" sz="1800" dirty="0"/>
              </a:p>
            </p:txBody>
          </p:sp>
          <p:sp>
            <p:nvSpPr>
              <p:cNvPr id="145" name="Freeform 144">
                <a:extLst>
                  <a:ext uri="{FF2B5EF4-FFF2-40B4-BE49-F238E27FC236}">
                    <a16:creationId xmlns:a16="http://schemas.microsoft.com/office/drawing/2014/main" id="{4896D238-C3C4-FCF7-F541-35DC8446BA6F}"/>
                  </a:ext>
                </a:extLst>
              </p:cNvPr>
              <p:cNvSpPr/>
              <p:nvPr/>
            </p:nvSpPr>
            <p:spPr>
              <a:xfrm>
                <a:off x="5929370" y="2102572"/>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146" name="Freeform 145">
                <a:extLst>
                  <a:ext uri="{FF2B5EF4-FFF2-40B4-BE49-F238E27FC236}">
                    <a16:creationId xmlns:a16="http://schemas.microsoft.com/office/drawing/2014/main" id="{D3F70354-FB5D-E5BB-493D-8B2C7E38BD77}"/>
                  </a:ext>
                </a:extLst>
              </p:cNvPr>
              <p:cNvSpPr/>
              <p:nvPr/>
            </p:nvSpPr>
            <p:spPr>
              <a:xfrm>
                <a:off x="5958770" y="2074090"/>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endParaRPr lang="en-US" sz="1800" dirty="0"/>
              </a:p>
            </p:txBody>
          </p:sp>
          <p:sp>
            <p:nvSpPr>
              <p:cNvPr id="147" name="Freeform 146">
                <a:extLst>
                  <a:ext uri="{FF2B5EF4-FFF2-40B4-BE49-F238E27FC236}">
                    <a16:creationId xmlns:a16="http://schemas.microsoft.com/office/drawing/2014/main" id="{09AFD1E9-6C88-DD55-4E9D-01F6A21D9C59}"/>
                  </a:ext>
                </a:extLst>
              </p:cNvPr>
              <p:cNvSpPr/>
              <p:nvPr/>
            </p:nvSpPr>
            <p:spPr>
              <a:xfrm>
                <a:off x="5958770" y="2113337"/>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endParaRPr lang="en-US" sz="1800" dirty="0"/>
              </a:p>
            </p:txBody>
          </p:sp>
          <p:sp>
            <p:nvSpPr>
              <p:cNvPr id="148" name="Freeform 147">
                <a:extLst>
                  <a:ext uri="{FF2B5EF4-FFF2-40B4-BE49-F238E27FC236}">
                    <a16:creationId xmlns:a16="http://schemas.microsoft.com/office/drawing/2014/main" id="{99B332BD-03D6-A519-71C9-8610AE008445}"/>
                  </a:ext>
                </a:extLst>
              </p:cNvPr>
              <p:cNvSpPr/>
              <p:nvPr/>
            </p:nvSpPr>
            <p:spPr>
              <a:xfrm>
                <a:off x="5988170" y="2084854"/>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endParaRPr lang="en-US" sz="1800" dirty="0"/>
              </a:p>
            </p:txBody>
          </p:sp>
          <p:sp>
            <p:nvSpPr>
              <p:cNvPr id="149" name="Freeform 148">
                <a:extLst>
                  <a:ext uri="{FF2B5EF4-FFF2-40B4-BE49-F238E27FC236}">
                    <a16:creationId xmlns:a16="http://schemas.microsoft.com/office/drawing/2014/main" id="{5AF80C16-61FF-D5DD-5A8F-3D4DB5207FF6}"/>
                  </a:ext>
                </a:extLst>
              </p:cNvPr>
              <p:cNvSpPr/>
              <p:nvPr/>
            </p:nvSpPr>
            <p:spPr>
              <a:xfrm>
                <a:off x="5994046" y="2134848"/>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endParaRPr lang="en-US" sz="1800" dirty="0"/>
              </a:p>
            </p:txBody>
          </p:sp>
          <p:sp>
            <p:nvSpPr>
              <p:cNvPr id="150" name="Freeform 149">
                <a:extLst>
                  <a:ext uri="{FF2B5EF4-FFF2-40B4-BE49-F238E27FC236}">
                    <a16:creationId xmlns:a16="http://schemas.microsoft.com/office/drawing/2014/main" id="{1FC19A05-1537-28CB-2814-4E32DEE13F32}"/>
                  </a:ext>
                </a:extLst>
              </p:cNvPr>
              <p:cNvSpPr/>
              <p:nvPr/>
            </p:nvSpPr>
            <p:spPr>
              <a:xfrm>
                <a:off x="6023429" y="2106366"/>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27377D"/>
                </a:solidFill>
                <a:prstDash val="solid"/>
                <a:miter/>
              </a:ln>
            </p:spPr>
            <p:txBody>
              <a:bodyPr rtlCol="0" anchor="ctr"/>
              <a:lstStyle/>
              <a:p>
                <a:endParaRPr lang="en-US" sz="1800" dirty="0"/>
              </a:p>
            </p:txBody>
          </p:sp>
          <p:sp>
            <p:nvSpPr>
              <p:cNvPr id="151" name="Freeform 150">
                <a:extLst>
                  <a:ext uri="{FF2B5EF4-FFF2-40B4-BE49-F238E27FC236}">
                    <a16:creationId xmlns:a16="http://schemas.microsoft.com/office/drawing/2014/main" id="{8CAB9381-5D47-2E0C-42F3-34B5F2456973}"/>
                  </a:ext>
                </a:extLst>
              </p:cNvPr>
              <p:cNvSpPr/>
              <p:nvPr/>
            </p:nvSpPr>
            <p:spPr>
              <a:xfrm>
                <a:off x="6000046" y="2145737"/>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152" name="Freeform 151">
                <a:extLst>
                  <a:ext uri="{FF2B5EF4-FFF2-40B4-BE49-F238E27FC236}">
                    <a16:creationId xmlns:a16="http://schemas.microsoft.com/office/drawing/2014/main" id="{1646119D-3B3B-B745-4E88-070E36995330}"/>
                  </a:ext>
                </a:extLst>
              </p:cNvPr>
              <p:cNvSpPr/>
              <p:nvPr/>
            </p:nvSpPr>
            <p:spPr>
              <a:xfrm>
                <a:off x="6029446" y="2117254"/>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endParaRPr lang="en-US" sz="1800" dirty="0"/>
              </a:p>
            </p:txBody>
          </p:sp>
          <p:sp>
            <p:nvSpPr>
              <p:cNvPr id="153" name="Freeform 152">
                <a:extLst>
                  <a:ext uri="{FF2B5EF4-FFF2-40B4-BE49-F238E27FC236}">
                    <a16:creationId xmlns:a16="http://schemas.microsoft.com/office/drawing/2014/main" id="{4AAA7E21-79BD-69CE-5855-5BCEC091A7A3}"/>
                  </a:ext>
                </a:extLst>
              </p:cNvPr>
              <p:cNvSpPr/>
              <p:nvPr/>
            </p:nvSpPr>
            <p:spPr>
              <a:xfrm>
                <a:off x="6000046" y="2145737"/>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154" name="Freeform 153">
                <a:extLst>
                  <a:ext uri="{FF2B5EF4-FFF2-40B4-BE49-F238E27FC236}">
                    <a16:creationId xmlns:a16="http://schemas.microsoft.com/office/drawing/2014/main" id="{6140B03D-F422-79C9-10B2-D16497F07EC8}"/>
                  </a:ext>
                </a:extLst>
              </p:cNvPr>
              <p:cNvSpPr/>
              <p:nvPr/>
            </p:nvSpPr>
            <p:spPr>
              <a:xfrm>
                <a:off x="6029446" y="2117254"/>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endParaRPr lang="en-US" sz="1800" dirty="0"/>
              </a:p>
            </p:txBody>
          </p:sp>
          <p:sp>
            <p:nvSpPr>
              <p:cNvPr id="155" name="Freeform 154">
                <a:extLst>
                  <a:ext uri="{FF2B5EF4-FFF2-40B4-BE49-F238E27FC236}">
                    <a16:creationId xmlns:a16="http://schemas.microsoft.com/office/drawing/2014/main" id="{296A102A-2BF2-04A8-1838-062B25573485}"/>
                  </a:ext>
                </a:extLst>
              </p:cNvPr>
              <p:cNvSpPr/>
              <p:nvPr/>
            </p:nvSpPr>
            <p:spPr>
              <a:xfrm>
                <a:off x="6035323" y="2178525"/>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endParaRPr lang="en-US" sz="1800" dirty="0"/>
              </a:p>
            </p:txBody>
          </p:sp>
          <p:sp>
            <p:nvSpPr>
              <p:cNvPr id="156" name="Freeform 155">
                <a:extLst>
                  <a:ext uri="{FF2B5EF4-FFF2-40B4-BE49-F238E27FC236}">
                    <a16:creationId xmlns:a16="http://schemas.microsoft.com/office/drawing/2014/main" id="{A8849028-E7E9-6136-7526-B263FE14A55C}"/>
                  </a:ext>
                </a:extLst>
              </p:cNvPr>
              <p:cNvSpPr/>
              <p:nvPr/>
            </p:nvSpPr>
            <p:spPr>
              <a:xfrm>
                <a:off x="6064723" y="2150043"/>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endParaRPr lang="en-US" sz="1800" dirty="0"/>
              </a:p>
            </p:txBody>
          </p:sp>
          <p:sp>
            <p:nvSpPr>
              <p:cNvPr id="157" name="Freeform 156">
                <a:extLst>
                  <a:ext uri="{FF2B5EF4-FFF2-40B4-BE49-F238E27FC236}">
                    <a16:creationId xmlns:a16="http://schemas.microsoft.com/office/drawing/2014/main" id="{DF918C81-8D5A-2B58-6F03-100C0FDFE91C}"/>
                  </a:ext>
                </a:extLst>
              </p:cNvPr>
              <p:cNvSpPr/>
              <p:nvPr/>
            </p:nvSpPr>
            <p:spPr>
              <a:xfrm>
                <a:off x="6047076" y="2178525"/>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158" name="Freeform 157">
                <a:extLst>
                  <a:ext uri="{FF2B5EF4-FFF2-40B4-BE49-F238E27FC236}">
                    <a16:creationId xmlns:a16="http://schemas.microsoft.com/office/drawing/2014/main" id="{1E6F2556-4240-88E3-4D59-1CA2825E187A}"/>
                  </a:ext>
                </a:extLst>
              </p:cNvPr>
              <p:cNvSpPr/>
              <p:nvPr/>
            </p:nvSpPr>
            <p:spPr>
              <a:xfrm>
                <a:off x="6076476" y="2150043"/>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endParaRPr lang="en-US" sz="1800" dirty="0"/>
              </a:p>
            </p:txBody>
          </p:sp>
          <p:sp>
            <p:nvSpPr>
              <p:cNvPr id="159" name="Freeform 158">
                <a:extLst>
                  <a:ext uri="{FF2B5EF4-FFF2-40B4-BE49-F238E27FC236}">
                    <a16:creationId xmlns:a16="http://schemas.microsoft.com/office/drawing/2014/main" id="{8D5EAC68-0CA3-2B5B-7B35-AACDD7EA0743}"/>
                  </a:ext>
                </a:extLst>
              </p:cNvPr>
              <p:cNvSpPr/>
              <p:nvPr/>
            </p:nvSpPr>
            <p:spPr>
              <a:xfrm>
                <a:off x="6058846" y="2178525"/>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endParaRPr lang="en-US" sz="1800" dirty="0"/>
              </a:p>
            </p:txBody>
          </p:sp>
          <p:sp>
            <p:nvSpPr>
              <p:cNvPr id="160" name="Freeform 159">
                <a:extLst>
                  <a:ext uri="{FF2B5EF4-FFF2-40B4-BE49-F238E27FC236}">
                    <a16:creationId xmlns:a16="http://schemas.microsoft.com/office/drawing/2014/main" id="{1AD47252-4E4C-9CA9-804E-FFE16185729B}"/>
                  </a:ext>
                </a:extLst>
              </p:cNvPr>
              <p:cNvSpPr/>
              <p:nvPr/>
            </p:nvSpPr>
            <p:spPr>
              <a:xfrm>
                <a:off x="6088229" y="2150043"/>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endParaRPr lang="en-US" sz="1800" dirty="0"/>
              </a:p>
            </p:txBody>
          </p:sp>
          <p:sp>
            <p:nvSpPr>
              <p:cNvPr id="161" name="Freeform 160">
                <a:extLst>
                  <a:ext uri="{FF2B5EF4-FFF2-40B4-BE49-F238E27FC236}">
                    <a16:creationId xmlns:a16="http://schemas.microsoft.com/office/drawing/2014/main" id="{072A7F22-FACF-47E4-27C4-FBF8197BAEB1}"/>
                  </a:ext>
                </a:extLst>
              </p:cNvPr>
              <p:cNvSpPr/>
              <p:nvPr/>
            </p:nvSpPr>
            <p:spPr>
              <a:xfrm>
                <a:off x="6076476" y="2189537"/>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endParaRPr lang="en-US" sz="1800" dirty="0"/>
              </a:p>
            </p:txBody>
          </p:sp>
          <p:sp>
            <p:nvSpPr>
              <p:cNvPr id="162" name="Freeform 161">
                <a:extLst>
                  <a:ext uri="{FF2B5EF4-FFF2-40B4-BE49-F238E27FC236}">
                    <a16:creationId xmlns:a16="http://schemas.microsoft.com/office/drawing/2014/main" id="{FE6E4467-20C1-1E6D-6737-324F4B252237}"/>
                  </a:ext>
                </a:extLst>
              </p:cNvPr>
              <p:cNvSpPr/>
              <p:nvPr/>
            </p:nvSpPr>
            <p:spPr>
              <a:xfrm>
                <a:off x="6105876" y="2161054"/>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endParaRPr lang="en-US" sz="1800" dirty="0"/>
              </a:p>
            </p:txBody>
          </p:sp>
          <p:sp>
            <p:nvSpPr>
              <p:cNvPr id="163" name="Freeform 162">
                <a:extLst>
                  <a:ext uri="{FF2B5EF4-FFF2-40B4-BE49-F238E27FC236}">
                    <a16:creationId xmlns:a16="http://schemas.microsoft.com/office/drawing/2014/main" id="{208FA8BC-37B4-3587-4EF9-5AF015BFED0C}"/>
                  </a:ext>
                </a:extLst>
              </p:cNvPr>
              <p:cNvSpPr/>
              <p:nvPr/>
            </p:nvSpPr>
            <p:spPr>
              <a:xfrm>
                <a:off x="6082352" y="2200672"/>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164" name="Freeform 163">
                <a:extLst>
                  <a:ext uri="{FF2B5EF4-FFF2-40B4-BE49-F238E27FC236}">
                    <a16:creationId xmlns:a16="http://schemas.microsoft.com/office/drawing/2014/main" id="{ECEB65F3-EE75-099C-96C2-09417BBBA1EB}"/>
                  </a:ext>
                </a:extLst>
              </p:cNvPr>
              <p:cNvSpPr/>
              <p:nvPr/>
            </p:nvSpPr>
            <p:spPr>
              <a:xfrm>
                <a:off x="6111752" y="2172190"/>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endParaRPr lang="en-US" sz="1800" dirty="0"/>
              </a:p>
            </p:txBody>
          </p:sp>
          <p:sp>
            <p:nvSpPr>
              <p:cNvPr id="165" name="Freeform 164">
                <a:extLst>
                  <a:ext uri="{FF2B5EF4-FFF2-40B4-BE49-F238E27FC236}">
                    <a16:creationId xmlns:a16="http://schemas.microsoft.com/office/drawing/2014/main" id="{EF1DE55A-073A-199E-5687-C7E1E14642A3}"/>
                  </a:ext>
                </a:extLst>
              </p:cNvPr>
              <p:cNvSpPr/>
              <p:nvPr/>
            </p:nvSpPr>
            <p:spPr>
              <a:xfrm>
                <a:off x="6082352" y="2200672"/>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166" name="Freeform 165">
                <a:extLst>
                  <a:ext uri="{FF2B5EF4-FFF2-40B4-BE49-F238E27FC236}">
                    <a16:creationId xmlns:a16="http://schemas.microsoft.com/office/drawing/2014/main" id="{A3DADBFD-DEDC-F106-9A98-5A30ED975279}"/>
                  </a:ext>
                </a:extLst>
              </p:cNvPr>
              <p:cNvSpPr/>
              <p:nvPr/>
            </p:nvSpPr>
            <p:spPr>
              <a:xfrm>
                <a:off x="6111752" y="2172190"/>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endParaRPr lang="en-US" sz="1800" dirty="0"/>
              </a:p>
            </p:txBody>
          </p:sp>
          <p:sp>
            <p:nvSpPr>
              <p:cNvPr id="167" name="Freeform 166">
                <a:extLst>
                  <a:ext uri="{FF2B5EF4-FFF2-40B4-BE49-F238E27FC236}">
                    <a16:creationId xmlns:a16="http://schemas.microsoft.com/office/drawing/2014/main" id="{6CB19EAC-7922-4943-BBB0-E3DDD8EC663A}"/>
                  </a:ext>
                </a:extLst>
              </p:cNvPr>
              <p:cNvSpPr/>
              <p:nvPr/>
            </p:nvSpPr>
            <p:spPr>
              <a:xfrm>
                <a:off x="6117752" y="2200672"/>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168" name="Freeform 167">
                <a:extLst>
                  <a:ext uri="{FF2B5EF4-FFF2-40B4-BE49-F238E27FC236}">
                    <a16:creationId xmlns:a16="http://schemas.microsoft.com/office/drawing/2014/main" id="{3B3DC05C-4424-82F3-1031-B758079C5CFB}"/>
                  </a:ext>
                </a:extLst>
              </p:cNvPr>
              <p:cNvSpPr/>
              <p:nvPr/>
            </p:nvSpPr>
            <p:spPr>
              <a:xfrm>
                <a:off x="6147152" y="2172190"/>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endParaRPr lang="en-US" sz="1800" dirty="0"/>
              </a:p>
            </p:txBody>
          </p:sp>
          <p:sp>
            <p:nvSpPr>
              <p:cNvPr id="169" name="Freeform 168">
                <a:extLst>
                  <a:ext uri="{FF2B5EF4-FFF2-40B4-BE49-F238E27FC236}">
                    <a16:creationId xmlns:a16="http://schemas.microsoft.com/office/drawing/2014/main" id="{62355503-BA11-B229-A15C-0E9E95886FD4}"/>
                  </a:ext>
                </a:extLst>
              </p:cNvPr>
              <p:cNvSpPr/>
              <p:nvPr/>
            </p:nvSpPr>
            <p:spPr>
              <a:xfrm>
                <a:off x="6123646" y="2200672"/>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endParaRPr lang="en-US" sz="1800" dirty="0"/>
              </a:p>
            </p:txBody>
          </p:sp>
          <p:sp>
            <p:nvSpPr>
              <p:cNvPr id="170" name="Freeform 169">
                <a:extLst>
                  <a:ext uri="{FF2B5EF4-FFF2-40B4-BE49-F238E27FC236}">
                    <a16:creationId xmlns:a16="http://schemas.microsoft.com/office/drawing/2014/main" id="{47F2D60B-DE55-D931-8368-A6B84266A472}"/>
                  </a:ext>
                </a:extLst>
              </p:cNvPr>
              <p:cNvSpPr/>
              <p:nvPr/>
            </p:nvSpPr>
            <p:spPr>
              <a:xfrm>
                <a:off x="6153028" y="2172190"/>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endParaRPr lang="en-US" sz="1800" dirty="0"/>
              </a:p>
            </p:txBody>
          </p:sp>
          <p:sp>
            <p:nvSpPr>
              <p:cNvPr id="171" name="Freeform 170">
                <a:extLst>
                  <a:ext uri="{FF2B5EF4-FFF2-40B4-BE49-F238E27FC236}">
                    <a16:creationId xmlns:a16="http://schemas.microsoft.com/office/drawing/2014/main" id="{BDCFE9BE-C2A8-282E-C34A-1455F6CABC8C}"/>
                  </a:ext>
                </a:extLst>
              </p:cNvPr>
              <p:cNvSpPr/>
              <p:nvPr/>
            </p:nvSpPr>
            <p:spPr>
              <a:xfrm>
                <a:off x="6135399" y="2211931"/>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endParaRPr lang="en-US" sz="1800" dirty="0"/>
              </a:p>
            </p:txBody>
          </p:sp>
          <p:sp>
            <p:nvSpPr>
              <p:cNvPr id="172" name="Freeform 171">
                <a:extLst>
                  <a:ext uri="{FF2B5EF4-FFF2-40B4-BE49-F238E27FC236}">
                    <a16:creationId xmlns:a16="http://schemas.microsoft.com/office/drawing/2014/main" id="{86C33BD0-9FDC-06C8-56F9-F4E1FA36B8C9}"/>
                  </a:ext>
                </a:extLst>
              </p:cNvPr>
              <p:cNvSpPr/>
              <p:nvPr/>
            </p:nvSpPr>
            <p:spPr>
              <a:xfrm>
                <a:off x="6164799" y="2183448"/>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endParaRPr lang="en-US" sz="1800" dirty="0"/>
              </a:p>
            </p:txBody>
          </p:sp>
          <p:sp>
            <p:nvSpPr>
              <p:cNvPr id="173" name="Freeform 172">
                <a:extLst>
                  <a:ext uri="{FF2B5EF4-FFF2-40B4-BE49-F238E27FC236}">
                    <a16:creationId xmlns:a16="http://schemas.microsoft.com/office/drawing/2014/main" id="{0CEF77FE-091F-B85F-582A-81D44E2EDEA9}"/>
                  </a:ext>
                </a:extLst>
              </p:cNvPr>
              <p:cNvSpPr/>
              <p:nvPr/>
            </p:nvSpPr>
            <p:spPr>
              <a:xfrm>
                <a:off x="6141276" y="2211931"/>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endParaRPr lang="en-US" sz="1800" dirty="0"/>
              </a:p>
            </p:txBody>
          </p:sp>
          <p:sp>
            <p:nvSpPr>
              <p:cNvPr id="174" name="Freeform 173">
                <a:extLst>
                  <a:ext uri="{FF2B5EF4-FFF2-40B4-BE49-F238E27FC236}">
                    <a16:creationId xmlns:a16="http://schemas.microsoft.com/office/drawing/2014/main" id="{66A048EC-5F8E-BC40-B72C-B75B2631063D}"/>
                  </a:ext>
                </a:extLst>
              </p:cNvPr>
              <p:cNvSpPr/>
              <p:nvPr/>
            </p:nvSpPr>
            <p:spPr>
              <a:xfrm>
                <a:off x="6170675" y="2183448"/>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endParaRPr lang="en-US" sz="1800" dirty="0"/>
              </a:p>
            </p:txBody>
          </p:sp>
          <p:sp>
            <p:nvSpPr>
              <p:cNvPr id="175" name="Freeform 174">
                <a:extLst>
                  <a:ext uri="{FF2B5EF4-FFF2-40B4-BE49-F238E27FC236}">
                    <a16:creationId xmlns:a16="http://schemas.microsoft.com/office/drawing/2014/main" id="{BFF90062-A347-4E10-13B3-475361DCE2ED}"/>
                  </a:ext>
                </a:extLst>
              </p:cNvPr>
              <p:cNvSpPr/>
              <p:nvPr/>
            </p:nvSpPr>
            <p:spPr>
              <a:xfrm>
                <a:off x="6153028" y="2234837"/>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176" name="Freeform 175">
                <a:extLst>
                  <a:ext uri="{FF2B5EF4-FFF2-40B4-BE49-F238E27FC236}">
                    <a16:creationId xmlns:a16="http://schemas.microsoft.com/office/drawing/2014/main" id="{40EA6F33-E975-F8EF-7A07-1472A2C2395A}"/>
                  </a:ext>
                </a:extLst>
              </p:cNvPr>
              <p:cNvSpPr/>
              <p:nvPr/>
            </p:nvSpPr>
            <p:spPr>
              <a:xfrm>
                <a:off x="6182428" y="2206372"/>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endParaRPr lang="en-US" sz="1800" dirty="0"/>
              </a:p>
            </p:txBody>
          </p:sp>
          <p:sp>
            <p:nvSpPr>
              <p:cNvPr id="177" name="Freeform 176">
                <a:extLst>
                  <a:ext uri="{FF2B5EF4-FFF2-40B4-BE49-F238E27FC236}">
                    <a16:creationId xmlns:a16="http://schemas.microsoft.com/office/drawing/2014/main" id="{4DFF6FD5-9CCA-641B-ACF6-13E510B4B8F1}"/>
                  </a:ext>
                </a:extLst>
              </p:cNvPr>
              <p:cNvSpPr/>
              <p:nvPr/>
            </p:nvSpPr>
            <p:spPr>
              <a:xfrm>
                <a:off x="6153028" y="2234837"/>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178" name="Freeform 177">
                <a:extLst>
                  <a:ext uri="{FF2B5EF4-FFF2-40B4-BE49-F238E27FC236}">
                    <a16:creationId xmlns:a16="http://schemas.microsoft.com/office/drawing/2014/main" id="{188A108E-8956-946C-2CA8-948EEFF4F5C9}"/>
                  </a:ext>
                </a:extLst>
              </p:cNvPr>
              <p:cNvSpPr/>
              <p:nvPr/>
            </p:nvSpPr>
            <p:spPr>
              <a:xfrm>
                <a:off x="6182428" y="2206372"/>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endParaRPr lang="en-US" sz="1800" dirty="0"/>
              </a:p>
            </p:txBody>
          </p:sp>
          <p:sp>
            <p:nvSpPr>
              <p:cNvPr id="179" name="Freeform 178">
                <a:extLst>
                  <a:ext uri="{FF2B5EF4-FFF2-40B4-BE49-F238E27FC236}">
                    <a16:creationId xmlns:a16="http://schemas.microsoft.com/office/drawing/2014/main" id="{03AAAFD9-A715-B0BF-8FD8-6B1F26EC5FB1}"/>
                  </a:ext>
                </a:extLst>
              </p:cNvPr>
              <p:cNvSpPr/>
              <p:nvPr/>
            </p:nvSpPr>
            <p:spPr>
              <a:xfrm>
                <a:off x="6200058" y="2257884"/>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180" name="Freeform 179">
                <a:extLst>
                  <a:ext uri="{FF2B5EF4-FFF2-40B4-BE49-F238E27FC236}">
                    <a16:creationId xmlns:a16="http://schemas.microsoft.com/office/drawing/2014/main" id="{BA74F252-AFC5-1F31-EF66-BBDBC5174E40}"/>
                  </a:ext>
                </a:extLst>
              </p:cNvPr>
              <p:cNvSpPr/>
              <p:nvPr/>
            </p:nvSpPr>
            <p:spPr>
              <a:xfrm>
                <a:off x="6229458" y="2229401"/>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endParaRPr lang="en-US" sz="1800" dirty="0"/>
              </a:p>
            </p:txBody>
          </p:sp>
          <p:sp>
            <p:nvSpPr>
              <p:cNvPr id="181" name="Freeform 180">
                <a:extLst>
                  <a:ext uri="{FF2B5EF4-FFF2-40B4-BE49-F238E27FC236}">
                    <a16:creationId xmlns:a16="http://schemas.microsoft.com/office/drawing/2014/main" id="{B64CE02A-5D4F-1D65-A8E1-D3E59AE3D794}"/>
                  </a:ext>
                </a:extLst>
              </p:cNvPr>
              <p:cNvSpPr/>
              <p:nvPr/>
            </p:nvSpPr>
            <p:spPr>
              <a:xfrm>
                <a:off x="6205952" y="2257884"/>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endParaRPr lang="en-US" sz="1800" dirty="0"/>
              </a:p>
            </p:txBody>
          </p:sp>
          <p:sp>
            <p:nvSpPr>
              <p:cNvPr id="182" name="Freeform 181">
                <a:extLst>
                  <a:ext uri="{FF2B5EF4-FFF2-40B4-BE49-F238E27FC236}">
                    <a16:creationId xmlns:a16="http://schemas.microsoft.com/office/drawing/2014/main" id="{C6E2B5D7-6B0B-C23D-A2C6-F9AC12743E28}"/>
                  </a:ext>
                </a:extLst>
              </p:cNvPr>
              <p:cNvSpPr/>
              <p:nvPr/>
            </p:nvSpPr>
            <p:spPr>
              <a:xfrm>
                <a:off x="6235334" y="2229401"/>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endParaRPr lang="en-US" sz="1800" dirty="0"/>
              </a:p>
            </p:txBody>
          </p:sp>
          <p:sp>
            <p:nvSpPr>
              <p:cNvPr id="183" name="Freeform 182">
                <a:extLst>
                  <a:ext uri="{FF2B5EF4-FFF2-40B4-BE49-F238E27FC236}">
                    <a16:creationId xmlns:a16="http://schemas.microsoft.com/office/drawing/2014/main" id="{B1F3A8E3-55A7-CE31-C7E6-F2FE299EEBB2}"/>
                  </a:ext>
                </a:extLst>
              </p:cNvPr>
              <p:cNvSpPr/>
              <p:nvPr/>
            </p:nvSpPr>
            <p:spPr>
              <a:xfrm>
                <a:off x="6205952" y="2257884"/>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endParaRPr lang="en-US" sz="1800" dirty="0"/>
              </a:p>
            </p:txBody>
          </p:sp>
          <p:sp>
            <p:nvSpPr>
              <p:cNvPr id="184" name="Freeform 183">
                <a:extLst>
                  <a:ext uri="{FF2B5EF4-FFF2-40B4-BE49-F238E27FC236}">
                    <a16:creationId xmlns:a16="http://schemas.microsoft.com/office/drawing/2014/main" id="{91512307-67A3-233B-98A6-439D8C04E80E}"/>
                  </a:ext>
                </a:extLst>
              </p:cNvPr>
              <p:cNvSpPr/>
              <p:nvPr/>
            </p:nvSpPr>
            <p:spPr>
              <a:xfrm>
                <a:off x="6235334" y="2229401"/>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endParaRPr lang="en-US" sz="1800" dirty="0"/>
              </a:p>
            </p:txBody>
          </p:sp>
          <p:sp>
            <p:nvSpPr>
              <p:cNvPr id="185" name="Freeform 184">
                <a:extLst>
                  <a:ext uri="{FF2B5EF4-FFF2-40B4-BE49-F238E27FC236}">
                    <a16:creationId xmlns:a16="http://schemas.microsoft.com/office/drawing/2014/main" id="{8DC225B8-1AB6-ACBD-A57F-B879B268FD55}"/>
                  </a:ext>
                </a:extLst>
              </p:cNvPr>
              <p:cNvSpPr/>
              <p:nvPr/>
            </p:nvSpPr>
            <p:spPr>
              <a:xfrm>
                <a:off x="6217828" y="2257884"/>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186" name="Freeform 185">
                <a:extLst>
                  <a:ext uri="{FF2B5EF4-FFF2-40B4-BE49-F238E27FC236}">
                    <a16:creationId xmlns:a16="http://schemas.microsoft.com/office/drawing/2014/main" id="{1D9B7B89-14C6-DEC7-996C-2FEFD390B70E}"/>
                  </a:ext>
                </a:extLst>
              </p:cNvPr>
              <p:cNvSpPr/>
              <p:nvPr/>
            </p:nvSpPr>
            <p:spPr>
              <a:xfrm>
                <a:off x="6247228" y="2229401"/>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endParaRPr lang="en-US" sz="1800" dirty="0"/>
              </a:p>
            </p:txBody>
          </p:sp>
          <p:sp>
            <p:nvSpPr>
              <p:cNvPr id="187" name="Freeform 186">
                <a:extLst>
                  <a:ext uri="{FF2B5EF4-FFF2-40B4-BE49-F238E27FC236}">
                    <a16:creationId xmlns:a16="http://schemas.microsoft.com/office/drawing/2014/main" id="{260CA808-CD7F-EDC3-A5F1-DA462C3FA5C5}"/>
                  </a:ext>
                </a:extLst>
              </p:cNvPr>
              <p:cNvSpPr/>
              <p:nvPr/>
            </p:nvSpPr>
            <p:spPr>
              <a:xfrm>
                <a:off x="6264858" y="2281425"/>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188" name="Freeform 187">
                <a:extLst>
                  <a:ext uri="{FF2B5EF4-FFF2-40B4-BE49-F238E27FC236}">
                    <a16:creationId xmlns:a16="http://schemas.microsoft.com/office/drawing/2014/main" id="{91A00541-D405-0236-56E6-7983D6ACEBDC}"/>
                  </a:ext>
                </a:extLst>
              </p:cNvPr>
              <p:cNvSpPr/>
              <p:nvPr/>
            </p:nvSpPr>
            <p:spPr>
              <a:xfrm>
                <a:off x="6294258" y="2252942"/>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27377D"/>
                </a:solidFill>
                <a:prstDash val="solid"/>
                <a:miter/>
              </a:ln>
            </p:spPr>
            <p:txBody>
              <a:bodyPr rtlCol="0" anchor="ctr"/>
              <a:lstStyle/>
              <a:p>
                <a:endParaRPr lang="en-US" sz="1800" dirty="0"/>
              </a:p>
            </p:txBody>
          </p:sp>
          <p:sp>
            <p:nvSpPr>
              <p:cNvPr id="189" name="Freeform 188">
                <a:extLst>
                  <a:ext uri="{FF2B5EF4-FFF2-40B4-BE49-F238E27FC236}">
                    <a16:creationId xmlns:a16="http://schemas.microsoft.com/office/drawing/2014/main" id="{5A15CA24-E780-CF5D-998B-C7E784B4E902}"/>
                  </a:ext>
                </a:extLst>
              </p:cNvPr>
              <p:cNvSpPr/>
              <p:nvPr/>
            </p:nvSpPr>
            <p:spPr>
              <a:xfrm>
                <a:off x="6276628" y="2281425"/>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endParaRPr lang="en-US" sz="1800" dirty="0"/>
              </a:p>
            </p:txBody>
          </p:sp>
          <p:sp>
            <p:nvSpPr>
              <p:cNvPr id="190" name="Freeform 189">
                <a:extLst>
                  <a:ext uri="{FF2B5EF4-FFF2-40B4-BE49-F238E27FC236}">
                    <a16:creationId xmlns:a16="http://schemas.microsoft.com/office/drawing/2014/main" id="{5F4BBB44-A841-BFC8-681F-A89CD806A52A}"/>
                  </a:ext>
                </a:extLst>
              </p:cNvPr>
              <p:cNvSpPr/>
              <p:nvPr/>
            </p:nvSpPr>
            <p:spPr>
              <a:xfrm>
                <a:off x="6306011" y="2252942"/>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27377D"/>
                </a:solidFill>
                <a:prstDash val="solid"/>
                <a:miter/>
              </a:ln>
            </p:spPr>
            <p:txBody>
              <a:bodyPr rtlCol="0" anchor="ctr"/>
              <a:lstStyle/>
              <a:p>
                <a:endParaRPr lang="en-US" sz="1800" dirty="0"/>
              </a:p>
            </p:txBody>
          </p:sp>
          <p:sp>
            <p:nvSpPr>
              <p:cNvPr id="191" name="Freeform 190">
                <a:extLst>
                  <a:ext uri="{FF2B5EF4-FFF2-40B4-BE49-F238E27FC236}">
                    <a16:creationId xmlns:a16="http://schemas.microsoft.com/office/drawing/2014/main" id="{144DA200-5141-5913-93D7-351CF572D160}"/>
                  </a:ext>
                </a:extLst>
              </p:cNvPr>
              <p:cNvSpPr/>
              <p:nvPr/>
            </p:nvSpPr>
            <p:spPr>
              <a:xfrm>
                <a:off x="6276628" y="2281425"/>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endParaRPr lang="en-US" sz="1800" dirty="0"/>
              </a:p>
            </p:txBody>
          </p:sp>
          <p:sp>
            <p:nvSpPr>
              <p:cNvPr id="192" name="Freeform 191">
                <a:extLst>
                  <a:ext uri="{FF2B5EF4-FFF2-40B4-BE49-F238E27FC236}">
                    <a16:creationId xmlns:a16="http://schemas.microsoft.com/office/drawing/2014/main" id="{1AB70B0C-3784-EDDD-7634-4D46C9B2510F}"/>
                  </a:ext>
                </a:extLst>
              </p:cNvPr>
              <p:cNvSpPr/>
              <p:nvPr/>
            </p:nvSpPr>
            <p:spPr>
              <a:xfrm>
                <a:off x="6306011" y="2252942"/>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27377D"/>
                </a:solidFill>
                <a:prstDash val="solid"/>
                <a:miter/>
              </a:ln>
            </p:spPr>
            <p:txBody>
              <a:bodyPr rtlCol="0" anchor="ctr"/>
              <a:lstStyle/>
              <a:p>
                <a:endParaRPr lang="en-US" sz="1800" dirty="0"/>
              </a:p>
            </p:txBody>
          </p:sp>
          <p:sp>
            <p:nvSpPr>
              <p:cNvPr id="193" name="Freeform 192">
                <a:extLst>
                  <a:ext uri="{FF2B5EF4-FFF2-40B4-BE49-F238E27FC236}">
                    <a16:creationId xmlns:a16="http://schemas.microsoft.com/office/drawing/2014/main" id="{B276494F-B594-6C80-E041-2B3A9CE4CCB7}"/>
                  </a:ext>
                </a:extLst>
              </p:cNvPr>
              <p:cNvSpPr/>
              <p:nvPr/>
            </p:nvSpPr>
            <p:spPr>
              <a:xfrm>
                <a:off x="6306011" y="2281425"/>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194" name="Freeform 193">
                <a:extLst>
                  <a:ext uri="{FF2B5EF4-FFF2-40B4-BE49-F238E27FC236}">
                    <a16:creationId xmlns:a16="http://schemas.microsoft.com/office/drawing/2014/main" id="{F2708D96-AABE-4151-DE06-4EB664A7ADD0}"/>
                  </a:ext>
                </a:extLst>
              </p:cNvPr>
              <p:cNvSpPr/>
              <p:nvPr/>
            </p:nvSpPr>
            <p:spPr>
              <a:xfrm>
                <a:off x="6335410" y="2252942"/>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27377D"/>
                </a:solidFill>
                <a:prstDash val="solid"/>
                <a:miter/>
              </a:ln>
            </p:spPr>
            <p:txBody>
              <a:bodyPr rtlCol="0" anchor="ctr"/>
              <a:lstStyle/>
              <a:p>
                <a:endParaRPr lang="en-US" sz="1800" dirty="0"/>
              </a:p>
            </p:txBody>
          </p:sp>
          <p:sp>
            <p:nvSpPr>
              <p:cNvPr id="195" name="Freeform 194">
                <a:extLst>
                  <a:ext uri="{FF2B5EF4-FFF2-40B4-BE49-F238E27FC236}">
                    <a16:creationId xmlns:a16="http://schemas.microsoft.com/office/drawing/2014/main" id="{FC727DC5-6E19-6587-E120-701C95C4D002}"/>
                  </a:ext>
                </a:extLst>
              </p:cNvPr>
              <p:cNvSpPr/>
              <p:nvPr/>
            </p:nvSpPr>
            <p:spPr>
              <a:xfrm>
                <a:off x="6311905" y="2281425"/>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endParaRPr lang="en-US" sz="1800" dirty="0"/>
              </a:p>
            </p:txBody>
          </p:sp>
          <p:sp>
            <p:nvSpPr>
              <p:cNvPr id="196" name="Freeform 195">
                <a:extLst>
                  <a:ext uri="{FF2B5EF4-FFF2-40B4-BE49-F238E27FC236}">
                    <a16:creationId xmlns:a16="http://schemas.microsoft.com/office/drawing/2014/main" id="{5609F51F-F160-5888-68A9-A56AD7C50FA8}"/>
                  </a:ext>
                </a:extLst>
              </p:cNvPr>
              <p:cNvSpPr/>
              <p:nvPr/>
            </p:nvSpPr>
            <p:spPr>
              <a:xfrm>
                <a:off x="6341287" y="2252942"/>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27377D"/>
                </a:solidFill>
                <a:prstDash val="solid"/>
                <a:miter/>
              </a:ln>
            </p:spPr>
            <p:txBody>
              <a:bodyPr rtlCol="0" anchor="ctr"/>
              <a:lstStyle/>
              <a:p>
                <a:endParaRPr lang="en-US" sz="1800" dirty="0"/>
              </a:p>
            </p:txBody>
          </p:sp>
          <p:sp>
            <p:nvSpPr>
              <p:cNvPr id="197" name="Freeform 196">
                <a:extLst>
                  <a:ext uri="{FF2B5EF4-FFF2-40B4-BE49-F238E27FC236}">
                    <a16:creationId xmlns:a16="http://schemas.microsoft.com/office/drawing/2014/main" id="{A80D24E8-387C-118B-8684-A7495D317373}"/>
                  </a:ext>
                </a:extLst>
              </p:cNvPr>
              <p:cNvSpPr/>
              <p:nvPr/>
            </p:nvSpPr>
            <p:spPr>
              <a:xfrm>
                <a:off x="6317905" y="2281425"/>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198" name="Freeform 197">
                <a:extLst>
                  <a:ext uri="{FF2B5EF4-FFF2-40B4-BE49-F238E27FC236}">
                    <a16:creationId xmlns:a16="http://schemas.microsoft.com/office/drawing/2014/main" id="{9DF1FF42-83CE-10A1-5FF3-9DFCDF1BE29C}"/>
                  </a:ext>
                </a:extLst>
              </p:cNvPr>
              <p:cNvSpPr/>
              <p:nvPr/>
            </p:nvSpPr>
            <p:spPr>
              <a:xfrm>
                <a:off x="6347305" y="2252942"/>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27377D"/>
                </a:solidFill>
                <a:prstDash val="solid"/>
                <a:miter/>
              </a:ln>
            </p:spPr>
            <p:txBody>
              <a:bodyPr rtlCol="0" anchor="ctr"/>
              <a:lstStyle/>
              <a:p>
                <a:endParaRPr lang="en-US" sz="1800" dirty="0"/>
              </a:p>
            </p:txBody>
          </p:sp>
          <p:sp>
            <p:nvSpPr>
              <p:cNvPr id="199" name="Freeform 198">
                <a:extLst>
                  <a:ext uri="{FF2B5EF4-FFF2-40B4-BE49-F238E27FC236}">
                    <a16:creationId xmlns:a16="http://schemas.microsoft.com/office/drawing/2014/main" id="{1D030566-675D-1E8A-A793-E1AA6ACC9DE7}"/>
                  </a:ext>
                </a:extLst>
              </p:cNvPr>
              <p:cNvSpPr/>
              <p:nvPr/>
            </p:nvSpPr>
            <p:spPr>
              <a:xfrm>
                <a:off x="6329658" y="2281425"/>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200" name="Freeform 199">
                <a:extLst>
                  <a:ext uri="{FF2B5EF4-FFF2-40B4-BE49-F238E27FC236}">
                    <a16:creationId xmlns:a16="http://schemas.microsoft.com/office/drawing/2014/main" id="{5877F1D1-91A6-830D-D836-FE364B963F0B}"/>
                  </a:ext>
                </a:extLst>
              </p:cNvPr>
              <p:cNvSpPr/>
              <p:nvPr/>
            </p:nvSpPr>
            <p:spPr>
              <a:xfrm>
                <a:off x="6359057" y="2252942"/>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27377D"/>
                </a:solidFill>
                <a:prstDash val="solid"/>
                <a:miter/>
              </a:ln>
            </p:spPr>
            <p:txBody>
              <a:bodyPr rtlCol="0" anchor="ctr"/>
              <a:lstStyle/>
              <a:p>
                <a:endParaRPr lang="en-US" sz="1800" dirty="0"/>
              </a:p>
            </p:txBody>
          </p:sp>
          <p:sp>
            <p:nvSpPr>
              <p:cNvPr id="201" name="Freeform 200">
                <a:extLst>
                  <a:ext uri="{FF2B5EF4-FFF2-40B4-BE49-F238E27FC236}">
                    <a16:creationId xmlns:a16="http://schemas.microsoft.com/office/drawing/2014/main" id="{D18E327A-7935-7B7B-713F-4B7C1083CA67}"/>
                  </a:ext>
                </a:extLst>
              </p:cNvPr>
              <p:cNvSpPr/>
              <p:nvPr/>
            </p:nvSpPr>
            <p:spPr>
              <a:xfrm>
                <a:off x="6347305" y="2293707"/>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endParaRPr lang="en-US" sz="1800" dirty="0"/>
              </a:p>
            </p:txBody>
          </p:sp>
          <p:sp>
            <p:nvSpPr>
              <p:cNvPr id="202" name="Freeform 201">
                <a:extLst>
                  <a:ext uri="{FF2B5EF4-FFF2-40B4-BE49-F238E27FC236}">
                    <a16:creationId xmlns:a16="http://schemas.microsoft.com/office/drawing/2014/main" id="{9FB74EC0-D83B-73F4-B44B-0F3C687C6079}"/>
                  </a:ext>
                </a:extLst>
              </p:cNvPr>
              <p:cNvSpPr/>
              <p:nvPr/>
            </p:nvSpPr>
            <p:spPr>
              <a:xfrm>
                <a:off x="6376705" y="2265225"/>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27377D"/>
                </a:solidFill>
                <a:prstDash val="solid"/>
                <a:miter/>
              </a:ln>
            </p:spPr>
            <p:txBody>
              <a:bodyPr rtlCol="0" anchor="ctr"/>
              <a:lstStyle/>
              <a:p>
                <a:endParaRPr lang="en-US" sz="1800" dirty="0"/>
              </a:p>
            </p:txBody>
          </p:sp>
          <p:sp>
            <p:nvSpPr>
              <p:cNvPr id="203" name="Freeform 202">
                <a:extLst>
                  <a:ext uri="{FF2B5EF4-FFF2-40B4-BE49-F238E27FC236}">
                    <a16:creationId xmlns:a16="http://schemas.microsoft.com/office/drawing/2014/main" id="{20FBFCE6-6C2C-EC32-EF1E-34575C1732F7}"/>
                  </a:ext>
                </a:extLst>
              </p:cNvPr>
              <p:cNvSpPr/>
              <p:nvPr/>
            </p:nvSpPr>
            <p:spPr>
              <a:xfrm>
                <a:off x="6353181" y="2293707"/>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endParaRPr lang="en-US" sz="1800" dirty="0"/>
              </a:p>
            </p:txBody>
          </p:sp>
          <p:sp>
            <p:nvSpPr>
              <p:cNvPr id="204" name="Freeform 203">
                <a:extLst>
                  <a:ext uri="{FF2B5EF4-FFF2-40B4-BE49-F238E27FC236}">
                    <a16:creationId xmlns:a16="http://schemas.microsoft.com/office/drawing/2014/main" id="{6A60DCB3-524E-8117-7B19-836B4A578DA2}"/>
                  </a:ext>
                </a:extLst>
              </p:cNvPr>
              <p:cNvSpPr/>
              <p:nvPr/>
            </p:nvSpPr>
            <p:spPr>
              <a:xfrm>
                <a:off x="6382581" y="2265225"/>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27377D"/>
                </a:solidFill>
                <a:prstDash val="solid"/>
                <a:miter/>
              </a:ln>
            </p:spPr>
            <p:txBody>
              <a:bodyPr rtlCol="0" anchor="ctr"/>
              <a:lstStyle/>
              <a:p>
                <a:endParaRPr lang="en-US" sz="1800" dirty="0"/>
              </a:p>
            </p:txBody>
          </p:sp>
          <p:sp>
            <p:nvSpPr>
              <p:cNvPr id="205" name="Freeform 204">
                <a:extLst>
                  <a:ext uri="{FF2B5EF4-FFF2-40B4-BE49-F238E27FC236}">
                    <a16:creationId xmlns:a16="http://schemas.microsoft.com/office/drawing/2014/main" id="{050E4219-D96A-C112-1DBE-40AF895B11AB}"/>
                  </a:ext>
                </a:extLst>
              </p:cNvPr>
              <p:cNvSpPr/>
              <p:nvPr/>
            </p:nvSpPr>
            <p:spPr>
              <a:xfrm>
                <a:off x="6423857" y="2305972"/>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206" name="Freeform 205">
                <a:extLst>
                  <a:ext uri="{FF2B5EF4-FFF2-40B4-BE49-F238E27FC236}">
                    <a16:creationId xmlns:a16="http://schemas.microsoft.com/office/drawing/2014/main" id="{B42F8622-937B-6404-4708-BB7765BDC07D}"/>
                  </a:ext>
                </a:extLst>
              </p:cNvPr>
              <p:cNvSpPr/>
              <p:nvPr/>
            </p:nvSpPr>
            <p:spPr>
              <a:xfrm>
                <a:off x="6453257" y="2277507"/>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endParaRPr lang="en-US" sz="1800" dirty="0"/>
              </a:p>
            </p:txBody>
          </p:sp>
          <p:sp>
            <p:nvSpPr>
              <p:cNvPr id="207" name="Freeform 206">
                <a:extLst>
                  <a:ext uri="{FF2B5EF4-FFF2-40B4-BE49-F238E27FC236}">
                    <a16:creationId xmlns:a16="http://schemas.microsoft.com/office/drawing/2014/main" id="{1D6F46C8-5A8A-CC7E-E9B2-3B9EC4E178F0}"/>
                  </a:ext>
                </a:extLst>
              </p:cNvPr>
              <p:cNvSpPr/>
              <p:nvPr/>
            </p:nvSpPr>
            <p:spPr>
              <a:xfrm>
                <a:off x="6441504" y="2305972"/>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endParaRPr lang="en-US" sz="1800" dirty="0"/>
              </a:p>
            </p:txBody>
          </p:sp>
          <p:sp>
            <p:nvSpPr>
              <p:cNvPr id="208" name="Freeform 207">
                <a:extLst>
                  <a:ext uri="{FF2B5EF4-FFF2-40B4-BE49-F238E27FC236}">
                    <a16:creationId xmlns:a16="http://schemas.microsoft.com/office/drawing/2014/main" id="{5B3B2235-EBB5-996B-FEE3-4E59E70DFB78}"/>
                  </a:ext>
                </a:extLst>
              </p:cNvPr>
              <p:cNvSpPr/>
              <p:nvPr/>
            </p:nvSpPr>
            <p:spPr>
              <a:xfrm>
                <a:off x="6470887" y="2277507"/>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endParaRPr lang="en-US" sz="1800" dirty="0"/>
              </a:p>
            </p:txBody>
          </p:sp>
          <p:sp>
            <p:nvSpPr>
              <p:cNvPr id="209" name="Freeform 208">
                <a:extLst>
                  <a:ext uri="{FF2B5EF4-FFF2-40B4-BE49-F238E27FC236}">
                    <a16:creationId xmlns:a16="http://schemas.microsoft.com/office/drawing/2014/main" id="{AD0BC280-93FE-95E3-9B29-1BC7B218D9A1}"/>
                  </a:ext>
                </a:extLst>
              </p:cNvPr>
              <p:cNvSpPr/>
              <p:nvPr/>
            </p:nvSpPr>
            <p:spPr>
              <a:xfrm>
                <a:off x="6447381" y="2305972"/>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endParaRPr lang="en-US" sz="1800" dirty="0"/>
              </a:p>
            </p:txBody>
          </p:sp>
          <p:sp>
            <p:nvSpPr>
              <p:cNvPr id="210" name="Freeform 209">
                <a:extLst>
                  <a:ext uri="{FF2B5EF4-FFF2-40B4-BE49-F238E27FC236}">
                    <a16:creationId xmlns:a16="http://schemas.microsoft.com/office/drawing/2014/main" id="{3DEE0EDA-895D-3639-BEC5-642914E91460}"/>
                  </a:ext>
                </a:extLst>
              </p:cNvPr>
              <p:cNvSpPr/>
              <p:nvPr/>
            </p:nvSpPr>
            <p:spPr>
              <a:xfrm>
                <a:off x="6476763" y="2277507"/>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endParaRPr lang="en-US" sz="1800" dirty="0"/>
              </a:p>
            </p:txBody>
          </p:sp>
          <p:sp>
            <p:nvSpPr>
              <p:cNvPr id="211" name="Freeform 210">
                <a:extLst>
                  <a:ext uri="{FF2B5EF4-FFF2-40B4-BE49-F238E27FC236}">
                    <a16:creationId xmlns:a16="http://schemas.microsoft.com/office/drawing/2014/main" id="{D808F99D-0ED7-D5C5-BE3C-67C020158E69}"/>
                  </a:ext>
                </a:extLst>
              </p:cNvPr>
              <p:cNvSpPr/>
              <p:nvPr/>
            </p:nvSpPr>
            <p:spPr>
              <a:xfrm>
                <a:off x="6470887" y="2305972"/>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212" name="Freeform 211">
                <a:extLst>
                  <a:ext uri="{FF2B5EF4-FFF2-40B4-BE49-F238E27FC236}">
                    <a16:creationId xmlns:a16="http://schemas.microsoft.com/office/drawing/2014/main" id="{C3F22910-6941-DB6A-A6B6-78A69A5ED665}"/>
                  </a:ext>
                </a:extLst>
              </p:cNvPr>
              <p:cNvSpPr/>
              <p:nvPr/>
            </p:nvSpPr>
            <p:spPr>
              <a:xfrm>
                <a:off x="6500287" y="2277507"/>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endParaRPr lang="en-US" sz="1800" dirty="0"/>
              </a:p>
            </p:txBody>
          </p:sp>
          <p:sp>
            <p:nvSpPr>
              <p:cNvPr id="213" name="Freeform 212">
                <a:extLst>
                  <a:ext uri="{FF2B5EF4-FFF2-40B4-BE49-F238E27FC236}">
                    <a16:creationId xmlns:a16="http://schemas.microsoft.com/office/drawing/2014/main" id="{076C9634-6260-5113-1C18-071CE9CB0F22}"/>
                  </a:ext>
                </a:extLst>
              </p:cNvPr>
              <p:cNvSpPr/>
              <p:nvPr/>
            </p:nvSpPr>
            <p:spPr>
              <a:xfrm>
                <a:off x="6476763" y="2305972"/>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214" name="Freeform 213">
                <a:extLst>
                  <a:ext uri="{FF2B5EF4-FFF2-40B4-BE49-F238E27FC236}">
                    <a16:creationId xmlns:a16="http://schemas.microsoft.com/office/drawing/2014/main" id="{AD3852EB-4C17-7A92-1BD8-26417FA6B146}"/>
                  </a:ext>
                </a:extLst>
              </p:cNvPr>
              <p:cNvSpPr/>
              <p:nvPr/>
            </p:nvSpPr>
            <p:spPr>
              <a:xfrm>
                <a:off x="6506163" y="2277507"/>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endParaRPr lang="en-US" sz="1800" dirty="0"/>
              </a:p>
            </p:txBody>
          </p:sp>
          <p:sp>
            <p:nvSpPr>
              <p:cNvPr id="215" name="Freeform 214">
                <a:extLst>
                  <a:ext uri="{FF2B5EF4-FFF2-40B4-BE49-F238E27FC236}">
                    <a16:creationId xmlns:a16="http://schemas.microsoft.com/office/drawing/2014/main" id="{8FF2E0D5-39E0-0547-9733-8A494872808A}"/>
                  </a:ext>
                </a:extLst>
              </p:cNvPr>
              <p:cNvSpPr/>
              <p:nvPr/>
            </p:nvSpPr>
            <p:spPr>
              <a:xfrm>
                <a:off x="6523810" y="2305972"/>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endParaRPr lang="en-US" sz="1800" dirty="0"/>
              </a:p>
            </p:txBody>
          </p:sp>
          <p:sp>
            <p:nvSpPr>
              <p:cNvPr id="216" name="Freeform 215">
                <a:extLst>
                  <a:ext uri="{FF2B5EF4-FFF2-40B4-BE49-F238E27FC236}">
                    <a16:creationId xmlns:a16="http://schemas.microsoft.com/office/drawing/2014/main" id="{11BB8C65-4D37-8819-C9D8-74CEE9225A16}"/>
                  </a:ext>
                </a:extLst>
              </p:cNvPr>
              <p:cNvSpPr/>
              <p:nvPr/>
            </p:nvSpPr>
            <p:spPr>
              <a:xfrm>
                <a:off x="6553192" y="2277507"/>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endParaRPr lang="en-US" sz="1800" dirty="0"/>
              </a:p>
            </p:txBody>
          </p:sp>
          <p:sp>
            <p:nvSpPr>
              <p:cNvPr id="217" name="Freeform 216">
                <a:extLst>
                  <a:ext uri="{FF2B5EF4-FFF2-40B4-BE49-F238E27FC236}">
                    <a16:creationId xmlns:a16="http://schemas.microsoft.com/office/drawing/2014/main" id="{1AA8297C-D029-0430-1F07-6B80597C97C2}"/>
                  </a:ext>
                </a:extLst>
              </p:cNvPr>
              <p:cNvSpPr/>
              <p:nvPr/>
            </p:nvSpPr>
            <p:spPr>
              <a:xfrm>
                <a:off x="6529810" y="2305972"/>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218" name="Freeform 217">
                <a:extLst>
                  <a:ext uri="{FF2B5EF4-FFF2-40B4-BE49-F238E27FC236}">
                    <a16:creationId xmlns:a16="http://schemas.microsoft.com/office/drawing/2014/main" id="{0035BA76-82D0-62C9-BAA3-8B62EF28DF30}"/>
                  </a:ext>
                </a:extLst>
              </p:cNvPr>
              <p:cNvSpPr/>
              <p:nvPr/>
            </p:nvSpPr>
            <p:spPr>
              <a:xfrm>
                <a:off x="6559210" y="2277507"/>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endParaRPr lang="en-US" sz="1800" dirty="0"/>
              </a:p>
            </p:txBody>
          </p:sp>
          <p:sp>
            <p:nvSpPr>
              <p:cNvPr id="219" name="Freeform 218">
                <a:extLst>
                  <a:ext uri="{FF2B5EF4-FFF2-40B4-BE49-F238E27FC236}">
                    <a16:creationId xmlns:a16="http://schemas.microsoft.com/office/drawing/2014/main" id="{F0E883DF-DD84-1655-7017-3F9281B6B2FD}"/>
                  </a:ext>
                </a:extLst>
              </p:cNvPr>
              <p:cNvSpPr/>
              <p:nvPr/>
            </p:nvSpPr>
            <p:spPr>
              <a:xfrm>
                <a:off x="6541563" y="2305972"/>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220" name="Freeform 219">
                <a:extLst>
                  <a:ext uri="{FF2B5EF4-FFF2-40B4-BE49-F238E27FC236}">
                    <a16:creationId xmlns:a16="http://schemas.microsoft.com/office/drawing/2014/main" id="{3CF07D60-B840-E592-2205-B163861D3419}"/>
                  </a:ext>
                </a:extLst>
              </p:cNvPr>
              <p:cNvSpPr/>
              <p:nvPr/>
            </p:nvSpPr>
            <p:spPr>
              <a:xfrm>
                <a:off x="6570963" y="2277507"/>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endParaRPr lang="en-US" sz="1800" dirty="0"/>
              </a:p>
            </p:txBody>
          </p:sp>
          <p:sp>
            <p:nvSpPr>
              <p:cNvPr id="221" name="Freeform 220">
                <a:extLst>
                  <a:ext uri="{FF2B5EF4-FFF2-40B4-BE49-F238E27FC236}">
                    <a16:creationId xmlns:a16="http://schemas.microsoft.com/office/drawing/2014/main" id="{A5B4D43E-541D-0E44-CDF3-6D622AB97C18}"/>
                  </a:ext>
                </a:extLst>
              </p:cNvPr>
              <p:cNvSpPr/>
              <p:nvPr/>
            </p:nvSpPr>
            <p:spPr>
              <a:xfrm>
                <a:off x="6547457" y="2305972"/>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endParaRPr lang="en-US" sz="1800" dirty="0"/>
              </a:p>
            </p:txBody>
          </p:sp>
          <p:sp>
            <p:nvSpPr>
              <p:cNvPr id="222" name="Freeform 221">
                <a:extLst>
                  <a:ext uri="{FF2B5EF4-FFF2-40B4-BE49-F238E27FC236}">
                    <a16:creationId xmlns:a16="http://schemas.microsoft.com/office/drawing/2014/main" id="{5CAF9E19-3E06-8349-4C6F-7035799A1C8C}"/>
                  </a:ext>
                </a:extLst>
              </p:cNvPr>
              <p:cNvSpPr/>
              <p:nvPr/>
            </p:nvSpPr>
            <p:spPr>
              <a:xfrm>
                <a:off x="6576839" y="2277507"/>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endParaRPr lang="en-US" sz="1800" dirty="0"/>
              </a:p>
            </p:txBody>
          </p:sp>
          <p:sp>
            <p:nvSpPr>
              <p:cNvPr id="223" name="Freeform 222">
                <a:extLst>
                  <a:ext uri="{FF2B5EF4-FFF2-40B4-BE49-F238E27FC236}">
                    <a16:creationId xmlns:a16="http://schemas.microsoft.com/office/drawing/2014/main" id="{8974818C-A9F3-F8E9-138B-73F1523A82D1}"/>
                  </a:ext>
                </a:extLst>
              </p:cNvPr>
              <p:cNvSpPr/>
              <p:nvPr/>
            </p:nvSpPr>
            <p:spPr>
              <a:xfrm>
                <a:off x="6559210" y="2318889"/>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endParaRPr lang="en-US" sz="1800" dirty="0"/>
              </a:p>
            </p:txBody>
          </p:sp>
          <p:sp>
            <p:nvSpPr>
              <p:cNvPr id="224" name="Freeform 223">
                <a:extLst>
                  <a:ext uri="{FF2B5EF4-FFF2-40B4-BE49-F238E27FC236}">
                    <a16:creationId xmlns:a16="http://schemas.microsoft.com/office/drawing/2014/main" id="{0424EFDB-AEA4-8E93-D480-66BBACB7826A}"/>
                  </a:ext>
                </a:extLst>
              </p:cNvPr>
              <p:cNvSpPr/>
              <p:nvPr/>
            </p:nvSpPr>
            <p:spPr>
              <a:xfrm>
                <a:off x="6588610" y="2290407"/>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endParaRPr lang="en-US" sz="1800" dirty="0"/>
              </a:p>
            </p:txBody>
          </p:sp>
          <p:sp>
            <p:nvSpPr>
              <p:cNvPr id="225" name="Freeform 224">
                <a:extLst>
                  <a:ext uri="{FF2B5EF4-FFF2-40B4-BE49-F238E27FC236}">
                    <a16:creationId xmlns:a16="http://schemas.microsoft.com/office/drawing/2014/main" id="{71694EB5-FD94-8D6B-5033-8168631692B6}"/>
                  </a:ext>
                </a:extLst>
              </p:cNvPr>
              <p:cNvSpPr/>
              <p:nvPr/>
            </p:nvSpPr>
            <p:spPr>
              <a:xfrm>
                <a:off x="6565087" y="2331930"/>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endParaRPr lang="en-US" sz="1800" dirty="0"/>
              </a:p>
            </p:txBody>
          </p:sp>
          <p:sp>
            <p:nvSpPr>
              <p:cNvPr id="226" name="Freeform 225">
                <a:extLst>
                  <a:ext uri="{FF2B5EF4-FFF2-40B4-BE49-F238E27FC236}">
                    <a16:creationId xmlns:a16="http://schemas.microsoft.com/office/drawing/2014/main" id="{A27F6CCC-E6D9-57DD-7406-371284181F85}"/>
                  </a:ext>
                </a:extLst>
              </p:cNvPr>
              <p:cNvSpPr/>
              <p:nvPr/>
            </p:nvSpPr>
            <p:spPr>
              <a:xfrm>
                <a:off x="6594486" y="2303448"/>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27377D"/>
                </a:solidFill>
                <a:prstDash val="solid"/>
                <a:miter/>
              </a:ln>
            </p:spPr>
            <p:txBody>
              <a:bodyPr rtlCol="0" anchor="ctr"/>
              <a:lstStyle/>
              <a:p>
                <a:endParaRPr lang="en-US" sz="1800" dirty="0"/>
              </a:p>
            </p:txBody>
          </p:sp>
          <p:sp>
            <p:nvSpPr>
              <p:cNvPr id="227" name="Freeform 226">
                <a:extLst>
                  <a:ext uri="{FF2B5EF4-FFF2-40B4-BE49-F238E27FC236}">
                    <a16:creationId xmlns:a16="http://schemas.microsoft.com/office/drawing/2014/main" id="{38981223-1F3B-F447-919B-4457C178044A}"/>
                  </a:ext>
                </a:extLst>
              </p:cNvPr>
              <p:cNvSpPr/>
              <p:nvPr/>
            </p:nvSpPr>
            <p:spPr>
              <a:xfrm>
                <a:off x="6565087" y="2331930"/>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endParaRPr lang="en-US" sz="1800" dirty="0"/>
              </a:p>
            </p:txBody>
          </p:sp>
          <p:sp>
            <p:nvSpPr>
              <p:cNvPr id="228" name="Freeform 227">
                <a:extLst>
                  <a:ext uri="{FF2B5EF4-FFF2-40B4-BE49-F238E27FC236}">
                    <a16:creationId xmlns:a16="http://schemas.microsoft.com/office/drawing/2014/main" id="{6F37DDDD-A677-AFDC-0104-5873938E6C73}"/>
                  </a:ext>
                </a:extLst>
              </p:cNvPr>
              <p:cNvSpPr/>
              <p:nvPr/>
            </p:nvSpPr>
            <p:spPr>
              <a:xfrm>
                <a:off x="6594486" y="2303448"/>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27377D"/>
                </a:solidFill>
                <a:prstDash val="solid"/>
                <a:miter/>
              </a:ln>
            </p:spPr>
            <p:txBody>
              <a:bodyPr rtlCol="0" anchor="ctr"/>
              <a:lstStyle/>
              <a:p>
                <a:endParaRPr lang="en-US" sz="1800" dirty="0"/>
              </a:p>
            </p:txBody>
          </p:sp>
          <p:sp>
            <p:nvSpPr>
              <p:cNvPr id="229" name="Freeform 228">
                <a:extLst>
                  <a:ext uri="{FF2B5EF4-FFF2-40B4-BE49-F238E27FC236}">
                    <a16:creationId xmlns:a16="http://schemas.microsoft.com/office/drawing/2014/main" id="{4FFCF474-64BC-048D-4C28-59FF11F0065E}"/>
                  </a:ext>
                </a:extLst>
              </p:cNvPr>
              <p:cNvSpPr/>
              <p:nvPr/>
            </p:nvSpPr>
            <p:spPr>
              <a:xfrm>
                <a:off x="6594486" y="2345095"/>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endParaRPr lang="en-US" sz="1800" dirty="0"/>
              </a:p>
            </p:txBody>
          </p:sp>
          <p:sp>
            <p:nvSpPr>
              <p:cNvPr id="230" name="Freeform 229">
                <a:extLst>
                  <a:ext uri="{FF2B5EF4-FFF2-40B4-BE49-F238E27FC236}">
                    <a16:creationId xmlns:a16="http://schemas.microsoft.com/office/drawing/2014/main" id="{6AF04A0F-7DBB-0A29-8306-C193F3EA9223}"/>
                  </a:ext>
                </a:extLst>
              </p:cNvPr>
              <p:cNvSpPr/>
              <p:nvPr/>
            </p:nvSpPr>
            <p:spPr>
              <a:xfrm>
                <a:off x="6623869" y="2316613"/>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endParaRPr lang="en-US" sz="1800" dirty="0"/>
              </a:p>
            </p:txBody>
          </p:sp>
          <p:sp>
            <p:nvSpPr>
              <p:cNvPr id="231" name="Freeform 230">
                <a:extLst>
                  <a:ext uri="{FF2B5EF4-FFF2-40B4-BE49-F238E27FC236}">
                    <a16:creationId xmlns:a16="http://schemas.microsoft.com/office/drawing/2014/main" id="{4871984C-2435-F2DC-1921-CDBADC6D6C20}"/>
                  </a:ext>
                </a:extLst>
              </p:cNvPr>
              <p:cNvSpPr/>
              <p:nvPr/>
            </p:nvSpPr>
            <p:spPr>
              <a:xfrm>
                <a:off x="6600363" y="2345095"/>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endParaRPr lang="en-US" sz="1800" dirty="0"/>
              </a:p>
            </p:txBody>
          </p:sp>
          <p:sp>
            <p:nvSpPr>
              <p:cNvPr id="232" name="Freeform 231">
                <a:extLst>
                  <a:ext uri="{FF2B5EF4-FFF2-40B4-BE49-F238E27FC236}">
                    <a16:creationId xmlns:a16="http://schemas.microsoft.com/office/drawing/2014/main" id="{A9858220-AED0-9063-A65E-F07C0F97FCD3}"/>
                  </a:ext>
                </a:extLst>
              </p:cNvPr>
              <p:cNvSpPr/>
              <p:nvPr/>
            </p:nvSpPr>
            <p:spPr>
              <a:xfrm>
                <a:off x="6629763" y="2316613"/>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endParaRPr lang="en-US" sz="1800" dirty="0"/>
              </a:p>
            </p:txBody>
          </p:sp>
          <p:sp>
            <p:nvSpPr>
              <p:cNvPr id="233" name="Freeform 232">
                <a:extLst>
                  <a:ext uri="{FF2B5EF4-FFF2-40B4-BE49-F238E27FC236}">
                    <a16:creationId xmlns:a16="http://schemas.microsoft.com/office/drawing/2014/main" id="{F4CDD587-3A9B-68A2-0B6E-A990DFA0B69C}"/>
                  </a:ext>
                </a:extLst>
              </p:cNvPr>
              <p:cNvSpPr/>
              <p:nvPr/>
            </p:nvSpPr>
            <p:spPr>
              <a:xfrm>
                <a:off x="6600363" y="2345095"/>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endParaRPr lang="en-US" sz="1800" dirty="0"/>
              </a:p>
            </p:txBody>
          </p:sp>
          <p:sp>
            <p:nvSpPr>
              <p:cNvPr id="234" name="Freeform 233">
                <a:extLst>
                  <a:ext uri="{FF2B5EF4-FFF2-40B4-BE49-F238E27FC236}">
                    <a16:creationId xmlns:a16="http://schemas.microsoft.com/office/drawing/2014/main" id="{3D56027A-472A-AEF8-2A36-1C7EDC3366BB}"/>
                  </a:ext>
                </a:extLst>
              </p:cNvPr>
              <p:cNvSpPr/>
              <p:nvPr/>
            </p:nvSpPr>
            <p:spPr>
              <a:xfrm>
                <a:off x="6629763" y="2316613"/>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endParaRPr lang="en-US" sz="1800" dirty="0"/>
              </a:p>
            </p:txBody>
          </p:sp>
          <p:sp>
            <p:nvSpPr>
              <p:cNvPr id="235" name="Freeform 234">
                <a:extLst>
                  <a:ext uri="{FF2B5EF4-FFF2-40B4-BE49-F238E27FC236}">
                    <a16:creationId xmlns:a16="http://schemas.microsoft.com/office/drawing/2014/main" id="{FAED1321-49F0-2254-2D11-7D4C12CE8849}"/>
                  </a:ext>
                </a:extLst>
              </p:cNvPr>
              <p:cNvSpPr/>
              <p:nvPr/>
            </p:nvSpPr>
            <p:spPr>
              <a:xfrm>
                <a:off x="6600363" y="2345095"/>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endParaRPr lang="en-US" sz="1800" dirty="0"/>
              </a:p>
            </p:txBody>
          </p:sp>
          <p:sp>
            <p:nvSpPr>
              <p:cNvPr id="236" name="Freeform 235">
                <a:extLst>
                  <a:ext uri="{FF2B5EF4-FFF2-40B4-BE49-F238E27FC236}">
                    <a16:creationId xmlns:a16="http://schemas.microsoft.com/office/drawing/2014/main" id="{4D5D7602-F2C0-7004-8799-E2252224F66F}"/>
                  </a:ext>
                </a:extLst>
              </p:cNvPr>
              <p:cNvSpPr/>
              <p:nvPr/>
            </p:nvSpPr>
            <p:spPr>
              <a:xfrm>
                <a:off x="6629763" y="2316613"/>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endParaRPr lang="en-US" sz="1800" dirty="0"/>
              </a:p>
            </p:txBody>
          </p:sp>
          <p:sp>
            <p:nvSpPr>
              <p:cNvPr id="237" name="Freeform 236">
                <a:extLst>
                  <a:ext uri="{FF2B5EF4-FFF2-40B4-BE49-F238E27FC236}">
                    <a16:creationId xmlns:a16="http://schemas.microsoft.com/office/drawing/2014/main" id="{23BAC54A-43EA-1C69-519C-03383DB713F0}"/>
                  </a:ext>
                </a:extLst>
              </p:cNvPr>
              <p:cNvSpPr/>
              <p:nvPr/>
            </p:nvSpPr>
            <p:spPr>
              <a:xfrm>
                <a:off x="6606239" y="2345095"/>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endParaRPr lang="en-US" sz="1800" dirty="0"/>
              </a:p>
            </p:txBody>
          </p:sp>
          <p:sp>
            <p:nvSpPr>
              <p:cNvPr id="238" name="Freeform 237">
                <a:extLst>
                  <a:ext uri="{FF2B5EF4-FFF2-40B4-BE49-F238E27FC236}">
                    <a16:creationId xmlns:a16="http://schemas.microsoft.com/office/drawing/2014/main" id="{7D5C77E5-67FD-0D9B-D4C1-F9A8B7BC7631}"/>
                  </a:ext>
                </a:extLst>
              </p:cNvPr>
              <p:cNvSpPr/>
              <p:nvPr/>
            </p:nvSpPr>
            <p:spPr>
              <a:xfrm>
                <a:off x="6635639" y="2316613"/>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endParaRPr lang="en-US" sz="1800" dirty="0"/>
              </a:p>
            </p:txBody>
          </p:sp>
          <p:sp>
            <p:nvSpPr>
              <p:cNvPr id="239" name="Freeform 238">
                <a:extLst>
                  <a:ext uri="{FF2B5EF4-FFF2-40B4-BE49-F238E27FC236}">
                    <a16:creationId xmlns:a16="http://schemas.microsoft.com/office/drawing/2014/main" id="{309A19FB-80C7-21ED-894C-C05E8152988B}"/>
                  </a:ext>
                </a:extLst>
              </p:cNvPr>
              <p:cNvSpPr/>
              <p:nvPr/>
            </p:nvSpPr>
            <p:spPr>
              <a:xfrm>
                <a:off x="6606239" y="2345095"/>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endParaRPr lang="en-US" sz="1800" dirty="0"/>
              </a:p>
            </p:txBody>
          </p:sp>
          <p:sp>
            <p:nvSpPr>
              <p:cNvPr id="240" name="Freeform 239">
                <a:extLst>
                  <a:ext uri="{FF2B5EF4-FFF2-40B4-BE49-F238E27FC236}">
                    <a16:creationId xmlns:a16="http://schemas.microsoft.com/office/drawing/2014/main" id="{793A2C57-61E1-5870-85F5-36951BBAD84F}"/>
                  </a:ext>
                </a:extLst>
              </p:cNvPr>
              <p:cNvSpPr/>
              <p:nvPr/>
            </p:nvSpPr>
            <p:spPr>
              <a:xfrm>
                <a:off x="6635639" y="2316613"/>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endParaRPr lang="en-US" sz="1800" dirty="0"/>
              </a:p>
            </p:txBody>
          </p:sp>
          <p:sp>
            <p:nvSpPr>
              <p:cNvPr id="241" name="Freeform 240">
                <a:extLst>
                  <a:ext uri="{FF2B5EF4-FFF2-40B4-BE49-F238E27FC236}">
                    <a16:creationId xmlns:a16="http://schemas.microsoft.com/office/drawing/2014/main" id="{99A6D446-9B81-0869-4AD9-C858858E754A}"/>
                  </a:ext>
                </a:extLst>
              </p:cNvPr>
              <p:cNvSpPr/>
              <p:nvPr/>
            </p:nvSpPr>
            <p:spPr>
              <a:xfrm>
                <a:off x="6612116" y="2345095"/>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242" name="Freeform 241">
                <a:extLst>
                  <a:ext uri="{FF2B5EF4-FFF2-40B4-BE49-F238E27FC236}">
                    <a16:creationId xmlns:a16="http://schemas.microsoft.com/office/drawing/2014/main" id="{D675BA6A-57D1-EB8F-E5D9-D0892ADCBA1B}"/>
                  </a:ext>
                </a:extLst>
              </p:cNvPr>
              <p:cNvSpPr/>
              <p:nvPr/>
            </p:nvSpPr>
            <p:spPr>
              <a:xfrm>
                <a:off x="6641516" y="2316613"/>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endParaRPr lang="en-US" sz="1800" dirty="0"/>
              </a:p>
            </p:txBody>
          </p:sp>
          <p:sp>
            <p:nvSpPr>
              <p:cNvPr id="243" name="Freeform 242">
                <a:extLst>
                  <a:ext uri="{FF2B5EF4-FFF2-40B4-BE49-F238E27FC236}">
                    <a16:creationId xmlns:a16="http://schemas.microsoft.com/office/drawing/2014/main" id="{4E8DB503-6F46-BB34-86B2-9FFB804BD153}"/>
                  </a:ext>
                </a:extLst>
              </p:cNvPr>
              <p:cNvSpPr/>
              <p:nvPr/>
            </p:nvSpPr>
            <p:spPr>
              <a:xfrm>
                <a:off x="6612116" y="2345095"/>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244" name="Freeform 243">
                <a:extLst>
                  <a:ext uri="{FF2B5EF4-FFF2-40B4-BE49-F238E27FC236}">
                    <a16:creationId xmlns:a16="http://schemas.microsoft.com/office/drawing/2014/main" id="{9A5D0CEC-C132-CE6F-A2B6-40CA5621E39A}"/>
                  </a:ext>
                </a:extLst>
              </p:cNvPr>
              <p:cNvSpPr/>
              <p:nvPr/>
            </p:nvSpPr>
            <p:spPr>
              <a:xfrm>
                <a:off x="6641516" y="2316613"/>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endParaRPr lang="en-US" sz="1800" dirty="0"/>
              </a:p>
            </p:txBody>
          </p:sp>
          <p:sp>
            <p:nvSpPr>
              <p:cNvPr id="245" name="Freeform 244">
                <a:extLst>
                  <a:ext uri="{FF2B5EF4-FFF2-40B4-BE49-F238E27FC236}">
                    <a16:creationId xmlns:a16="http://schemas.microsoft.com/office/drawing/2014/main" id="{8FA957C8-54B5-8DE6-D3FC-1354E6559EFA}"/>
                  </a:ext>
                </a:extLst>
              </p:cNvPr>
              <p:cNvSpPr/>
              <p:nvPr/>
            </p:nvSpPr>
            <p:spPr>
              <a:xfrm>
                <a:off x="6617992" y="2345095"/>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246" name="Freeform 245">
                <a:extLst>
                  <a:ext uri="{FF2B5EF4-FFF2-40B4-BE49-F238E27FC236}">
                    <a16:creationId xmlns:a16="http://schemas.microsoft.com/office/drawing/2014/main" id="{4B906D38-0805-F799-7B91-E5692810743C}"/>
                  </a:ext>
                </a:extLst>
              </p:cNvPr>
              <p:cNvSpPr/>
              <p:nvPr/>
            </p:nvSpPr>
            <p:spPr>
              <a:xfrm>
                <a:off x="6647392" y="2316613"/>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endParaRPr lang="en-US" sz="1800" dirty="0"/>
              </a:p>
            </p:txBody>
          </p:sp>
          <p:sp>
            <p:nvSpPr>
              <p:cNvPr id="247" name="Freeform 246">
                <a:extLst>
                  <a:ext uri="{FF2B5EF4-FFF2-40B4-BE49-F238E27FC236}">
                    <a16:creationId xmlns:a16="http://schemas.microsoft.com/office/drawing/2014/main" id="{AB6E3564-A9BC-6B66-07BA-4B2B194F0EFC}"/>
                  </a:ext>
                </a:extLst>
              </p:cNvPr>
              <p:cNvSpPr/>
              <p:nvPr/>
            </p:nvSpPr>
            <p:spPr>
              <a:xfrm>
                <a:off x="6629763" y="2345095"/>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endParaRPr lang="en-US" sz="1800" dirty="0"/>
              </a:p>
            </p:txBody>
          </p:sp>
          <p:sp>
            <p:nvSpPr>
              <p:cNvPr id="248" name="Freeform 247">
                <a:extLst>
                  <a:ext uri="{FF2B5EF4-FFF2-40B4-BE49-F238E27FC236}">
                    <a16:creationId xmlns:a16="http://schemas.microsoft.com/office/drawing/2014/main" id="{2C8C8391-7914-B8BF-15B8-3E0CD099ADA3}"/>
                  </a:ext>
                </a:extLst>
              </p:cNvPr>
              <p:cNvSpPr/>
              <p:nvPr/>
            </p:nvSpPr>
            <p:spPr>
              <a:xfrm>
                <a:off x="6659145" y="2316613"/>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endParaRPr lang="en-US" sz="1800" dirty="0"/>
              </a:p>
            </p:txBody>
          </p:sp>
          <p:sp>
            <p:nvSpPr>
              <p:cNvPr id="249" name="Freeform 248">
                <a:extLst>
                  <a:ext uri="{FF2B5EF4-FFF2-40B4-BE49-F238E27FC236}">
                    <a16:creationId xmlns:a16="http://schemas.microsoft.com/office/drawing/2014/main" id="{77A97446-0285-61FB-3028-A33525E2D931}"/>
                  </a:ext>
                </a:extLst>
              </p:cNvPr>
              <p:cNvSpPr/>
              <p:nvPr/>
            </p:nvSpPr>
            <p:spPr>
              <a:xfrm>
                <a:off x="6641639" y="2345095"/>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250" name="Freeform 249">
                <a:extLst>
                  <a:ext uri="{FF2B5EF4-FFF2-40B4-BE49-F238E27FC236}">
                    <a16:creationId xmlns:a16="http://schemas.microsoft.com/office/drawing/2014/main" id="{167AEE7C-759F-C0E8-C26E-AC13BF1D62C4}"/>
                  </a:ext>
                </a:extLst>
              </p:cNvPr>
              <p:cNvSpPr/>
              <p:nvPr/>
            </p:nvSpPr>
            <p:spPr>
              <a:xfrm>
                <a:off x="6671039" y="2316613"/>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endParaRPr lang="en-US" sz="1800" dirty="0"/>
              </a:p>
            </p:txBody>
          </p:sp>
          <p:sp>
            <p:nvSpPr>
              <p:cNvPr id="251" name="Freeform 250">
                <a:extLst>
                  <a:ext uri="{FF2B5EF4-FFF2-40B4-BE49-F238E27FC236}">
                    <a16:creationId xmlns:a16="http://schemas.microsoft.com/office/drawing/2014/main" id="{523ABA8E-82E3-18B9-E798-776AAABA12EF}"/>
                  </a:ext>
                </a:extLst>
              </p:cNvPr>
              <p:cNvSpPr/>
              <p:nvPr/>
            </p:nvSpPr>
            <p:spPr>
              <a:xfrm>
                <a:off x="6647516" y="2345095"/>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252" name="Freeform 251">
                <a:extLst>
                  <a:ext uri="{FF2B5EF4-FFF2-40B4-BE49-F238E27FC236}">
                    <a16:creationId xmlns:a16="http://schemas.microsoft.com/office/drawing/2014/main" id="{AB2A7691-7704-A7E9-DB7F-94740AEB03B9}"/>
                  </a:ext>
                </a:extLst>
              </p:cNvPr>
              <p:cNvSpPr/>
              <p:nvPr/>
            </p:nvSpPr>
            <p:spPr>
              <a:xfrm>
                <a:off x="6676916" y="2316613"/>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endParaRPr lang="en-US" sz="1800" dirty="0"/>
              </a:p>
            </p:txBody>
          </p:sp>
          <p:sp>
            <p:nvSpPr>
              <p:cNvPr id="253" name="Freeform 252">
                <a:extLst>
                  <a:ext uri="{FF2B5EF4-FFF2-40B4-BE49-F238E27FC236}">
                    <a16:creationId xmlns:a16="http://schemas.microsoft.com/office/drawing/2014/main" id="{E5F9C56E-5DCE-8363-1193-99F85153E58B}"/>
                  </a:ext>
                </a:extLst>
              </p:cNvPr>
              <p:cNvSpPr/>
              <p:nvPr/>
            </p:nvSpPr>
            <p:spPr>
              <a:xfrm>
                <a:off x="6647516" y="2345095"/>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254" name="Freeform 253">
                <a:extLst>
                  <a:ext uri="{FF2B5EF4-FFF2-40B4-BE49-F238E27FC236}">
                    <a16:creationId xmlns:a16="http://schemas.microsoft.com/office/drawing/2014/main" id="{87B26B01-DC05-A166-52D3-B01F4FB4A27E}"/>
                  </a:ext>
                </a:extLst>
              </p:cNvPr>
              <p:cNvSpPr/>
              <p:nvPr/>
            </p:nvSpPr>
            <p:spPr>
              <a:xfrm>
                <a:off x="6676916" y="2316613"/>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endParaRPr lang="en-US" sz="1800" dirty="0"/>
              </a:p>
            </p:txBody>
          </p:sp>
          <p:sp>
            <p:nvSpPr>
              <p:cNvPr id="255" name="Freeform 254">
                <a:extLst>
                  <a:ext uri="{FF2B5EF4-FFF2-40B4-BE49-F238E27FC236}">
                    <a16:creationId xmlns:a16="http://schemas.microsoft.com/office/drawing/2014/main" id="{EFE056DA-9454-4746-7D0F-A430A85C07F5}"/>
                  </a:ext>
                </a:extLst>
              </p:cNvPr>
              <p:cNvSpPr/>
              <p:nvPr/>
            </p:nvSpPr>
            <p:spPr>
              <a:xfrm>
                <a:off x="6676916" y="2345095"/>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256" name="Freeform 255">
                <a:extLst>
                  <a:ext uri="{FF2B5EF4-FFF2-40B4-BE49-F238E27FC236}">
                    <a16:creationId xmlns:a16="http://schemas.microsoft.com/office/drawing/2014/main" id="{962C9BED-AF5E-97EE-4928-0E1FB0596627}"/>
                  </a:ext>
                </a:extLst>
              </p:cNvPr>
              <p:cNvSpPr/>
              <p:nvPr/>
            </p:nvSpPr>
            <p:spPr>
              <a:xfrm>
                <a:off x="6706316" y="2316613"/>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endParaRPr lang="en-US" sz="1800" dirty="0"/>
              </a:p>
            </p:txBody>
          </p:sp>
          <p:sp>
            <p:nvSpPr>
              <p:cNvPr id="257" name="Freeform 256">
                <a:extLst>
                  <a:ext uri="{FF2B5EF4-FFF2-40B4-BE49-F238E27FC236}">
                    <a16:creationId xmlns:a16="http://schemas.microsoft.com/office/drawing/2014/main" id="{95AFA609-8297-FDA6-04A5-2E52D17F5AEE}"/>
                  </a:ext>
                </a:extLst>
              </p:cNvPr>
              <p:cNvSpPr/>
              <p:nvPr/>
            </p:nvSpPr>
            <p:spPr>
              <a:xfrm>
                <a:off x="6688669" y="2345095"/>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258" name="Freeform 257">
                <a:extLst>
                  <a:ext uri="{FF2B5EF4-FFF2-40B4-BE49-F238E27FC236}">
                    <a16:creationId xmlns:a16="http://schemas.microsoft.com/office/drawing/2014/main" id="{EFB3BAAD-EAD6-EF10-79DD-4689892F41D2}"/>
                  </a:ext>
                </a:extLst>
              </p:cNvPr>
              <p:cNvSpPr/>
              <p:nvPr/>
            </p:nvSpPr>
            <p:spPr>
              <a:xfrm>
                <a:off x="6718069" y="2316613"/>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endParaRPr lang="en-US" sz="1800" dirty="0"/>
              </a:p>
            </p:txBody>
          </p:sp>
          <p:sp>
            <p:nvSpPr>
              <p:cNvPr id="259" name="Freeform 258">
                <a:extLst>
                  <a:ext uri="{FF2B5EF4-FFF2-40B4-BE49-F238E27FC236}">
                    <a16:creationId xmlns:a16="http://schemas.microsoft.com/office/drawing/2014/main" id="{3BA6B3E5-CEBF-8D2A-5EE4-1A6A04BD80DB}"/>
                  </a:ext>
                </a:extLst>
              </p:cNvPr>
              <p:cNvSpPr/>
              <p:nvPr/>
            </p:nvSpPr>
            <p:spPr>
              <a:xfrm>
                <a:off x="6694563" y="2345095"/>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endParaRPr lang="en-US" sz="1800" dirty="0"/>
              </a:p>
            </p:txBody>
          </p:sp>
          <p:sp>
            <p:nvSpPr>
              <p:cNvPr id="260" name="Freeform 259">
                <a:extLst>
                  <a:ext uri="{FF2B5EF4-FFF2-40B4-BE49-F238E27FC236}">
                    <a16:creationId xmlns:a16="http://schemas.microsoft.com/office/drawing/2014/main" id="{9CF16E44-CEFE-FCE8-C306-F9034910BDB0}"/>
                  </a:ext>
                </a:extLst>
              </p:cNvPr>
              <p:cNvSpPr/>
              <p:nvPr/>
            </p:nvSpPr>
            <p:spPr>
              <a:xfrm>
                <a:off x="6723945" y="2316613"/>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endParaRPr lang="en-US" sz="1800" dirty="0"/>
              </a:p>
            </p:txBody>
          </p:sp>
          <p:sp>
            <p:nvSpPr>
              <p:cNvPr id="261" name="Freeform 260">
                <a:extLst>
                  <a:ext uri="{FF2B5EF4-FFF2-40B4-BE49-F238E27FC236}">
                    <a16:creationId xmlns:a16="http://schemas.microsoft.com/office/drawing/2014/main" id="{096DCC01-44F1-BE3B-CFED-5CB7C40D4885}"/>
                  </a:ext>
                </a:extLst>
              </p:cNvPr>
              <p:cNvSpPr/>
              <p:nvPr/>
            </p:nvSpPr>
            <p:spPr>
              <a:xfrm>
                <a:off x="6694563" y="2345095"/>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endParaRPr lang="en-US" sz="1800" dirty="0"/>
              </a:p>
            </p:txBody>
          </p:sp>
          <p:sp>
            <p:nvSpPr>
              <p:cNvPr id="262" name="Freeform 261">
                <a:extLst>
                  <a:ext uri="{FF2B5EF4-FFF2-40B4-BE49-F238E27FC236}">
                    <a16:creationId xmlns:a16="http://schemas.microsoft.com/office/drawing/2014/main" id="{8FA090F5-7F8B-B83F-17AD-B58DE627D3DF}"/>
                  </a:ext>
                </a:extLst>
              </p:cNvPr>
              <p:cNvSpPr/>
              <p:nvPr/>
            </p:nvSpPr>
            <p:spPr>
              <a:xfrm>
                <a:off x="6723945" y="2316613"/>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endParaRPr lang="en-US" sz="1800" dirty="0"/>
              </a:p>
            </p:txBody>
          </p:sp>
          <p:sp>
            <p:nvSpPr>
              <p:cNvPr id="263" name="Freeform 262">
                <a:extLst>
                  <a:ext uri="{FF2B5EF4-FFF2-40B4-BE49-F238E27FC236}">
                    <a16:creationId xmlns:a16="http://schemas.microsoft.com/office/drawing/2014/main" id="{BEF33F31-0CA5-52ED-8162-5A91BF87D8DC}"/>
                  </a:ext>
                </a:extLst>
              </p:cNvPr>
              <p:cNvSpPr/>
              <p:nvPr/>
            </p:nvSpPr>
            <p:spPr>
              <a:xfrm>
                <a:off x="6729822" y="2359777"/>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264" name="Freeform 263">
                <a:extLst>
                  <a:ext uri="{FF2B5EF4-FFF2-40B4-BE49-F238E27FC236}">
                    <a16:creationId xmlns:a16="http://schemas.microsoft.com/office/drawing/2014/main" id="{E5A260B3-AF45-AE7D-2704-FAD3ADFBFC0F}"/>
                  </a:ext>
                </a:extLst>
              </p:cNvPr>
              <p:cNvSpPr/>
              <p:nvPr/>
            </p:nvSpPr>
            <p:spPr>
              <a:xfrm>
                <a:off x="6759222" y="2331295"/>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endParaRPr lang="en-US" sz="1800" dirty="0"/>
              </a:p>
            </p:txBody>
          </p:sp>
          <p:sp>
            <p:nvSpPr>
              <p:cNvPr id="265" name="Freeform 264">
                <a:extLst>
                  <a:ext uri="{FF2B5EF4-FFF2-40B4-BE49-F238E27FC236}">
                    <a16:creationId xmlns:a16="http://schemas.microsoft.com/office/drawing/2014/main" id="{EE686CEC-AA7E-3BDE-1ADD-5987795E67FF}"/>
                  </a:ext>
                </a:extLst>
              </p:cNvPr>
              <p:cNvSpPr/>
              <p:nvPr/>
            </p:nvSpPr>
            <p:spPr>
              <a:xfrm>
                <a:off x="6735716" y="2359777"/>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endParaRPr lang="en-US" sz="1800" dirty="0"/>
              </a:p>
            </p:txBody>
          </p:sp>
          <p:sp>
            <p:nvSpPr>
              <p:cNvPr id="266" name="Freeform 265">
                <a:extLst>
                  <a:ext uri="{FF2B5EF4-FFF2-40B4-BE49-F238E27FC236}">
                    <a16:creationId xmlns:a16="http://schemas.microsoft.com/office/drawing/2014/main" id="{0E2672B9-B80C-4990-606F-4618A710F34B}"/>
                  </a:ext>
                </a:extLst>
              </p:cNvPr>
              <p:cNvSpPr/>
              <p:nvPr/>
            </p:nvSpPr>
            <p:spPr>
              <a:xfrm>
                <a:off x="6765098" y="2331295"/>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endParaRPr lang="en-US" sz="1800" dirty="0"/>
              </a:p>
            </p:txBody>
          </p:sp>
          <p:sp>
            <p:nvSpPr>
              <p:cNvPr id="267" name="Freeform 266">
                <a:extLst>
                  <a:ext uri="{FF2B5EF4-FFF2-40B4-BE49-F238E27FC236}">
                    <a16:creationId xmlns:a16="http://schemas.microsoft.com/office/drawing/2014/main" id="{0E8ECF78-0604-370A-37CE-A33E08E92B02}"/>
                  </a:ext>
                </a:extLst>
              </p:cNvPr>
              <p:cNvSpPr/>
              <p:nvPr/>
            </p:nvSpPr>
            <p:spPr>
              <a:xfrm>
                <a:off x="6753469" y="2359777"/>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268" name="Freeform 267">
                <a:extLst>
                  <a:ext uri="{FF2B5EF4-FFF2-40B4-BE49-F238E27FC236}">
                    <a16:creationId xmlns:a16="http://schemas.microsoft.com/office/drawing/2014/main" id="{19216E55-D5CD-D881-4604-1BF49B7FEF71}"/>
                  </a:ext>
                </a:extLst>
              </p:cNvPr>
              <p:cNvSpPr/>
              <p:nvPr/>
            </p:nvSpPr>
            <p:spPr>
              <a:xfrm>
                <a:off x="6782869" y="2331295"/>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endParaRPr lang="en-US" sz="1800" dirty="0"/>
              </a:p>
            </p:txBody>
          </p:sp>
          <p:sp>
            <p:nvSpPr>
              <p:cNvPr id="269" name="Freeform 268">
                <a:extLst>
                  <a:ext uri="{FF2B5EF4-FFF2-40B4-BE49-F238E27FC236}">
                    <a16:creationId xmlns:a16="http://schemas.microsoft.com/office/drawing/2014/main" id="{520D3D07-7224-9414-A034-E54C2DDCB863}"/>
                  </a:ext>
                </a:extLst>
              </p:cNvPr>
              <p:cNvSpPr/>
              <p:nvPr/>
            </p:nvSpPr>
            <p:spPr>
              <a:xfrm>
                <a:off x="6771116" y="2359777"/>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endParaRPr lang="en-US" sz="1800" dirty="0"/>
              </a:p>
            </p:txBody>
          </p:sp>
          <p:sp>
            <p:nvSpPr>
              <p:cNvPr id="270" name="Freeform 269">
                <a:extLst>
                  <a:ext uri="{FF2B5EF4-FFF2-40B4-BE49-F238E27FC236}">
                    <a16:creationId xmlns:a16="http://schemas.microsoft.com/office/drawing/2014/main" id="{7D04BAFB-ABFE-CE31-EADE-BBB803A5AF1D}"/>
                  </a:ext>
                </a:extLst>
              </p:cNvPr>
              <p:cNvSpPr/>
              <p:nvPr/>
            </p:nvSpPr>
            <p:spPr>
              <a:xfrm>
                <a:off x="6800516" y="2331295"/>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endParaRPr lang="en-US" sz="1800" dirty="0"/>
              </a:p>
            </p:txBody>
          </p:sp>
          <p:sp>
            <p:nvSpPr>
              <p:cNvPr id="271" name="Freeform 270">
                <a:extLst>
                  <a:ext uri="{FF2B5EF4-FFF2-40B4-BE49-F238E27FC236}">
                    <a16:creationId xmlns:a16="http://schemas.microsoft.com/office/drawing/2014/main" id="{B8C60F94-F185-BAAC-D5B1-407C530EB295}"/>
                  </a:ext>
                </a:extLst>
              </p:cNvPr>
              <p:cNvSpPr/>
              <p:nvPr/>
            </p:nvSpPr>
            <p:spPr>
              <a:xfrm>
                <a:off x="6782869" y="2359777"/>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272" name="Freeform 271">
                <a:extLst>
                  <a:ext uri="{FF2B5EF4-FFF2-40B4-BE49-F238E27FC236}">
                    <a16:creationId xmlns:a16="http://schemas.microsoft.com/office/drawing/2014/main" id="{53835F1A-3E9A-CC97-81E7-5040A778C0C5}"/>
                  </a:ext>
                </a:extLst>
              </p:cNvPr>
              <p:cNvSpPr/>
              <p:nvPr/>
            </p:nvSpPr>
            <p:spPr>
              <a:xfrm>
                <a:off x="6812268" y="2331295"/>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endParaRPr lang="en-US" sz="1800" dirty="0"/>
              </a:p>
            </p:txBody>
          </p:sp>
          <p:sp>
            <p:nvSpPr>
              <p:cNvPr id="273" name="Freeform 272">
                <a:extLst>
                  <a:ext uri="{FF2B5EF4-FFF2-40B4-BE49-F238E27FC236}">
                    <a16:creationId xmlns:a16="http://schemas.microsoft.com/office/drawing/2014/main" id="{3FEF6281-81D1-DAC8-D0C4-C6B54C3554AA}"/>
                  </a:ext>
                </a:extLst>
              </p:cNvPr>
              <p:cNvSpPr/>
              <p:nvPr/>
            </p:nvSpPr>
            <p:spPr>
              <a:xfrm>
                <a:off x="6794621" y="2359777"/>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274" name="Freeform 273">
                <a:extLst>
                  <a:ext uri="{FF2B5EF4-FFF2-40B4-BE49-F238E27FC236}">
                    <a16:creationId xmlns:a16="http://schemas.microsoft.com/office/drawing/2014/main" id="{3DE8255D-E424-CCE6-A783-D7A79EAC448E}"/>
                  </a:ext>
                </a:extLst>
              </p:cNvPr>
              <p:cNvSpPr/>
              <p:nvPr/>
            </p:nvSpPr>
            <p:spPr>
              <a:xfrm>
                <a:off x="6824021" y="2331295"/>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endParaRPr lang="en-US" sz="1800" dirty="0"/>
              </a:p>
            </p:txBody>
          </p:sp>
          <p:sp>
            <p:nvSpPr>
              <p:cNvPr id="275" name="Freeform 274">
                <a:extLst>
                  <a:ext uri="{FF2B5EF4-FFF2-40B4-BE49-F238E27FC236}">
                    <a16:creationId xmlns:a16="http://schemas.microsoft.com/office/drawing/2014/main" id="{176CFE3B-E6AF-21C5-7272-240BF263A63D}"/>
                  </a:ext>
                </a:extLst>
              </p:cNvPr>
              <p:cNvSpPr/>
              <p:nvPr/>
            </p:nvSpPr>
            <p:spPr>
              <a:xfrm>
                <a:off x="6794621" y="2359777"/>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276" name="Freeform 275">
                <a:extLst>
                  <a:ext uri="{FF2B5EF4-FFF2-40B4-BE49-F238E27FC236}">
                    <a16:creationId xmlns:a16="http://schemas.microsoft.com/office/drawing/2014/main" id="{34C2B55E-DB35-87E9-8616-D8D3A8FACA43}"/>
                  </a:ext>
                </a:extLst>
              </p:cNvPr>
              <p:cNvSpPr/>
              <p:nvPr/>
            </p:nvSpPr>
            <p:spPr>
              <a:xfrm>
                <a:off x="6824021" y="2331295"/>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endParaRPr lang="en-US" sz="1800" dirty="0"/>
              </a:p>
            </p:txBody>
          </p:sp>
          <p:sp>
            <p:nvSpPr>
              <p:cNvPr id="277" name="Freeform 276">
                <a:extLst>
                  <a:ext uri="{FF2B5EF4-FFF2-40B4-BE49-F238E27FC236}">
                    <a16:creationId xmlns:a16="http://schemas.microsoft.com/office/drawing/2014/main" id="{6AE0D081-85B5-5034-B571-1A8635C9356F}"/>
                  </a:ext>
                </a:extLst>
              </p:cNvPr>
              <p:cNvSpPr/>
              <p:nvPr/>
            </p:nvSpPr>
            <p:spPr>
              <a:xfrm>
                <a:off x="6800516" y="2359777"/>
                <a:ext cx="58782" cy="17647"/>
              </a:xfrm>
              <a:custGeom>
                <a:avLst/>
                <a:gdLst>
                  <a:gd name="connsiteX0" fmla="*/ 0 w 58782"/>
                  <a:gd name="connsiteY0" fmla="*/ 0 h 17647"/>
                  <a:gd name="connsiteX1" fmla="*/ 58783 w 58782"/>
                  <a:gd name="connsiteY1" fmla="*/ 0 h 17647"/>
                </a:gdLst>
                <a:ahLst/>
                <a:cxnLst>
                  <a:cxn ang="0">
                    <a:pos x="connsiteX0" y="connsiteY0"/>
                  </a:cxn>
                  <a:cxn ang="0">
                    <a:pos x="connsiteX1" y="connsiteY1"/>
                  </a:cxn>
                </a:cxnLst>
                <a:rect l="l" t="t" r="r" b="b"/>
                <a:pathLst>
                  <a:path w="58782" h="17647">
                    <a:moveTo>
                      <a:pt x="0" y="0"/>
                    </a:moveTo>
                    <a:lnTo>
                      <a:pt x="58783" y="0"/>
                    </a:lnTo>
                  </a:path>
                </a:pathLst>
              </a:custGeom>
              <a:ln w="9638" cap="sq">
                <a:solidFill>
                  <a:srgbClr val="27377D"/>
                </a:solidFill>
                <a:prstDash val="solid"/>
                <a:miter/>
              </a:ln>
            </p:spPr>
            <p:txBody>
              <a:bodyPr rtlCol="0" anchor="ctr"/>
              <a:lstStyle/>
              <a:p>
                <a:endParaRPr lang="en-US" sz="1800" dirty="0"/>
              </a:p>
            </p:txBody>
          </p:sp>
          <p:sp>
            <p:nvSpPr>
              <p:cNvPr id="278" name="Freeform 277">
                <a:extLst>
                  <a:ext uri="{FF2B5EF4-FFF2-40B4-BE49-F238E27FC236}">
                    <a16:creationId xmlns:a16="http://schemas.microsoft.com/office/drawing/2014/main" id="{D3DFFD1A-B298-DD33-C59D-210B698743CB}"/>
                  </a:ext>
                </a:extLst>
              </p:cNvPr>
              <p:cNvSpPr/>
              <p:nvPr/>
            </p:nvSpPr>
            <p:spPr>
              <a:xfrm>
                <a:off x="6829898" y="2331295"/>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endParaRPr lang="en-US" sz="1800" dirty="0"/>
              </a:p>
            </p:txBody>
          </p:sp>
          <p:sp>
            <p:nvSpPr>
              <p:cNvPr id="279" name="Freeform 278">
                <a:extLst>
                  <a:ext uri="{FF2B5EF4-FFF2-40B4-BE49-F238E27FC236}">
                    <a16:creationId xmlns:a16="http://schemas.microsoft.com/office/drawing/2014/main" id="{808BFD90-C806-C9C8-8FEA-0D8301E32F0F}"/>
                  </a:ext>
                </a:extLst>
              </p:cNvPr>
              <p:cNvSpPr/>
              <p:nvPr/>
            </p:nvSpPr>
            <p:spPr>
              <a:xfrm>
                <a:off x="6806392" y="2359777"/>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endParaRPr lang="en-US" sz="1800" dirty="0"/>
              </a:p>
            </p:txBody>
          </p:sp>
          <p:sp>
            <p:nvSpPr>
              <p:cNvPr id="280" name="Freeform 279">
                <a:extLst>
                  <a:ext uri="{FF2B5EF4-FFF2-40B4-BE49-F238E27FC236}">
                    <a16:creationId xmlns:a16="http://schemas.microsoft.com/office/drawing/2014/main" id="{92558F8A-BBCC-BB7E-644B-A8CBB16CF625}"/>
                  </a:ext>
                </a:extLst>
              </p:cNvPr>
              <p:cNvSpPr/>
              <p:nvPr/>
            </p:nvSpPr>
            <p:spPr>
              <a:xfrm>
                <a:off x="6835774" y="2331295"/>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endParaRPr lang="en-US" sz="1800" dirty="0"/>
              </a:p>
            </p:txBody>
          </p:sp>
          <p:sp>
            <p:nvSpPr>
              <p:cNvPr id="281" name="Freeform 280">
                <a:extLst>
                  <a:ext uri="{FF2B5EF4-FFF2-40B4-BE49-F238E27FC236}">
                    <a16:creationId xmlns:a16="http://schemas.microsoft.com/office/drawing/2014/main" id="{83B8EF7F-7ADB-B4DF-BF3C-A7DEA458F8BF}"/>
                  </a:ext>
                </a:extLst>
              </p:cNvPr>
              <p:cNvSpPr/>
              <p:nvPr/>
            </p:nvSpPr>
            <p:spPr>
              <a:xfrm>
                <a:off x="6812268" y="2359777"/>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endParaRPr lang="en-US" sz="1800" dirty="0"/>
              </a:p>
            </p:txBody>
          </p:sp>
          <p:sp>
            <p:nvSpPr>
              <p:cNvPr id="282" name="Freeform 281">
                <a:extLst>
                  <a:ext uri="{FF2B5EF4-FFF2-40B4-BE49-F238E27FC236}">
                    <a16:creationId xmlns:a16="http://schemas.microsoft.com/office/drawing/2014/main" id="{82C2568A-124A-8B59-7D50-663CB2B402E9}"/>
                  </a:ext>
                </a:extLst>
              </p:cNvPr>
              <p:cNvSpPr/>
              <p:nvPr/>
            </p:nvSpPr>
            <p:spPr>
              <a:xfrm>
                <a:off x="6841668" y="2331295"/>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endParaRPr lang="en-US" sz="1800" dirty="0"/>
              </a:p>
            </p:txBody>
          </p:sp>
          <p:sp>
            <p:nvSpPr>
              <p:cNvPr id="283" name="Freeform 282">
                <a:extLst>
                  <a:ext uri="{FF2B5EF4-FFF2-40B4-BE49-F238E27FC236}">
                    <a16:creationId xmlns:a16="http://schemas.microsoft.com/office/drawing/2014/main" id="{F27BE975-416A-E5F2-5D4E-51EB4156D4F6}"/>
                  </a:ext>
                </a:extLst>
              </p:cNvPr>
              <p:cNvSpPr/>
              <p:nvPr/>
            </p:nvSpPr>
            <p:spPr>
              <a:xfrm>
                <a:off x="6829898" y="2359777"/>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284" name="Freeform 283">
                <a:extLst>
                  <a:ext uri="{FF2B5EF4-FFF2-40B4-BE49-F238E27FC236}">
                    <a16:creationId xmlns:a16="http://schemas.microsoft.com/office/drawing/2014/main" id="{A09A9EA0-CFCD-C4D9-B362-923000C73778}"/>
                  </a:ext>
                </a:extLst>
              </p:cNvPr>
              <p:cNvSpPr/>
              <p:nvPr/>
            </p:nvSpPr>
            <p:spPr>
              <a:xfrm>
                <a:off x="6859298" y="2331295"/>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endParaRPr lang="en-US" sz="1800" dirty="0"/>
              </a:p>
            </p:txBody>
          </p:sp>
          <p:sp>
            <p:nvSpPr>
              <p:cNvPr id="285" name="Freeform 284">
                <a:extLst>
                  <a:ext uri="{FF2B5EF4-FFF2-40B4-BE49-F238E27FC236}">
                    <a16:creationId xmlns:a16="http://schemas.microsoft.com/office/drawing/2014/main" id="{9F95FF8C-2AC0-CDEB-0AFC-25DC5A388FC8}"/>
                  </a:ext>
                </a:extLst>
              </p:cNvPr>
              <p:cNvSpPr/>
              <p:nvPr/>
            </p:nvSpPr>
            <p:spPr>
              <a:xfrm>
                <a:off x="6835774" y="2359777"/>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286" name="Freeform 285">
                <a:extLst>
                  <a:ext uri="{FF2B5EF4-FFF2-40B4-BE49-F238E27FC236}">
                    <a16:creationId xmlns:a16="http://schemas.microsoft.com/office/drawing/2014/main" id="{8DB482D7-359C-D188-AD69-3AE7F2E441EA}"/>
                  </a:ext>
                </a:extLst>
              </p:cNvPr>
              <p:cNvSpPr/>
              <p:nvPr/>
            </p:nvSpPr>
            <p:spPr>
              <a:xfrm>
                <a:off x="6865174" y="2331295"/>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endParaRPr lang="en-US" sz="1800" dirty="0"/>
              </a:p>
            </p:txBody>
          </p:sp>
          <p:sp>
            <p:nvSpPr>
              <p:cNvPr id="287" name="Freeform 286">
                <a:extLst>
                  <a:ext uri="{FF2B5EF4-FFF2-40B4-BE49-F238E27FC236}">
                    <a16:creationId xmlns:a16="http://schemas.microsoft.com/office/drawing/2014/main" id="{BE9E02F2-29A4-9AAA-7152-671072391074}"/>
                  </a:ext>
                </a:extLst>
              </p:cNvPr>
              <p:cNvSpPr/>
              <p:nvPr/>
            </p:nvSpPr>
            <p:spPr>
              <a:xfrm>
                <a:off x="6841668" y="2359777"/>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endParaRPr lang="en-US" sz="1800" dirty="0"/>
              </a:p>
            </p:txBody>
          </p:sp>
          <p:sp>
            <p:nvSpPr>
              <p:cNvPr id="288" name="Freeform 287">
                <a:extLst>
                  <a:ext uri="{FF2B5EF4-FFF2-40B4-BE49-F238E27FC236}">
                    <a16:creationId xmlns:a16="http://schemas.microsoft.com/office/drawing/2014/main" id="{83F6A407-AAB9-B091-4ECB-4DC7D2E109DF}"/>
                  </a:ext>
                </a:extLst>
              </p:cNvPr>
              <p:cNvSpPr/>
              <p:nvPr/>
            </p:nvSpPr>
            <p:spPr>
              <a:xfrm>
                <a:off x="6871051" y="2331295"/>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endParaRPr lang="en-US" sz="1800" dirty="0"/>
              </a:p>
            </p:txBody>
          </p:sp>
          <p:sp>
            <p:nvSpPr>
              <p:cNvPr id="289" name="Freeform 288">
                <a:extLst>
                  <a:ext uri="{FF2B5EF4-FFF2-40B4-BE49-F238E27FC236}">
                    <a16:creationId xmlns:a16="http://schemas.microsoft.com/office/drawing/2014/main" id="{D1A08059-DFCC-C2E0-DFDE-6398055FD6F0}"/>
                  </a:ext>
                </a:extLst>
              </p:cNvPr>
              <p:cNvSpPr/>
              <p:nvPr/>
            </p:nvSpPr>
            <p:spPr>
              <a:xfrm>
                <a:off x="6935851" y="2359777"/>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290" name="Freeform 289">
                <a:extLst>
                  <a:ext uri="{FF2B5EF4-FFF2-40B4-BE49-F238E27FC236}">
                    <a16:creationId xmlns:a16="http://schemas.microsoft.com/office/drawing/2014/main" id="{37F98421-6F9C-9663-DF9C-9691EEB0BD7E}"/>
                  </a:ext>
                </a:extLst>
              </p:cNvPr>
              <p:cNvSpPr/>
              <p:nvPr/>
            </p:nvSpPr>
            <p:spPr>
              <a:xfrm>
                <a:off x="6965251" y="2331295"/>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endParaRPr lang="en-US" sz="1800" dirty="0"/>
              </a:p>
            </p:txBody>
          </p:sp>
          <p:sp>
            <p:nvSpPr>
              <p:cNvPr id="291" name="Freeform 290">
                <a:extLst>
                  <a:ext uri="{FF2B5EF4-FFF2-40B4-BE49-F238E27FC236}">
                    <a16:creationId xmlns:a16="http://schemas.microsoft.com/office/drawing/2014/main" id="{8CDD81EA-0579-307E-9701-0C46F8AC9E78}"/>
                  </a:ext>
                </a:extLst>
              </p:cNvPr>
              <p:cNvSpPr/>
              <p:nvPr/>
            </p:nvSpPr>
            <p:spPr>
              <a:xfrm>
                <a:off x="6959498" y="2359777"/>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292" name="Freeform 291">
                <a:extLst>
                  <a:ext uri="{FF2B5EF4-FFF2-40B4-BE49-F238E27FC236}">
                    <a16:creationId xmlns:a16="http://schemas.microsoft.com/office/drawing/2014/main" id="{088D3875-94A6-D78B-EBE3-6D93CDF90969}"/>
                  </a:ext>
                </a:extLst>
              </p:cNvPr>
              <p:cNvSpPr/>
              <p:nvPr/>
            </p:nvSpPr>
            <p:spPr>
              <a:xfrm>
                <a:off x="6988898" y="2331295"/>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endParaRPr lang="en-US" sz="1800" dirty="0"/>
              </a:p>
            </p:txBody>
          </p:sp>
          <p:sp>
            <p:nvSpPr>
              <p:cNvPr id="293" name="Freeform 292">
                <a:extLst>
                  <a:ext uri="{FF2B5EF4-FFF2-40B4-BE49-F238E27FC236}">
                    <a16:creationId xmlns:a16="http://schemas.microsoft.com/office/drawing/2014/main" id="{98C40EDD-8E7D-F38C-B1B9-F3A29D109AFD}"/>
                  </a:ext>
                </a:extLst>
              </p:cNvPr>
              <p:cNvSpPr/>
              <p:nvPr/>
            </p:nvSpPr>
            <p:spPr>
              <a:xfrm>
                <a:off x="6988898" y="2359777"/>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endParaRPr lang="en-US" sz="1800" dirty="0"/>
              </a:p>
            </p:txBody>
          </p:sp>
          <p:sp>
            <p:nvSpPr>
              <p:cNvPr id="294" name="Freeform 293">
                <a:extLst>
                  <a:ext uri="{FF2B5EF4-FFF2-40B4-BE49-F238E27FC236}">
                    <a16:creationId xmlns:a16="http://schemas.microsoft.com/office/drawing/2014/main" id="{E0BB9870-76BD-90DA-AD13-C1EE03C2C7D7}"/>
                  </a:ext>
                </a:extLst>
              </p:cNvPr>
              <p:cNvSpPr/>
              <p:nvPr/>
            </p:nvSpPr>
            <p:spPr>
              <a:xfrm>
                <a:off x="7018298" y="2331295"/>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endParaRPr lang="en-US" sz="1800" dirty="0"/>
              </a:p>
            </p:txBody>
          </p:sp>
          <p:sp>
            <p:nvSpPr>
              <p:cNvPr id="295" name="Freeform 294">
                <a:extLst>
                  <a:ext uri="{FF2B5EF4-FFF2-40B4-BE49-F238E27FC236}">
                    <a16:creationId xmlns:a16="http://schemas.microsoft.com/office/drawing/2014/main" id="{DCDF8D78-B6C3-49B3-9ECD-9DB85A0F2D47}"/>
                  </a:ext>
                </a:extLst>
              </p:cNvPr>
              <p:cNvSpPr/>
              <p:nvPr/>
            </p:nvSpPr>
            <p:spPr>
              <a:xfrm>
                <a:off x="7059450" y="2392301"/>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endParaRPr lang="en-US" sz="1800" dirty="0"/>
              </a:p>
            </p:txBody>
          </p:sp>
          <p:sp>
            <p:nvSpPr>
              <p:cNvPr id="296" name="Freeform 295">
                <a:extLst>
                  <a:ext uri="{FF2B5EF4-FFF2-40B4-BE49-F238E27FC236}">
                    <a16:creationId xmlns:a16="http://schemas.microsoft.com/office/drawing/2014/main" id="{90BB771A-2988-2C46-ACEB-224106D0F89A}"/>
                  </a:ext>
                </a:extLst>
              </p:cNvPr>
              <p:cNvSpPr/>
              <p:nvPr/>
            </p:nvSpPr>
            <p:spPr>
              <a:xfrm>
                <a:off x="7088833" y="2363819"/>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endParaRPr lang="en-US" sz="1800" dirty="0"/>
              </a:p>
            </p:txBody>
          </p:sp>
          <p:sp>
            <p:nvSpPr>
              <p:cNvPr id="297" name="Freeform 296">
                <a:extLst>
                  <a:ext uri="{FF2B5EF4-FFF2-40B4-BE49-F238E27FC236}">
                    <a16:creationId xmlns:a16="http://schemas.microsoft.com/office/drawing/2014/main" id="{916CEEB3-504D-2633-FB72-1DD533F9B98B}"/>
                  </a:ext>
                </a:extLst>
              </p:cNvPr>
              <p:cNvSpPr/>
              <p:nvPr/>
            </p:nvSpPr>
            <p:spPr>
              <a:xfrm>
                <a:off x="7065450" y="2392301"/>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298" name="Freeform 297">
                <a:extLst>
                  <a:ext uri="{FF2B5EF4-FFF2-40B4-BE49-F238E27FC236}">
                    <a16:creationId xmlns:a16="http://schemas.microsoft.com/office/drawing/2014/main" id="{440259F9-E985-6C0C-CEAB-8D7E7FBE4035}"/>
                  </a:ext>
                </a:extLst>
              </p:cNvPr>
              <p:cNvSpPr/>
              <p:nvPr/>
            </p:nvSpPr>
            <p:spPr>
              <a:xfrm>
                <a:off x="7094850" y="2363819"/>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endParaRPr lang="en-US" sz="1800" dirty="0"/>
              </a:p>
            </p:txBody>
          </p:sp>
          <p:sp>
            <p:nvSpPr>
              <p:cNvPr id="299" name="Freeform 298">
                <a:extLst>
                  <a:ext uri="{FF2B5EF4-FFF2-40B4-BE49-F238E27FC236}">
                    <a16:creationId xmlns:a16="http://schemas.microsoft.com/office/drawing/2014/main" id="{F69AF115-FBCC-A1D8-41D9-A627012D3588}"/>
                  </a:ext>
                </a:extLst>
              </p:cNvPr>
              <p:cNvSpPr/>
              <p:nvPr/>
            </p:nvSpPr>
            <p:spPr>
              <a:xfrm>
                <a:off x="7077203" y="2392301"/>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300" name="Freeform 299">
                <a:extLst>
                  <a:ext uri="{FF2B5EF4-FFF2-40B4-BE49-F238E27FC236}">
                    <a16:creationId xmlns:a16="http://schemas.microsoft.com/office/drawing/2014/main" id="{338D1E25-F7FB-4E8F-94F6-9F12D40F5C3A}"/>
                  </a:ext>
                </a:extLst>
              </p:cNvPr>
              <p:cNvSpPr/>
              <p:nvPr/>
            </p:nvSpPr>
            <p:spPr>
              <a:xfrm>
                <a:off x="7106603" y="2363819"/>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endParaRPr lang="en-US" sz="1800" dirty="0"/>
              </a:p>
            </p:txBody>
          </p:sp>
          <p:sp>
            <p:nvSpPr>
              <p:cNvPr id="301" name="Freeform 300">
                <a:extLst>
                  <a:ext uri="{FF2B5EF4-FFF2-40B4-BE49-F238E27FC236}">
                    <a16:creationId xmlns:a16="http://schemas.microsoft.com/office/drawing/2014/main" id="{33C9C3D7-60DB-8416-BDCC-0A647CDFCF39}"/>
                  </a:ext>
                </a:extLst>
              </p:cNvPr>
              <p:cNvSpPr/>
              <p:nvPr/>
            </p:nvSpPr>
            <p:spPr>
              <a:xfrm>
                <a:off x="7100727" y="2409013"/>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endParaRPr lang="en-US" sz="1800" dirty="0"/>
              </a:p>
            </p:txBody>
          </p:sp>
          <p:sp>
            <p:nvSpPr>
              <p:cNvPr id="302" name="Freeform 301">
                <a:extLst>
                  <a:ext uri="{FF2B5EF4-FFF2-40B4-BE49-F238E27FC236}">
                    <a16:creationId xmlns:a16="http://schemas.microsoft.com/office/drawing/2014/main" id="{2CBEBD4D-D021-5021-E2B5-F1CC142EA129}"/>
                  </a:ext>
                </a:extLst>
              </p:cNvPr>
              <p:cNvSpPr/>
              <p:nvPr/>
            </p:nvSpPr>
            <p:spPr>
              <a:xfrm>
                <a:off x="7130127" y="2380530"/>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endParaRPr lang="en-US" sz="1800" dirty="0"/>
              </a:p>
            </p:txBody>
          </p:sp>
          <p:sp>
            <p:nvSpPr>
              <p:cNvPr id="303" name="Freeform 302">
                <a:extLst>
                  <a:ext uri="{FF2B5EF4-FFF2-40B4-BE49-F238E27FC236}">
                    <a16:creationId xmlns:a16="http://schemas.microsoft.com/office/drawing/2014/main" id="{B5BB1517-3722-D0AC-53DD-D695923390ED}"/>
                  </a:ext>
                </a:extLst>
              </p:cNvPr>
              <p:cNvSpPr/>
              <p:nvPr/>
            </p:nvSpPr>
            <p:spPr>
              <a:xfrm>
                <a:off x="7100727" y="2409013"/>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endParaRPr lang="en-US" sz="1800" dirty="0"/>
              </a:p>
            </p:txBody>
          </p:sp>
          <p:sp>
            <p:nvSpPr>
              <p:cNvPr id="304" name="Freeform 303">
                <a:extLst>
                  <a:ext uri="{FF2B5EF4-FFF2-40B4-BE49-F238E27FC236}">
                    <a16:creationId xmlns:a16="http://schemas.microsoft.com/office/drawing/2014/main" id="{F63A30C2-F3EF-77D9-437E-1EF7D0712B1A}"/>
                  </a:ext>
                </a:extLst>
              </p:cNvPr>
              <p:cNvSpPr/>
              <p:nvPr/>
            </p:nvSpPr>
            <p:spPr>
              <a:xfrm>
                <a:off x="7130127" y="2380530"/>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endParaRPr lang="en-US" sz="1800" dirty="0"/>
              </a:p>
            </p:txBody>
          </p:sp>
          <p:sp>
            <p:nvSpPr>
              <p:cNvPr id="305" name="Freeform 304">
                <a:extLst>
                  <a:ext uri="{FF2B5EF4-FFF2-40B4-BE49-F238E27FC236}">
                    <a16:creationId xmlns:a16="http://schemas.microsoft.com/office/drawing/2014/main" id="{FEFD2141-6A78-5972-D857-D4DBF2C67A0D}"/>
                  </a:ext>
                </a:extLst>
              </p:cNvPr>
              <p:cNvSpPr/>
              <p:nvPr/>
            </p:nvSpPr>
            <p:spPr>
              <a:xfrm>
                <a:off x="7100727" y="2409013"/>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endParaRPr lang="en-US" sz="1800" dirty="0"/>
              </a:p>
            </p:txBody>
          </p:sp>
          <p:sp>
            <p:nvSpPr>
              <p:cNvPr id="306" name="Freeform 305">
                <a:extLst>
                  <a:ext uri="{FF2B5EF4-FFF2-40B4-BE49-F238E27FC236}">
                    <a16:creationId xmlns:a16="http://schemas.microsoft.com/office/drawing/2014/main" id="{A9D0B027-D126-F5D4-6D66-6955BB4CB3C4}"/>
                  </a:ext>
                </a:extLst>
              </p:cNvPr>
              <p:cNvSpPr/>
              <p:nvPr/>
            </p:nvSpPr>
            <p:spPr>
              <a:xfrm>
                <a:off x="7130127" y="2380530"/>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endParaRPr lang="en-US" sz="1800" dirty="0"/>
              </a:p>
            </p:txBody>
          </p:sp>
          <p:sp>
            <p:nvSpPr>
              <p:cNvPr id="307" name="Freeform 306">
                <a:extLst>
                  <a:ext uri="{FF2B5EF4-FFF2-40B4-BE49-F238E27FC236}">
                    <a16:creationId xmlns:a16="http://schemas.microsoft.com/office/drawing/2014/main" id="{B322D3F2-EA12-7F39-A9DB-55F51123E81A}"/>
                  </a:ext>
                </a:extLst>
              </p:cNvPr>
              <p:cNvSpPr/>
              <p:nvPr/>
            </p:nvSpPr>
            <p:spPr>
              <a:xfrm>
                <a:off x="7106603" y="2409013"/>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308" name="Freeform 307">
                <a:extLst>
                  <a:ext uri="{FF2B5EF4-FFF2-40B4-BE49-F238E27FC236}">
                    <a16:creationId xmlns:a16="http://schemas.microsoft.com/office/drawing/2014/main" id="{4F40E3A6-8CB6-40B0-7A3D-699EAE4C376A}"/>
                  </a:ext>
                </a:extLst>
              </p:cNvPr>
              <p:cNvSpPr/>
              <p:nvPr/>
            </p:nvSpPr>
            <p:spPr>
              <a:xfrm>
                <a:off x="7136003" y="2380530"/>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endParaRPr lang="en-US" sz="1800" dirty="0"/>
              </a:p>
            </p:txBody>
          </p:sp>
          <p:sp>
            <p:nvSpPr>
              <p:cNvPr id="309" name="Freeform 308">
                <a:extLst>
                  <a:ext uri="{FF2B5EF4-FFF2-40B4-BE49-F238E27FC236}">
                    <a16:creationId xmlns:a16="http://schemas.microsoft.com/office/drawing/2014/main" id="{C0F956CE-7AD3-E0A9-5F96-E340E10BE253}"/>
                  </a:ext>
                </a:extLst>
              </p:cNvPr>
              <p:cNvSpPr/>
              <p:nvPr/>
            </p:nvSpPr>
            <p:spPr>
              <a:xfrm>
                <a:off x="7124250" y="2426219"/>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endParaRPr lang="en-US" sz="1800" dirty="0"/>
              </a:p>
            </p:txBody>
          </p:sp>
          <p:sp>
            <p:nvSpPr>
              <p:cNvPr id="310" name="Freeform 309">
                <a:extLst>
                  <a:ext uri="{FF2B5EF4-FFF2-40B4-BE49-F238E27FC236}">
                    <a16:creationId xmlns:a16="http://schemas.microsoft.com/office/drawing/2014/main" id="{45FAFE63-01DC-760A-BFEB-7681DAB6D3B3}"/>
                  </a:ext>
                </a:extLst>
              </p:cNvPr>
              <p:cNvSpPr/>
              <p:nvPr/>
            </p:nvSpPr>
            <p:spPr>
              <a:xfrm>
                <a:off x="7153633" y="2397754"/>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endParaRPr lang="en-US" sz="1800" dirty="0"/>
              </a:p>
            </p:txBody>
          </p:sp>
          <p:sp>
            <p:nvSpPr>
              <p:cNvPr id="311" name="Freeform 310">
                <a:extLst>
                  <a:ext uri="{FF2B5EF4-FFF2-40B4-BE49-F238E27FC236}">
                    <a16:creationId xmlns:a16="http://schemas.microsoft.com/office/drawing/2014/main" id="{BC39326A-EEC8-D7D9-681A-06965E7F7023}"/>
                  </a:ext>
                </a:extLst>
              </p:cNvPr>
              <p:cNvSpPr/>
              <p:nvPr/>
            </p:nvSpPr>
            <p:spPr>
              <a:xfrm>
                <a:off x="7124250" y="2426219"/>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endParaRPr lang="en-US" sz="1800" dirty="0"/>
              </a:p>
            </p:txBody>
          </p:sp>
          <p:sp>
            <p:nvSpPr>
              <p:cNvPr id="312" name="Freeform 311">
                <a:extLst>
                  <a:ext uri="{FF2B5EF4-FFF2-40B4-BE49-F238E27FC236}">
                    <a16:creationId xmlns:a16="http://schemas.microsoft.com/office/drawing/2014/main" id="{CA7D7EA6-CCCE-F4E8-6A85-AE7D4D8A0D3D}"/>
                  </a:ext>
                </a:extLst>
              </p:cNvPr>
              <p:cNvSpPr/>
              <p:nvPr/>
            </p:nvSpPr>
            <p:spPr>
              <a:xfrm>
                <a:off x="7153633" y="2397754"/>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endParaRPr lang="en-US" sz="1800" dirty="0"/>
              </a:p>
            </p:txBody>
          </p:sp>
          <p:sp>
            <p:nvSpPr>
              <p:cNvPr id="313" name="Freeform 312">
                <a:extLst>
                  <a:ext uri="{FF2B5EF4-FFF2-40B4-BE49-F238E27FC236}">
                    <a16:creationId xmlns:a16="http://schemas.microsoft.com/office/drawing/2014/main" id="{FBA7212F-FBDB-90C1-879F-735DBFD2A2C1}"/>
                  </a:ext>
                </a:extLst>
              </p:cNvPr>
              <p:cNvSpPr/>
              <p:nvPr/>
            </p:nvSpPr>
            <p:spPr>
              <a:xfrm>
                <a:off x="7136003" y="2426219"/>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endParaRPr lang="en-US" sz="1800" dirty="0"/>
              </a:p>
            </p:txBody>
          </p:sp>
          <p:sp>
            <p:nvSpPr>
              <p:cNvPr id="314" name="Freeform 313">
                <a:extLst>
                  <a:ext uri="{FF2B5EF4-FFF2-40B4-BE49-F238E27FC236}">
                    <a16:creationId xmlns:a16="http://schemas.microsoft.com/office/drawing/2014/main" id="{9AE07BEB-C0C2-2D06-1765-A4A42344BD8B}"/>
                  </a:ext>
                </a:extLst>
              </p:cNvPr>
              <p:cNvSpPr/>
              <p:nvPr/>
            </p:nvSpPr>
            <p:spPr>
              <a:xfrm>
                <a:off x="7165403" y="2397754"/>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endParaRPr lang="en-US" sz="1800" dirty="0"/>
              </a:p>
            </p:txBody>
          </p:sp>
          <p:sp>
            <p:nvSpPr>
              <p:cNvPr id="315" name="Freeform 314">
                <a:extLst>
                  <a:ext uri="{FF2B5EF4-FFF2-40B4-BE49-F238E27FC236}">
                    <a16:creationId xmlns:a16="http://schemas.microsoft.com/office/drawing/2014/main" id="{F7AC4882-F38D-F6F3-9945-DB3418B3FC8C}"/>
                  </a:ext>
                </a:extLst>
              </p:cNvPr>
              <p:cNvSpPr/>
              <p:nvPr/>
            </p:nvSpPr>
            <p:spPr>
              <a:xfrm>
                <a:off x="7183156" y="2461283"/>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316" name="Freeform 315">
                <a:extLst>
                  <a:ext uri="{FF2B5EF4-FFF2-40B4-BE49-F238E27FC236}">
                    <a16:creationId xmlns:a16="http://schemas.microsoft.com/office/drawing/2014/main" id="{69011F29-D4B7-3B82-3595-59BB8178BDFF}"/>
                  </a:ext>
                </a:extLst>
              </p:cNvPr>
              <p:cNvSpPr/>
              <p:nvPr/>
            </p:nvSpPr>
            <p:spPr>
              <a:xfrm>
                <a:off x="7212556" y="2432801"/>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endParaRPr lang="en-US" sz="1800" dirty="0"/>
              </a:p>
            </p:txBody>
          </p:sp>
          <p:sp>
            <p:nvSpPr>
              <p:cNvPr id="317" name="Freeform 316">
                <a:extLst>
                  <a:ext uri="{FF2B5EF4-FFF2-40B4-BE49-F238E27FC236}">
                    <a16:creationId xmlns:a16="http://schemas.microsoft.com/office/drawing/2014/main" id="{505AC104-DEC6-CA20-B9B3-EA650C79E4F8}"/>
                  </a:ext>
                </a:extLst>
              </p:cNvPr>
              <p:cNvSpPr/>
              <p:nvPr/>
            </p:nvSpPr>
            <p:spPr>
              <a:xfrm>
                <a:off x="7224309" y="2496718"/>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318" name="Freeform 317">
                <a:extLst>
                  <a:ext uri="{FF2B5EF4-FFF2-40B4-BE49-F238E27FC236}">
                    <a16:creationId xmlns:a16="http://schemas.microsoft.com/office/drawing/2014/main" id="{F0609602-07B6-B191-D090-E868F384970E}"/>
                  </a:ext>
                </a:extLst>
              </p:cNvPr>
              <p:cNvSpPr/>
              <p:nvPr/>
            </p:nvSpPr>
            <p:spPr>
              <a:xfrm>
                <a:off x="7253709" y="2468254"/>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endParaRPr lang="en-US" sz="1800" dirty="0"/>
              </a:p>
            </p:txBody>
          </p:sp>
          <p:sp>
            <p:nvSpPr>
              <p:cNvPr id="319" name="Freeform 318">
                <a:extLst>
                  <a:ext uri="{FF2B5EF4-FFF2-40B4-BE49-F238E27FC236}">
                    <a16:creationId xmlns:a16="http://schemas.microsoft.com/office/drawing/2014/main" id="{3539F1CE-C3FC-A412-251F-5AABAF021DD7}"/>
                  </a:ext>
                </a:extLst>
              </p:cNvPr>
              <p:cNvSpPr/>
              <p:nvPr/>
            </p:nvSpPr>
            <p:spPr>
              <a:xfrm>
                <a:off x="7230203" y="2496718"/>
                <a:ext cx="58782" cy="17647"/>
              </a:xfrm>
              <a:custGeom>
                <a:avLst/>
                <a:gdLst>
                  <a:gd name="connsiteX0" fmla="*/ 0 w 58782"/>
                  <a:gd name="connsiteY0" fmla="*/ 0 h 17647"/>
                  <a:gd name="connsiteX1" fmla="*/ 58783 w 58782"/>
                  <a:gd name="connsiteY1" fmla="*/ 0 h 17647"/>
                </a:gdLst>
                <a:ahLst/>
                <a:cxnLst>
                  <a:cxn ang="0">
                    <a:pos x="connsiteX0" y="connsiteY0"/>
                  </a:cxn>
                  <a:cxn ang="0">
                    <a:pos x="connsiteX1" y="connsiteY1"/>
                  </a:cxn>
                </a:cxnLst>
                <a:rect l="l" t="t" r="r" b="b"/>
                <a:pathLst>
                  <a:path w="58782" h="17647">
                    <a:moveTo>
                      <a:pt x="0" y="0"/>
                    </a:moveTo>
                    <a:lnTo>
                      <a:pt x="58783" y="0"/>
                    </a:lnTo>
                  </a:path>
                </a:pathLst>
              </a:custGeom>
              <a:ln w="9638" cap="sq">
                <a:solidFill>
                  <a:srgbClr val="27377D"/>
                </a:solidFill>
                <a:prstDash val="solid"/>
                <a:miter/>
              </a:ln>
            </p:spPr>
            <p:txBody>
              <a:bodyPr rtlCol="0" anchor="ctr"/>
              <a:lstStyle/>
              <a:p>
                <a:endParaRPr lang="en-US" sz="1800" dirty="0"/>
              </a:p>
            </p:txBody>
          </p:sp>
          <p:sp>
            <p:nvSpPr>
              <p:cNvPr id="320" name="Freeform 319">
                <a:extLst>
                  <a:ext uri="{FF2B5EF4-FFF2-40B4-BE49-F238E27FC236}">
                    <a16:creationId xmlns:a16="http://schemas.microsoft.com/office/drawing/2014/main" id="{3CA1F99B-1669-00C4-1E47-CEAF071A65A4}"/>
                  </a:ext>
                </a:extLst>
              </p:cNvPr>
              <p:cNvSpPr/>
              <p:nvPr/>
            </p:nvSpPr>
            <p:spPr>
              <a:xfrm>
                <a:off x="7259585" y="2468254"/>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endParaRPr lang="en-US" sz="1800" dirty="0"/>
              </a:p>
            </p:txBody>
          </p:sp>
          <p:sp>
            <p:nvSpPr>
              <p:cNvPr id="321" name="Freeform 320">
                <a:extLst>
                  <a:ext uri="{FF2B5EF4-FFF2-40B4-BE49-F238E27FC236}">
                    <a16:creationId xmlns:a16="http://schemas.microsoft.com/office/drawing/2014/main" id="{E5D5F96D-2B65-5BC2-6652-168DF2A6366E}"/>
                  </a:ext>
                </a:extLst>
              </p:cNvPr>
              <p:cNvSpPr/>
              <p:nvPr/>
            </p:nvSpPr>
            <p:spPr>
              <a:xfrm>
                <a:off x="7230203" y="2496718"/>
                <a:ext cx="58782" cy="17647"/>
              </a:xfrm>
              <a:custGeom>
                <a:avLst/>
                <a:gdLst>
                  <a:gd name="connsiteX0" fmla="*/ 0 w 58782"/>
                  <a:gd name="connsiteY0" fmla="*/ 0 h 17647"/>
                  <a:gd name="connsiteX1" fmla="*/ 58783 w 58782"/>
                  <a:gd name="connsiteY1" fmla="*/ 0 h 17647"/>
                </a:gdLst>
                <a:ahLst/>
                <a:cxnLst>
                  <a:cxn ang="0">
                    <a:pos x="connsiteX0" y="connsiteY0"/>
                  </a:cxn>
                  <a:cxn ang="0">
                    <a:pos x="connsiteX1" y="connsiteY1"/>
                  </a:cxn>
                </a:cxnLst>
                <a:rect l="l" t="t" r="r" b="b"/>
                <a:pathLst>
                  <a:path w="58782" h="17647">
                    <a:moveTo>
                      <a:pt x="0" y="0"/>
                    </a:moveTo>
                    <a:lnTo>
                      <a:pt x="58783" y="0"/>
                    </a:lnTo>
                  </a:path>
                </a:pathLst>
              </a:custGeom>
              <a:ln w="9638" cap="sq">
                <a:solidFill>
                  <a:srgbClr val="27377D"/>
                </a:solidFill>
                <a:prstDash val="solid"/>
                <a:miter/>
              </a:ln>
            </p:spPr>
            <p:txBody>
              <a:bodyPr rtlCol="0" anchor="ctr"/>
              <a:lstStyle/>
              <a:p>
                <a:endParaRPr lang="en-US" sz="1800" dirty="0"/>
              </a:p>
            </p:txBody>
          </p:sp>
          <p:sp>
            <p:nvSpPr>
              <p:cNvPr id="322" name="Freeform 321">
                <a:extLst>
                  <a:ext uri="{FF2B5EF4-FFF2-40B4-BE49-F238E27FC236}">
                    <a16:creationId xmlns:a16="http://schemas.microsoft.com/office/drawing/2014/main" id="{B55EE302-BC34-B0E2-487B-BE016EF8F9AC}"/>
                  </a:ext>
                </a:extLst>
              </p:cNvPr>
              <p:cNvSpPr/>
              <p:nvPr/>
            </p:nvSpPr>
            <p:spPr>
              <a:xfrm>
                <a:off x="7259585" y="2468254"/>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endParaRPr lang="en-US" sz="1800" dirty="0"/>
              </a:p>
            </p:txBody>
          </p:sp>
          <p:sp>
            <p:nvSpPr>
              <p:cNvPr id="323" name="Freeform 322">
                <a:extLst>
                  <a:ext uri="{FF2B5EF4-FFF2-40B4-BE49-F238E27FC236}">
                    <a16:creationId xmlns:a16="http://schemas.microsoft.com/office/drawing/2014/main" id="{6D8876CB-580D-8AC5-22BE-F67E0743546F}"/>
                  </a:ext>
                </a:extLst>
              </p:cNvPr>
              <p:cNvSpPr/>
              <p:nvPr/>
            </p:nvSpPr>
            <p:spPr>
              <a:xfrm>
                <a:off x="7236079" y="2496718"/>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endParaRPr lang="en-US" sz="1800" dirty="0"/>
              </a:p>
            </p:txBody>
          </p:sp>
          <p:sp>
            <p:nvSpPr>
              <p:cNvPr id="324" name="Freeform 323">
                <a:extLst>
                  <a:ext uri="{FF2B5EF4-FFF2-40B4-BE49-F238E27FC236}">
                    <a16:creationId xmlns:a16="http://schemas.microsoft.com/office/drawing/2014/main" id="{8FEF3F69-5A2B-A953-834A-0ACBEDCD202C}"/>
                  </a:ext>
                </a:extLst>
              </p:cNvPr>
              <p:cNvSpPr/>
              <p:nvPr/>
            </p:nvSpPr>
            <p:spPr>
              <a:xfrm>
                <a:off x="7265462" y="2468254"/>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endParaRPr lang="en-US" sz="1800" dirty="0"/>
              </a:p>
            </p:txBody>
          </p:sp>
          <p:sp>
            <p:nvSpPr>
              <p:cNvPr id="325" name="Freeform 324">
                <a:extLst>
                  <a:ext uri="{FF2B5EF4-FFF2-40B4-BE49-F238E27FC236}">
                    <a16:creationId xmlns:a16="http://schemas.microsoft.com/office/drawing/2014/main" id="{853F3428-1557-8DBB-D210-3087A8F604A5}"/>
                  </a:ext>
                </a:extLst>
              </p:cNvPr>
              <p:cNvSpPr/>
              <p:nvPr/>
            </p:nvSpPr>
            <p:spPr>
              <a:xfrm>
                <a:off x="7236079" y="2496718"/>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endParaRPr lang="en-US" sz="1800" dirty="0"/>
              </a:p>
            </p:txBody>
          </p:sp>
          <p:sp>
            <p:nvSpPr>
              <p:cNvPr id="326" name="Freeform 325">
                <a:extLst>
                  <a:ext uri="{FF2B5EF4-FFF2-40B4-BE49-F238E27FC236}">
                    <a16:creationId xmlns:a16="http://schemas.microsoft.com/office/drawing/2014/main" id="{04B78EE3-C371-7354-A71D-014BECA413BB}"/>
                  </a:ext>
                </a:extLst>
              </p:cNvPr>
              <p:cNvSpPr/>
              <p:nvPr/>
            </p:nvSpPr>
            <p:spPr>
              <a:xfrm>
                <a:off x="7265462" y="2468254"/>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endParaRPr lang="en-US" sz="1800" dirty="0"/>
              </a:p>
            </p:txBody>
          </p:sp>
          <p:sp>
            <p:nvSpPr>
              <p:cNvPr id="327" name="Freeform 326">
                <a:extLst>
                  <a:ext uri="{FF2B5EF4-FFF2-40B4-BE49-F238E27FC236}">
                    <a16:creationId xmlns:a16="http://schemas.microsoft.com/office/drawing/2014/main" id="{14373357-0B3B-AF7F-F9CC-1C1823CC6BC9}"/>
                  </a:ext>
                </a:extLst>
              </p:cNvPr>
              <p:cNvSpPr/>
              <p:nvPr/>
            </p:nvSpPr>
            <p:spPr>
              <a:xfrm>
                <a:off x="7247832" y="2496718"/>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endParaRPr lang="en-US" sz="1800" dirty="0"/>
              </a:p>
            </p:txBody>
          </p:sp>
          <p:sp>
            <p:nvSpPr>
              <p:cNvPr id="328" name="Freeform 327">
                <a:extLst>
                  <a:ext uri="{FF2B5EF4-FFF2-40B4-BE49-F238E27FC236}">
                    <a16:creationId xmlns:a16="http://schemas.microsoft.com/office/drawing/2014/main" id="{C904EE2C-9EEF-73D0-9FAE-A69BB36BCDA5}"/>
                  </a:ext>
                </a:extLst>
              </p:cNvPr>
              <p:cNvSpPr/>
              <p:nvPr/>
            </p:nvSpPr>
            <p:spPr>
              <a:xfrm>
                <a:off x="7277232" y="2468254"/>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endParaRPr lang="en-US" sz="1800" dirty="0"/>
              </a:p>
            </p:txBody>
          </p:sp>
          <p:sp>
            <p:nvSpPr>
              <p:cNvPr id="329" name="Freeform 328">
                <a:extLst>
                  <a:ext uri="{FF2B5EF4-FFF2-40B4-BE49-F238E27FC236}">
                    <a16:creationId xmlns:a16="http://schemas.microsoft.com/office/drawing/2014/main" id="{5AF98D15-F46A-AC07-A715-75AA599493C0}"/>
                  </a:ext>
                </a:extLst>
              </p:cNvPr>
              <p:cNvSpPr/>
              <p:nvPr/>
            </p:nvSpPr>
            <p:spPr>
              <a:xfrm>
                <a:off x="7312632" y="2496718"/>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endParaRPr lang="en-US" sz="1800" dirty="0"/>
              </a:p>
            </p:txBody>
          </p:sp>
          <p:sp>
            <p:nvSpPr>
              <p:cNvPr id="330" name="Freeform 329">
                <a:extLst>
                  <a:ext uri="{FF2B5EF4-FFF2-40B4-BE49-F238E27FC236}">
                    <a16:creationId xmlns:a16="http://schemas.microsoft.com/office/drawing/2014/main" id="{AF8298DF-35E7-44BD-FF79-128767CD8CFE}"/>
                  </a:ext>
                </a:extLst>
              </p:cNvPr>
              <p:cNvSpPr/>
              <p:nvPr/>
            </p:nvSpPr>
            <p:spPr>
              <a:xfrm>
                <a:off x="7342032" y="2468254"/>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endParaRPr lang="en-US" sz="1800" dirty="0"/>
              </a:p>
            </p:txBody>
          </p:sp>
          <p:sp>
            <p:nvSpPr>
              <p:cNvPr id="331" name="Freeform 330">
                <a:extLst>
                  <a:ext uri="{FF2B5EF4-FFF2-40B4-BE49-F238E27FC236}">
                    <a16:creationId xmlns:a16="http://schemas.microsoft.com/office/drawing/2014/main" id="{8CA1A504-48B7-1F10-932A-5D1895FAE177}"/>
                  </a:ext>
                </a:extLst>
              </p:cNvPr>
              <p:cNvSpPr/>
              <p:nvPr/>
            </p:nvSpPr>
            <p:spPr>
              <a:xfrm>
                <a:off x="7318509" y="2496718"/>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332" name="Freeform 331">
                <a:extLst>
                  <a:ext uri="{FF2B5EF4-FFF2-40B4-BE49-F238E27FC236}">
                    <a16:creationId xmlns:a16="http://schemas.microsoft.com/office/drawing/2014/main" id="{AB4D433B-6213-5CB0-12FD-9016B1B29E0B}"/>
                  </a:ext>
                </a:extLst>
              </p:cNvPr>
              <p:cNvSpPr/>
              <p:nvPr/>
            </p:nvSpPr>
            <p:spPr>
              <a:xfrm>
                <a:off x="7347909" y="2468254"/>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endParaRPr lang="en-US" sz="1800" dirty="0"/>
              </a:p>
            </p:txBody>
          </p:sp>
          <p:sp>
            <p:nvSpPr>
              <p:cNvPr id="333" name="Freeform 332">
                <a:extLst>
                  <a:ext uri="{FF2B5EF4-FFF2-40B4-BE49-F238E27FC236}">
                    <a16:creationId xmlns:a16="http://schemas.microsoft.com/office/drawing/2014/main" id="{8C76930C-7949-5DE2-1C2F-B4A15B5C88F3}"/>
                  </a:ext>
                </a:extLst>
              </p:cNvPr>
              <p:cNvSpPr/>
              <p:nvPr/>
            </p:nvSpPr>
            <p:spPr>
              <a:xfrm>
                <a:off x="7330262" y="2496718"/>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334" name="Freeform 333">
                <a:extLst>
                  <a:ext uri="{FF2B5EF4-FFF2-40B4-BE49-F238E27FC236}">
                    <a16:creationId xmlns:a16="http://schemas.microsoft.com/office/drawing/2014/main" id="{CE1FD291-2033-77BB-59A9-918516569ABF}"/>
                  </a:ext>
                </a:extLst>
              </p:cNvPr>
              <p:cNvSpPr/>
              <p:nvPr/>
            </p:nvSpPr>
            <p:spPr>
              <a:xfrm>
                <a:off x="7359662" y="2468254"/>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endParaRPr lang="en-US" sz="1800" dirty="0"/>
              </a:p>
            </p:txBody>
          </p:sp>
          <p:sp>
            <p:nvSpPr>
              <p:cNvPr id="335" name="Freeform 334">
                <a:extLst>
                  <a:ext uri="{FF2B5EF4-FFF2-40B4-BE49-F238E27FC236}">
                    <a16:creationId xmlns:a16="http://schemas.microsoft.com/office/drawing/2014/main" id="{130E5491-B4C0-D7BC-23C6-CBCB9EE7AA46}"/>
                  </a:ext>
                </a:extLst>
              </p:cNvPr>
              <p:cNvSpPr/>
              <p:nvPr/>
            </p:nvSpPr>
            <p:spPr>
              <a:xfrm>
                <a:off x="7336156" y="2496718"/>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endParaRPr lang="en-US" sz="1800" dirty="0"/>
              </a:p>
            </p:txBody>
          </p:sp>
          <p:sp>
            <p:nvSpPr>
              <p:cNvPr id="336" name="Freeform 335">
                <a:extLst>
                  <a:ext uri="{FF2B5EF4-FFF2-40B4-BE49-F238E27FC236}">
                    <a16:creationId xmlns:a16="http://schemas.microsoft.com/office/drawing/2014/main" id="{6533C184-506F-68DB-8725-5654FDE36B45}"/>
                  </a:ext>
                </a:extLst>
              </p:cNvPr>
              <p:cNvSpPr/>
              <p:nvPr/>
            </p:nvSpPr>
            <p:spPr>
              <a:xfrm>
                <a:off x="7365538" y="2468254"/>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endParaRPr lang="en-US" sz="1800" dirty="0"/>
              </a:p>
            </p:txBody>
          </p:sp>
          <p:sp>
            <p:nvSpPr>
              <p:cNvPr id="337" name="Freeform 336">
                <a:extLst>
                  <a:ext uri="{FF2B5EF4-FFF2-40B4-BE49-F238E27FC236}">
                    <a16:creationId xmlns:a16="http://schemas.microsoft.com/office/drawing/2014/main" id="{C2E2CB87-4B4C-36DC-7259-DC301975C466}"/>
                  </a:ext>
                </a:extLst>
              </p:cNvPr>
              <p:cNvSpPr/>
              <p:nvPr/>
            </p:nvSpPr>
            <p:spPr>
              <a:xfrm>
                <a:off x="7347909" y="2516095"/>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endParaRPr lang="en-US" sz="1800" dirty="0"/>
              </a:p>
            </p:txBody>
          </p:sp>
          <p:sp>
            <p:nvSpPr>
              <p:cNvPr id="338" name="Freeform 337">
                <a:extLst>
                  <a:ext uri="{FF2B5EF4-FFF2-40B4-BE49-F238E27FC236}">
                    <a16:creationId xmlns:a16="http://schemas.microsoft.com/office/drawing/2014/main" id="{785E829E-533D-CF81-21F8-1527CECAB1CD}"/>
                  </a:ext>
                </a:extLst>
              </p:cNvPr>
              <p:cNvSpPr/>
              <p:nvPr/>
            </p:nvSpPr>
            <p:spPr>
              <a:xfrm>
                <a:off x="7377309" y="2487613"/>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endParaRPr lang="en-US" sz="1800" dirty="0"/>
              </a:p>
            </p:txBody>
          </p:sp>
          <p:sp>
            <p:nvSpPr>
              <p:cNvPr id="339" name="Freeform 338">
                <a:extLst>
                  <a:ext uri="{FF2B5EF4-FFF2-40B4-BE49-F238E27FC236}">
                    <a16:creationId xmlns:a16="http://schemas.microsoft.com/office/drawing/2014/main" id="{170E9C2E-3082-70EC-54A3-5F71714797F8}"/>
                  </a:ext>
                </a:extLst>
              </p:cNvPr>
              <p:cNvSpPr/>
              <p:nvPr/>
            </p:nvSpPr>
            <p:spPr>
              <a:xfrm>
                <a:off x="7353785" y="2516095"/>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endParaRPr lang="en-US" sz="1800" dirty="0"/>
              </a:p>
            </p:txBody>
          </p:sp>
          <p:sp>
            <p:nvSpPr>
              <p:cNvPr id="340" name="Freeform 339">
                <a:extLst>
                  <a:ext uri="{FF2B5EF4-FFF2-40B4-BE49-F238E27FC236}">
                    <a16:creationId xmlns:a16="http://schemas.microsoft.com/office/drawing/2014/main" id="{B9F7D089-B5E0-9C76-07A9-97DCBA3E1825}"/>
                  </a:ext>
                </a:extLst>
              </p:cNvPr>
              <p:cNvSpPr/>
              <p:nvPr/>
            </p:nvSpPr>
            <p:spPr>
              <a:xfrm>
                <a:off x="7383185" y="2487613"/>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endParaRPr lang="en-US" sz="1800" dirty="0"/>
              </a:p>
            </p:txBody>
          </p:sp>
          <p:sp>
            <p:nvSpPr>
              <p:cNvPr id="341" name="Freeform 340">
                <a:extLst>
                  <a:ext uri="{FF2B5EF4-FFF2-40B4-BE49-F238E27FC236}">
                    <a16:creationId xmlns:a16="http://schemas.microsoft.com/office/drawing/2014/main" id="{5FBB82F7-76E7-101B-70DA-B174F49E6EE2}"/>
                  </a:ext>
                </a:extLst>
              </p:cNvPr>
              <p:cNvSpPr/>
              <p:nvPr/>
            </p:nvSpPr>
            <p:spPr>
              <a:xfrm>
                <a:off x="7353785" y="2516095"/>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endParaRPr lang="en-US" sz="1800" dirty="0"/>
              </a:p>
            </p:txBody>
          </p:sp>
          <p:sp>
            <p:nvSpPr>
              <p:cNvPr id="342" name="Freeform 341">
                <a:extLst>
                  <a:ext uri="{FF2B5EF4-FFF2-40B4-BE49-F238E27FC236}">
                    <a16:creationId xmlns:a16="http://schemas.microsoft.com/office/drawing/2014/main" id="{434314AF-25DC-1C5E-97D4-F817247F12A9}"/>
                  </a:ext>
                </a:extLst>
              </p:cNvPr>
              <p:cNvSpPr/>
              <p:nvPr/>
            </p:nvSpPr>
            <p:spPr>
              <a:xfrm>
                <a:off x="7383185" y="2487613"/>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endParaRPr lang="en-US" sz="1800" dirty="0"/>
              </a:p>
            </p:txBody>
          </p:sp>
          <p:sp>
            <p:nvSpPr>
              <p:cNvPr id="343" name="Freeform 342">
                <a:extLst>
                  <a:ext uri="{FF2B5EF4-FFF2-40B4-BE49-F238E27FC236}">
                    <a16:creationId xmlns:a16="http://schemas.microsoft.com/office/drawing/2014/main" id="{C4184764-F66B-8D38-F94C-AAB507B9DA98}"/>
                  </a:ext>
                </a:extLst>
              </p:cNvPr>
              <p:cNvSpPr/>
              <p:nvPr/>
            </p:nvSpPr>
            <p:spPr>
              <a:xfrm>
                <a:off x="7359662" y="2516095"/>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344" name="Freeform 343">
                <a:extLst>
                  <a:ext uri="{FF2B5EF4-FFF2-40B4-BE49-F238E27FC236}">
                    <a16:creationId xmlns:a16="http://schemas.microsoft.com/office/drawing/2014/main" id="{DB0C0585-5BED-CFA8-3BD3-83031EAA4D87}"/>
                  </a:ext>
                </a:extLst>
              </p:cNvPr>
              <p:cNvSpPr/>
              <p:nvPr/>
            </p:nvSpPr>
            <p:spPr>
              <a:xfrm>
                <a:off x="7389062" y="2487613"/>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endParaRPr lang="en-US" sz="1800" dirty="0"/>
              </a:p>
            </p:txBody>
          </p:sp>
          <p:sp>
            <p:nvSpPr>
              <p:cNvPr id="345" name="Freeform 344">
                <a:extLst>
                  <a:ext uri="{FF2B5EF4-FFF2-40B4-BE49-F238E27FC236}">
                    <a16:creationId xmlns:a16="http://schemas.microsoft.com/office/drawing/2014/main" id="{3408C138-53CD-5DA6-3D92-B46E6610304C}"/>
                  </a:ext>
                </a:extLst>
              </p:cNvPr>
              <p:cNvSpPr/>
              <p:nvPr/>
            </p:nvSpPr>
            <p:spPr>
              <a:xfrm>
                <a:off x="7371415" y="2516095"/>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346" name="Freeform 345">
                <a:extLst>
                  <a:ext uri="{FF2B5EF4-FFF2-40B4-BE49-F238E27FC236}">
                    <a16:creationId xmlns:a16="http://schemas.microsoft.com/office/drawing/2014/main" id="{85E43945-4F20-EAB2-9AF1-8EF4B2B158AC}"/>
                  </a:ext>
                </a:extLst>
              </p:cNvPr>
              <p:cNvSpPr/>
              <p:nvPr/>
            </p:nvSpPr>
            <p:spPr>
              <a:xfrm>
                <a:off x="7400814" y="2487613"/>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endParaRPr lang="en-US" sz="1800" dirty="0"/>
              </a:p>
            </p:txBody>
          </p:sp>
          <p:sp>
            <p:nvSpPr>
              <p:cNvPr id="347" name="Freeform 346">
                <a:extLst>
                  <a:ext uri="{FF2B5EF4-FFF2-40B4-BE49-F238E27FC236}">
                    <a16:creationId xmlns:a16="http://schemas.microsoft.com/office/drawing/2014/main" id="{5E1843B7-3104-F436-F80D-88564841EDF2}"/>
                  </a:ext>
                </a:extLst>
              </p:cNvPr>
              <p:cNvSpPr/>
              <p:nvPr/>
            </p:nvSpPr>
            <p:spPr>
              <a:xfrm>
                <a:off x="7412709" y="2516095"/>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endParaRPr lang="en-US" sz="1800" dirty="0"/>
              </a:p>
            </p:txBody>
          </p:sp>
          <p:sp>
            <p:nvSpPr>
              <p:cNvPr id="348" name="Freeform 347">
                <a:extLst>
                  <a:ext uri="{FF2B5EF4-FFF2-40B4-BE49-F238E27FC236}">
                    <a16:creationId xmlns:a16="http://schemas.microsoft.com/office/drawing/2014/main" id="{33FD51FE-6AE2-103A-E210-BE38872BF2E8}"/>
                  </a:ext>
                </a:extLst>
              </p:cNvPr>
              <p:cNvSpPr/>
              <p:nvPr/>
            </p:nvSpPr>
            <p:spPr>
              <a:xfrm>
                <a:off x="7442091" y="2487613"/>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endParaRPr lang="en-US" sz="1800" dirty="0"/>
              </a:p>
            </p:txBody>
          </p:sp>
          <p:sp>
            <p:nvSpPr>
              <p:cNvPr id="349" name="Freeform 348">
                <a:extLst>
                  <a:ext uri="{FF2B5EF4-FFF2-40B4-BE49-F238E27FC236}">
                    <a16:creationId xmlns:a16="http://schemas.microsoft.com/office/drawing/2014/main" id="{F2E04B62-FDF4-62DA-0192-0634F99DB5DC}"/>
                  </a:ext>
                </a:extLst>
              </p:cNvPr>
              <p:cNvSpPr/>
              <p:nvPr/>
            </p:nvSpPr>
            <p:spPr>
              <a:xfrm>
                <a:off x="7412709" y="2516095"/>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endParaRPr lang="en-US" sz="1800" dirty="0"/>
              </a:p>
            </p:txBody>
          </p:sp>
          <p:sp>
            <p:nvSpPr>
              <p:cNvPr id="350" name="Freeform 349">
                <a:extLst>
                  <a:ext uri="{FF2B5EF4-FFF2-40B4-BE49-F238E27FC236}">
                    <a16:creationId xmlns:a16="http://schemas.microsoft.com/office/drawing/2014/main" id="{B8AF6067-6932-B438-6445-0B4B68E38479}"/>
                  </a:ext>
                </a:extLst>
              </p:cNvPr>
              <p:cNvSpPr/>
              <p:nvPr/>
            </p:nvSpPr>
            <p:spPr>
              <a:xfrm>
                <a:off x="7442091" y="2487613"/>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endParaRPr lang="en-US" sz="1800" dirty="0"/>
              </a:p>
            </p:txBody>
          </p:sp>
          <p:sp>
            <p:nvSpPr>
              <p:cNvPr id="351" name="Freeform 350">
                <a:extLst>
                  <a:ext uri="{FF2B5EF4-FFF2-40B4-BE49-F238E27FC236}">
                    <a16:creationId xmlns:a16="http://schemas.microsoft.com/office/drawing/2014/main" id="{3DB171AE-D8F8-9704-B72F-6F50676063B8}"/>
                  </a:ext>
                </a:extLst>
              </p:cNvPr>
              <p:cNvSpPr/>
              <p:nvPr/>
            </p:nvSpPr>
            <p:spPr>
              <a:xfrm>
                <a:off x="7471491" y="2536848"/>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352" name="Freeform 351">
                <a:extLst>
                  <a:ext uri="{FF2B5EF4-FFF2-40B4-BE49-F238E27FC236}">
                    <a16:creationId xmlns:a16="http://schemas.microsoft.com/office/drawing/2014/main" id="{07B7747D-E6A7-9618-2244-2EC417AFE72F}"/>
                  </a:ext>
                </a:extLst>
              </p:cNvPr>
              <p:cNvSpPr/>
              <p:nvPr/>
            </p:nvSpPr>
            <p:spPr>
              <a:xfrm>
                <a:off x="7500891" y="2508365"/>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27377D"/>
                </a:solidFill>
                <a:prstDash val="solid"/>
                <a:miter/>
              </a:ln>
            </p:spPr>
            <p:txBody>
              <a:bodyPr rtlCol="0" anchor="ctr"/>
              <a:lstStyle/>
              <a:p>
                <a:endParaRPr lang="en-US" sz="1800" dirty="0"/>
              </a:p>
            </p:txBody>
          </p:sp>
          <p:sp>
            <p:nvSpPr>
              <p:cNvPr id="353" name="Freeform 352">
                <a:extLst>
                  <a:ext uri="{FF2B5EF4-FFF2-40B4-BE49-F238E27FC236}">
                    <a16:creationId xmlns:a16="http://schemas.microsoft.com/office/drawing/2014/main" id="{D8E2A786-1218-0678-D369-FFD98B248769}"/>
                  </a:ext>
                </a:extLst>
              </p:cNvPr>
              <p:cNvSpPr/>
              <p:nvPr/>
            </p:nvSpPr>
            <p:spPr>
              <a:xfrm>
                <a:off x="7477367" y="2536848"/>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354" name="Freeform 353">
                <a:extLst>
                  <a:ext uri="{FF2B5EF4-FFF2-40B4-BE49-F238E27FC236}">
                    <a16:creationId xmlns:a16="http://schemas.microsoft.com/office/drawing/2014/main" id="{155AED1D-F03D-60B2-559B-327A709649FB}"/>
                  </a:ext>
                </a:extLst>
              </p:cNvPr>
              <p:cNvSpPr/>
              <p:nvPr/>
            </p:nvSpPr>
            <p:spPr>
              <a:xfrm>
                <a:off x="7506767" y="2508365"/>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27377D"/>
                </a:solidFill>
                <a:prstDash val="solid"/>
                <a:miter/>
              </a:ln>
            </p:spPr>
            <p:txBody>
              <a:bodyPr rtlCol="0" anchor="ctr"/>
              <a:lstStyle/>
              <a:p>
                <a:endParaRPr lang="en-US" sz="1800" dirty="0"/>
              </a:p>
            </p:txBody>
          </p:sp>
          <p:sp>
            <p:nvSpPr>
              <p:cNvPr id="355" name="Freeform 354">
                <a:extLst>
                  <a:ext uri="{FF2B5EF4-FFF2-40B4-BE49-F238E27FC236}">
                    <a16:creationId xmlns:a16="http://schemas.microsoft.com/office/drawing/2014/main" id="{25916650-09D4-CB9F-4007-11FC7DB19C84}"/>
                  </a:ext>
                </a:extLst>
              </p:cNvPr>
              <p:cNvSpPr/>
              <p:nvPr/>
            </p:nvSpPr>
            <p:spPr>
              <a:xfrm>
                <a:off x="7501014" y="2536848"/>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356" name="Freeform 355">
                <a:extLst>
                  <a:ext uri="{FF2B5EF4-FFF2-40B4-BE49-F238E27FC236}">
                    <a16:creationId xmlns:a16="http://schemas.microsoft.com/office/drawing/2014/main" id="{A757A3BA-8F96-7FF4-BB0A-B7E2F2A27279}"/>
                  </a:ext>
                </a:extLst>
              </p:cNvPr>
              <p:cNvSpPr/>
              <p:nvPr/>
            </p:nvSpPr>
            <p:spPr>
              <a:xfrm>
                <a:off x="7530414" y="2508365"/>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27377D"/>
                </a:solidFill>
                <a:prstDash val="solid"/>
                <a:miter/>
              </a:ln>
            </p:spPr>
            <p:txBody>
              <a:bodyPr rtlCol="0" anchor="ctr"/>
              <a:lstStyle/>
              <a:p>
                <a:endParaRPr lang="en-US" sz="1800" dirty="0"/>
              </a:p>
            </p:txBody>
          </p:sp>
          <p:sp>
            <p:nvSpPr>
              <p:cNvPr id="357" name="Freeform 356">
                <a:extLst>
                  <a:ext uri="{FF2B5EF4-FFF2-40B4-BE49-F238E27FC236}">
                    <a16:creationId xmlns:a16="http://schemas.microsoft.com/office/drawing/2014/main" id="{DA69B475-8503-5427-DD69-B9B173C57162}"/>
                  </a:ext>
                </a:extLst>
              </p:cNvPr>
              <p:cNvSpPr/>
              <p:nvPr/>
            </p:nvSpPr>
            <p:spPr>
              <a:xfrm>
                <a:off x="7506891" y="2536848"/>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358" name="Freeform 357">
                <a:extLst>
                  <a:ext uri="{FF2B5EF4-FFF2-40B4-BE49-F238E27FC236}">
                    <a16:creationId xmlns:a16="http://schemas.microsoft.com/office/drawing/2014/main" id="{B68E5B13-149D-3650-3686-7197F9F459E6}"/>
                  </a:ext>
                </a:extLst>
              </p:cNvPr>
              <p:cNvSpPr/>
              <p:nvPr/>
            </p:nvSpPr>
            <p:spPr>
              <a:xfrm>
                <a:off x="7536291" y="2508365"/>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27377D"/>
                </a:solidFill>
                <a:prstDash val="solid"/>
                <a:miter/>
              </a:ln>
            </p:spPr>
            <p:txBody>
              <a:bodyPr rtlCol="0" anchor="ctr"/>
              <a:lstStyle/>
              <a:p>
                <a:endParaRPr lang="en-US" sz="1800" dirty="0"/>
              </a:p>
            </p:txBody>
          </p:sp>
          <p:sp>
            <p:nvSpPr>
              <p:cNvPr id="359" name="Freeform 358">
                <a:extLst>
                  <a:ext uri="{FF2B5EF4-FFF2-40B4-BE49-F238E27FC236}">
                    <a16:creationId xmlns:a16="http://schemas.microsoft.com/office/drawing/2014/main" id="{B9882266-A09A-4F62-CCEE-636756AA9519}"/>
                  </a:ext>
                </a:extLst>
              </p:cNvPr>
              <p:cNvSpPr/>
              <p:nvPr/>
            </p:nvSpPr>
            <p:spPr>
              <a:xfrm>
                <a:off x="7518661" y="2536848"/>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endParaRPr lang="en-US" sz="1800" dirty="0"/>
              </a:p>
            </p:txBody>
          </p:sp>
          <p:sp>
            <p:nvSpPr>
              <p:cNvPr id="360" name="Freeform 359">
                <a:extLst>
                  <a:ext uri="{FF2B5EF4-FFF2-40B4-BE49-F238E27FC236}">
                    <a16:creationId xmlns:a16="http://schemas.microsoft.com/office/drawing/2014/main" id="{3DF79F33-05C1-A847-A51C-0B4A1E13308E}"/>
                  </a:ext>
                </a:extLst>
              </p:cNvPr>
              <p:cNvSpPr/>
              <p:nvPr/>
            </p:nvSpPr>
            <p:spPr>
              <a:xfrm>
                <a:off x="7548044" y="2508365"/>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27377D"/>
                </a:solidFill>
                <a:prstDash val="solid"/>
                <a:miter/>
              </a:ln>
            </p:spPr>
            <p:txBody>
              <a:bodyPr rtlCol="0" anchor="ctr"/>
              <a:lstStyle/>
              <a:p>
                <a:endParaRPr lang="en-US" sz="1800" dirty="0"/>
              </a:p>
            </p:txBody>
          </p:sp>
          <p:sp>
            <p:nvSpPr>
              <p:cNvPr id="361" name="Freeform 360">
                <a:extLst>
                  <a:ext uri="{FF2B5EF4-FFF2-40B4-BE49-F238E27FC236}">
                    <a16:creationId xmlns:a16="http://schemas.microsoft.com/office/drawing/2014/main" id="{0F50451F-FDDC-C2BB-547F-C24E92ECA254}"/>
                  </a:ext>
                </a:extLst>
              </p:cNvPr>
              <p:cNvSpPr/>
              <p:nvPr/>
            </p:nvSpPr>
            <p:spPr>
              <a:xfrm>
                <a:off x="7530414" y="2536848"/>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endParaRPr lang="en-US" sz="1800" dirty="0"/>
              </a:p>
            </p:txBody>
          </p:sp>
          <p:sp>
            <p:nvSpPr>
              <p:cNvPr id="362" name="Freeform 361">
                <a:extLst>
                  <a:ext uri="{FF2B5EF4-FFF2-40B4-BE49-F238E27FC236}">
                    <a16:creationId xmlns:a16="http://schemas.microsoft.com/office/drawing/2014/main" id="{AC2E1E2A-E715-BD2E-7872-BCB17DA5F0B7}"/>
                  </a:ext>
                </a:extLst>
              </p:cNvPr>
              <p:cNvSpPr/>
              <p:nvPr/>
            </p:nvSpPr>
            <p:spPr>
              <a:xfrm>
                <a:off x="7559814" y="2508365"/>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27377D"/>
                </a:solidFill>
                <a:prstDash val="solid"/>
                <a:miter/>
              </a:ln>
            </p:spPr>
            <p:txBody>
              <a:bodyPr rtlCol="0" anchor="ctr"/>
              <a:lstStyle/>
              <a:p>
                <a:endParaRPr lang="en-US" sz="1800" dirty="0"/>
              </a:p>
            </p:txBody>
          </p:sp>
          <p:sp>
            <p:nvSpPr>
              <p:cNvPr id="363" name="Freeform 362">
                <a:extLst>
                  <a:ext uri="{FF2B5EF4-FFF2-40B4-BE49-F238E27FC236}">
                    <a16:creationId xmlns:a16="http://schemas.microsoft.com/office/drawing/2014/main" id="{5719E752-FD97-D162-54E8-F30F299999EC}"/>
                  </a:ext>
                </a:extLst>
              </p:cNvPr>
              <p:cNvSpPr/>
              <p:nvPr/>
            </p:nvSpPr>
            <p:spPr>
              <a:xfrm>
                <a:off x="7530414" y="2536848"/>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endParaRPr lang="en-US" sz="1800" dirty="0"/>
              </a:p>
            </p:txBody>
          </p:sp>
          <p:sp>
            <p:nvSpPr>
              <p:cNvPr id="364" name="Freeform 363">
                <a:extLst>
                  <a:ext uri="{FF2B5EF4-FFF2-40B4-BE49-F238E27FC236}">
                    <a16:creationId xmlns:a16="http://schemas.microsoft.com/office/drawing/2014/main" id="{2BF1BD5D-1C92-87FB-3219-84A411BA633C}"/>
                  </a:ext>
                </a:extLst>
              </p:cNvPr>
              <p:cNvSpPr/>
              <p:nvPr/>
            </p:nvSpPr>
            <p:spPr>
              <a:xfrm>
                <a:off x="7559814" y="2508365"/>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27377D"/>
                </a:solidFill>
                <a:prstDash val="solid"/>
                <a:miter/>
              </a:ln>
            </p:spPr>
            <p:txBody>
              <a:bodyPr rtlCol="0" anchor="ctr"/>
              <a:lstStyle/>
              <a:p>
                <a:endParaRPr lang="en-US" sz="1800" dirty="0"/>
              </a:p>
            </p:txBody>
          </p:sp>
          <p:sp>
            <p:nvSpPr>
              <p:cNvPr id="365" name="Freeform 364">
                <a:extLst>
                  <a:ext uri="{FF2B5EF4-FFF2-40B4-BE49-F238E27FC236}">
                    <a16:creationId xmlns:a16="http://schemas.microsoft.com/office/drawing/2014/main" id="{48B4E274-2FA3-F136-6AA4-8A0C2B1FE56C}"/>
                  </a:ext>
                </a:extLst>
              </p:cNvPr>
              <p:cNvSpPr/>
              <p:nvPr/>
            </p:nvSpPr>
            <p:spPr>
              <a:xfrm>
                <a:off x="7548044" y="2536848"/>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366" name="Freeform 365">
                <a:extLst>
                  <a:ext uri="{FF2B5EF4-FFF2-40B4-BE49-F238E27FC236}">
                    <a16:creationId xmlns:a16="http://schemas.microsoft.com/office/drawing/2014/main" id="{8CD736D0-EECD-3B60-FFDF-945A02F2B116}"/>
                  </a:ext>
                </a:extLst>
              </p:cNvPr>
              <p:cNvSpPr/>
              <p:nvPr/>
            </p:nvSpPr>
            <p:spPr>
              <a:xfrm>
                <a:off x="7577444" y="2508365"/>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27377D"/>
                </a:solidFill>
                <a:prstDash val="solid"/>
                <a:miter/>
              </a:ln>
            </p:spPr>
            <p:txBody>
              <a:bodyPr rtlCol="0" anchor="ctr"/>
              <a:lstStyle/>
              <a:p>
                <a:endParaRPr lang="en-US" sz="1800" dirty="0"/>
              </a:p>
            </p:txBody>
          </p:sp>
          <p:sp>
            <p:nvSpPr>
              <p:cNvPr id="367" name="Freeform 366">
                <a:extLst>
                  <a:ext uri="{FF2B5EF4-FFF2-40B4-BE49-F238E27FC236}">
                    <a16:creationId xmlns:a16="http://schemas.microsoft.com/office/drawing/2014/main" id="{9CE40509-D47F-692C-7152-F44038D6DDE1}"/>
                  </a:ext>
                </a:extLst>
              </p:cNvPr>
              <p:cNvSpPr/>
              <p:nvPr/>
            </p:nvSpPr>
            <p:spPr>
              <a:xfrm>
                <a:off x="7553938" y="2536848"/>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endParaRPr lang="en-US" sz="1800" dirty="0"/>
              </a:p>
            </p:txBody>
          </p:sp>
          <p:sp>
            <p:nvSpPr>
              <p:cNvPr id="368" name="Freeform 367">
                <a:extLst>
                  <a:ext uri="{FF2B5EF4-FFF2-40B4-BE49-F238E27FC236}">
                    <a16:creationId xmlns:a16="http://schemas.microsoft.com/office/drawing/2014/main" id="{FECBF801-D06A-06B3-37C6-5C8BC9107792}"/>
                  </a:ext>
                </a:extLst>
              </p:cNvPr>
              <p:cNvSpPr/>
              <p:nvPr/>
            </p:nvSpPr>
            <p:spPr>
              <a:xfrm>
                <a:off x="7583320" y="2508365"/>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27377D"/>
                </a:solidFill>
                <a:prstDash val="solid"/>
                <a:miter/>
              </a:ln>
            </p:spPr>
            <p:txBody>
              <a:bodyPr rtlCol="0" anchor="ctr"/>
              <a:lstStyle/>
              <a:p>
                <a:endParaRPr lang="en-US" sz="1800" dirty="0"/>
              </a:p>
            </p:txBody>
          </p:sp>
          <p:sp>
            <p:nvSpPr>
              <p:cNvPr id="369" name="Freeform 368">
                <a:extLst>
                  <a:ext uri="{FF2B5EF4-FFF2-40B4-BE49-F238E27FC236}">
                    <a16:creationId xmlns:a16="http://schemas.microsoft.com/office/drawing/2014/main" id="{2EAD38D4-A475-11E9-4F06-150BCA749C30}"/>
                  </a:ext>
                </a:extLst>
              </p:cNvPr>
              <p:cNvSpPr/>
              <p:nvPr/>
            </p:nvSpPr>
            <p:spPr>
              <a:xfrm>
                <a:off x="7565691" y="2536848"/>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endParaRPr lang="en-US" sz="1800" dirty="0"/>
              </a:p>
            </p:txBody>
          </p:sp>
          <p:sp>
            <p:nvSpPr>
              <p:cNvPr id="370" name="Freeform 369">
                <a:extLst>
                  <a:ext uri="{FF2B5EF4-FFF2-40B4-BE49-F238E27FC236}">
                    <a16:creationId xmlns:a16="http://schemas.microsoft.com/office/drawing/2014/main" id="{530ACFE6-76B8-66BD-271A-AE1B1715AD1F}"/>
                  </a:ext>
                </a:extLst>
              </p:cNvPr>
              <p:cNvSpPr/>
              <p:nvPr/>
            </p:nvSpPr>
            <p:spPr>
              <a:xfrm>
                <a:off x="7595091" y="2508365"/>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27377D"/>
                </a:solidFill>
                <a:prstDash val="solid"/>
                <a:miter/>
              </a:ln>
            </p:spPr>
            <p:txBody>
              <a:bodyPr rtlCol="0" anchor="ctr"/>
              <a:lstStyle/>
              <a:p>
                <a:endParaRPr lang="en-US" sz="1800" dirty="0"/>
              </a:p>
            </p:txBody>
          </p:sp>
          <p:sp>
            <p:nvSpPr>
              <p:cNvPr id="371" name="Freeform 370">
                <a:extLst>
                  <a:ext uri="{FF2B5EF4-FFF2-40B4-BE49-F238E27FC236}">
                    <a16:creationId xmlns:a16="http://schemas.microsoft.com/office/drawing/2014/main" id="{955B0F5F-88FD-D629-68D7-AA97C025BCB5}"/>
                  </a:ext>
                </a:extLst>
              </p:cNvPr>
              <p:cNvSpPr/>
              <p:nvPr/>
            </p:nvSpPr>
            <p:spPr>
              <a:xfrm>
                <a:off x="7577444" y="2536848"/>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372" name="Freeform 371">
                <a:extLst>
                  <a:ext uri="{FF2B5EF4-FFF2-40B4-BE49-F238E27FC236}">
                    <a16:creationId xmlns:a16="http://schemas.microsoft.com/office/drawing/2014/main" id="{A92BA0E9-9D43-9BFC-85B8-875FE9237C47}"/>
                  </a:ext>
                </a:extLst>
              </p:cNvPr>
              <p:cNvSpPr/>
              <p:nvPr/>
            </p:nvSpPr>
            <p:spPr>
              <a:xfrm>
                <a:off x="7606844" y="2508365"/>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27377D"/>
                </a:solidFill>
                <a:prstDash val="solid"/>
                <a:miter/>
              </a:ln>
            </p:spPr>
            <p:txBody>
              <a:bodyPr rtlCol="0" anchor="ctr"/>
              <a:lstStyle/>
              <a:p>
                <a:endParaRPr lang="en-US" sz="1800" dirty="0"/>
              </a:p>
            </p:txBody>
          </p:sp>
          <p:sp>
            <p:nvSpPr>
              <p:cNvPr id="373" name="Freeform 372">
                <a:extLst>
                  <a:ext uri="{FF2B5EF4-FFF2-40B4-BE49-F238E27FC236}">
                    <a16:creationId xmlns:a16="http://schemas.microsoft.com/office/drawing/2014/main" id="{2DDDDCEC-80D1-2185-673E-D8C04B477A17}"/>
                  </a:ext>
                </a:extLst>
              </p:cNvPr>
              <p:cNvSpPr/>
              <p:nvPr/>
            </p:nvSpPr>
            <p:spPr>
              <a:xfrm>
                <a:off x="7589197" y="2560018"/>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374" name="Freeform 373">
                <a:extLst>
                  <a:ext uri="{FF2B5EF4-FFF2-40B4-BE49-F238E27FC236}">
                    <a16:creationId xmlns:a16="http://schemas.microsoft.com/office/drawing/2014/main" id="{434D4ACC-CA3F-4E60-02C8-E332AE35B6D5}"/>
                  </a:ext>
                </a:extLst>
              </p:cNvPr>
              <p:cNvSpPr/>
              <p:nvPr/>
            </p:nvSpPr>
            <p:spPr>
              <a:xfrm>
                <a:off x="7618596" y="2531536"/>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endParaRPr lang="en-US" sz="1800" dirty="0"/>
              </a:p>
            </p:txBody>
          </p:sp>
          <p:sp>
            <p:nvSpPr>
              <p:cNvPr id="375" name="Freeform 374">
                <a:extLst>
                  <a:ext uri="{FF2B5EF4-FFF2-40B4-BE49-F238E27FC236}">
                    <a16:creationId xmlns:a16="http://schemas.microsoft.com/office/drawing/2014/main" id="{9399E3B9-04AD-65AA-5A5F-7F21484DBBBA}"/>
                  </a:ext>
                </a:extLst>
              </p:cNvPr>
              <p:cNvSpPr/>
              <p:nvPr/>
            </p:nvSpPr>
            <p:spPr>
              <a:xfrm>
                <a:off x="7595091" y="2560018"/>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endParaRPr lang="en-US" sz="1800" dirty="0"/>
              </a:p>
            </p:txBody>
          </p:sp>
          <p:sp>
            <p:nvSpPr>
              <p:cNvPr id="376" name="Freeform 375">
                <a:extLst>
                  <a:ext uri="{FF2B5EF4-FFF2-40B4-BE49-F238E27FC236}">
                    <a16:creationId xmlns:a16="http://schemas.microsoft.com/office/drawing/2014/main" id="{1E17C0BD-6DC5-F14C-A570-24B7619B7119}"/>
                  </a:ext>
                </a:extLst>
              </p:cNvPr>
              <p:cNvSpPr/>
              <p:nvPr/>
            </p:nvSpPr>
            <p:spPr>
              <a:xfrm>
                <a:off x="7624473" y="2531536"/>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endParaRPr lang="en-US" sz="1800" dirty="0"/>
              </a:p>
            </p:txBody>
          </p:sp>
          <p:sp>
            <p:nvSpPr>
              <p:cNvPr id="377" name="Freeform 376">
                <a:extLst>
                  <a:ext uri="{FF2B5EF4-FFF2-40B4-BE49-F238E27FC236}">
                    <a16:creationId xmlns:a16="http://schemas.microsoft.com/office/drawing/2014/main" id="{E207612E-E2BA-1E4A-1F63-91C6D84FEE37}"/>
                  </a:ext>
                </a:extLst>
              </p:cNvPr>
              <p:cNvSpPr/>
              <p:nvPr/>
            </p:nvSpPr>
            <p:spPr>
              <a:xfrm>
                <a:off x="7677520" y="2560018"/>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endParaRPr lang="en-US" sz="1800" dirty="0"/>
              </a:p>
            </p:txBody>
          </p:sp>
          <p:sp>
            <p:nvSpPr>
              <p:cNvPr id="378" name="Freeform 377">
                <a:extLst>
                  <a:ext uri="{FF2B5EF4-FFF2-40B4-BE49-F238E27FC236}">
                    <a16:creationId xmlns:a16="http://schemas.microsoft.com/office/drawing/2014/main" id="{CF53ABCA-3DA3-0C0E-EEC9-1FB8F2ED9395}"/>
                  </a:ext>
                </a:extLst>
              </p:cNvPr>
              <p:cNvSpPr/>
              <p:nvPr/>
            </p:nvSpPr>
            <p:spPr>
              <a:xfrm>
                <a:off x="7706920" y="2531536"/>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endParaRPr lang="en-US" sz="1800" dirty="0"/>
              </a:p>
            </p:txBody>
          </p:sp>
          <p:sp>
            <p:nvSpPr>
              <p:cNvPr id="379" name="Freeform 378">
                <a:extLst>
                  <a:ext uri="{FF2B5EF4-FFF2-40B4-BE49-F238E27FC236}">
                    <a16:creationId xmlns:a16="http://schemas.microsoft.com/office/drawing/2014/main" id="{425F0031-6C51-AFC1-DDF5-3C47FA60013B}"/>
                  </a:ext>
                </a:extLst>
              </p:cNvPr>
              <p:cNvSpPr/>
              <p:nvPr/>
            </p:nvSpPr>
            <p:spPr>
              <a:xfrm>
                <a:off x="7712920" y="2583930"/>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380" name="Freeform 379">
                <a:extLst>
                  <a:ext uri="{FF2B5EF4-FFF2-40B4-BE49-F238E27FC236}">
                    <a16:creationId xmlns:a16="http://schemas.microsoft.com/office/drawing/2014/main" id="{568CE8CA-71A6-6F3F-C03A-BDBC233B536D}"/>
                  </a:ext>
                </a:extLst>
              </p:cNvPr>
              <p:cNvSpPr/>
              <p:nvPr/>
            </p:nvSpPr>
            <p:spPr>
              <a:xfrm>
                <a:off x="7742320" y="2555465"/>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endParaRPr lang="en-US" sz="1800" dirty="0"/>
              </a:p>
            </p:txBody>
          </p:sp>
          <p:sp>
            <p:nvSpPr>
              <p:cNvPr id="381" name="Freeform 380">
                <a:extLst>
                  <a:ext uri="{FF2B5EF4-FFF2-40B4-BE49-F238E27FC236}">
                    <a16:creationId xmlns:a16="http://schemas.microsoft.com/office/drawing/2014/main" id="{8984E593-73AE-F2F5-9108-DCAD4316F6C9}"/>
                  </a:ext>
                </a:extLst>
              </p:cNvPr>
              <p:cNvSpPr/>
              <p:nvPr/>
            </p:nvSpPr>
            <p:spPr>
              <a:xfrm>
                <a:off x="7718796" y="2583930"/>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382" name="Freeform 381">
                <a:extLst>
                  <a:ext uri="{FF2B5EF4-FFF2-40B4-BE49-F238E27FC236}">
                    <a16:creationId xmlns:a16="http://schemas.microsoft.com/office/drawing/2014/main" id="{B17ED213-B705-8664-4D9F-EAF6C9D527BD}"/>
                  </a:ext>
                </a:extLst>
              </p:cNvPr>
              <p:cNvSpPr/>
              <p:nvPr/>
            </p:nvSpPr>
            <p:spPr>
              <a:xfrm>
                <a:off x="7748196" y="2555465"/>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endParaRPr lang="en-US" sz="1800" dirty="0"/>
              </a:p>
            </p:txBody>
          </p:sp>
          <p:sp>
            <p:nvSpPr>
              <p:cNvPr id="383" name="Freeform 382">
                <a:extLst>
                  <a:ext uri="{FF2B5EF4-FFF2-40B4-BE49-F238E27FC236}">
                    <a16:creationId xmlns:a16="http://schemas.microsoft.com/office/drawing/2014/main" id="{D96C41AE-BCE7-A75E-6459-FE10BF9FC9EA}"/>
                  </a:ext>
                </a:extLst>
              </p:cNvPr>
              <p:cNvSpPr/>
              <p:nvPr/>
            </p:nvSpPr>
            <p:spPr>
              <a:xfrm>
                <a:off x="7730567" y="2583930"/>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endParaRPr lang="en-US" sz="1800" dirty="0"/>
              </a:p>
            </p:txBody>
          </p:sp>
          <p:sp>
            <p:nvSpPr>
              <p:cNvPr id="384" name="Freeform 383">
                <a:extLst>
                  <a:ext uri="{FF2B5EF4-FFF2-40B4-BE49-F238E27FC236}">
                    <a16:creationId xmlns:a16="http://schemas.microsoft.com/office/drawing/2014/main" id="{FF4ED557-06EF-DD58-0D88-FAF1799B6304}"/>
                  </a:ext>
                </a:extLst>
              </p:cNvPr>
              <p:cNvSpPr/>
              <p:nvPr/>
            </p:nvSpPr>
            <p:spPr>
              <a:xfrm>
                <a:off x="7759949" y="2555465"/>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endParaRPr lang="en-US" sz="1800" dirty="0"/>
              </a:p>
            </p:txBody>
          </p:sp>
          <p:sp>
            <p:nvSpPr>
              <p:cNvPr id="385" name="Freeform 384">
                <a:extLst>
                  <a:ext uri="{FF2B5EF4-FFF2-40B4-BE49-F238E27FC236}">
                    <a16:creationId xmlns:a16="http://schemas.microsoft.com/office/drawing/2014/main" id="{E283C7C0-7C40-4047-D520-36E22EDD7143}"/>
                  </a:ext>
                </a:extLst>
              </p:cNvPr>
              <p:cNvSpPr/>
              <p:nvPr/>
            </p:nvSpPr>
            <p:spPr>
              <a:xfrm>
                <a:off x="7795226" y="2633801"/>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386" name="Freeform 385">
                <a:extLst>
                  <a:ext uri="{FF2B5EF4-FFF2-40B4-BE49-F238E27FC236}">
                    <a16:creationId xmlns:a16="http://schemas.microsoft.com/office/drawing/2014/main" id="{FF96C785-C82C-605D-8593-34E06CD8EFD4}"/>
                  </a:ext>
                </a:extLst>
              </p:cNvPr>
              <p:cNvSpPr/>
              <p:nvPr/>
            </p:nvSpPr>
            <p:spPr>
              <a:xfrm>
                <a:off x="7824626" y="2605336"/>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endParaRPr lang="en-US" sz="1800" dirty="0"/>
              </a:p>
            </p:txBody>
          </p:sp>
          <p:sp>
            <p:nvSpPr>
              <p:cNvPr id="387" name="Freeform 386">
                <a:extLst>
                  <a:ext uri="{FF2B5EF4-FFF2-40B4-BE49-F238E27FC236}">
                    <a16:creationId xmlns:a16="http://schemas.microsoft.com/office/drawing/2014/main" id="{15D32B07-FF0F-6C63-2D06-5E275B94B43E}"/>
                  </a:ext>
                </a:extLst>
              </p:cNvPr>
              <p:cNvSpPr/>
              <p:nvPr/>
            </p:nvSpPr>
            <p:spPr>
              <a:xfrm>
                <a:off x="7812996" y="2633801"/>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388" name="Freeform 387">
                <a:extLst>
                  <a:ext uri="{FF2B5EF4-FFF2-40B4-BE49-F238E27FC236}">
                    <a16:creationId xmlns:a16="http://schemas.microsoft.com/office/drawing/2014/main" id="{E7311907-0D3A-4142-9069-DCF36427D6F1}"/>
                  </a:ext>
                </a:extLst>
              </p:cNvPr>
              <p:cNvSpPr/>
              <p:nvPr/>
            </p:nvSpPr>
            <p:spPr>
              <a:xfrm>
                <a:off x="7842396" y="2605336"/>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endParaRPr lang="en-US" sz="1800" dirty="0"/>
              </a:p>
            </p:txBody>
          </p:sp>
          <p:sp>
            <p:nvSpPr>
              <p:cNvPr id="389" name="Freeform 388">
                <a:extLst>
                  <a:ext uri="{FF2B5EF4-FFF2-40B4-BE49-F238E27FC236}">
                    <a16:creationId xmlns:a16="http://schemas.microsoft.com/office/drawing/2014/main" id="{88A15B98-4357-9FB9-8B36-84C0985BAF32}"/>
                  </a:ext>
                </a:extLst>
              </p:cNvPr>
              <p:cNvSpPr/>
              <p:nvPr/>
            </p:nvSpPr>
            <p:spPr>
              <a:xfrm>
                <a:off x="7824749" y="2633801"/>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390" name="Freeform 389">
                <a:extLst>
                  <a:ext uri="{FF2B5EF4-FFF2-40B4-BE49-F238E27FC236}">
                    <a16:creationId xmlns:a16="http://schemas.microsoft.com/office/drawing/2014/main" id="{D5DD4E37-C0FC-B08E-80AA-39A092B1350B}"/>
                  </a:ext>
                </a:extLst>
              </p:cNvPr>
              <p:cNvSpPr/>
              <p:nvPr/>
            </p:nvSpPr>
            <p:spPr>
              <a:xfrm>
                <a:off x="7854149" y="2605336"/>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endParaRPr lang="en-US" sz="1800" dirty="0"/>
              </a:p>
            </p:txBody>
          </p:sp>
          <p:sp>
            <p:nvSpPr>
              <p:cNvPr id="391" name="Freeform 390">
                <a:extLst>
                  <a:ext uri="{FF2B5EF4-FFF2-40B4-BE49-F238E27FC236}">
                    <a16:creationId xmlns:a16="http://schemas.microsoft.com/office/drawing/2014/main" id="{6CCC43B6-CD5B-6306-C5B0-BE9686038696}"/>
                  </a:ext>
                </a:extLst>
              </p:cNvPr>
              <p:cNvSpPr/>
              <p:nvPr/>
            </p:nvSpPr>
            <p:spPr>
              <a:xfrm>
                <a:off x="7824749" y="2633801"/>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392" name="Freeform 391">
                <a:extLst>
                  <a:ext uri="{FF2B5EF4-FFF2-40B4-BE49-F238E27FC236}">
                    <a16:creationId xmlns:a16="http://schemas.microsoft.com/office/drawing/2014/main" id="{1049336B-E7DF-452E-2633-587BDBC1B788}"/>
                  </a:ext>
                </a:extLst>
              </p:cNvPr>
              <p:cNvSpPr/>
              <p:nvPr/>
            </p:nvSpPr>
            <p:spPr>
              <a:xfrm>
                <a:off x="7854149" y="2605336"/>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endParaRPr lang="en-US" sz="1800" dirty="0"/>
              </a:p>
            </p:txBody>
          </p:sp>
          <p:sp>
            <p:nvSpPr>
              <p:cNvPr id="393" name="Freeform 392">
                <a:extLst>
                  <a:ext uri="{FF2B5EF4-FFF2-40B4-BE49-F238E27FC236}">
                    <a16:creationId xmlns:a16="http://schemas.microsoft.com/office/drawing/2014/main" id="{9060584E-8C29-CC99-7B01-E5AE37B3F905}"/>
                  </a:ext>
                </a:extLst>
              </p:cNvPr>
              <p:cNvSpPr/>
              <p:nvPr/>
            </p:nvSpPr>
            <p:spPr>
              <a:xfrm>
                <a:off x="7836520" y="2633801"/>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endParaRPr lang="en-US" sz="1800" dirty="0"/>
              </a:p>
            </p:txBody>
          </p:sp>
          <p:sp>
            <p:nvSpPr>
              <p:cNvPr id="394" name="Freeform 393">
                <a:extLst>
                  <a:ext uri="{FF2B5EF4-FFF2-40B4-BE49-F238E27FC236}">
                    <a16:creationId xmlns:a16="http://schemas.microsoft.com/office/drawing/2014/main" id="{88AB5754-E7CF-EF52-32C4-3E56E169EC48}"/>
                  </a:ext>
                </a:extLst>
              </p:cNvPr>
              <p:cNvSpPr/>
              <p:nvPr/>
            </p:nvSpPr>
            <p:spPr>
              <a:xfrm>
                <a:off x="7865902" y="2605336"/>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endParaRPr lang="en-US" sz="1800" dirty="0"/>
              </a:p>
            </p:txBody>
          </p:sp>
          <p:sp>
            <p:nvSpPr>
              <p:cNvPr id="395" name="Freeform 394">
                <a:extLst>
                  <a:ext uri="{FF2B5EF4-FFF2-40B4-BE49-F238E27FC236}">
                    <a16:creationId xmlns:a16="http://schemas.microsoft.com/office/drawing/2014/main" id="{D6FECE79-B0AA-D65F-5A54-A4A91BD0D8C0}"/>
                  </a:ext>
                </a:extLst>
              </p:cNvPr>
              <p:cNvSpPr/>
              <p:nvPr/>
            </p:nvSpPr>
            <p:spPr>
              <a:xfrm>
                <a:off x="7842396" y="2633801"/>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endParaRPr lang="en-US" sz="1800" dirty="0"/>
              </a:p>
            </p:txBody>
          </p:sp>
          <p:sp>
            <p:nvSpPr>
              <p:cNvPr id="396" name="Freeform 395">
                <a:extLst>
                  <a:ext uri="{FF2B5EF4-FFF2-40B4-BE49-F238E27FC236}">
                    <a16:creationId xmlns:a16="http://schemas.microsoft.com/office/drawing/2014/main" id="{0390BAA2-B0B1-FBB9-3B76-44AB0E4473A3}"/>
                  </a:ext>
                </a:extLst>
              </p:cNvPr>
              <p:cNvSpPr/>
              <p:nvPr/>
            </p:nvSpPr>
            <p:spPr>
              <a:xfrm>
                <a:off x="7871796" y="2605336"/>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endParaRPr lang="en-US" sz="1800" dirty="0"/>
              </a:p>
            </p:txBody>
          </p:sp>
          <p:sp>
            <p:nvSpPr>
              <p:cNvPr id="397" name="Freeform 396">
                <a:extLst>
                  <a:ext uri="{FF2B5EF4-FFF2-40B4-BE49-F238E27FC236}">
                    <a16:creationId xmlns:a16="http://schemas.microsoft.com/office/drawing/2014/main" id="{D2242887-467D-B97E-3468-46DC52D2A1E3}"/>
                  </a:ext>
                </a:extLst>
              </p:cNvPr>
              <p:cNvSpPr/>
              <p:nvPr/>
            </p:nvSpPr>
            <p:spPr>
              <a:xfrm>
                <a:off x="7901178" y="2660642"/>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398" name="Freeform 397">
                <a:extLst>
                  <a:ext uri="{FF2B5EF4-FFF2-40B4-BE49-F238E27FC236}">
                    <a16:creationId xmlns:a16="http://schemas.microsoft.com/office/drawing/2014/main" id="{C41454F9-8019-8FA3-0B24-E9CE84F9C2FE}"/>
                  </a:ext>
                </a:extLst>
              </p:cNvPr>
              <p:cNvSpPr/>
              <p:nvPr/>
            </p:nvSpPr>
            <p:spPr>
              <a:xfrm>
                <a:off x="7930578" y="2632159"/>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endParaRPr lang="en-US" sz="1800" dirty="0"/>
              </a:p>
            </p:txBody>
          </p:sp>
          <p:sp>
            <p:nvSpPr>
              <p:cNvPr id="399" name="Freeform 398">
                <a:extLst>
                  <a:ext uri="{FF2B5EF4-FFF2-40B4-BE49-F238E27FC236}">
                    <a16:creationId xmlns:a16="http://schemas.microsoft.com/office/drawing/2014/main" id="{98ECD2DA-D5C1-C0AE-1584-6FDBAB5235C5}"/>
                  </a:ext>
                </a:extLst>
              </p:cNvPr>
              <p:cNvSpPr/>
              <p:nvPr/>
            </p:nvSpPr>
            <p:spPr>
              <a:xfrm>
                <a:off x="7930702" y="2660642"/>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400" name="Freeform 399">
                <a:extLst>
                  <a:ext uri="{FF2B5EF4-FFF2-40B4-BE49-F238E27FC236}">
                    <a16:creationId xmlns:a16="http://schemas.microsoft.com/office/drawing/2014/main" id="{BE2C00CB-1E90-07D1-0D02-45BC5F702B93}"/>
                  </a:ext>
                </a:extLst>
              </p:cNvPr>
              <p:cNvSpPr/>
              <p:nvPr/>
            </p:nvSpPr>
            <p:spPr>
              <a:xfrm>
                <a:off x="7960102" y="2632159"/>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endParaRPr lang="en-US" sz="1800" dirty="0"/>
              </a:p>
            </p:txBody>
          </p:sp>
          <p:sp>
            <p:nvSpPr>
              <p:cNvPr id="401" name="Freeform 400">
                <a:extLst>
                  <a:ext uri="{FF2B5EF4-FFF2-40B4-BE49-F238E27FC236}">
                    <a16:creationId xmlns:a16="http://schemas.microsoft.com/office/drawing/2014/main" id="{DE63E501-BA8B-153B-AC1A-FCD83D9B64C1}"/>
                  </a:ext>
                </a:extLst>
              </p:cNvPr>
              <p:cNvSpPr/>
              <p:nvPr/>
            </p:nvSpPr>
            <p:spPr>
              <a:xfrm>
                <a:off x="7936596" y="2660642"/>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endParaRPr lang="en-US" sz="1800" dirty="0"/>
              </a:p>
            </p:txBody>
          </p:sp>
          <p:sp>
            <p:nvSpPr>
              <p:cNvPr id="402" name="Freeform 401">
                <a:extLst>
                  <a:ext uri="{FF2B5EF4-FFF2-40B4-BE49-F238E27FC236}">
                    <a16:creationId xmlns:a16="http://schemas.microsoft.com/office/drawing/2014/main" id="{4411B982-1A86-A2A7-EE18-78262A89A074}"/>
                  </a:ext>
                </a:extLst>
              </p:cNvPr>
              <p:cNvSpPr/>
              <p:nvPr/>
            </p:nvSpPr>
            <p:spPr>
              <a:xfrm>
                <a:off x="7965978" y="2632159"/>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endParaRPr lang="en-US" sz="1800" dirty="0"/>
              </a:p>
            </p:txBody>
          </p:sp>
          <p:sp>
            <p:nvSpPr>
              <p:cNvPr id="403" name="Freeform 402">
                <a:extLst>
                  <a:ext uri="{FF2B5EF4-FFF2-40B4-BE49-F238E27FC236}">
                    <a16:creationId xmlns:a16="http://schemas.microsoft.com/office/drawing/2014/main" id="{3832B030-9184-FD79-5CEF-9B98F315DF45}"/>
                  </a:ext>
                </a:extLst>
              </p:cNvPr>
              <p:cNvSpPr/>
              <p:nvPr/>
            </p:nvSpPr>
            <p:spPr>
              <a:xfrm>
                <a:off x="7977749" y="2660642"/>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endParaRPr lang="en-US" sz="1800" dirty="0"/>
              </a:p>
            </p:txBody>
          </p:sp>
          <p:sp>
            <p:nvSpPr>
              <p:cNvPr id="404" name="Freeform 403">
                <a:extLst>
                  <a:ext uri="{FF2B5EF4-FFF2-40B4-BE49-F238E27FC236}">
                    <a16:creationId xmlns:a16="http://schemas.microsoft.com/office/drawing/2014/main" id="{F293567C-3C46-2BCF-D1C7-E9AABBAF8B00}"/>
                  </a:ext>
                </a:extLst>
              </p:cNvPr>
              <p:cNvSpPr/>
              <p:nvPr/>
            </p:nvSpPr>
            <p:spPr>
              <a:xfrm>
                <a:off x="8007131" y="2632159"/>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endParaRPr lang="en-US" sz="1800" dirty="0"/>
              </a:p>
            </p:txBody>
          </p:sp>
          <p:sp>
            <p:nvSpPr>
              <p:cNvPr id="405" name="Freeform 404">
                <a:extLst>
                  <a:ext uri="{FF2B5EF4-FFF2-40B4-BE49-F238E27FC236}">
                    <a16:creationId xmlns:a16="http://schemas.microsoft.com/office/drawing/2014/main" id="{A2CA8A0B-86D9-79D0-AF37-7A27D13CFCEC}"/>
                  </a:ext>
                </a:extLst>
              </p:cNvPr>
              <p:cNvSpPr/>
              <p:nvPr/>
            </p:nvSpPr>
            <p:spPr>
              <a:xfrm>
                <a:off x="7977749" y="2660642"/>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endParaRPr lang="en-US" sz="1800" dirty="0"/>
              </a:p>
            </p:txBody>
          </p:sp>
          <p:sp>
            <p:nvSpPr>
              <p:cNvPr id="406" name="Freeform 405">
                <a:extLst>
                  <a:ext uri="{FF2B5EF4-FFF2-40B4-BE49-F238E27FC236}">
                    <a16:creationId xmlns:a16="http://schemas.microsoft.com/office/drawing/2014/main" id="{DC84C8BF-376A-AA2D-AB51-075153B91CA2}"/>
                  </a:ext>
                </a:extLst>
              </p:cNvPr>
              <p:cNvSpPr/>
              <p:nvPr/>
            </p:nvSpPr>
            <p:spPr>
              <a:xfrm>
                <a:off x="8007131" y="2632159"/>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endParaRPr lang="en-US" sz="1800" dirty="0"/>
              </a:p>
            </p:txBody>
          </p:sp>
          <p:sp>
            <p:nvSpPr>
              <p:cNvPr id="407" name="Freeform 406">
                <a:extLst>
                  <a:ext uri="{FF2B5EF4-FFF2-40B4-BE49-F238E27FC236}">
                    <a16:creationId xmlns:a16="http://schemas.microsoft.com/office/drawing/2014/main" id="{945B7972-8DC4-BD12-0B9E-95D6F1C2CBE8}"/>
                  </a:ext>
                </a:extLst>
              </p:cNvPr>
              <p:cNvSpPr/>
              <p:nvPr/>
            </p:nvSpPr>
            <p:spPr>
              <a:xfrm>
                <a:off x="7983625" y="2660642"/>
                <a:ext cx="58782" cy="17647"/>
              </a:xfrm>
              <a:custGeom>
                <a:avLst/>
                <a:gdLst>
                  <a:gd name="connsiteX0" fmla="*/ 0 w 58782"/>
                  <a:gd name="connsiteY0" fmla="*/ 0 h 17647"/>
                  <a:gd name="connsiteX1" fmla="*/ 58783 w 58782"/>
                  <a:gd name="connsiteY1" fmla="*/ 0 h 17647"/>
                </a:gdLst>
                <a:ahLst/>
                <a:cxnLst>
                  <a:cxn ang="0">
                    <a:pos x="connsiteX0" y="connsiteY0"/>
                  </a:cxn>
                  <a:cxn ang="0">
                    <a:pos x="connsiteX1" y="connsiteY1"/>
                  </a:cxn>
                </a:cxnLst>
                <a:rect l="l" t="t" r="r" b="b"/>
                <a:pathLst>
                  <a:path w="58782" h="17647">
                    <a:moveTo>
                      <a:pt x="0" y="0"/>
                    </a:moveTo>
                    <a:lnTo>
                      <a:pt x="58783" y="0"/>
                    </a:lnTo>
                  </a:path>
                </a:pathLst>
              </a:custGeom>
              <a:ln w="9638" cap="sq">
                <a:solidFill>
                  <a:srgbClr val="27377D"/>
                </a:solidFill>
                <a:prstDash val="solid"/>
                <a:miter/>
              </a:ln>
            </p:spPr>
            <p:txBody>
              <a:bodyPr rtlCol="0" anchor="ctr"/>
              <a:lstStyle/>
              <a:p>
                <a:endParaRPr lang="en-US" sz="1800" dirty="0"/>
              </a:p>
            </p:txBody>
          </p:sp>
          <p:sp>
            <p:nvSpPr>
              <p:cNvPr id="408" name="Freeform 407">
                <a:extLst>
                  <a:ext uri="{FF2B5EF4-FFF2-40B4-BE49-F238E27FC236}">
                    <a16:creationId xmlns:a16="http://schemas.microsoft.com/office/drawing/2014/main" id="{EF48FF30-71FA-2D42-D5D5-E979AB8B9A44}"/>
                  </a:ext>
                </a:extLst>
              </p:cNvPr>
              <p:cNvSpPr/>
              <p:nvPr/>
            </p:nvSpPr>
            <p:spPr>
              <a:xfrm>
                <a:off x="8013008" y="2632159"/>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endParaRPr lang="en-US" sz="1800" dirty="0"/>
              </a:p>
            </p:txBody>
          </p:sp>
          <p:sp>
            <p:nvSpPr>
              <p:cNvPr id="409" name="Freeform 408">
                <a:extLst>
                  <a:ext uri="{FF2B5EF4-FFF2-40B4-BE49-F238E27FC236}">
                    <a16:creationId xmlns:a16="http://schemas.microsoft.com/office/drawing/2014/main" id="{3BC30CF2-543A-55AD-0830-DF686253008F}"/>
                  </a:ext>
                </a:extLst>
              </p:cNvPr>
              <p:cNvSpPr/>
              <p:nvPr/>
            </p:nvSpPr>
            <p:spPr>
              <a:xfrm>
                <a:off x="8048425" y="2660642"/>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endParaRPr lang="en-US" sz="1800" dirty="0"/>
              </a:p>
            </p:txBody>
          </p:sp>
          <p:sp>
            <p:nvSpPr>
              <p:cNvPr id="410" name="Freeform 409">
                <a:extLst>
                  <a:ext uri="{FF2B5EF4-FFF2-40B4-BE49-F238E27FC236}">
                    <a16:creationId xmlns:a16="http://schemas.microsoft.com/office/drawing/2014/main" id="{B82D5732-58F1-C8C7-516D-1C1A49F4421E}"/>
                  </a:ext>
                </a:extLst>
              </p:cNvPr>
              <p:cNvSpPr/>
              <p:nvPr/>
            </p:nvSpPr>
            <p:spPr>
              <a:xfrm>
                <a:off x="8077807" y="2632159"/>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endParaRPr lang="en-US" sz="1800" dirty="0"/>
              </a:p>
            </p:txBody>
          </p:sp>
          <p:sp>
            <p:nvSpPr>
              <p:cNvPr id="411" name="Freeform 410">
                <a:extLst>
                  <a:ext uri="{FF2B5EF4-FFF2-40B4-BE49-F238E27FC236}">
                    <a16:creationId xmlns:a16="http://schemas.microsoft.com/office/drawing/2014/main" id="{E7F21B17-A441-C4B0-EC12-F167DF25035D}"/>
                  </a:ext>
                </a:extLst>
              </p:cNvPr>
              <p:cNvSpPr/>
              <p:nvPr/>
            </p:nvSpPr>
            <p:spPr>
              <a:xfrm>
                <a:off x="8054302" y="2660642"/>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endParaRPr lang="en-US" sz="1800" dirty="0"/>
              </a:p>
            </p:txBody>
          </p:sp>
          <p:sp>
            <p:nvSpPr>
              <p:cNvPr id="412" name="Freeform 411">
                <a:extLst>
                  <a:ext uri="{FF2B5EF4-FFF2-40B4-BE49-F238E27FC236}">
                    <a16:creationId xmlns:a16="http://schemas.microsoft.com/office/drawing/2014/main" id="{FAD0B77F-FC5B-9E5F-C86D-482BB7A4F4DB}"/>
                  </a:ext>
                </a:extLst>
              </p:cNvPr>
              <p:cNvSpPr/>
              <p:nvPr/>
            </p:nvSpPr>
            <p:spPr>
              <a:xfrm>
                <a:off x="8083702" y="2632159"/>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endParaRPr lang="en-US" sz="1800" dirty="0"/>
              </a:p>
            </p:txBody>
          </p:sp>
          <p:sp>
            <p:nvSpPr>
              <p:cNvPr id="413" name="Freeform 412">
                <a:extLst>
                  <a:ext uri="{FF2B5EF4-FFF2-40B4-BE49-F238E27FC236}">
                    <a16:creationId xmlns:a16="http://schemas.microsoft.com/office/drawing/2014/main" id="{1D8CA102-15F2-7E59-CC36-735CD0831682}"/>
                  </a:ext>
                </a:extLst>
              </p:cNvPr>
              <p:cNvSpPr/>
              <p:nvPr/>
            </p:nvSpPr>
            <p:spPr>
              <a:xfrm>
                <a:off x="8060178" y="2660642"/>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endParaRPr lang="en-US" sz="1800" dirty="0"/>
              </a:p>
            </p:txBody>
          </p:sp>
          <p:sp>
            <p:nvSpPr>
              <p:cNvPr id="414" name="Freeform 413">
                <a:extLst>
                  <a:ext uri="{FF2B5EF4-FFF2-40B4-BE49-F238E27FC236}">
                    <a16:creationId xmlns:a16="http://schemas.microsoft.com/office/drawing/2014/main" id="{5A6A685E-F852-303E-B617-4D26968A1EB4}"/>
                  </a:ext>
                </a:extLst>
              </p:cNvPr>
              <p:cNvSpPr/>
              <p:nvPr/>
            </p:nvSpPr>
            <p:spPr>
              <a:xfrm>
                <a:off x="8089578" y="2632159"/>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endParaRPr lang="en-US" sz="1800" dirty="0"/>
              </a:p>
            </p:txBody>
          </p:sp>
          <p:sp>
            <p:nvSpPr>
              <p:cNvPr id="415" name="Freeform 414">
                <a:extLst>
                  <a:ext uri="{FF2B5EF4-FFF2-40B4-BE49-F238E27FC236}">
                    <a16:creationId xmlns:a16="http://schemas.microsoft.com/office/drawing/2014/main" id="{F4146140-E1C7-7141-788F-79D4A78CA789}"/>
                  </a:ext>
                </a:extLst>
              </p:cNvPr>
              <p:cNvSpPr/>
              <p:nvPr/>
            </p:nvSpPr>
            <p:spPr>
              <a:xfrm>
                <a:off x="8071931" y="2660642"/>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416" name="Freeform 415">
                <a:extLst>
                  <a:ext uri="{FF2B5EF4-FFF2-40B4-BE49-F238E27FC236}">
                    <a16:creationId xmlns:a16="http://schemas.microsoft.com/office/drawing/2014/main" id="{82922B3E-FBD2-5EF9-9F3B-057AC99E4E6E}"/>
                  </a:ext>
                </a:extLst>
              </p:cNvPr>
              <p:cNvSpPr/>
              <p:nvPr/>
            </p:nvSpPr>
            <p:spPr>
              <a:xfrm>
                <a:off x="8101331" y="2632159"/>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endParaRPr lang="en-US" sz="1800" dirty="0"/>
              </a:p>
            </p:txBody>
          </p:sp>
          <p:sp>
            <p:nvSpPr>
              <p:cNvPr id="417" name="Freeform 416">
                <a:extLst>
                  <a:ext uri="{FF2B5EF4-FFF2-40B4-BE49-F238E27FC236}">
                    <a16:creationId xmlns:a16="http://schemas.microsoft.com/office/drawing/2014/main" id="{D18EAC3C-BDBA-2D39-BFCE-6B701F3FA211}"/>
                  </a:ext>
                </a:extLst>
              </p:cNvPr>
              <p:cNvSpPr/>
              <p:nvPr/>
            </p:nvSpPr>
            <p:spPr>
              <a:xfrm>
                <a:off x="8089578" y="2660642"/>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endParaRPr lang="en-US" sz="1800" dirty="0"/>
              </a:p>
            </p:txBody>
          </p:sp>
          <p:sp>
            <p:nvSpPr>
              <p:cNvPr id="418" name="Freeform 417">
                <a:extLst>
                  <a:ext uri="{FF2B5EF4-FFF2-40B4-BE49-F238E27FC236}">
                    <a16:creationId xmlns:a16="http://schemas.microsoft.com/office/drawing/2014/main" id="{35A041F4-D76E-2C73-E6EB-FD305044F239}"/>
                  </a:ext>
                </a:extLst>
              </p:cNvPr>
              <p:cNvSpPr/>
              <p:nvPr/>
            </p:nvSpPr>
            <p:spPr>
              <a:xfrm>
                <a:off x="8118960" y="2632159"/>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endParaRPr lang="en-US" sz="1800" dirty="0"/>
              </a:p>
            </p:txBody>
          </p:sp>
          <p:sp>
            <p:nvSpPr>
              <p:cNvPr id="419" name="Freeform 418">
                <a:extLst>
                  <a:ext uri="{FF2B5EF4-FFF2-40B4-BE49-F238E27FC236}">
                    <a16:creationId xmlns:a16="http://schemas.microsoft.com/office/drawing/2014/main" id="{AC4E6C07-02AE-EA4F-13ED-CBFB6BF6F755}"/>
                  </a:ext>
                </a:extLst>
              </p:cNvPr>
              <p:cNvSpPr/>
              <p:nvPr/>
            </p:nvSpPr>
            <p:spPr>
              <a:xfrm>
                <a:off x="8095454" y="2660642"/>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endParaRPr lang="en-US" sz="1800" dirty="0"/>
              </a:p>
            </p:txBody>
          </p:sp>
          <p:sp>
            <p:nvSpPr>
              <p:cNvPr id="420" name="Freeform 419">
                <a:extLst>
                  <a:ext uri="{FF2B5EF4-FFF2-40B4-BE49-F238E27FC236}">
                    <a16:creationId xmlns:a16="http://schemas.microsoft.com/office/drawing/2014/main" id="{F42FAFE1-6857-50A9-AF3B-742E5813F13A}"/>
                  </a:ext>
                </a:extLst>
              </p:cNvPr>
              <p:cNvSpPr/>
              <p:nvPr/>
            </p:nvSpPr>
            <p:spPr>
              <a:xfrm>
                <a:off x="8124854" y="2632159"/>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endParaRPr lang="en-US" sz="1800" dirty="0"/>
              </a:p>
            </p:txBody>
          </p:sp>
          <p:sp>
            <p:nvSpPr>
              <p:cNvPr id="421" name="Freeform 420">
                <a:extLst>
                  <a:ext uri="{FF2B5EF4-FFF2-40B4-BE49-F238E27FC236}">
                    <a16:creationId xmlns:a16="http://schemas.microsoft.com/office/drawing/2014/main" id="{500DA8D9-8FC3-93DD-042D-FEDDB80BE6BC}"/>
                  </a:ext>
                </a:extLst>
              </p:cNvPr>
              <p:cNvSpPr/>
              <p:nvPr/>
            </p:nvSpPr>
            <p:spPr>
              <a:xfrm>
                <a:off x="8130854" y="2660642"/>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endParaRPr lang="en-US" sz="1800" dirty="0"/>
              </a:p>
            </p:txBody>
          </p:sp>
          <p:sp>
            <p:nvSpPr>
              <p:cNvPr id="422" name="Freeform 421">
                <a:extLst>
                  <a:ext uri="{FF2B5EF4-FFF2-40B4-BE49-F238E27FC236}">
                    <a16:creationId xmlns:a16="http://schemas.microsoft.com/office/drawing/2014/main" id="{9180F446-1153-69A7-CE74-18715D8ED874}"/>
                  </a:ext>
                </a:extLst>
              </p:cNvPr>
              <p:cNvSpPr/>
              <p:nvPr/>
            </p:nvSpPr>
            <p:spPr>
              <a:xfrm>
                <a:off x="8160254" y="2632159"/>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endParaRPr lang="en-US" sz="1800" dirty="0"/>
              </a:p>
            </p:txBody>
          </p:sp>
          <p:sp>
            <p:nvSpPr>
              <p:cNvPr id="423" name="Freeform 422">
                <a:extLst>
                  <a:ext uri="{FF2B5EF4-FFF2-40B4-BE49-F238E27FC236}">
                    <a16:creationId xmlns:a16="http://schemas.microsoft.com/office/drawing/2014/main" id="{0921233E-EE27-9463-42C2-CCC2D7F23060}"/>
                  </a:ext>
                </a:extLst>
              </p:cNvPr>
              <p:cNvSpPr/>
              <p:nvPr/>
            </p:nvSpPr>
            <p:spPr>
              <a:xfrm>
                <a:off x="8142607" y="2660642"/>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424" name="Freeform 423">
                <a:extLst>
                  <a:ext uri="{FF2B5EF4-FFF2-40B4-BE49-F238E27FC236}">
                    <a16:creationId xmlns:a16="http://schemas.microsoft.com/office/drawing/2014/main" id="{1CCCB687-E9DB-D1B9-DD29-A61CDA0501FD}"/>
                  </a:ext>
                </a:extLst>
              </p:cNvPr>
              <p:cNvSpPr/>
              <p:nvPr/>
            </p:nvSpPr>
            <p:spPr>
              <a:xfrm>
                <a:off x="8172007" y="2632159"/>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endParaRPr lang="en-US" sz="1800" dirty="0"/>
              </a:p>
            </p:txBody>
          </p:sp>
          <p:sp>
            <p:nvSpPr>
              <p:cNvPr id="425" name="Freeform 424">
                <a:extLst>
                  <a:ext uri="{FF2B5EF4-FFF2-40B4-BE49-F238E27FC236}">
                    <a16:creationId xmlns:a16="http://schemas.microsoft.com/office/drawing/2014/main" id="{0212D5E3-6631-D192-61DF-13E0F4F30C60}"/>
                  </a:ext>
                </a:extLst>
              </p:cNvPr>
              <p:cNvSpPr/>
              <p:nvPr/>
            </p:nvSpPr>
            <p:spPr>
              <a:xfrm>
                <a:off x="8172007" y="2660642"/>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426" name="Freeform 425">
                <a:extLst>
                  <a:ext uri="{FF2B5EF4-FFF2-40B4-BE49-F238E27FC236}">
                    <a16:creationId xmlns:a16="http://schemas.microsoft.com/office/drawing/2014/main" id="{02C1E71A-B1CC-0653-5FAC-C721D5EA940D}"/>
                  </a:ext>
                </a:extLst>
              </p:cNvPr>
              <p:cNvSpPr/>
              <p:nvPr/>
            </p:nvSpPr>
            <p:spPr>
              <a:xfrm>
                <a:off x="8201407" y="2632159"/>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endParaRPr lang="en-US" sz="1800" dirty="0"/>
              </a:p>
            </p:txBody>
          </p:sp>
          <p:sp>
            <p:nvSpPr>
              <p:cNvPr id="427" name="Freeform 426">
                <a:extLst>
                  <a:ext uri="{FF2B5EF4-FFF2-40B4-BE49-F238E27FC236}">
                    <a16:creationId xmlns:a16="http://schemas.microsoft.com/office/drawing/2014/main" id="{A521AA57-B594-2713-6D75-AD72215B0EA9}"/>
                  </a:ext>
                </a:extLst>
              </p:cNvPr>
              <p:cNvSpPr/>
              <p:nvPr/>
            </p:nvSpPr>
            <p:spPr>
              <a:xfrm>
                <a:off x="8172007" y="2660642"/>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428" name="Freeform 427">
                <a:extLst>
                  <a:ext uri="{FF2B5EF4-FFF2-40B4-BE49-F238E27FC236}">
                    <a16:creationId xmlns:a16="http://schemas.microsoft.com/office/drawing/2014/main" id="{7452638C-7A8E-FA9D-7CC0-EC8F71B1BDE7}"/>
                  </a:ext>
                </a:extLst>
              </p:cNvPr>
              <p:cNvSpPr/>
              <p:nvPr/>
            </p:nvSpPr>
            <p:spPr>
              <a:xfrm>
                <a:off x="8201407" y="2632159"/>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endParaRPr lang="en-US" sz="1800" dirty="0"/>
              </a:p>
            </p:txBody>
          </p:sp>
          <p:sp>
            <p:nvSpPr>
              <p:cNvPr id="429" name="Freeform 428">
                <a:extLst>
                  <a:ext uri="{FF2B5EF4-FFF2-40B4-BE49-F238E27FC236}">
                    <a16:creationId xmlns:a16="http://schemas.microsoft.com/office/drawing/2014/main" id="{B796038A-E261-987F-71E9-E2D404DCEAD4}"/>
                  </a:ext>
                </a:extLst>
              </p:cNvPr>
              <p:cNvSpPr/>
              <p:nvPr/>
            </p:nvSpPr>
            <p:spPr>
              <a:xfrm>
                <a:off x="8177884" y="2660642"/>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430" name="Freeform 429">
                <a:extLst>
                  <a:ext uri="{FF2B5EF4-FFF2-40B4-BE49-F238E27FC236}">
                    <a16:creationId xmlns:a16="http://schemas.microsoft.com/office/drawing/2014/main" id="{668C4F72-FE94-8965-A3D5-707E175B3A7F}"/>
                  </a:ext>
                </a:extLst>
              </p:cNvPr>
              <p:cNvSpPr/>
              <p:nvPr/>
            </p:nvSpPr>
            <p:spPr>
              <a:xfrm>
                <a:off x="8207284" y="2632159"/>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endParaRPr lang="en-US" sz="1800" dirty="0"/>
              </a:p>
            </p:txBody>
          </p:sp>
          <p:sp>
            <p:nvSpPr>
              <p:cNvPr id="431" name="Freeform 430">
                <a:extLst>
                  <a:ext uri="{FF2B5EF4-FFF2-40B4-BE49-F238E27FC236}">
                    <a16:creationId xmlns:a16="http://schemas.microsoft.com/office/drawing/2014/main" id="{26DB694A-5E13-CE72-0424-8687F9C81AB9}"/>
                  </a:ext>
                </a:extLst>
              </p:cNvPr>
              <p:cNvSpPr/>
              <p:nvPr/>
            </p:nvSpPr>
            <p:spPr>
              <a:xfrm>
                <a:off x="8177884" y="2660642"/>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432" name="Freeform 431">
                <a:extLst>
                  <a:ext uri="{FF2B5EF4-FFF2-40B4-BE49-F238E27FC236}">
                    <a16:creationId xmlns:a16="http://schemas.microsoft.com/office/drawing/2014/main" id="{E75FC2DB-C4FC-830A-84D7-454A4BA59965}"/>
                  </a:ext>
                </a:extLst>
              </p:cNvPr>
              <p:cNvSpPr/>
              <p:nvPr/>
            </p:nvSpPr>
            <p:spPr>
              <a:xfrm>
                <a:off x="8207284" y="2632159"/>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endParaRPr lang="en-US" sz="1800" dirty="0"/>
              </a:p>
            </p:txBody>
          </p:sp>
          <p:sp>
            <p:nvSpPr>
              <p:cNvPr id="433" name="Freeform 432">
                <a:extLst>
                  <a:ext uri="{FF2B5EF4-FFF2-40B4-BE49-F238E27FC236}">
                    <a16:creationId xmlns:a16="http://schemas.microsoft.com/office/drawing/2014/main" id="{74818ACA-EE5A-5EF1-D90E-D08BE68CEDE4}"/>
                  </a:ext>
                </a:extLst>
              </p:cNvPr>
              <p:cNvSpPr/>
              <p:nvPr/>
            </p:nvSpPr>
            <p:spPr>
              <a:xfrm>
                <a:off x="8219037" y="2696342"/>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434" name="Freeform 433">
                <a:extLst>
                  <a:ext uri="{FF2B5EF4-FFF2-40B4-BE49-F238E27FC236}">
                    <a16:creationId xmlns:a16="http://schemas.microsoft.com/office/drawing/2014/main" id="{5143326E-48EF-7A97-4825-3EB13F64DA0C}"/>
                  </a:ext>
                </a:extLst>
              </p:cNvPr>
              <p:cNvSpPr/>
              <p:nvPr/>
            </p:nvSpPr>
            <p:spPr>
              <a:xfrm>
                <a:off x="8248437" y="2667859"/>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endParaRPr lang="en-US" sz="1800" dirty="0"/>
              </a:p>
            </p:txBody>
          </p:sp>
          <p:sp>
            <p:nvSpPr>
              <p:cNvPr id="435" name="Freeform 434">
                <a:extLst>
                  <a:ext uri="{FF2B5EF4-FFF2-40B4-BE49-F238E27FC236}">
                    <a16:creationId xmlns:a16="http://schemas.microsoft.com/office/drawing/2014/main" id="{570DC654-CA1C-6AD1-A083-1C906B80AD3A}"/>
                  </a:ext>
                </a:extLst>
              </p:cNvPr>
              <p:cNvSpPr/>
              <p:nvPr/>
            </p:nvSpPr>
            <p:spPr>
              <a:xfrm>
                <a:off x="8248560" y="2696342"/>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436" name="Freeform 435">
                <a:extLst>
                  <a:ext uri="{FF2B5EF4-FFF2-40B4-BE49-F238E27FC236}">
                    <a16:creationId xmlns:a16="http://schemas.microsoft.com/office/drawing/2014/main" id="{79A82A1D-DD62-F435-19E7-21D592139F01}"/>
                  </a:ext>
                </a:extLst>
              </p:cNvPr>
              <p:cNvSpPr/>
              <p:nvPr/>
            </p:nvSpPr>
            <p:spPr>
              <a:xfrm>
                <a:off x="8277960" y="2667859"/>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endParaRPr lang="en-US" sz="1800" dirty="0"/>
              </a:p>
            </p:txBody>
          </p:sp>
          <p:sp>
            <p:nvSpPr>
              <p:cNvPr id="437" name="Freeform 436">
                <a:extLst>
                  <a:ext uri="{FF2B5EF4-FFF2-40B4-BE49-F238E27FC236}">
                    <a16:creationId xmlns:a16="http://schemas.microsoft.com/office/drawing/2014/main" id="{420AA2AC-9241-03A0-8119-E45863C28ED6}"/>
                  </a:ext>
                </a:extLst>
              </p:cNvPr>
              <p:cNvSpPr/>
              <p:nvPr/>
            </p:nvSpPr>
            <p:spPr>
              <a:xfrm>
                <a:off x="8260331" y="2696342"/>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endParaRPr lang="en-US" sz="1800" dirty="0"/>
              </a:p>
            </p:txBody>
          </p:sp>
          <p:sp>
            <p:nvSpPr>
              <p:cNvPr id="438" name="Freeform 437">
                <a:extLst>
                  <a:ext uri="{FF2B5EF4-FFF2-40B4-BE49-F238E27FC236}">
                    <a16:creationId xmlns:a16="http://schemas.microsoft.com/office/drawing/2014/main" id="{8620614C-476E-C1CB-A0C6-414782B4DE9B}"/>
                  </a:ext>
                </a:extLst>
              </p:cNvPr>
              <p:cNvSpPr/>
              <p:nvPr/>
            </p:nvSpPr>
            <p:spPr>
              <a:xfrm>
                <a:off x="8289713" y="2667859"/>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endParaRPr lang="en-US" sz="1800" dirty="0"/>
              </a:p>
            </p:txBody>
          </p:sp>
          <p:sp>
            <p:nvSpPr>
              <p:cNvPr id="439" name="Freeform 438">
                <a:extLst>
                  <a:ext uri="{FF2B5EF4-FFF2-40B4-BE49-F238E27FC236}">
                    <a16:creationId xmlns:a16="http://schemas.microsoft.com/office/drawing/2014/main" id="{2C2E8E12-6AC1-FC7F-BB63-2DC59861082E}"/>
                  </a:ext>
                </a:extLst>
              </p:cNvPr>
              <p:cNvSpPr/>
              <p:nvPr/>
            </p:nvSpPr>
            <p:spPr>
              <a:xfrm>
                <a:off x="8272084" y="2696342"/>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endParaRPr lang="en-US" sz="1800" dirty="0"/>
              </a:p>
            </p:txBody>
          </p:sp>
          <p:sp>
            <p:nvSpPr>
              <p:cNvPr id="440" name="Freeform 439">
                <a:extLst>
                  <a:ext uri="{FF2B5EF4-FFF2-40B4-BE49-F238E27FC236}">
                    <a16:creationId xmlns:a16="http://schemas.microsoft.com/office/drawing/2014/main" id="{DA9211EC-8504-C3AE-5E12-9C108A3D138E}"/>
                  </a:ext>
                </a:extLst>
              </p:cNvPr>
              <p:cNvSpPr/>
              <p:nvPr/>
            </p:nvSpPr>
            <p:spPr>
              <a:xfrm>
                <a:off x="8301483" y="2667859"/>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endParaRPr lang="en-US" sz="1800" dirty="0"/>
              </a:p>
            </p:txBody>
          </p:sp>
          <p:sp>
            <p:nvSpPr>
              <p:cNvPr id="441" name="Freeform 440">
                <a:extLst>
                  <a:ext uri="{FF2B5EF4-FFF2-40B4-BE49-F238E27FC236}">
                    <a16:creationId xmlns:a16="http://schemas.microsoft.com/office/drawing/2014/main" id="{39C04742-C6EF-AB53-A747-9139694DB12B}"/>
                  </a:ext>
                </a:extLst>
              </p:cNvPr>
              <p:cNvSpPr/>
              <p:nvPr/>
            </p:nvSpPr>
            <p:spPr>
              <a:xfrm>
                <a:off x="8295589" y="2696342"/>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442" name="Freeform 441">
                <a:extLst>
                  <a:ext uri="{FF2B5EF4-FFF2-40B4-BE49-F238E27FC236}">
                    <a16:creationId xmlns:a16="http://schemas.microsoft.com/office/drawing/2014/main" id="{E26C0A2B-D257-AC61-C900-B572F190D6D7}"/>
                  </a:ext>
                </a:extLst>
              </p:cNvPr>
              <p:cNvSpPr/>
              <p:nvPr/>
            </p:nvSpPr>
            <p:spPr>
              <a:xfrm>
                <a:off x="8324989" y="2667859"/>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endParaRPr lang="en-US" sz="1800" dirty="0"/>
              </a:p>
            </p:txBody>
          </p:sp>
          <p:sp>
            <p:nvSpPr>
              <p:cNvPr id="443" name="Freeform 442">
                <a:extLst>
                  <a:ext uri="{FF2B5EF4-FFF2-40B4-BE49-F238E27FC236}">
                    <a16:creationId xmlns:a16="http://schemas.microsoft.com/office/drawing/2014/main" id="{10DFC44F-00D0-D2E6-104E-FC77A727DE70}"/>
                  </a:ext>
                </a:extLst>
              </p:cNvPr>
              <p:cNvSpPr/>
              <p:nvPr/>
            </p:nvSpPr>
            <p:spPr>
              <a:xfrm>
                <a:off x="8301483" y="2696342"/>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endParaRPr lang="en-US" sz="1800" dirty="0"/>
              </a:p>
            </p:txBody>
          </p:sp>
          <p:sp>
            <p:nvSpPr>
              <p:cNvPr id="444" name="Freeform 443">
                <a:extLst>
                  <a:ext uri="{FF2B5EF4-FFF2-40B4-BE49-F238E27FC236}">
                    <a16:creationId xmlns:a16="http://schemas.microsoft.com/office/drawing/2014/main" id="{03FBE274-B228-E68C-EAC1-6519AC381250}"/>
                  </a:ext>
                </a:extLst>
              </p:cNvPr>
              <p:cNvSpPr/>
              <p:nvPr/>
            </p:nvSpPr>
            <p:spPr>
              <a:xfrm>
                <a:off x="8330866" y="2667859"/>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endParaRPr lang="en-US" sz="1800" dirty="0"/>
              </a:p>
            </p:txBody>
          </p:sp>
          <p:sp>
            <p:nvSpPr>
              <p:cNvPr id="445" name="Freeform 444">
                <a:extLst>
                  <a:ext uri="{FF2B5EF4-FFF2-40B4-BE49-F238E27FC236}">
                    <a16:creationId xmlns:a16="http://schemas.microsoft.com/office/drawing/2014/main" id="{DB279532-2931-55FF-219A-7E2EAF5D41C2}"/>
                  </a:ext>
                </a:extLst>
              </p:cNvPr>
              <p:cNvSpPr/>
              <p:nvPr/>
            </p:nvSpPr>
            <p:spPr>
              <a:xfrm>
                <a:off x="8313236" y="2696342"/>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endParaRPr lang="en-US" sz="1800" dirty="0"/>
              </a:p>
            </p:txBody>
          </p:sp>
          <p:sp>
            <p:nvSpPr>
              <p:cNvPr id="446" name="Freeform 445">
                <a:extLst>
                  <a:ext uri="{FF2B5EF4-FFF2-40B4-BE49-F238E27FC236}">
                    <a16:creationId xmlns:a16="http://schemas.microsoft.com/office/drawing/2014/main" id="{04A9BC75-2943-E4B4-7338-16AC738C55D5}"/>
                  </a:ext>
                </a:extLst>
              </p:cNvPr>
              <p:cNvSpPr/>
              <p:nvPr/>
            </p:nvSpPr>
            <p:spPr>
              <a:xfrm>
                <a:off x="8342636" y="2667859"/>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endParaRPr lang="en-US" sz="1800" dirty="0"/>
              </a:p>
            </p:txBody>
          </p:sp>
          <p:sp>
            <p:nvSpPr>
              <p:cNvPr id="447" name="Freeform 446">
                <a:extLst>
                  <a:ext uri="{FF2B5EF4-FFF2-40B4-BE49-F238E27FC236}">
                    <a16:creationId xmlns:a16="http://schemas.microsoft.com/office/drawing/2014/main" id="{BA7F4CA8-101D-A1FC-797B-A3C6285E8209}"/>
                  </a:ext>
                </a:extLst>
              </p:cNvPr>
              <p:cNvSpPr/>
              <p:nvPr/>
            </p:nvSpPr>
            <p:spPr>
              <a:xfrm>
                <a:off x="8319113" y="2696342"/>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endParaRPr lang="en-US" sz="1800" dirty="0"/>
              </a:p>
            </p:txBody>
          </p:sp>
          <p:sp>
            <p:nvSpPr>
              <p:cNvPr id="448" name="Freeform 447">
                <a:extLst>
                  <a:ext uri="{FF2B5EF4-FFF2-40B4-BE49-F238E27FC236}">
                    <a16:creationId xmlns:a16="http://schemas.microsoft.com/office/drawing/2014/main" id="{DCF5D1C3-0955-86AB-1771-783EA232C1DD}"/>
                  </a:ext>
                </a:extLst>
              </p:cNvPr>
              <p:cNvSpPr/>
              <p:nvPr/>
            </p:nvSpPr>
            <p:spPr>
              <a:xfrm>
                <a:off x="8348513" y="2667859"/>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endParaRPr lang="en-US" sz="1800" dirty="0"/>
              </a:p>
            </p:txBody>
          </p:sp>
          <p:sp>
            <p:nvSpPr>
              <p:cNvPr id="449" name="Freeform 448">
                <a:extLst>
                  <a:ext uri="{FF2B5EF4-FFF2-40B4-BE49-F238E27FC236}">
                    <a16:creationId xmlns:a16="http://schemas.microsoft.com/office/drawing/2014/main" id="{DC88595A-283B-E5D6-331A-9FB6DDC086C2}"/>
                  </a:ext>
                </a:extLst>
              </p:cNvPr>
              <p:cNvSpPr/>
              <p:nvPr/>
            </p:nvSpPr>
            <p:spPr>
              <a:xfrm>
                <a:off x="8383913" y="2696342"/>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endParaRPr lang="en-US" sz="1800" dirty="0"/>
              </a:p>
            </p:txBody>
          </p:sp>
          <p:sp>
            <p:nvSpPr>
              <p:cNvPr id="450" name="Freeform 449">
                <a:extLst>
                  <a:ext uri="{FF2B5EF4-FFF2-40B4-BE49-F238E27FC236}">
                    <a16:creationId xmlns:a16="http://schemas.microsoft.com/office/drawing/2014/main" id="{1BA1EBA4-66B3-4987-81D2-BDE13AE5BA19}"/>
                  </a:ext>
                </a:extLst>
              </p:cNvPr>
              <p:cNvSpPr/>
              <p:nvPr/>
            </p:nvSpPr>
            <p:spPr>
              <a:xfrm>
                <a:off x="8413313" y="2667859"/>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endParaRPr lang="en-US" sz="1800" dirty="0"/>
              </a:p>
            </p:txBody>
          </p:sp>
          <p:sp>
            <p:nvSpPr>
              <p:cNvPr id="451" name="Freeform 450">
                <a:extLst>
                  <a:ext uri="{FF2B5EF4-FFF2-40B4-BE49-F238E27FC236}">
                    <a16:creationId xmlns:a16="http://schemas.microsoft.com/office/drawing/2014/main" id="{DC2A0BD7-A930-26AA-8186-03716A4CFEFE}"/>
                  </a:ext>
                </a:extLst>
              </p:cNvPr>
              <p:cNvSpPr/>
              <p:nvPr/>
            </p:nvSpPr>
            <p:spPr>
              <a:xfrm>
                <a:off x="8383913" y="2696342"/>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endParaRPr lang="en-US" sz="1800" dirty="0"/>
              </a:p>
            </p:txBody>
          </p:sp>
          <p:sp>
            <p:nvSpPr>
              <p:cNvPr id="452" name="Freeform 451">
                <a:extLst>
                  <a:ext uri="{FF2B5EF4-FFF2-40B4-BE49-F238E27FC236}">
                    <a16:creationId xmlns:a16="http://schemas.microsoft.com/office/drawing/2014/main" id="{8CBA8C87-64E7-5077-2360-B35E9A9DBAB4}"/>
                  </a:ext>
                </a:extLst>
              </p:cNvPr>
              <p:cNvSpPr/>
              <p:nvPr/>
            </p:nvSpPr>
            <p:spPr>
              <a:xfrm>
                <a:off x="8413313" y="2667859"/>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endParaRPr lang="en-US" sz="1800" dirty="0"/>
              </a:p>
            </p:txBody>
          </p:sp>
          <p:sp>
            <p:nvSpPr>
              <p:cNvPr id="453" name="Freeform 452">
                <a:extLst>
                  <a:ext uri="{FF2B5EF4-FFF2-40B4-BE49-F238E27FC236}">
                    <a16:creationId xmlns:a16="http://schemas.microsoft.com/office/drawing/2014/main" id="{E1DF7D7F-71C4-2F50-537C-86EB4A184C23}"/>
                  </a:ext>
                </a:extLst>
              </p:cNvPr>
              <p:cNvSpPr/>
              <p:nvPr/>
            </p:nvSpPr>
            <p:spPr>
              <a:xfrm>
                <a:off x="8395666" y="2696342"/>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454" name="Freeform 453">
                <a:extLst>
                  <a:ext uri="{FF2B5EF4-FFF2-40B4-BE49-F238E27FC236}">
                    <a16:creationId xmlns:a16="http://schemas.microsoft.com/office/drawing/2014/main" id="{1CDCF710-67D6-D482-BE2D-9AC7C8FC0F81}"/>
                  </a:ext>
                </a:extLst>
              </p:cNvPr>
              <p:cNvSpPr/>
              <p:nvPr/>
            </p:nvSpPr>
            <p:spPr>
              <a:xfrm>
                <a:off x="8425066" y="2667859"/>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endParaRPr lang="en-US" sz="1800" dirty="0"/>
              </a:p>
            </p:txBody>
          </p:sp>
          <p:sp>
            <p:nvSpPr>
              <p:cNvPr id="455" name="Freeform 454">
                <a:extLst>
                  <a:ext uri="{FF2B5EF4-FFF2-40B4-BE49-F238E27FC236}">
                    <a16:creationId xmlns:a16="http://schemas.microsoft.com/office/drawing/2014/main" id="{884BC9EF-6282-8A40-BF46-904B2B3DC66A}"/>
                  </a:ext>
                </a:extLst>
              </p:cNvPr>
              <p:cNvSpPr/>
              <p:nvPr/>
            </p:nvSpPr>
            <p:spPr>
              <a:xfrm>
                <a:off x="8413313" y="2696342"/>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endParaRPr lang="en-US" sz="1800" dirty="0"/>
              </a:p>
            </p:txBody>
          </p:sp>
          <p:sp>
            <p:nvSpPr>
              <p:cNvPr id="456" name="Freeform 455">
                <a:extLst>
                  <a:ext uri="{FF2B5EF4-FFF2-40B4-BE49-F238E27FC236}">
                    <a16:creationId xmlns:a16="http://schemas.microsoft.com/office/drawing/2014/main" id="{3D21B452-7F7A-E212-69E9-54A434065FEE}"/>
                  </a:ext>
                </a:extLst>
              </p:cNvPr>
              <p:cNvSpPr/>
              <p:nvPr/>
            </p:nvSpPr>
            <p:spPr>
              <a:xfrm>
                <a:off x="8442695" y="2667859"/>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endParaRPr lang="en-US" sz="1800" dirty="0"/>
              </a:p>
            </p:txBody>
          </p:sp>
          <p:sp>
            <p:nvSpPr>
              <p:cNvPr id="457" name="Freeform 456">
                <a:extLst>
                  <a:ext uri="{FF2B5EF4-FFF2-40B4-BE49-F238E27FC236}">
                    <a16:creationId xmlns:a16="http://schemas.microsoft.com/office/drawing/2014/main" id="{C9324306-1DA4-B252-4EF7-9987A484D820}"/>
                  </a:ext>
                </a:extLst>
              </p:cNvPr>
              <p:cNvSpPr/>
              <p:nvPr/>
            </p:nvSpPr>
            <p:spPr>
              <a:xfrm>
                <a:off x="8425066" y="2696342"/>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endParaRPr lang="en-US" sz="1800" dirty="0"/>
              </a:p>
            </p:txBody>
          </p:sp>
          <p:sp>
            <p:nvSpPr>
              <p:cNvPr id="458" name="Freeform 457">
                <a:extLst>
                  <a:ext uri="{FF2B5EF4-FFF2-40B4-BE49-F238E27FC236}">
                    <a16:creationId xmlns:a16="http://schemas.microsoft.com/office/drawing/2014/main" id="{8DCD301F-98EB-704A-7697-D61E94F5087C}"/>
                  </a:ext>
                </a:extLst>
              </p:cNvPr>
              <p:cNvSpPr/>
              <p:nvPr/>
            </p:nvSpPr>
            <p:spPr>
              <a:xfrm>
                <a:off x="8454466" y="2667859"/>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endParaRPr lang="en-US" sz="1800" dirty="0"/>
              </a:p>
            </p:txBody>
          </p:sp>
          <p:sp>
            <p:nvSpPr>
              <p:cNvPr id="459" name="Freeform 458">
                <a:extLst>
                  <a:ext uri="{FF2B5EF4-FFF2-40B4-BE49-F238E27FC236}">
                    <a16:creationId xmlns:a16="http://schemas.microsoft.com/office/drawing/2014/main" id="{6FEDCAE8-DECB-3F8F-3A47-C3E517D1475C}"/>
                  </a:ext>
                </a:extLst>
              </p:cNvPr>
              <p:cNvSpPr/>
              <p:nvPr/>
            </p:nvSpPr>
            <p:spPr>
              <a:xfrm>
                <a:off x="8436819" y="2696342"/>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460" name="Freeform 459">
                <a:extLst>
                  <a:ext uri="{FF2B5EF4-FFF2-40B4-BE49-F238E27FC236}">
                    <a16:creationId xmlns:a16="http://schemas.microsoft.com/office/drawing/2014/main" id="{53AEB179-BE74-822C-AB7E-3F6EB56BD0C0}"/>
                  </a:ext>
                </a:extLst>
              </p:cNvPr>
              <p:cNvSpPr/>
              <p:nvPr/>
            </p:nvSpPr>
            <p:spPr>
              <a:xfrm>
                <a:off x="8466219" y="2667859"/>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endParaRPr lang="en-US" sz="1800" dirty="0"/>
              </a:p>
            </p:txBody>
          </p:sp>
          <p:sp>
            <p:nvSpPr>
              <p:cNvPr id="461" name="Freeform 460">
                <a:extLst>
                  <a:ext uri="{FF2B5EF4-FFF2-40B4-BE49-F238E27FC236}">
                    <a16:creationId xmlns:a16="http://schemas.microsoft.com/office/drawing/2014/main" id="{5EF48061-0E68-A442-6D65-E2FBBBFF822D}"/>
                  </a:ext>
                </a:extLst>
              </p:cNvPr>
              <p:cNvSpPr/>
              <p:nvPr/>
            </p:nvSpPr>
            <p:spPr>
              <a:xfrm>
                <a:off x="8536895" y="2744553"/>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462" name="Freeform 461">
                <a:extLst>
                  <a:ext uri="{FF2B5EF4-FFF2-40B4-BE49-F238E27FC236}">
                    <a16:creationId xmlns:a16="http://schemas.microsoft.com/office/drawing/2014/main" id="{2F69103A-6F37-1CD4-28ED-463BBFA2FBC9}"/>
                  </a:ext>
                </a:extLst>
              </p:cNvPr>
              <p:cNvSpPr/>
              <p:nvPr/>
            </p:nvSpPr>
            <p:spPr>
              <a:xfrm>
                <a:off x="8566295" y="2716089"/>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endParaRPr lang="en-US" sz="1800" dirty="0"/>
              </a:p>
            </p:txBody>
          </p:sp>
          <p:sp>
            <p:nvSpPr>
              <p:cNvPr id="463" name="Freeform 462">
                <a:extLst>
                  <a:ext uri="{FF2B5EF4-FFF2-40B4-BE49-F238E27FC236}">
                    <a16:creationId xmlns:a16="http://schemas.microsoft.com/office/drawing/2014/main" id="{94ECFFA3-D49B-6F58-6B00-539838AC07B0}"/>
                  </a:ext>
                </a:extLst>
              </p:cNvPr>
              <p:cNvSpPr/>
              <p:nvPr/>
            </p:nvSpPr>
            <p:spPr>
              <a:xfrm>
                <a:off x="8566418" y="2744553"/>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464" name="Freeform 463">
                <a:extLst>
                  <a:ext uri="{FF2B5EF4-FFF2-40B4-BE49-F238E27FC236}">
                    <a16:creationId xmlns:a16="http://schemas.microsoft.com/office/drawing/2014/main" id="{73CEF679-F962-254E-A358-EA8CB3DBE626}"/>
                  </a:ext>
                </a:extLst>
              </p:cNvPr>
              <p:cNvSpPr/>
              <p:nvPr/>
            </p:nvSpPr>
            <p:spPr>
              <a:xfrm>
                <a:off x="8595818" y="2716089"/>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endParaRPr lang="en-US" sz="1800" dirty="0"/>
              </a:p>
            </p:txBody>
          </p:sp>
          <p:sp>
            <p:nvSpPr>
              <p:cNvPr id="465" name="Freeform 464">
                <a:extLst>
                  <a:ext uri="{FF2B5EF4-FFF2-40B4-BE49-F238E27FC236}">
                    <a16:creationId xmlns:a16="http://schemas.microsoft.com/office/drawing/2014/main" id="{4A3FA273-D9DF-FB2E-8560-2EE93906B7A8}"/>
                  </a:ext>
                </a:extLst>
              </p:cNvPr>
              <p:cNvSpPr/>
              <p:nvPr/>
            </p:nvSpPr>
            <p:spPr>
              <a:xfrm>
                <a:off x="8572295" y="2744553"/>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466" name="Freeform 465">
                <a:extLst>
                  <a:ext uri="{FF2B5EF4-FFF2-40B4-BE49-F238E27FC236}">
                    <a16:creationId xmlns:a16="http://schemas.microsoft.com/office/drawing/2014/main" id="{9CD801CB-6CA6-AA56-6202-0BBB4F80D624}"/>
                  </a:ext>
                </a:extLst>
              </p:cNvPr>
              <p:cNvSpPr/>
              <p:nvPr/>
            </p:nvSpPr>
            <p:spPr>
              <a:xfrm>
                <a:off x="8601695" y="2716089"/>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endParaRPr lang="en-US" sz="1800" dirty="0"/>
              </a:p>
            </p:txBody>
          </p:sp>
          <p:sp>
            <p:nvSpPr>
              <p:cNvPr id="467" name="Freeform 466">
                <a:extLst>
                  <a:ext uri="{FF2B5EF4-FFF2-40B4-BE49-F238E27FC236}">
                    <a16:creationId xmlns:a16="http://schemas.microsoft.com/office/drawing/2014/main" id="{3809A64E-D4B1-C3A6-5E6A-9259AFAFFCC4}"/>
                  </a:ext>
                </a:extLst>
              </p:cNvPr>
              <p:cNvSpPr/>
              <p:nvPr/>
            </p:nvSpPr>
            <p:spPr>
              <a:xfrm>
                <a:off x="8578189" y="2744553"/>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endParaRPr lang="en-US" sz="1800" dirty="0"/>
              </a:p>
            </p:txBody>
          </p:sp>
          <p:sp>
            <p:nvSpPr>
              <p:cNvPr id="468" name="Freeform 467">
                <a:extLst>
                  <a:ext uri="{FF2B5EF4-FFF2-40B4-BE49-F238E27FC236}">
                    <a16:creationId xmlns:a16="http://schemas.microsoft.com/office/drawing/2014/main" id="{D4E0EAA1-04C9-0692-C78E-CDBDCBFEF2D1}"/>
                  </a:ext>
                </a:extLst>
              </p:cNvPr>
              <p:cNvSpPr/>
              <p:nvPr/>
            </p:nvSpPr>
            <p:spPr>
              <a:xfrm>
                <a:off x="8607571" y="2716089"/>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endParaRPr lang="en-US" sz="1800" dirty="0"/>
              </a:p>
            </p:txBody>
          </p:sp>
          <p:sp>
            <p:nvSpPr>
              <p:cNvPr id="469" name="Freeform 468">
                <a:extLst>
                  <a:ext uri="{FF2B5EF4-FFF2-40B4-BE49-F238E27FC236}">
                    <a16:creationId xmlns:a16="http://schemas.microsoft.com/office/drawing/2014/main" id="{4D1805AB-7C6F-3A3E-E103-B377E5817748}"/>
                  </a:ext>
                </a:extLst>
              </p:cNvPr>
              <p:cNvSpPr/>
              <p:nvPr/>
            </p:nvSpPr>
            <p:spPr>
              <a:xfrm>
                <a:off x="8584065" y="2744553"/>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endParaRPr lang="en-US" sz="1800" dirty="0"/>
              </a:p>
            </p:txBody>
          </p:sp>
          <p:sp>
            <p:nvSpPr>
              <p:cNvPr id="470" name="Freeform 469">
                <a:extLst>
                  <a:ext uri="{FF2B5EF4-FFF2-40B4-BE49-F238E27FC236}">
                    <a16:creationId xmlns:a16="http://schemas.microsoft.com/office/drawing/2014/main" id="{6697FEA8-6910-CFE5-A0D0-E088EAAF7468}"/>
                  </a:ext>
                </a:extLst>
              </p:cNvPr>
              <p:cNvSpPr/>
              <p:nvPr/>
            </p:nvSpPr>
            <p:spPr>
              <a:xfrm>
                <a:off x="8613448" y="2716089"/>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endParaRPr lang="en-US" sz="1800" dirty="0"/>
              </a:p>
            </p:txBody>
          </p:sp>
          <p:sp>
            <p:nvSpPr>
              <p:cNvPr id="471" name="Freeform 470">
                <a:extLst>
                  <a:ext uri="{FF2B5EF4-FFF2-40B4-BE49-F238E27FC236}">
                    <a16:creationId xmlns:a16="http://schemas.microsoft.com/office/drawing/2014/main" id="{78B53182-51D8-C324-D864-9E3553026CFB}"/>
                  </a:ext>
                </a:extLst>
              </p:cNvPr>
              <p:cNvSpPr/>
              <p:nvPr/>
            </p:nvSpPr>
            <p:spPr>
              <a:xfrm>
                <a:off x="8631095" y="2744553"/>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endParaRPr lang="en-US" sz="1800" dirty="0"/>
              </a:p>
            </p:txBody>
          </p:sp>
          <p:sp>
            <p:nvSpPr>
              <p:cNvPr id="472" name="Freeform 471">
                <a:extLst>
                  <a:ext uri="{FF2B5EF4-FFF2-40B4-BE49-F238E27FC236}">
                    <a16:creationId xmlns:a16="http://schemas.microsoft.com/office/drawing/2014/main" id="{820750A8-CC03-251D-401E-1351A7A43D54}"/>
                  </a:ext>
                </a:extLst>
              </p:cNvPr>
              <p:cNvSpPr/>
              <p:nvPr/>
            </p:nvSpPr>
            <p:spPr>
              <a:xfrm>
                <a:off x="8660495" y="2716089"/>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endParaRPr lang="en-US" sz="1800" dirty="0"/>
              </a:p>
            </p:txBody>
          </p:sp>
          <p:sp>
            <p:nvSpPr>
              <p:cNvPr id="473" name="Freeform 472">
                <a:extLst>
                  <a:ext uri="{FF2B5EF4-FFF2-40B4-BE49-F238E27FC236}">
                    <a16:creationId xmlns:a16="http://schemas.microsoft.com/office/drawing/2014/main" id="{60BBC74C-C268-3611-EDCF-6F660C28B044}"/>
                  </a:ext>
                </a:extLst>
              </p:cNvPr>
              <p:cNvSpPr/>
              <p:nvPr/>
            </p:nvSpPr>
            <p:spPr>
              <a:xfrm>
                <a:off x="8666495" y="2744553"/>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474" name="Freeform 473">
                <a:extLst>
                  <a:ext uri="{FF2B5EF4-FFF2-40B4-BE49-F238E27FC236}">
                    <a16:creationId xmlns:a16="http://schemas.microsoft.com/office/drawing/2014/main" id="{D7B1D06F-EFD6-4E91-B600-2863E2E62988}"/>
                  </a:ext>
                </a:extLst>
              </p:cNvPr>
              <p:cNvSpPr/>
              <p:nvPr/>
            </p:nvSpPr>
            <p:spPr>
              <a:xfrm>
                <a:off x="8695895" y="2716089"/>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endParaRPr lang="en-US" sz="1800" dirty="0"/>
              </a:p>
            </p:txBody>
          </p:sp>
          <p:sp>
            <p:nvSpPr>
              <p:cNvPr id="475" name="Freeform 474">
                <a:extLst>
                  <a:ext uri="{FF2B5EF4-FFF2-40B4-BE49-F238E27FC236}">
                    <a16:creationId xmlns:a16="http://schemas.microsoft.com/office/drawing/2014/main" id="{4CFF87EA-6561-5F7C-1333-FB75AF4DEEEE}"/>
                  </a:ext>
                </a:extLst>
              </p:cNvPr>
              <p:cNvSpPr/>
              <p:nvPr/>
            </p:nvSpPr>
            <p:spPr>
              <a:xfrm>
                <a:off x="8719400" y="2803283"/>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476" name="Freeform 475">
                <a:extLst>
                  <a:ext uri="{FF2B5EF4-FFF2-40B4-BE49-F238E27FC236}">
                    <a16:creationId xmlns:a16="http://schemas.microsoft.com/office/drawing/2014/main" id="{1F55C1CE-6176-5209-07EF-ECA6CB535FE6}"/>
                  </a:ext>
                </a:extLst>
              </p:cNvPr>
              <p:cNvSpPr/>
              <p:nvPr/>
            </p:nvSpPr>
            <p:spPr>
              <a:xfrm>
                <a:off x="8748800" y="2774818"/>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endParaRPr lang="en-US" sz="1800" dirty="0"/>
              </a:p>
            </p:txBody>
          </p:sp>
          <p:sp>
            <p:nvSpPr>
              <p:cNvPr id="477" name="Freeform 476">
                <a:extLst>
                  <a:ext uri="{FF2B5EF4-FFF2-40B4-BE49-F238E27FC236}">
                    <a16:creationId xmlns:a16="http://schemas.microsoft.com/office/drawing/2014/main" id="{CD1842BB-1D3B-778A-18D0-A5F570E53B24}"/>
                  </a:ext>
                </a:extLst>
              </p:cNvPr>
              <p:cNvSpPr/>
              <p:nvPr/>
            </p:nvSpPr>
            <p:spPr>
              <a:xfrm>
                <a:off x="8872400" y="2864041"/>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endParaRPr lang="en-US" sz="1800" dirty="0"/>
              </a:p>
            </p:txBody>
          </p:sp>
          <p:sp>
            <p:nvSpPr>
              <p:cNvPr id="478" name="Freeform 477">
                <a:extLst>
                  <a:ext uri="{FF2B5EF4-FFF2-40B4-BE49-F238E27FC236}">
                    <a16:creationId xmlns:a16="http://schemas.microsoft.com/office/drawing/2014/main" id="{50C41D88-744E-3C87-8E9F-73BD495CD618}"/>
                  </a:ext>
                </a:extLst>
              </p:cNvPr>
              <p:cNvSpPr/>
              <p:nvPr/>
            </p:nvSpPr>
            <p:spPr>
              <a:xfrm>
                <a:off x="8901782" y="2835559"/>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27377D"/>
                </a:solidFill>
                <a:prstDash val="solid"/>
                <a:miter/>
              </a:ln>
            </p:spPr>
            <p:txBody>
              <a:bodyPr rtlCol="0" anchor="ctr"/>
              <a:lstStyle/>
              <a:p>
                <a:endParaRPr lang="en-US" sz="1800" dirty="0"/>
              </a:p>
            </p:txBody>
          </p:sp>
          <p:sp>
            <p:nvSpPr>
              <p:cNvPr id="479" name="Freeform 478">
                <a:extLst>
                  <a:ext uri="{FF2B5EF4-FFF2-40B4-BE49-F238E27FC236}">
                    <a16:creationId xmlns:a16="http://schemas.microsoft.com/office/drawing/2014/main" id="{30B7BC8A-56E0-0B23-90C7-DA7BC546CE71}"/>
                  </a:ext>
                </a:extLst>
              </p:cNvPr>
              <p:cNvSpPr/>
              <p:nvPr/>
            </p:nvSpPr>
            <p:spPr>
              <a:xfrm>
                <a:off x="8884277" y="2864041"/>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480" name="Freeform 479">
                <a:extLst>
                  <a:ext uri="{FF2B5EF4-FFF2-40B4-BE49-F238E27FC236}">
                    <a16:creationId xmlns:a16="http://schemas.microsoft.com/office/drawing/2014/main" id="{53EB26B6-8926-FF35-F861-492CBA2BED16}"/>
                  </a:ext>
                </a:extLst>
              </p:cNvPr>
              <p:cNvSpPr/>
              <p:nvPr/>
            </p:nvSpPr>
            <p:spPr>
              <a:xfrm>
                <a:off x="8913677" y="2835559"/>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27377D"/>
                </a:solidFill>
                <a:prstDash val="solid"/>
                <a:miter/>
              </a:ln>
            </p:spPr>
            <p:txBody>
              <a:bodyPr rtlCol="0" anchor="ctr"/>
              <a:lstStyle/>
              <a:p>
                <a:endParaRPr lang="en-US" sz="1800" dirty="0"/>
              </a:p>
            </p:txBody>
          </p:sp>
          <p:sp>
            <p:nvSpPr>
              <p:cNvPr id="481" name="Freeform 480">
                <a:extLst>
                  <a:ext uri="{FF2B5EF4-FFF2-40B4-BE49-F238E27FC236}">
                    <a16:creationId xmlns:a16="http://schemas.microsoft.com/office/drawing/2014/main" id="{93B62EB6-377A-600B-F606-AC59A5542C45}"/>
                  </a:ext>
                </a:extLst>
              </p:cNvPr>
              <p:cNvSpPr/>
              <p:nvPr/>
            </p:nvSpPr>
            <p:spPr>
              <a:xfrm>
                <a:off x="8919553" y="2864041"/>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endParaRPr lang="en-US" sz="1800" dirty="0"/>
              </a:p>
            </p:txBody>
          </p:sp>
          <p:sp>
            <p:nvSpPr>
              <p:cNvPr id="482" name="Freeform 481">
                <a:extLst>
                  <a:ext uri="{FF2B5EF4-FFF2-40B4-BE49-F238E27FC236}">
                    <a16:creationId xmlns:a16="http://schemas.microsoft.com/office/drawing/2014/main" id="{A9FD6539-B788-3D9F-5038-3BF9FE9C7EBA}"/>
                  </a:ext>
                </a:extLst>
              </p:cNvPr>
              <p:cNvSpPr/>
              <p:nvPr/>
            </p:nvSpPr>
            <p:spPr>
              <a:xfrm>
                <a:off x="8948953" y="2835559"/>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27377D"/>
                </a:solidFill>
                <a:prstDash val="solid"/>
                <a:miter/>
              </a:ln>
            </p:spPr>
            <p:txBody>
              <a:bodyPr rtlCol="0" anchor="ctr"/>
              <a:lstStyle/>
              <a:p>
                <a:endParaRPr lang="en-US" sz="1800" dirty="0"/>
              </a:p>
            </p:txBody>
          </p:sp>
          <p:sp>
            <p:nvSpPr>
              <p:cNvPr id="483" name="Freeform 482">
                <a:extLst>
                  <a:ext uri="{FF2B5EF4-FFF2-40B4-BE49-F238E27FC236}">
                    <a16:creationId xmlns:a16="http://schemas.microsoft.com/office/drawing/2014/main" id="{6764E0FC-DCF5-491E-9476-BFEC2AC46680}"/>
                  </a:ext>
                </a:extLst>
              </p:cNvPr>
              <p:cNvSpPr/>
              <p:nvPr/>
            </p:nvSpPr>
            <p:spPr>
              <a:xfrm>
                <a:off x="8960706" y="2864041"/>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484" name="Freeform 483">
                <a:extLst>
                  <a:ext uri="{FF2B5EF4-FFF2-40B4-BE49-F238E27FC236}">
                    <a16:creationId xmlns:a16="http://schemas.microsoft.com/office/drawing/2014/main" id="{EEA382E6-E002-D824-B921-143425C8FBC5}"/>
                  </a:ext>
                </a:extLst>
              </p:cNvPr>
              <p:cNvSpPr/>
              <p:nvPr/>
            </p:nvSpPr>
            <p:spPr>
              <a:xfrm>
                <a:off x="8990106" y="2835559"/>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27377D"/>
                </a:solidFill>
                <a:prstDash val="solid"/>
                <a:miter/>
              </a:ln>
            </p:spPr>
            <p:txBody>
              <a:bodyPr rtlCol="0" anchor="ctr"/>
              <a:lstStyle/>
              <a:p>
                <a:endParaRPr lang="en-US" sz="1800" dirty="0"/>
              </a:p>
            </p:txBody>
          </p:sp>
          <p:sp>
            <p:nvSpPr>
              <p:cNvPr id="485" name="Freeform 484">
                <a:extLst>
                  <a:ext uri="{FF2B5EF4-FFF2-40B4-BE49-F238E27FC236}">
                    <a16:creationId xmlns:a16="http://schemas.microsoft.com/office/drawing/2014/main" id="{4D313F08-9508-6B3C-69CF-510585BE0D59}"/>
                  </a:ext>
                </a:extLst>
              </p:cNvPr>
              <p:cNvSpPr/>
              <p:nvPr/>
            </p:nvSpPr>
            <p:spPr>
              <a:xfrm>
                <a:off x="9001982" y="2864041"/>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486" name="Freeform 485">
                <a:extLst>
                  <a:ext uri="{FF2B5EF4-FFF2-40B4-BE49-F238E27FC236}">
                    <a16:creationId xmlns:a16="http://schemas.microsoft.com/office/drawing/2014/main" id="{A6E68031-B16A-8489-8F4B-433DD057C0B2}"/>
                  </a:ext>
                </a:extLst>
              </p:cNvPr>
              <p:cNvSpPr/>
              <p:nvPr/>
            </p:nvSpPr>
            <p:spPr>
              <a:xfrm>
                <a:off x="9031382" y="2835559"/>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27377D"/>
                </a:solidFill>
                <a:prstDash val="solid"/>
                <a:miter/>
              </a:ln>
            </p:spPr>
            <p:txBody>
              <a:bodyPr rtlCol="0" anchor="ctr"/>
              <a:lstStyle/>
              <a:p>
                <a:endParaRPr lang="en-US" sz="1800" dirty="0"/>
              </a:p>
            </p:txBody>
          </p:sp>
          <p:sp>
            <p:nvSpPr>
              <p:cNvPr id="487" name="Freeform 486">
                <a:extLst>
                  <a:ext uri="{FF2B5EF4-FFF2-40B4-BE49-F238E27FC236}">
                    <a16:creationId xmlns:a16="http://schemas.microsoft.com/office/drawing/2014/main" id="{D3276EE2-7457-4184-AC34-3E10F1AC9185}"/>
                  </a:ext>
                </a:extLst>
              </p:cNvPr>
              <p:cNvSpPr/>
              <p:nvPr/>
            </p:nvSpPr>
            <p:spPr>
              <a:xfrm>
                <a:off x="9007876" y="2864041"/>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endParaRPr lang="en-US" sz="1800" dirty="0"/>
              </a:p>
            </p:txBody>
          </p:sp>
          <p:sp>
            <p:nvSpPr>
              <p:cNvPr id="488" name="Freeform 487">
                <a:extLst>
                  <a:ext uri="{FF2B5EF4-FFF2-40B4-BE49-F238E27FC236}">
                    <a16:creationId xmlns:a16="http://schemas.microsoft.com/office/drawing/2014/main" id="{A93B65D2-19F4-70B2-F66E-17A166F1F72F}"/>
                  </a:ext>
                </a:extLst>
              </p:cNvPr>
              <p:cNvSpPr/>
              <p:nvPr/>
            </p:nvSpPr>
            <p:spPr>
              <a:xfrm>
                <a:off x="9037259" y="2835559"/>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27377D"/>
                </a:solidFill>
                <a:prstDash val="solid"/>
                <a:miter/>
              </a:ln>
            </p:spPr>
            <p:txBody>
              <a:bodyPr rtlCol="0" anchor="ctr"/>
              <a:lstStyle/>
              <a:p>
                <a:endParaRPr lang="en-US" sz="1800" dirty="0"/>
              </a:p>
            </p:txBody>
          </p:sp>
          <p:sp>
            <p:nvSpPr>
              <p:cNvPr id="489" name="Freeform 488">
                <a:extLst>
                  <a:ext uri="{FF2B5EF4-FFF2-40B4-BE49-F238E27FC236}">
                    <a16:creationId xmlns:a16="http://schemas.microsoft.com/office/drawing/2014/main" id="{B8AB89E5-66D6-C652-2765-DB16B6153874}"/>
                  </a:ext>
                </a:extLst>
              </p:cNvPr>
              <p:cNvSpPr/>
              <p:nvPr/>
            </p:nvSpPr>
            <p:spPr>
              <a:xfrm>
                <a:off x="9019629" y="2864041"/>
                <a:ext cx="58782" cy="17647"/>
              </a:xfrm>
              <a:custGeom>
                <a:avLst/>
                <a:gdLst>
                  <a:gd name="connsiteX0" fmla="*/ 0 w 58782"/>
                  <a:gd name="connsiteY0" fmla="*/ 0 h 17647"/>
                  <a:gd name="connsiteX1" fmla="*/ 58783 w 58782"/>
                  <a:gd name="connsiteY1" fmla="*/ 0 h 17647"/>
                </a:gdLst>
                <a:ahLst/>
                <a:cxnLst>
                  <a:cxn ang="0">
                    <a:pos x="connsiteX0" y="connsiteY0"/>
                  </a:cxn>
                  <a:cxn ang="0">
                    <a:pos x="connsiteX1" y="connsiteY1"/>
                  </a:cxn>
                </a:cxnLst>
                <a:rect l="l" t="t" r="r" b="b"/>
                <a:pathLst>
                  <a:path w="58782" h="17647">
                    <a:moveTo>
                      <a:pt x="0" y="0"/>
                    </a:moveTo>
                    <a:lnTo>
                      <a:pt x="58783" y="0"/>
                    </a:lnTo>
                  </a:path>
                </a:pathLst>
              </a:custGeom>
              <a:ln w="9638" cap="sq">
                <a:solidFill>
                  <a:srgbClr val="27377D"/>
                </a:solidFill>
                <a:prstDash val="solid"/>
                <a:miter/>
              </a:ln>
            </p:spPr>
            <p:txBody>
              <a:bodyPr rtlCol="0" anchor="ctr"/>
              <a:lstStyle/>
              <a:p>
                <a:endParaRPr lang="en-US" sz="1800" dirty="0"/>
              </a:p>
            </p:txBody>
          </p:sp>
          <p:sp>
            <p:nvSpPr>
              <p:cNvPr id="490" name="Freeform 489">
                <a:extLst>
                  <a:ext uri="{FF2B5EF4-FFF2-40B4-BE49-F238E27FC236}">
                    <a16:creationId xmlns:a16="http://schemas.microsoft.com/office/drawing/2014/main" id="{FB445312-A3C4-2582-DC7D-2C3E79D07EEF}"/>
                  </a:ext>
                </a:extLst>
              </p:cNvPr>
              <p:cNvSpPr/>
              <p:nvPr/>
            </p:nvSpPr>
            <p:spPr>
              <a:xfrm>
                <a:off x="9049029" y="2835559"/>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27377D"/>
                </a:solidFill>
                <a:prstDash val="solid"/>
                <a:miter/>
              </a:ln>
            </p:spPr>
            <p:txBody>
              <a:bodyPr rtlCol="0" anchor="ctr"/>
              <a:lstStyle/>
              <a:p>
                <a:endParaRPr lang="en-US" sz="1800" dirty="0"/>
              </a:p>
            </p:txBody>
          </p:sp>
          <p:sp>
            <p:nvSpPr>
              <p:cNvPr id="491" name="Freeform 490">
                <a:extLst>
                  <a:ext uri="{FF2B5EF4-FFF2-40B4-BE49-F238E27FC236}">
                    <a16:creationId xmlns:a16="http://schemas.microsoft.com/office/drawing/2014/main" id="{07D9A15B-2A29-0032-04B7-1BF77A41C192}"/>
                  </a:ext>
                </a:extLst>
              </p:cNvPr>
              <p:cNvSpPr/>
              <p:nvPr/>
            </p:nvSpPr>
            <p:spPr>
              <a:xfrm>
                <a:off x="9043135" y="2864041"/>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492" name="Freeform 491">
                <a:extLst>
                  <a:ext uri="{FF2B5EF4-FFF2-40B4-BE49-F238E27FC236}">
                    <a16:creationId xmlns:a16="http://schemas.microsoft.com/office/drawing/2014/main" id="{C6802DE8-2268-23D3-3753-EC9BB4E95247}"/>
                  </a:ext>
                </a:extLst>
              </p:cNvPr>
              <p:cNvSpPr/>
              <p:nvPr/>
            </p:nvSpPr>
            <p:spPr>
              <a:xfrm>
                <a:off x="9072535" y="2835559"/>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27377D"/>
                </a:solidFill>
                <a:prstDash val="solid"/>
                <a:miter/>
              </a:ln>
            </p:spPr>
            <p:txBody>
              <a:bodyPr rtlCol="0" anchor="ctr"/>
              <a:lstStyle/>
              <a:p>
                <a:endParaRPr lang="en-US" sz="1800" dirty="0"/>
              </a:p>
            </p:txBody>
          </p:sp>
          <p:sp>
            <p:nvSpPr>
              <p:cNvPr id="493" name="Freeform 492">
                <a:extLst>
                  <a:ext uri="{FF2B5EF4-FFF2-40B4-BE49-F238E27FC236}">
                    <a16:creationId xmlns:a16="http://schemas.microsoft.com/office/drawing/2014/main" id="{4951944D-CFBB-24CB-CBF2-15A5CF01EEBA}"/>
                  </a:ext>
                </a:extLst>
              </p:cNvPr>
              <p:cNvSpPr/>
              <p:nvPr/>
            </p:nvSpPr>
            <p:spPr>
              <a:xfrm>
                <a:off x="9043135" y="2864041"/>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494" name="Freeform 493">
                <a:extLst>
                  <a:ext uri="{FF2B5EF4-FFF2-40B4-BE49-F238E27FC236}">
                    <a16:creationId xmlns:a16="http://schemas.microsoft.com/office/drawing/2014/main" id="{2CFB1A56-4FC3-995C-943B-FA78D7B85805}"/>
                  </a:ext>
                </a:extLst>
              </p:cNvPr>
              <p:cNvSpPr/>
              <p:nvPr/>
            </p:nvSpPr>
            <p:spPr>
              <a:xfrm>
                <a:off x="9072535" y="2835559"/>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27377D"/>
                </a:solidFill>
                <a:prstDash val="solid"/>
                <a:miter/>
              </a:ln>
            </p:spPr>
            <p:txBody>
              <a:bodyPr rtlCol="0" anchor="ctr"/>
              <a:lstStyle/>
              <a:p>
                <a:endParaRPr lang="en-US" sz="1800" dirty="0"/>
              </a:p>
            </p:txBody>
          </p:sp>
          <p:sp>
            <p:nvSpPr>
              <p:cNvPr id="495" name="Freeform 494">
                <a:extLst>
                  <a:ext uri="{FF2B5EF4-FFF2-40B4-BE49-F238E27FC236}">
                    <a16:creationId xmlns:a16="http://schemas.microsoft.com/office/drawing/2014/main" id="{5F916D32-C2A9-5307-FB62-5DEBB5F89544}"/>
                  </a:ext>
                </a:extLst>
              </p:cNvPr>
              <p:cNvSpPr/>
              <p:nvPr/>
            </p:nvSpPr>
            <p:spPr>
              <a:xfrm>
                <a:off x="9084288" y="2864041"/>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496" name="Freeform 495">
                <a:extLst>
                  <a:ext uri="{FF2B5EF4-FFF2-40B4-BE49-F238E27FC236}">
                    <a16:creationId xmlns:a16="http://schemas.microsoft.com/office/drawing/2014/main" id="{EE55AD27-1196-326A-A5D9-539335957D4B}"/>
                  </a:ext>
                </a:extLst>
              </p:cNvPr>
              <p:cNvSpPr/>
              <p:nvPr/>
            </p:nvSpPr>
            <p:spPr>
              <a:xfrm>
                <a:off x="9113688" y="2835559"/>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27377D"/>
                </a:solidFill>
                <a:prstDash val="solid"/>
                <a:miter/>
              </a:ln>
            </p:spPr>
            <p:txBody>
              <a:bodyPr rtlCol="0" anchor="ctr"/>
              <a:lstStyle/>
              <a:p>
                <a:endParaRPr lang="en-US" sz="1800" dirty="0"/>
              </a:p>
            </p:txBody>
          </p:sp>
          <p:sp>
            <p:nvSpPr>
              <p:cNvPr id="497" name="Freeform 496">
                <a:extLst>
                  <a:ext uri="{FF2B5EF4-FFF2-40B4-BE49-F238E27FC236}">
                    <a16:creationId xmlns:a16="http://schemas.microsoft.com/office/drawing/2014/main" id="{40727A68-D67F-EE39-2CC6-1FE2BCEBE10D}"/>
                  </a:ext>
                </a:extLst>
              </p:cNvPr>
              <p:cNvSpPr/>
              <p:nvPr/>
            </p:nvSpPr>
            <p:spPr>
              <a:xfrm>
                <a:off x="9178488" y="2864041"/>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498" name="Freeform 497">
                <a:extLst>
                  <a:ext uri="{FF2B5EF4-FFF2-40B4-BE49-F238E27FC236}">
                    <a16:creationId xmlns:a16="http://schemas.microsoft.com/office/drawing/2014/main" id="{C4707D27-2C56-530B-8AAA-F5F8A0AF9BFA}"/>
                  </a:ext>
                </a:extLst>
              </p:cNvPr>
              <p:cNvSpPr/>
              <p:nvPr/>
            </p:nvSpPr>
            <p:spPr>
              <a:xfrm>
                <a:off x="9207888" y="2835559"/>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27377D"/>
                </a:solidFill>
                <a:prstDash val="solid"/>
                <a:miter/>
              </a:ln>
            </p:spPr>
            <p:txBody>
              <a:bodyPr rtlCol="0" anchor="ctr"/>
              <a:lstStyle/>
              <a:p>
                <a:endParaRPr lang="en-US" sz="1800" dirty="0"/>
              </a:p>
            </p:txBody>
          </p:sp>
          <p:sp>
            <p:nvSpPr>
              <p:cNvPr id="499" name="Freeform 498">
                <a:extLst>
                  <a:ext uri="{FF2B5EF4-FFF2-40B4-BE49-F238E27FC236}">
                    <a16:creationId xmlns:a16="http://schemas.microsoft.com/office/drawing/2014/main" id="{D7A426D5-B7BB-AB32-D9D0-244AE0993F71}"/>
                  </a:ext>
                </a:extLst>
              </p:cNvPr>
              <p:cNvSpPr/>
              <p:nvPr/>
            </p:nvSpPr>
            <p:spPr>
              <a:xfrm>
                <a:off x="9190241" y="2864041"/>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500" name="Freeform 499">
                <a:extLst>
                  <a:ext uri="{FF2B5EF4-FFF2-40B4-BE49-F238E27FC236}">
                    <a16:creationId xmlns:a16="http://schemas.microsoft.com/office/drawing/2014/main" id="{D1C5CB81-D654-706B-4410-7C2E3E5D4D4B}"/>
                  </a:ext>
                </a:extLst>
              </p:cNvPr>
              <p:cNvSpPr/>
              <p:nvPr/>
            </p:nvSpPr>
            <p:spPr>
              <a:xfrm>
                <a:off x="9219641" y="2835559"/>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27377D"/>
                </a:solidFill>
                <a:prstDash val="solid"/>
                <a:miter/>
              </a:ln>
            </p:spPr>
            <p:txBody>
              <a:bodyPr rtlCol="0" anchor="ctr"/>
              <a:lstStyle/>
              <a:p>
                <a:endParaRPr lang="en-US" sz="1800" dirty="0"/>
              </a:p>
            </p:txBody>
          </p:sp>
          <p:sp>
            <p:nvSpPr>
              <p:cNvPr id="501" name="Freeform 500">
                <a:extLst>
                  <a:ext uri="{FF2B5EF4-FFF2-40B4-BE49-F238E27FC236}">
                    <a16:creationId xmlns:a16="http://schemas.microsoft.com/office/drawing/2014/main" id="{AA7548CA-3BC4-B8E3-0E94-ED2F5BC665B6}"/>
                  </a:ext>
                </a:extLst>
              </p:cNvPr>
              <p:cNvSpPr/>
              <p:nvPr/>
            </p:nvSpPr>
            <p:spPr>
              <a:xfrm>
                <a:off x="9208011" y="2864041"/>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502" name="Freeform 501">
                <a:extLst>
                  <a:ext uri="{FF2B5EF4-FFF2-40B4-BE49-F238E27FC236}">
                    <a16:creationId xmlns:a16="http://schemas.microsoft.com/office/drawing/2014/main" id="{D910F1FE-5B02-A98D-035D-4094497C43EA}"/>
                  </a:ext>
                </a:extLst>
              </p:cNvPr>
              <p:cNvSpPr/>
              <p:nvPr/>
            </p:nvSpPr>
            <p:spPr>
              <a:xfrm>
                <a:off x="9237411" y="2835559"/>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27377D"/>
                </a:solidFill>
                <a:prstDash val="solid"/>
                <a:miter/>
              </a:ln>
            </p:spPr>
            <p:txBody>
              <a:bodyPr rtlCol="0" anchor="ctr"/>
              <a:lstStyle/>
              <a:p>
                <a:endParaRPr lang="en-US" sz="1800" dirty="0"/>
              </a:p>
            </p:txBody>
          </p:sp>
          <p:sp>
            <p:nvSpPr>
              <p:cNvPr id="503" name="Freeform 502">
                <a:extLst>
                  <a:ext uri="{FF2B5EF4-FFF2-40B4-BE49-F238E27FC236}">
                    <a16:creationId xmlns:a16="http://schemas.microsoft.com/office/drawing/2014/main" id="{2487E706-AD13-D8A7-CB44-F5A79A9B47CF}"/>
                  </a:ext>
                </a:extLst>
              </p:cNvPr>
              <p:cNvSpPr/>
              <p:nvPr/>
            </p:nvSpPr>
            <p:spPr>
              <a:xfrm>
                <a:off x="9237411" y="2864041"/>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endParaRPr lang="en-US" sz="1800" dirty="0"/>
              </a:p>
            </p:txBody>
          </p:sp>
          <p:sp>
            <p:nvSpPr>
              <p:cNvPr id="504" name="Freeform 503">
                <a:extLst>
                  <a:ext uri="{FF2B5EF4-FFF2-40B4-BE49-F238E27FC236}">
                    <a16:creationId xmlns:a16="http://schemas.microsoft.com/office/drawing/2014/main" id="{CD2DBA38-7521-2271-4100-D006D7E3C6F2}"/>
                  </a:ext>
                </a:extLst>
              </p:cNvPr>
              <p:cNvSpPr/>
              <p:nvPr/>
            </p:nvSpPr>
            <p:spPr>
              <a:xfrm>
                <a:off x="9266811" y="2835559"/>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27377D"/>
                </a:solidFill>
                <a:prstDash val="solid"/>
                <a:miter/>
              </a:ln>
            </p:spPr>
            <p:txBody>
              <a:bodyPr rtlCol="0" anchor="ctr"/>
              <a:lstStyle/>
              <a:p>
                <a:endParaRPr lang="en-US" sz="1800" dirty="0"/>
              </a:p>
            </p:txBody>
          </p:sp>
          <p:sp>
            <p:nvSpPr>
              <p:cNvPr id="505" name="Freeform 504">
                <a:extLst>
                  <a:ext uri="{FF2B5EF4-FFF2-40B4-BE49-F238E27FC236}">
                    <a16:creationId xmlns:a16="http://schemas.microsoft.com/office/drawing/2014/main" id="{1544198D-11A0-FCB1-B5E1-B43D5A3B9CB2}"/>
                  </a:ext>
                </a:extLst>
              </p:cNvPr>
              <p:cNvSpPr/>
              <p:nvPr/>
            </p:nvSpPr>
            <p:spPr>
              <a:xfrm>
                <a:off x="9243288" y="2864041"/>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506" name="Freeform 505">
                <a:extLst>
                  <a:ext uri="{FF2B5EF4-FFF2-40B4-BE49-F238E27FC236}">
                    <a16:creationId xmlns:a16="http://schemas.microsoft.com/office/drawing/2014/main" id="{4D5E5710-C15A-FBCF-48BC-DF4F4C16E85E}"/>
                  </a:ext>
                </a:extLst>
              </p:cNvPr>
              <p:cNvSpPr/>
              <p:nvPr/>
            </p:nvSpPr>
            <p:spPr>
              <a:xfrm>
                <a:off x="9272688" y="2835559"/>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27377D"/>
                </a:solidFill>
                <a:prstDash val="solid"/>
                <a:miter/>
              </a:ln>
            </p:spPr>
            <p:txBody>
              <a:bodyPr rtlCol="0" anchor="ctr"/>
              <a:lstStyle/>
              <a:p>
                <a:endParaRPr lang="en-US" sz="1800" dirty="0"/>
              </a:p>
            </p:txBody>
          </p:sp>
          <p:sp>
            <p:nvSpPr>
              <p:cNvPr id="507" name="Freeform 506">
                <a:extLst>
                  <a:ext uri="{FF2B5EF4-FFF2-40B4-BE49-F238E27FC236}">
                    <a16:creationId xmlns:a16="http://schemas.microsoft.com/office/drawing/2014/main" id="{E38C2CEC-7AE3-9B6D-0414-C664AA3FA835}"/>
                  </a:ext>
                </a:extLst>
              </p:cNvPr>
              <p:cNvSpPr/>
              <p:nvPr/>
            </p:nvSpPr>
            <p:spPr>
              <a:xfrm>
                <a:off x="9249164" y="2864041"/>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508" name="Freeform 507">
                <a:extLst>
                  <a:ext uri="{FF2B5EF4-FFF2-40B4-BE49-F238E27FC236}">
                    <a16:creationId xmlns:a16="http://schemas.microsoft.com/office/drawing/2014/main" id="{F8D26796-771B-E398-A488-FCD3ECD7E878}"/>
                  </a:ext>
                </a:extLst>
              </p:cNvPr>
              <p:cNvSpPr/>
              <p:nvPr/>
            </p:nvSpPr>
            <p:spPr>
              <a:xfrm>
                <a:off x="9278564" y="2835559"/>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27377D"/>
                </a:solidFill>
                <a:prstDash val="solid"/>
                <a:miter/>
              </a:ln>
            </p:spPr>
            <p:txBody>
              <a:bodyPr rtlCol="0" anchor="ctr"/>
              <a:lstStyle/>
              <a:p>
                <a:endParaRPr lang="en-US" sz="1800" dirty="0"/>
              </a:p>
            </p:txBody>
          </p:sp>
          <p:sp>
            <p:nvSpPr>
              <p:cNvPr id="509" name="Freeform 508">
                <a:extLst>
                  <a:ext uri="{FF2B5EF4-FFF2-40B4-BE49-F238E27FC236}">
                    <a16:creationId xmlns:a16="http://schemas.microsoft.com/office/drawing/2014/main" id="{1CE11B70-688D-428A-D0A2-4AD034E814E5}"/>
                  </a:ext>
                </a:extLst>
              </p:cNvPr>
              <p:cNvSpPr/>
              <p:nvPr/>
            </p:nvSpPr>
            <p:spPr>
              <a:xfrm>
                <a:off x="9284441" y="2864041"/>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510" name="Freeform 509">
                <a:extLst>
                  <a:ext uri="{FF2B5EF4-FFF2-40B4-BE49-F238E27FC236}">
                    <a16:creationId xmlns:a16="http://schemas.microsoft.com/office/drawing/2014/main" id="{20CFC104-04CC-93AF-11E4-DFED797EB570}"/>
                  </a:ext>
                </a:extLst>
              </p:cNvPr>
              <p:cNvSpPr/>
              <p:nvPr/>
            </p:nvSpPr>
            <p:spPr>
              <a:xfrm>
                <a:off x="9313841" y="2835559"/>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27377D"/>
                </a:solidFill>
                <a:prstDash val="solid"/>
                <a:miter/>
              </a:ln>
            </p:spPr>
            <p:txBody>
              <a:bodyPr rtlCol="0" anchor="ctr"/>
              <a:lstStyle/>
              <a:p>
                <a:endParaRPr lang="en-US" sz="1800" dirty="0"/>
              </a:p>
            </p:txBody>
          </p:sp>
          <p:sp>
            <p:nvSpPr>
              <p:cNvPr id="511" name="Freeform 510">
                <a:extLst>
                  <a:ext uri="{FF2B5EF4-FFF2-40B4-BE49-F238E27FC236}">
                    <a16:creationId xmlns:a16="http://schemas.microsoft.com/office/drawing/2014/main" id="{369601CD-52E0-A6FA-7D36-44DBDC78A0AA}"/>
                  </a:ext>
                </a:extLst>
              </p:cNvPr>
              <p:cNvSpPr/>
              <p:nvPr/>
            </p:nvSpPr>
            <p:spPr>
              <a:xfrm>
                <a:off x="9290317" y="2864041"/>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512" name="Freeform 511">
                <a:extLst>
                  <a:ext uri="{FF2B5EF4-FFF2-40B4-BE49-F238E27FC236}">
                    <a16:creationId xmlns:a16="http://schemas.microsoft.com/office/drawing/2014/main" id="{01F45404-4893-3F4F-464C-571E5909EB77}"/>
                  </a:ext>
                </a:extLst>
              </p:cNvPr>
              <p:cNvSpPr/>
              <p:nvPr/>
            </p:nvSpPr>
            <p:spPr>
              <a:xfrm>
                <a:off x="9319717" y="2835559"/>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27377D"/>
                </a:solidFill>
                <a:prstDash val="solid"/>
                <a:miter/>
              </a:ln>
            </p:spPr>
            <p:txBody>
              <a:bodyPr rtlCol="0" anchor="ctr"/>
              <a:lstStyle/>
              <a:p>
                <a:endParaRPr lang="en-US" sz="1800" dirty="0"/>
              </a:p>
            </p:txBody>
          </p:sp>
          <p:sp>
            <p:nvSpPr>
              <p:cNvPr id="513" name="Freeform 512">
                <a:extLst>
                  <a:ext uri="{FF2B5EF4-FFF2-40B4-BE49-F238E27FC236}">
                    <a16:creationId xmlns:a16="http://schemas.microsoft.com/office/drawing/2014/main" id="{0CC21209-8C8C-DA9C-6422-2DAC1CA17451}"/>
                  </a:ext>
                </a:extLst>
              </p:cNvPr>
              <p:cNvSpPr/>
              <p:nvPr/>
            </p:nvSpPr>
            <p:spPr>
              <a:xfrm>
                <a:off x="9290317" y="2864041"/>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514" name="Freeform 513">
                <a:extLst>
                  <a:ext uri="{FF2B5EF4-FFF2-40B4-BE49-F238E27FC236}">
                    <a16:creationId xmlns:a16="http://schemas.microsoft.com/office/drawing/2014/main" id="{E5202AA0-BA18-A6DC-FCBA-F05AA985A3FB}"/>
                  </a:ext>
                </a:extLst>
              </p:cNvPr>
              <p:cNvSpPr/>
              <p:nvPr/>
            </p:nvSpPr>
            <p:spPr>
              <a:xfrm>
                <a:off x="9319717" y="2835559"/>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27377D"/>
                </a:solidFill>
                <a:prstDash val="solid"/>
                <a:miter/>
              </a:ln>
            </p:spPr>
            <p:txBody>
              <a:bodyPr rtlCol="0" anchor="ctr"/>
              <a:lstStyle/>
              <a:p>
                <a:endParaRPr lang="en-US" sz="1800" dirty="0"/>
              </a:p>
            </p:txBody>
          </p:sp>
          <p:sp>
            <p:nvSpPr>
              <p:cNvPr id="515" name="Freeform 514">
                <a:extLst>
                  <a:ext uri="{FF2B5EF4-FFF2-40B4-BE49-F238E27FC236}">
                    <a16:creationId xmlns:a16="http://schemas.microsoft.com/office/drawing/2014/main" id="{8BA16F4B-EADA-E9EF-0791-7486BFE98F7F}"/>
                  </a:ext>
                </a:extLst>
              </p:cNvPr>
              <p:cNvSpPr/>
              <p:nvPr/>
            </p:nvSpPr>
            <p:spPr>
              <a:xfrm>
                <a:off x="9396270" y="3039982"/>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516" name="Freeform 515">
                <a:extLst>
                  <a:ext uri="{FF2B5EF4-FFF2-40B4-BE49-F238E27FC236}">
                    <a16:creationId xmlns:a16="http://schemas.microsoft.com/office/drawing/2014/main" id="{DDA7683D-21D5-3D2C-2D26-428D5BB07560}"/>
                  </a:ext>
                </a:extLst>
              </p:cNvPr>
              <p:cNvSpPr/>
              <p:nvPr/>
            </p:nvSpPr>
            <p:spPr>
              <a:xfrm>
                <a:off x="9425670" y="3011500"/>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endParaRPr lang="en-US" sz="1800" dirty="0"/>
              </a:p>
            </p:txBody>
          </p:sp>
          <p:sp>
            <p:nvSpPr>
              <p:cNvPr id="517" name="Freeform 516">
                <a:extLst>
                  <a:ext uri="{FF2B5EF4-FFF2-40B4-BE49-F238E27FC236}">
                    <a16:creationId xmlns:a16="http://schemas.microsoft.com/office/drawing/2014/main" id="{A1C1BA05-8F8C-E72D-E9B4-FC8878A505F8}"/>
                  </a:ext>
                </a:extLst>
              </p:cNvPr>
              <p:cNvSpPr/>
              <p:nvPr/>
            </p:nvSpPr>
            <p:spPr>
              <a:xfrm>
                <a:off x="9619946" y="3039982"/>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endParaRPr lang="en-US" sz="1800" dirty="0"/>
              </a:p>
            </p:txBody>
          </p:sp>
          <p:sp>
            <p:nvSpPr>
              <p:cNvPr id="518" name="Freeform 517">
                <a:extLst>
                  <a:ext uri="{FF2B5EF4-FFF2-40B4-BE49-F238E27FC236}">
                    <a16:creationId xmlns:a16="http://schemas.microsoft.com/office/drawing/2014/main" id="{711D97EE-9875-D435-6D70-8E9BEBBAD9D1}"/>
                  </a:ext>
                </a:extLst>
              </p:cNvPr>
              <p:cNvSpPr/>
              <p:nvPr/>
            </p:nvSpPr>
            <p:spPr>
              <a:xfrm>
                <a:off x="9649328" y="3011500"/>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endParaRPr lang="en-US" sz="1800" dirty="0"/>
              </a:p>
            </p:txBody>
          </p:sp>
          <p:sp>
            <p:nvSpPr>
              <p:cNvPr id="519" name="Freeform 518">
                <a:extLst>
                  <a:ext uri="{FF2B5EF4-FFF2-40B4-BE49-F238E27FC236}">
                    <a16:creationId xmlns:a16="http://schemas.microsoft.com/office/drawing/2014/main" id="{8820F32C-711A-64A5-8FAC-249F706FC336}"/>
                  </a:ext>
                </a:extLst>
              </p:cNvPr>
              <p:cNvSpPr/>
              <p:nvPr/>
            </p:nvSpPr>
            <p:spPr>
              <a:xfrm>
                <a:off x="9643575" y="3039982"/>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520" name="Freeform 519">
                <a:extLst>
                  <a:ext uri="{FF2B5EF4-FFF2-40B4-BE49-F238E27FC236}">
                    <a16:creationId xmlns:a16="http://schemas.microsoft.com/office/drawing/2014/main" id="{5CC39763-7B83-C8CD-7813-6962D4F16645}"/>
                  </a:ext>
                </a:extLst>
              </p:cNvPr>
              <p:cNvSpPr/>
              <p:nvPr/>
            </p:nvSpPr>
            <p:spPr>
              <a:xfrm>
                <a:off x="9672975" y="3011500"/>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endParaRPr lang="en-US" sz="1800" dirty="0"/>
              </a:p>
            </p:txBody>
          </p:sp>
          <p:sp>
            <p:nvSpPr>
              <p:cNvPr id="521" name="Freeform 520">
                <a:extLst>
                  <a:ext uri="{FF2B5EF4-FFF2-40B4-BE49-F238E27FC236}">
                    <a16:creationId xmlns:a16="http://schemas.microsoft.com/office/drawing/2014/main" id="{A68772ED-1188-5EAA-A149-FDEC2CCC59B1}"/>
                  </a:ext>
                </a:extLst>
              </p:cNvPr>
              <p:cNvSpPr/>
              <p:nvPr/>
            </p:nvSpPr>
            <p:spPr>
              <a:xfrm>
                <a:off x="9784804" y="3039982"/>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522" name="Freeform 521">
                <a:extLst>
                  <a:ext uri="{FF2B5EF4-FFF2-40B4-BE49-F238E27FC236}">
                    <a16:creationId xmlns:a16="http://schemas.microsoft.com/office/drawing/2014/main" id="{AEC82372-6276-3823-9E69-FC71C4D4E6E7}"/>
                  </a:ext>
                </a:extLst>
              </p:cNvPr>
              <p:cNvSpPr/>
              <p:nvPr/>
            </p:nvSpPr>
            <p:spPr>
              <a:xfrm>
                <a:off x="9814204" y="3011500"/>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endParaRPr lang="en-US" sz="1800" dirty="0"/>
              </a:p>
            </p:txBody>
          </p:sp>
          <p:sp>
            <p:nvSpPr>
              <p:cNvPr id="523" name="Freeform 522">
                <a:extLst>
                  <a:ext uri="{FF2B5EF4-FFF2-40B4-BE49-F238E27FC236}">
                    <a16:creationId xmlns:a16="http://schemas.microsoft.com/office/drawing/2014/main" id="{C9BF9FD7-CCFA-3EE6-769C-AB3C6ADC5928}"/>
                  </a:ext>
                </a:extLst>
              </p:cNvPr>
              <p:cNvSpPr/>
              <p:nvPr/>
            </p:nvSpPr>
            <p:spPr>
              <a:xfrm>
                <a:off x="9825957" y="3039982"/>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524" name="Freeform 523">
                <a:extLst>
                  <a:ext uri="{FF2B5EF4-FFF2-40B4-BE49-F238E27FC236}">
                    <a16:creationId xmlns:a16="http://schemas.microsoft.com/office/drawing/2014/main" id="{5417DA83-F5F2-2003-F68C-E53CA8C04F72}"/>
                  </a:ext>
                </a:extLst>
              </p:cNvPr>
              <p:cNvSpPr/>
              <p:nvPr/>
            </p:nvSpPr>
            <p:spPr>
              <a:xfrm>
                <a:off x="9855357" y="3011500"/>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endParaRPr lang="en-US" sz="1800" dirty="0"/>
              </a:p>
            </p:txBody>
          </p:sp>
          <p:sp>
            <p:nvSpPr>
              <p:cNvPr id="525" name="Freeform 524">
                <a:extLst>
                  <a:ext uri="{FF2B5EF4-FFF2-40B4-BE49-F238E27FC236}">
                    <a16:creationId xmlns:a16="http://schemas.microsoft.com/office/drawing/2014/main" id="{64513960-0DAD-1964-1D8D-874D9A9F34EC}"/>
                  </a:ext>
                </a:extLst>
              </p:cNvPr>
              <p:cNvSpPr/>
              <p:nvPr/>
            </p:nvSpPr>
            <p:spPr>
              <a:xfrm>
                <a:off x="9843728" y="3039982"/>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endParaRPr lang="en-US" sz="1800" dirty="0"/>
              </a:p>
            </p:txBody>
          </p:sp>
          <p:sp>
            <p:nvSpPr>
              <p:cNvPr id="526" name="Freeform 525">
                <a:extLst>
                  <a:ext uri="{FF2B5EF4-FFF2-40B4-BE49-F238E27FC236}">
                    <a16:creationId xmlns:a16="http://schemas.microsoft.com/office/drawing/2014/main" id="{B8190748-A934-6FAC-CEDE-F4F70F76E94D}"/>
                  </a:ext>
                </a:extLst>
              </p:cNvPr>
              <p:cNvSpPr/>
              <p:nvPr/>
            </p:nvSpPr>
            <p:spPr>
              <a:xfrm>
                <a:off x="9873128" y="3011500"/>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endParaRPr lang="en-US" sz="1800" dirty="0"/>
              </a:p>
            </p:txBody>
          </p:sp>
          <p:sp>
            <p:nvSpPr>
              <p:cNvPr id="527" name="Freeform 526">
                <a:extLst>
                  <a:ext uri="{FF2B5EF4-FFF2-40B4-BE49-F238E27FC236}">
                    <a16:creationId xmlns:a16="http://schemas.microsoft.com/office/drawing/2014/main" id="{5C955EFB-8E10-B29F-4858-9F37B902588B}"/>
                  </a:ext>
                </a:extLst>
              </p:cNvPr>
              <p:cNvSpPr/>
              <p:nvPr/>
            </p:nvSpPr>
            <p:spPr>
              <a:xfrm>
                <a:off x="9902528" y="3039982"/>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endParaRPr lang="en-US" sz="1800" dirty="0"/>
              </a:p>
            </p:txBody>
          </p:sp>
          <p:sp>
            <p:nvSpPr>
              <p:cNvPr id="528" name="Freeform 527">
                <a:extLst>
                  <a:ext uri="{FF2B5EF4-FFF2-40B4-BE49-F238E27FC236}">
                    <a16:creationId xmlns:a16="http://schemas.microsoft.com/office/drawing/2014/main" id="{00E92310-6958-62AE-708D-2ABE88074A33}"/>
                  </a:ext>
                </a:extLst>
              </p:cNvPr>
              <p:cNvSpPr/>
              <p:nvPr/>
            </p:nvSpPr>
            <p:spPr>
              <a:xfrm>
                <a:off x="9931910" y="3011500"/>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endParaRPr lang="en-US" sz="1800" dirty="0"/>
              </a:p>
            </p:txBody>
          </p:sp>
          <p:sp>
            <p:nvSpPr>
              <p:cNvPr id="529" name="Freeform 528">
                <a:extLst>
                  <a:ext uri="{FF2B5EF4-FFF2-40B4-BE49-F238E27FC236}">
                    <a16:creationId xmlns:a16="http://schemas.microsoft.com/office/drawing/2014/main" id="{04773BBD-67B7-B1B5-6DD2-FF78654CD2DA}"/>
                  </a:ext>
                </a:extLst>
              </p:cNvPr>
              <p:cNvSpPr/>
              <p:nvPr/>
            </p:nvSpPr>
            <p:spPr>
              <a:xfrm>
                <a:off x="10008481" y="3039982"/>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endParaRPr lang="en-US" sz="1800" dirty="0"/>
              </a:p>
            </p:txBody>
          </p:sp>
          <p:sp>
            <p:nvSpPr>
              <p:cNvPr id="530" name="Freeform 529">
                <a:extLst>
                  <a:ext uri="{FF2B5EF4-FFF2-40B4-BE49-F238E27FC236}">
                    <a16:creationId xmlns:a16="http://schemas.microsoft.com/office/drawing/2014/main" id="{742C7C44-A1D1-2ED5-C66A-8DFD64B35E78}"/>
                  </a:ext>
                </a:extLst>
              </p:cNvPr>
              <p:cNvSpPr/>
              <p:nvPr/>
            </p:nvSpPr>
            <p:spPr>
              <a:xfrm>
                <a:off x="10037863" y="3011500"/>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endParaRPr lang="en-US" sz="1800" dirty="0"/>
              </a:p>
            </p:txBody>
          </p:sp>
          <p:sp>
            <p:nvSpPr>
              <p:cNvPr id="531" name="Freeform 530">
                <a:extLst>
                  <a:ext uri="{FF2B5EF4-FFF2-40B4-BE49-F238E27FC236}">
                    <a16:creationId xmlns:a16="http://schemas.microsoft.com/office/drawing/2014/main" id="{53D3DB93-8225-4BB9-2DE3-416E9692D524}"/>
                  </a:ext>
                </a:extLst>
              </p:cNvPr>
              <p:cNvSpPr/>
              <p:nvPr/>
            </p:nvSpPr>
            <p:spPr>
              <a:xfrm>
                <a:off x="10520597" y="3039982"/>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endParaRPr lang="en-US" sz="1800" dirty="0"/>
              </a:p>
            </p:txBody>
          </p:sp>
          <p:sp>
            <p:nvSpPr>
              <p:cNvPr id="532" name="Freeform 531">
                <a:extLst>
                  <a:ext uri="{FF2B5EF4-FFF2-40B4-BE49-F238E27FC236}">
                    <a16:creationId xmlns:a16="http://schemas.microsoft.com/office/drawing/2014/main" id="{5F8E80E3-000D-8849-4D31-682945DE097C}"/>
                  </a:ext>
                </a:extLst>
              </p:cNvPr>
              <p:cNvSpPr/>
              <p:nvPr/>
            </p:nvSpPr>
            <p:spPr>
              <a:xfrm>
                <a:off x="10549997" y="3011500"/>
                <a:ext cx="17647" cy="56964"/>
              </a:xfrm>
              <a:custGeom>
                <a:avLst/>
                <a:gdLst>
                  <a:gd name="connsiteX0" fmla="*/ 1 w 17647"/>
                  <a:gd name="connsiteY0" fmla="*/ 0 h 56964"/>
                  <a:gd name="connsiteX1" fmla="*/ 1 w 17647"/>
                  <a:gd name="connsiteY1" fmla="*/ 56965 h 56964"/>
                </a:gdLst>
                <a:ahLst/>
                <a:cxnLst>
                  <a:cxn ang="0">
                    <a:pos x="connsiteX0" y="connsiteY0"/>
                  </a:cxn>
                  <a:cxn ang="0">
                    <a:pos x="connsiteX1" y="connsiteY1"/>
                  </a:cxn>
                </a:cxnLst>
                <a:rect l="l" t="t" r="r" b="b"/>
                <a:pathLst>
                  <a:path w="17647" h="56964">
                    <a:moveTo>
                      <a:pt x="1" y="0"/>
                    </a:moveTo>
                    <a:lnTo>
                      <a:pt x="1" y="56965"/>
                    </a:lnTo>
                  </a:path>
                </a:pathLst>
              </a:custGeom>
              <a:ln w="9638" cap="sq">
                <a:solidFill>
                  <a:srgbClr val="27377D"/>
                </a:solidFill>
                <a:prstDash val="solid"/>
                <a:miter/>
              </a:ln>
            </p:spPr>
            <p:txBody>
              <a:bodyPr rtlCol="0" anchor="ctr"/>
              <a:lstStyle/>
              <a:p>
                <a:endParaRPr lang="en-US" sz="1800" dirty="0"/>
              </a:p>
            </p:txBody>
          </p:sp>
        </p:grpSp>
        <p:grpSp>
          <p:nvGrpSpPr>
            <p:cNvPr id="533" name="Graphic 4">
              <a:extLst>
                <a:ext uri="{FF2B5EF4-FFF2-40B4-BE49-F238E27FC236}">
                  <a16:creationId xmlns:a16="http://schemas.microsoft.com/office/drawing/2014/main" id="{896915B4-33A0-ACEA-8E96-06F79AE16245}"/>
                </a:ext>
              </a:extLst>
            </p:cNvPr>
            <p:cNvGrpSpPr/>
            <p:nvPr/>
          </p:nvGrpSpPr>
          <p:grpSpPr>
            <a:xfrm>
              <a:off x="2362324" y="1103840"/>
              <a:ext cx="7958146" cy="1922105"/>
              <a:chOff x="2362323" y="1138833"/>
              <a:chExt cx="8234703" cy="2047725"/>
            </a:xfrm>
            <a:noFill/>
          </p:grpSpPr>
          <p:sp>
            <p:nvSpPr>
              <p:cNvPr id="534" name="Freeform 533">
                <a:extLst>
                  <a:ext uri="{FF2B5EF4-FFF2-40B4-BE49-F238E27FC236}">
                    <a16:creationId xmlns:a16="http://schemas.microsoft.com/office/drawing/2014/main" id="{0786CCB4-DDB4-19B9-0D83-6E7405AB7640}"/>
                  </a:ext>
                </a:extLst>
              </p:cNvPr>
              <p:cNvSpPr/>
              <p:nvPr/>
            </p:nvSpPr>
            <p:spPr>
              <a:xfrm>
                <a:off x="2385829" y="1167315"/>
                <a:ext cx="8181797" cy="1990761"/>
              </a:xfrm>
              <a:custGeom>
                <a:avLst/>
                <a:gdLst>
                  <a:gd name="connsiteX0" fmla="*/ 0 w 8181797"/>
                  <a:gd name="connsiteY0" fmla="*/ 0 h 1990761"/>
                  <a:gd name="connsiteX1" fmla="*/ 382605 w 8181797"/>
                  <a:gd name="connsiteY1" fmla="*/ 0 h 1990761"/>
                  <a:gd name="connsiteX2" fmla="*/ 382605 w 8181797"/>
                  <a:gd name="connsiteY2" fmla="*/ 18476 h 1990761"/>
                  <a:gd name="connsiteX3" fmla="*/ 412005 w 8181797"/>
                  <a:gd name="connsiteY3" fmla="*/ 18476 h 1990761"/>
                  <a:gd name="connsiteX4" fmla="*/ 412005 w 8181797"/>
                  <a:gd name="connsiteY4" fmla="*/ 37094 h 1990761"/>
                  <a:gd name="connsiteX5" fmla="*/ 459158 w 8181797"/>
                  <a:gd name="connsiteY5" fmla="*/ 37094 h 1990761"/>
                  <a:gd name="connsiteX6" fmla="*/ 459158 w 8181797"/>
                  <a:gd name="connsiteY6" fmla="*/ 55694 h 1990761"/>
                  <a:gd name="connsiteX7" fmla="*/ 553358 w 8181797"/>
                  <a:gd name="connsiteY7" fmla="*/ 55694 h 1990761"/>
                  <a:gd name="connsiteX8" fmla="*/ 553358 w 8181797"/>
                  <a:gd name="connsiteY8" fmla="*/ 74559 h 1990761"/>
                  <a:gd name="connsiteX9" fmla="*/ 582758 w 8181797"/>
                  <a:gd name="connsiteY9" fmla="*/ 74559 h 1990761"/>
                  <a:gd name="connsiteX10" fmla="*/ 582758 w 8181797"/>
                  <a:gd name="connsiteY10" fmla="*/ 93547 h 1990761"/>
                  <a:gd name="connsiteX11" fmla="*/ 865199 w 8181797"/>
                  <a:gd name="connsiteY11" fmla="*/ 93547 h 1990761"/>
                  <a:gd name="connsiteX12" fmla="*/ 865199 w 8181797"/>
                  <a:gd name="connsiteY12" fmla="*/ 112659 h 1990761"/>
                  <a:gd name="connsiteX13" fmla="*/ 894740 w 8181797"/>
                  <a:gd name="connsiteY13" fmla="*/ 112659 h 1990761"/>
                  <a:gd name="connsiteX14" fmla="*/ 894740 w 8181797"/>
                  <a:gd name="connsiteY14" fmla="*/ 131894 h 1990761"/>
                  <a:gd name="connsiteX15" fmla="*/ 900616 w 8181797"/>
                  <a:gd name="connsiteY15" fmla="*/ 131894 h 1990761"/>
                  <a:gd name="connsiteX16" fmla="*/ 900616 w 8181797"/>
                  <a:gd name="connsiteY16" fmla="*/ 151006 h 1990761"/>
                  <a:gd name="connsiteX17" fmla="*/ 1000692 w 8181797"/>
                  <a:gd name="connsiteY17" fmla="*/ 151006 h 1990761"/>
                  <a:gd name="connsiteX18" fmla="*/ 1000692 w 8181797"/>
                  <a:gd name="connsiteY18" fmla="*/ 170365 h 1990761"/>
                  <a:gd name="connsiteX19" fmla="*/ 1024198 w 8181797"/>
                  <a:gd name="connsiteY19" fmla="*/ 170365 h 1990761"/>
                  <a:gd name="connsiteX20" fmla="*/ 1024198 w 8181797"/>
                  <a:gd name="connsiteY20" fmla="*/ 209100 h 1990761"/>
                  <a:gd name="connsiteX21" fmla="*/ 1041845 w 8181797"/>
                  <a:gd name="connsiteY21" fmla="*/ 209100 h 1990761"/>
                  <a:gd name="connsiteX22" fmla="*/ 1041845 w 8181797"/>
                  <a:gd name="connsiteY22" fmla="*/ 228335 h 1990761"/>
                  <a:gd name="connsiteX23" fmla="*/ 1077104 w 8181797"/>
                  <a:gd name="connsiteY23" fmla="*/ 228335 h 1990761"/>
                  <a:gd name="connsiteX24" fmla="*/ 1077104 w 8181797"/>
                  <a:gd name="connsiteY24" fmla="*/ 247711 h 1990761"/>
                  <a:gd name="connsiteX25" fmla="*/ 1088998 w 8181797"/>
                  <a:gd name="connsiteY25" fmla="*/ 247711 h 1990761"/>
                  <a:gd name="connsiteX26" fmla="*/ 1088998 w 8181797"/>
                  <a:gd name="connsiteY26" fmla="*/ 267070 h 1990761"/>
                  <a:gd name="connsiteX27" fmla="*/ 1153675 w 8181797"/>
                  <a:gd name="connsiteY27" fmla="*/ 267070 h 1990761"/>
                  <a:gd name="connsiteX28" fmla="*/ 1153675 w 8181797"/>
                  <a:gd name="connsiteY28" fmla="*/ 305929 h 1990761"/>
                  <a:gd name="connsiteX29" fmla="*/ 1247857 w 8181797"/>
                  <a:gd name="connsiteY29" fmla="*/ 305929 h 1990761"/>
                  <a:gd name="connsiteX30" fmla="*/ 1247857 w 8181797"/>
                  <a:gd name="connsiteY30" fmla="*/ 325429 h 1990761"/>
                  <a:gd name="connsiteX31" fmla="*/ 1265504 w 8181797"/>
                  <a:gd name="connsiteY31" fmla="*/ 325429 h 1990761"/>
                  <a:gd name="connsiteX32" fmla="*/ 1265504 w 8181797"/>
                  <a:gd name="connsiteY32" fmla="*/ 344788 h 1990761"/>
                  <a:gd name="connsiteX33" fmla="*/ 1295027 w 8181797"/>
                  <a:gd name="connsiteY33" fmla="*/ 344788 h 1990761"/>
                  <a:gd name="connsiteX34" fmla="*/ 1295027 w 8181797"/>
                  <a:gd name="connsiteY34" fmla="*/ 364288 h 1990761"/>
                  <a:gd name="connsiteX35" fmla="*/ 1406857 w 8181797"/>
                  <a:gd name="connsiteY35" fmla="*/ 364288 h 1990761"/>
                  <a:gd name="connsiteX36" fmla="*/ 1406857 w 8181797"/>
                  <a:gd name="connsiteY36" fmla="*/ 383770 h 1990761"/>
                  <a:gd name="connsiteX37" fmla="*/ 1430380 w 8181797"/>
                  <a:gd name="connsiteY37" fmla="*/ 383770 h 1990761"/>
                  <a:gd name="connsiteX38" fmla="*/ 1430380 w 8181797"/>
                  <a:gd name="connsiteY38" fmla="*/ 403146 h 1990761"/>
                  <a:gd name="connsiteX39" fmla="*/ 1453886 w 8181797"/>
                  <a:gd name="connsiteY39" fmla="*/ 403146 h 1990761"/>
                  <a:gd name="connsiteX40" fmla="*/ 1453886 w 8181797"/>
                  <a:gd name="connsiteY40" fmla="*/ 422629 h 1990761"/>
                  <a:gd name="connsiteX41" fmla="*/ 1471533 w 8181797"/>
                  <a:gd name="connsiteY41" fmla="*/ 422629 h 1990761"/>
                  <a:gd name="connsiteX42" fmla="*/ 1471533 w 8181797"/>
                  <a:gd name="connsiteY42" fmla="*/ 442252 h 1990761"/>
                  <a:gd name="connsiteX43" fmla="*/ 1559838 w 8181797"/>
                  <a:gd name="connsiteY43" fmla="*/ 442252 h 1990761"/>
                  <a:gd name="connsiteX44" fmla="*/ 1559838 w 8181797"/>
                  <a:gd name="connsiteY44" fmla="*/ 461752 h 1990761"/>
                  <a:gd name="connsiteX45" fmla="*/ 1583362 w 8181797"/>
                  <a:gd name="connsiteY45" fmla="*/ 461752 h 1990761"/>
                  <a:gd name="connsiteX46" fmla="*/ 1583362 w 8181797"/>
                  <a:gd name="connsiteY46" fmla="*/ 500982 h 1990761"/>
                  <a:gd name="connsiteX47" fmla="*/ 1665791 w 8181797"/>
                  <a:gd name="connsiteY47" fmla="*/ 500982 h 1990761"/>
                  <a:gd name="connsiteX48" fmla="*/ 1665791 w 8181797"/>
                  <a:gd name="connsiteY48" fmla="*/ 520482 h 1990761"/>
                  <a:gd name="connsiteX49" fmla="*/ 1712821 w 8181797"/>
                  <a:gd name="connsiteY49" fmla="*/ 520482 h 1990761"/>
                  <a:gd name="connsiteX50" fmla="*/ 1712821 w 8181797"/>
                  <a:gd name="connsiteY50" fmla="*/ 540229 h 1990761"/>
                  <a:gd name="connsiteX51" fmla="*/ 1718838 w 8181797"/>
                  <a:gd name="connsiteY51" fmla="*/ 540229 h 1990761"/>
                  <a:gd name="connsiteX52" fmla="*/ 1718838 w 8181797"/>
                  <a:gd name="connsiteY52" fmla="*/ 579581 h 1990761"/>
                  <a:gd name="connsiteX53" fmla="*/ 1736468 w 8181797"/>
                  <a:gd name="connsiteY53" fmla="*/ 579581 h 1990761"/>
                  <a:gd name="connsiteX54" fmla="*/ 1736468 w 8181797"/>
                  <a:gd name="connsiteY54" fmla="*/ 599328 h 1990761"/>
                  <a:gd name="connsiteX55" fmla="*/ 1742344 w 8181797"/>
                  <a:gd name="connsiteY55" fmla="*/ 599328 h 1990761"/>
                  <a:gd name="connsiteX56" fmla="*/ 1742344 w 8181797"/>
                  <a:gd name="connsiteY56" fmla="*/ 619075 h 1990761"/>
                  <a:gd name="connsiteX57" fmla="*/ 1754115 w 8181797"/>
                  <a:gd name="connsiteY57" fmla="*/ 619075 h 1990761"/>
                  <a:gd name="connsiteX58" fmla="*/ 1754115 w 8181797"/>
                  <a:gd name="connsiteY58" fmla="*/ 638822 h 1990761"/>
                  <a:gd name="connsiteX59" fmla="*/ 1777621 w 8181797"/>
                  <a:gd name="connsiteY59" fmla="*/ 638822 h 1990761"/>
                  <a:gd name="connsiteX60" fmla="*/ 1777621 w 8181797"/>
                  <a:gd name="connsiteY60" fmla="*/ 658446 h 1990761"/>
                  <a:gd name="connsiteX61" fmla="*/ 1824650 w 8181797"/>
                  <a:gd name="connsiteY61" fmla="*/ 658446 h 1990761"/>
                  <a:gd name="connsiteX62" fmla="*/ 1824650 w 8181797"/>
                  <a:gd name="connsiteY62" fmla="*/ 678193 h 1990761"/>
                  <a:gd name="connsiteX63" fmla="*/ 1830667 w 8181797"/>
                  <a:gd name="connsiteY63" fmla="*/ 678193 h 1990761"/>
                  <a:gd name="connsiteX64" fmla="*/ 1830667 w 8181797"/>
                  <a:gd name="connsiteY64" fmla="*/ 697940 h 1990761"/>
                  <a:gd name="connsiteX65" fmla="*/ 1836544 w 8181797"/>
                  <a:gd name="connsiteY65" fmla="*/ 697940 h 1990761"/>
                  <a:gd name="connsiteX66" fmla="*/ 1836544 w 8181797"/>
                  <a:gd name="connsiteY66" fmla="*/ 717546 h 1990761"/>
                  <a:gd name="connsiteX67" fmla="*/ 1842420 w 8181797"/>
                  <a:gd name="connsiteY67" fmla="*/ 717546 h 1990761"/>
                  <a:gd name="connsiteX68" fmla="*/ 1842420 w 8181797"/>
                  <a:gd name="connsiteY68" fmla="*/ 737293 h 1990761"/>
                  <a:gd name="connsiteX69" fmla="*/ 1901220 w 8181797"/>
                  <a:gd name="connsiteY69" fmla="*/ 737293 h 1990761"/>
                  <a:gd name="connsiteX70" fmla="*/ 1901220 w 8181797"/>
                  <a:gd name="connsiteY70" fmla="*/ 757040 h 1990761"/>
                  <a:gd name="connsiteX71" fmla="*/ 1954250 w 8181797"/>
                  <a:gd name="connsiteY71" fmla="*/ 757040 h 1990761"/>
                  <a:gd name="connsiteX72" fmla="*/ 1954250 w 8181797"/>
                  <a:gd name="connsiteY72" fmla="*/ 776663 h 1990761"/>
                  <a:gd name="connsiteX73" fmla="*/ 2024802 w 8181797"/>
                  <a:gd name="connsiteY73" fmla="*/ 776663 h 1990761"/>
                  <a:gd name="connsiteX74" fmla="*/ 2024802 w 8181797"/>
                  <a:gd name="connsiteY74" fmla="*/ 796410 h 1990761"/>
                  <a:gd name="connsiteX75" fmla="*/ 2030679 w 8181797"/>
                  <a:gd name="connsiteY75" fmla="*/ 796410 h 1990761"/>
                  <a:gd name="connsiteX76" fmla="*/ 2030679 w 8181797"/>
                  <a:gd name="connsiteY76" fmla="*/ 816157 h 1990761"/>
                  <a:gd name="connsiteX77" fmla="*/ 2077849 w 8181797"/>
                  <a:gd name="connsiteY77" fmla="*/ 816157 h 1990761"/>
                  <a:gd name="connsiteX78" fmla="*/ 2077849 w 8181797"/>
                  <a:gd name="connsiteY78" fmla="*/ 835904 h 1990761"/>
                  <a:gd name="connsiteX79" fmla="*/ 2083726 w 8181797"/>
                  <a:gd name="connsiteY79" fmla="*/ 835904 h 1990761"/>
                  <a:gd name="connsiteX80" fmla="*/ 2083726 w 8181797"/>
                  <a:gd name="connsiteY80" fmla="*/ 855510 h 1990761"/>
                  <a:gd name="connsiteX81" fmla="*/ 2136632 w 8181797"/>
                  <a:gd name="connsiteY81" fmla="*/ 855510 h 1990761"/>
                  <a:gd name="connsiteX82" fmla="*/ 2136632 w 8181797"/>
                  <a:gd name="connsiteY82" fmla="*/ 875381 h 1990761"/>
                  <a:gd name="connsiteX83" fmla="*/ 2172032 w 8181797"/>
                  <a:gd name="connsiteY83" fmla="*/ 875381 h 1990761"/>
                  <a:gd name="connsiteX84" fmla="*/ 2172032 w 8181797"/>
                  <a:gd name="connsiteY84" fmla="*/ 895516 h 1990761"/>
                  <a:gd name="connsiteX85" fmla="*/ 2277984 w 8181797"/>
                  <a:gd name="connsiteY85" fmla="*/ 895516 h 1990761"/>
                  <a:gd name="connsiteX86" fmla="*/ 2277984 w 8181797"/>
                  <a:gd name="connsiteY86" fmla="*/ 915775 h 1990761"/>
                  <a:gd name="connsiteX87" fmla="*/ 2283879 w 8181797"/>
                  <a:gd name="connsiteY87" fmla="*/ 915775 h 1990761"/>
                  <a:gd name="connsiteX88" fmla="*/ 2283879 w 8181797"/>
                  <a:gd name="connsiteY88" fmla="*/ 935892 h 1990761"/>
                  <a:gd name="connsiteX89" fmla="*/ 2330908 w 8181797"/>
                  <a:gd name="connsiteY89" fmla="*/ 935892 h 1990761"/>
                  <a:gd name="connsiteX90" fmla="*/ 2330908 w 8181797"/>
                  <a:gd name="connsiteY90" fmla="*/ 956275 h 1990761"/>
                  <a:gd name="connsiteX91" fmla="*/ 2336784 w 8181797"/>
                  <a:gd name="connsiteY91" fmla="*/ 956275 h 1990761"/>
                  <a:gd name="connsiteX92" fmla="*/ 2336784 w 8181797"/>
                  <a:gd name="connsiteY92" fmla="*/ 1017281 h 1990761"/>
                  <a:gd name="connsiteX93" fmla="*/ 2348537 w 8181797"/>
                  <a:gd name="connsiteY93" fmla="*/ 1017281 h 1990761"/>
                  <a:gd name="connsiteX94" fmla="*/ 2348537 w 8181797"/>
                  <a:gd name="connsiteY94" fmla="*/ 1037539 h 1990761"/>
                  <a:gd name="connsiteX95" fmla="*/ 2366308 w 8181797"/>
                  <a:gd name="connsiteY95" fmla="*/ 1037539 h 1990761"/>
                  <a:gd name="connsiteX96" fmla="*/ 2366308 w 8181797"/>
                  <a:gd name="connsiteY96" fmla="*/ 1057904 h 1990761"/>
                  <a:gd name="connsiteX97" fmla="*/ 2613490 w 8181797"/>
                  <a:gd name="connsiteY97" fmla="*/ 1057904 h 1990761"/>
                  <a:gd name="connsiteX98" fmla="*/ 2613490 w 8181797"/>
                  <a:gd name="connsiteY98" fmla="*/ 1078163 h 1990761"/>
                  <a:gd name="connsiteX99" fmla="*/ 2636995 w 8181797"/>
                  <a:gd name="connsiteY99" fmla="*/ 1078163 h 1990761"/>
                  <a:gd name="connsiteX100" fmla="*/ 2636995 w 8181797"/>
                  <a:gd name="connsiteY100" fmla="*/ 1098545 h 1990761"/>
                  <a:gd name="connsiteX101" fmla="*/ 2642890 w 8181797"/>
                  <a:gd name="connsiteY101" fmla="*/ 1098545 h 1990761"/>
                  <a:gd name="connsiteX102" fmla="*/ 2642890 w 8181797"/>
                  <a:gd name="connsiteY102" fmla="*/ 1118910 h 1990761"/>
                  <a:gd name="connsiteX103" fmla="*/ 2725319 w 8181797"/>
                  <a:gd name="connsiteY103" fmla="*/ 1118910 h 1990761"/>
                  <a:gd name="connsiteX104" fmla="*/ 2725319 w 8181797"/>
                  <a:gd name="connsiteY104" fmla="*/ 1139416 h 1990761"/>
                  <a:gd name="connsiteX105" fmla="*/ 2748842 w 8181797"/>
                  <a:gd name="connsiteY105" fmla="*/ 1139416 h 1990761"/>
                  <a:gd name="connsiteX106" fmla="*/ 2748842 w 8181797"/>
                  <a:gd name="connsiteY106" fmla="*/ 1159922 h 1990761"/>
                  <a:gd name="connsiteX107" fmla="*/ 2848901 w 8181797"/>
                  <a:gd name="connsiteY107" fmla="*/ 1159922 h 1990761"/>
                  <a:gd name="connsiteX108" fmla="*/ 2848901 w 8181797"/>
                  <a:gd name="connsiteY108" fmla="*/ 1180428 h 1990761"/>
                  <a:gd name="connsiteX109" fmla="*/ 3084330 w 8181797"/>
                  <a:gd name="connsiteY109" fmla="*/ 1180428 h 1990761"/>
                  <a:gd name="connsiteX110" fmla="*/ 3084330 w 8181797"/>
                  <a:gd name="connsiteY110" fmla="*/ 1201321 h 1990761"/>
                  <a:gd name="connsiteX111" fmla="*/ 3125606 w 8181797"/>
                  <a:gd name="connsiteY111" fmla="*/ 1201321 h 1990761"/>
                  <a:gd name="connsiteX112" fmla="*/ 3125606 w 8181797"/>
                  <a:gd name="connsiteY112" fmla="*/ 1222198 h 1990761"/>
                  <a:gd name="connsiteX113" fmla="*/ 3207912 w 8181797"/>
                  <a:gd name="connsiteY113" fmla="*/ 1222198 h 1990761"/>
                  <a:gd name="connsiteX114" fmla="*/ 3207912 w 8181797"/>
                  <a:gd name="connsiteY114" fmla="*/ 1243092 h 1990761"/>
                  <a:gd name="connsiteX115" fmla="*/ 3237436 w 8181797"/>
                  <a:gd name="connsiteY115" fmla="*/ 1243092 h 1990761"/>
                  <a:gd name="connsiteX116" fmla="*/ 3237436 w 8181797"/>
                  <a:gd name="connsiteY116" fmla="*/ 1263968 h 1990761"/>
                  <a:gd name="connsiteX117" fmla="*/ 3272712 w 8181797"/>
                  <a:gd name="connsiteY117" fmla="*/ 1263968 h 1990761"/>
                  <a:gd name="connsiteX118" fmla="*/ 3272712 w 8181797"/>
                  <a:gd name="connsiteY118" fmla="*/ 1284863 h 1990761"/>
                  <a:gd name="connsiteX119" fmla="*/ 3307988 w 8181797"/>
                  <a:gd name="connsiteY119" fmla="*/ 1284863 h 1990761"/>
                  <a:gd name="connsiteX120" fmla="*/ 3307988 w 8181797"/>
                  <a:gd name="connsiteY120" fmla="*/ 1305739 h 1990761"/>
                  <a:gd name="connsiteX121" fmla="*/ 3361036 w 8181797"/>
                  <a:gd name="connsiteY121" fmla="*/ 1305739 h 1990761"/>
                  <a:gd name="connsiteX122" fmla="*/ 3361036 w 8181797"/>
                  <a:gd name="connsiteY122" fmla="*/ 1327268 h 1990761"/>
                  <a:gd name="connsiteX123" fmla="*/ 3419818 w 8181797"/>
                  <a:gd name="connsiteY123" fmla="*/ 1327268 h 1990761"/>
                  <a:gd name="connsiteX124" fmla="*/ 3419818 w 8181797"/>
                  <a:gd name="connsiteY124" fmla="*/ 1349662 h 1990761"/>
                  <a:gd name="connsiteX125" fmla="*/ 3490494 w 8181797"/>
                  <a:gd name="connsiteY125" fmla="*/ 1349662 h 1990761"/>
                  <a:gd name="connsiteX126" fmla="*/ 3490494 w 8181797"/>
                  <a:gd name="connsiteY126" fmla="*/ 1372321 h 1990761"/>
                  <a:gd name="connsiteX127" fmla="*/ 3602341 w 8181797"/>
                  <a:gd name="connsiteY127" fmla="*/ 1372321 h 1990761"/>
                  <a:gd name="connsiteX128" fmla="*/ 3602341 w 8181797"/>
                  <a:gd name="connsiteY128" fmla="*/ 1395986 h 1990761"/>
                  <a:gd name="connsiteX129" fmla="*/ 3655370 w 8181797"/>
                  <a:gd name="connsiteY129" fmla="*/ 1395986 h 1990761"/>
                  <a:gd name="connsiteX130" fmla="*/ 3655370 w 8181797"/>
                  <a:gd name="connsiteY130" fmla="*/ 1419915 h 1990761"/>
                  <a:gd name="connsiteX131" fmla="*/ 3690647 w 8181797"/>
                  <a:gd name="connsiteY131" fmla="*/ 1419915 h 1990761"/>
                  <a:gd name="connsiteX132" fmla="*/ 3690647 w 8181797"/>
                  <a:gd name="connsiteY132" fmla="*/ 1443968 h 1990761"/>
                  <a:gd name="connsiteX133" fmla="*/ 3755446 w 8181797"/>
                  <a:gd name="connsiteY133" fmla="*/ 1443968 h 1990761"/>
                  <a:gd name="connsiteX134" fmla="*/ 3755446 w 8181797"/>
                  <a:gd name="connsiteY134" fmla="*/ 1468762 h 1990761"/>
                  <a:gd name="connsiteX135" fmla="*/ 3926076 w 8181797"/>
                  <a:gd name="connsiteY135" fmla="*/ 1468762 h 1990761"/>
                  <a:gd name="connsiteX136" fmla="*/ 3926076 w 8181797"/>
                  <a:gd name="connsiteY136" fmla="*/ 1494597 h 1990761"/>
                  <a:gd name="connsiteX137" fmla="*/ 4126211 w 8181797"/>
                  <a:gd name="connsiteY137" fmla="*/ 1494597 h 1990761"/>
                  <a:gd name="connsiteX138" fmla="*/ 4126211 w 8181797"/>
                  <a:gd name="connsiteY138" fmla="*/ 1521809 h 1990761"/>
                  <a:gd name="connsiteX139" fmla="*/ 4167364 w 8181797"/>
                  <a:gd name="connsiteY139" fmla="*/ 1521809 h 1990761"/>
                  <a:gd name="connsiteX140" fmla="*/ 4167364 w 8181797"/>
                  <a:gd name="connsiteY140" fmla="*/ 1550292 h 1990761"/>
                  <a:gd name="connsiteX141" fmla="*/ 4279334 w 8181797"/>
                  <a:gd name="connsiteY141" fmla="*/ 1550292 h 1990761"/>
                  <a:gd name="connsiteX142" fmla="*/ 4279334 w 8181797"/>
                  <a:gd name="connsiteY142" fmla="*/ 1580538 h 1990761"/>
                  <a:gd name="connsiteX143" fmla="*/ 4338116 w 8181797"/>
                  <a:gd name="connsiteY143" fmla="*/ 1580538 h 1990761"/>
                  <a:gd name="connsiteX144" fmla="*/ 4338116 w 8181797"/>
                  <a:gd name="connsiteY144" fmla="*/ 1611791 h 1990761"/>
                  <a:gd name="connsiteX145" fmla="*/ 4402916 w 8181797"/>
                  <a:gd name="connsiteY145" fmla="*/ 1611791 h 1990761"/>
                  <a:gd name="connsiteX146" fmla="*/ 4402916 w 8181797"/>
                  <a:gd name="connsiteY146" fmla="*/ 1677738 h 1990761"/>
                  <a:gd name="connsiteX147" fmla="*/ 4655974 w 8181797"/>
                  <a:gd name="connsiteY147" fmla="*/ 1677738 h 1990761"/>
                  <a:gd name="connsiteX148" fmla="*/ 4655974 w 8181797"/>
                  <a:gd name="connsiteY148" fmla="*/ 1712679 h 1990761"/>
                  <a:gd name="connsiteX149" fmla="*/ 4756050 w 8181797"/>
                  <a:gd name="connsiteY149" fmla="*/ 1712679 h 1990761"/>
                  <a:gd name="connsiteX150" fmla="*/ 4756050 w 8181797"/>
                  <a:gd name="connsiteY150" fmla="*/ 1747479 h 1990761"/>
                  <a:gd name="connsiteX151" fmla="*/ 5103309 w 8181797"/>
                  <a:gd name="connsiteY151" fmla="*/ 1747479 h 1990761"/>
                  <a:gd name="connsiteX152" fmla="*/ 5103309 w 8181797"/>
                  <a:gd name="connsiteY152" fmla="*/ 1793679 h 1990761"/>
                  <a:gd name="connsiteX153" fmla="*/ 5173985 w 8181797"/>
                  <a:gd name="connsiteY153" fmla="*/ 1793679 h 1990761"/>
                  <a:gd name="connsiteX154" fmla="*/ 5173985 w 8181797"/>
                  <a:gd name="connsiteY154" fmla="*/ 1842667 h 1990761"/>
                  <a:gd name="connsiteX155" fmla="*/ 5268168 w 8181797"/>
                  <a:gd name="connsiteY155" fmla="*/ 1842667 h 1990761"/>
                  <a:gd name="connsiteX156" fmla="*/ 5268168 w 8181797"/>
                  <a:gd name="connsiteY156" fmla="*/ 1893050 h 1990761"/>
                  <a:gd name="connsiteX157" fmla="*/ 6427771 w 8181797"/>
                  <a:gd name="connsiteY157" fmla="*/ 1893050 h 1990761"/>
                  <a:gd name="connsiteX158" fmla="*/ 6427771 w 8181797"/>
                  <a:gd name="connsiteY158" fmla="*/ 1990761 h 1990761"/>
                  <a:gd name="connsiteX159" fmla="*/ 8181798 w 8181797"/>
                  <a:gd name="connsiteY159" fmla="*/ 1990761 h 1990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Lst>
                <a:rect l="l" t="t" r="r" b="b"/>
                <a:pathLst>
                  <a:path w="8181797" h="1990761">
                    <a:moveTo>
                      <a:pt x="0" y="0"/>
                    </a:moveTo>
                    <a:lnTo>
                      <a:pt x="382605" y="0"/>
                    </a:lnTo>
                    <a:lnTo>
                      <a:pt x="382605" y="18476"/>
                    </a:lnTo>
                    <a:lnTo>
                      <a:pt x="412005" y="18476"/>
                    </a:lnTo>
                    <a:lnTo>
                      <a:pt x="412005" y="37094"/>
                    </a:lnTo>
                    <a:lnTo>
                      <a:pt x="459158" y="37094"/>
                    </a:lnTo>
                    <a:lnTo>
                      <a:pt x="459158" y="55694"/>
                    </a:lnTo>
                    <a:lnTo>
                      <a:pt x="553358" y="55694"/>
                    </a:lnTo>
                    <a:lnTo>
                      <a:pt x="553358" y="74559"/>
                    </a:lnTo>
                    <a:lnTo>
                      <a:pt x="582758" y="74559"/>
                    </a:lnTo>
                    <a:lnTo>
                      <a:pt x="582758" y="93547"/>
                    </a:lnTo>
                    <a:lnTo>
                      <a:pt x="865199" y="93547"/>
                    </a:lnTo>
                    <a:lnTo>
                      <a:pt x="865199" y="112659"/>
                    </a:lnTo>
                    <a:lnTo>
                      <a:pt x="894740" y="112659"/>
                    </a:lnTo>
                    <a:lnTo>
                      <a:pt x="894740" y="131894"/>
                    </a:lnTo>
                    <a:lnTo>
                      <a:pt x="900616" y="131894"/>
                    </a:lnTo>
                    <a:lnTo>
                      <a:pt x="900616" y="151006"/>
                    </a:lnTo>
                    <a:lnTo>
                      <a:pt x="1000692" y="151006"/>
                    </a:lnTo>
                    <a:lnTo>
                      <a:pt x="1000692" y="170365"/>
                    </a:lnTo>
                    <a:lnTo>
                      <a:pt x="1024198" y="170365"/>
                    </a:lnTo>
                    <a:lnTo>
                      <a:pt x="1024198" y="209100"/>
                    </a:lnTo>
                    <a:lnTo>
                      <a:pt x="1041845" y="209100"/>
                    </a:lnTo>
                    <a:lnTo>
                      <a:pt x="1041845" y="228335"/>
                    </a:lnTo>
                    <a:lnTo>
                      <a:pt x="1077104" y="228335"/>
                    </a:lnTo>
                    <a:lnTo>
                      <a:pt x="1077104" y="247711"/>
                    </a:lnTo>
                    <a:lnTo>
                      <a:pt x="1088998" y="247711"/>
                    </a:lnTo>
                    <a:lnTo>
                      <a:pt x="1088998" y="267070"/>
                    </a:lnTo>
                    <a:lnTo>
                      <a:pt x="1153675" y="267070"/>
                    </a:lnTo>
                    <a:lnTo>
                      <a:pt x="1153675" y="305929"/>
                    </a:lnTo>
                    <a:lnTo>
                      <a:pt x="1247857" y="305929"/>
                    </a:lnTo>
                    <a:lnTo>
                      <a:pt x="1247857" y="325429"/>
                    </a:lnTo>
                    <a:lnTo>
                      <a:pt x="1265504" y="325429"/>
                    </a:lnTo>
                    <a:lnTo>
                      <a:pt x="1265504" y="344788"/>
                    </a:lnTo>
                    <a:lnTo>
                      <a:pt x="1295027" y="344788"/>
                    </a:lnTo>
                    <a:lnTo>
                      <a:pt x="1295027" y="364288"/>
                    </a:lnTo>
                    <a:lnTo>
                      <a:pt x="1406857" y="364288"/>
                    </a:lnTo>
                    <a:lnTo>
                      <a:pt x="1406857" y="383770"/>
                    </a:lnTo>
                    <a:lnTo>
                      <a:pt x="1430380" y="383770"/>
                    </a:lnTo>
                    <a:lnTo>
                      <a:pt x="1430380" y="403146"/>
                    </a:lnTo>
                    <a:lnTo>
                      <a:pt x="1453886" y="403146"/>
                    </a:lnTo>
                    <a:lnTo>
                      <a:pt x="1453886" y="422629"/>
                    </a:lnTo>
                    <a:lnTo>
                      <a:pt x="1471533" y="422629"/>
                    </a:lnTo>
                    <a:lnTo>
                      <a:pt x="1471533" y="442252"/>
                    </a:lnTo>
                    <a:lnTo>
                      <a:pt x="1559838" y="442252"/>
                    </a:lnTo>
                    <a:lnTo>
                      <a:pt x="1559838" y="461752"/>
                    </a:lnTo>
                    <a:lnTo>
                      <a:pt x="1583362" y="461752"/>
                    </a:lnTo>
                    <a:lnTo>
                      <a:pt x="1583362" y="500982"/>
                    </a:lnTo>
                    <a:lnTo>
                      <a:pt x="1665791" y="500982"/>
                    </a:lnTo>
                    <a:lnTo>
                      <a:pt x="1665791" y="520482"/>
                    </a:lnTo>
                    <a:lnTo>
                      <a:pt x="1712821" y="520482"/>
                    </a:lnTo>
                    <a:lnTo>
                      <a:pt x="1712821" y="540229"/>
                    </a:lnTo>
                    <a:lnTo>
                      <a:pt x="1718838" y="540229"/>
                    </a:lnTo>
                    <a:lnTo>
                      <a:pt x="1718838" y="579581"/>
                    </a:lnTo>
                    <a:lnTo>
                      <a:pt x="1736468" y="579581"/>
                    </a:lnTo>
                    <a:lnTo>
                      <a:pt x="1736468" y="599328"/>
                    </a:lnTo>
                    <a:lnTo>
                      <a:pt x="1742344" y="599328"/>
                    </a:lnTo>
                    <a:lnTo>
                      <a:pt x="1742344" y="619075"/>
                    </a:lnTo>
                    <a:lnTo>
                      <a:pt x="1754115" y="619075"/>
                    </a:lnTo>
                    <a:lnTo>
                      <a:pt x="1754115" y="638822"/>
                    </a:lnTo>
                    <a:lnTo>
                      <a:pt x="1777621" y="638822"/>
                    </a:lnTo>
                    <a:lnTo>
                      <a:pt x="1777621" y="658446"/>
                    </a:lnTo>
                    <a:lnTo>
                      <a:pt x="1824650" y="658446"/>
                    </a:lnTo>
                    <a:lnTo>
                      <a:pt x="1824650" y="678193"/>
                    </a:lnTo>
                    <a:lnTo>
                      <a:pt x="1830667" y="678193"/>
                    </a:lnTo>
                    <a:lnTo>
                      <a:pt x="1830667" y="697940"/>
                    </a:lnTo>
                    <a:lnTo>
                      <a:pt x="1836544" y="697940"/>
                    </a:lnTo>
                    <a:lnTo>
                      <a:pt x="1836544" y="717546"/>
                    </a:lnTo>
                    <a:lnTo>
                      <a:pt x="1842420" y="717546"/>
                    </a:lnTo>
                    <a:lnTo>
                      <a:pt x="1842420" y="737293"/>
                    </a:lnTo>
                    <a:lnTo>
                      <a:pt x="1901220" y="737293"/>
                    </a:lnTo>
                    <a:lnTo>
                      <a:pt x="1901220" y="757040"/>
                    </a:lnTo>
                    <a:lnTo>
                      <a:pt x="1954250" y="757040"/>
                    </a:lnTo>
                    <a:lnTo>
                      <a:pt x="1954250" y="776663"/>
                    </a:lnTo>
                    <a:lnTo>
                      <a:pt x="2024802" y="776663"/>
                    </a:lnTo>
                    <a:lnTo>
                      <a:pt x="2024802" y="796410"/>
                    </a:lnTo>
                    <a:lnTo>
                      <a:pt x="2030679" y="796410"/>
                    </a:lnTo>
                    <a:lnTo>
                      <a:pt x="2030679" y="816157"/>
                    </a:lnTo>
                    <a:lnTo>
                      <a:pt x="2077849" y="816157"/>
                    </a:lnTo>
                    <a:lnTo>
                      <a:pt x="2077849" y="835904"/>
                    </a:lnTo>
                    <a:lnTo>
                      <a:pt x="2083726" y="835904"/>
                    </a:lnTo>
                    <a:lnTo>
                      <a:pt x="2083726" y="855510"/>
                    </a:lnTo>
                    <a:lnTo>
                      <a:pt x="2136632" y="855510"/>
                    </a:lnTo>
                    <a:lnTo>
                      <a:pt x="2136632" y="875381"/>
                    </a:lnTo>
                    <a:lnTo>
                      <a:pt x="2172032" y="875381"/>
                    </a:lnTo>
                    <a:lnTo>
                      <a:pt x="2172032" y="895516"/>
                    </a:lnTo>
                    <a:lnTo>
                      <a:pt x="2277984" y="895516"/>
                    </a:lnTo>
                    <a:lnTo>
                      <a:pt x="2277984" y="915775"/>
                    </a:lnTo>
                    <a:lnTo>
                      <a:pt x="2283879" y="915775"/>
                    </a:lnTo>
                    <a:lnTo>
                      <a:pt x="2283879" y="935892"/>
                    </a:lnTo>
                    <a:lnTo>
                      <a:pt x="2330908" y="935892"/>
                    </a:lnTo>
                    <a:lnTo>
                      <a:pt x="2330908" y="956275"/>
                    </a:lnTo>
                    <a:lnTo>
                      <a:pt x="2336784" y="956275"/>
                    </a:lnTo>
                    <a:lnTo>
                      <a:pt x="2336784" y="1017281"/>
                    </a:lnTo>
                    <a:lnTo>
                      <a:pt x="2348537" y="1017281"/>
                    </a:lnTo>
                    <a:lnTo>
                      <a:pt x="2348537" y="1037539"/>
                    </a:lnTo>
                    <a:lnTo>
                      <a:pt x="2366308" y="1037539"/>
                    </a:lnTo>
                    <a:lnTo>
                      <a:pt x="2366308" y="1057904"/>
                    </a:lnTo>
                    <a:lnTo>
                      <a:pt x="2613490" y="1057904"/>
                    </a:lnTo>
                    <a:lnTo>
                      <a:pt x="2613490" y="1078163"/>
                    </a:lnTo>
                    <a:lnTo>
                      <a:pt x="2636995" y="1078163"/>
                    </a:lnTo>
                    <a:lnTo>
                      <a:pt x="2636995" y="1098545"/>
                    </a:lnTo>
                    <a:lnTo>
                      <a:pt x="2642890" y="1098545"/>
                    </a:lnTo>
                    <a:lnTo>
                      <a:pt x="2642890" y="1118910"/>
                    </a:lnTo>
                    <a:lnTo>
                      <a:pt x="2725319" y="1118910"/>
                    </a:lnTo>
                    <a:lnTo>
                      <a:pt x="2725319" y="1139416"/>
                    </a:lnTo>
                    <a:lnTo>
                      <a:pt x="2748842" y="1139416"/>
                    </a:lnTo>
                    <a:lnTo>
                      <a:pt x="2748842" y="1159922"/>
                    </a:lnTo>
                    <a:lnTo>
                      <a:pt x="2848901" y="1159922"/>
                    </a:lnTo>
                    <a:lnTo>
                      <a:pt x="2848901" y="1180428"/>
                    </a:lnTo>
                    <a:lnTo>
                      <a:pt x="3084330" y="1180428"/>
                    </a:lnTo>
                    <a:lnTo>
                      <a:pt x="3084330" y="1201321"/>
                    </a:lnTo>
                    <a:lnTo>
                      <a:pt x="3125606" y="1201321"/>
                    </a:lnTo>
                    <a:lnTo>
                      <a:pt x="3125606" y="1222198"/>
                    </a:lnTo>
                    <a:lnTo>
                      <a:pt x="3207912" y="1222198"/>
                    </a:lnTo>
                    <a:lnTo>
                      <a:pt x="3207912" y="1243092"/>
                    </a:lnTo>
                    <a:lnTo>
                      <a:pt x="3237436" y="1243092"/>
                    </a:lnTo>
                    <a:lnTo>
                      <a:pt x="3237436" y="1263968"/>
                    </a:lnTo>
                    <a:lnTo>
                      <a:pt x="3272712" y="1263968"/>
                    </a:lnTo>
                    <a:lnTo>
                      <a:pt x="3272712" y="1284863"/>
                    </a:lnTo>
                    <a:lnTo>
                      <a:pt x="3307988" y="1284863"/>
                    </a:lnTo>
                    <a:lnTo>
                      <a:pt x="3307988" y="1305739"/>
                    </a:lnTo>
                    <a:lnTo>
                      <a:pt x="3361036" y="1305739"/>
                    </a:lnTo>
                    <a:lnTo>
                      <a:pt x="3361036" y="1327268"/>
                    </a:lnTo>
                    <a:lnTo>
                      <a:pt x="3419818" y="1327268"/>
                    </a:lnTo>
                    <a:lnTo>
                      <a:pt x="3419818" y="1349662"/>
                    </a:lnTo>
                    <a:lnTo>
                      <a:pt x="3490494" y="1349662"/>
                    </a:lnTo>
                    <a:lnTo>
                      <a:pt x="3490494" y="1372321"/>
                    </a:lnTo>
                    <a:lnTo>
                      <a:pt x="3602341" y="1372321"/>
                    </a:lnTo>
                    <a:lnTo>
                      <a:pt x="3602341" y="1395986"/>
                    </a:lnTo>
                    <a:lnTo>
                      <a:pt x="3655370" y="1395986"/>
                    </a:lnTo>
                    <a:lnTo>
                      <a:pt x="3655370" y="1419915"/>
                    </a:lnTo>
                    <a:lnTo>
                      <a:pt x="3690647" y="1419915"/>
                    </a:lnTo>
                    <a:lnTo>
                      <a:pt x="3690647" y="1443968"/>
                    </a:lnTo>
                    <a:lnTo>
                      <a:pt x="3755446" y="1443968"/>
                    </a:lnTo>
                    <a:lnTo>
                      <a:pt x="3755446" y="1468762"/>
                    </a:lnTo>
                    <a:lnTo>
                      <a:pt x="3926076" y="1468762"/>
                    </a:lnTo>
                    <a:lnTo>
                      <a:pt x="3926076" y="1494597"/>
                    </a:lnTo>
                    <a:lnTo>
                      <a:pt x="4126211" y="1494597"/>
                    </a:lnTo>
                    <a:lnTo>
                      <a:pt x="4126211" y="1521809"/>
                    </a:lnTo>
                    <a:lnTo>
                      <a:pt x="4167364" y="1521809"/>
                    </a:lnTo>
                    <a:lnTo>
                      <a:pt x="4167364" y="1550292"/>
                    </a:lnTo>
                    <a:lnTo>
                      <a:pt x="4279334" y="1550292"/>
                    </a:lnTo>
                    <a:lnTo>
                      <a:pt x="4279334" y="1580538"/>
                    </a:lnTo>
                    <a:lnTo>
                      <a:pt x="4338116" y="1580538"/>
                    </a:lnTo>
                    <a:lnTo>
                      <a:pt x="4338116" y="1611791"/>
                    </a:lnTo>
                    <a:lnTo>
                      <a:pt x="4402916" y="1611791"/>
                    </a:lnTo>
                    <a:lnTo>
                      <a:pt x="4402916" y="1677738"/>
                    </a:lnTo>
                    <a:lnTo>
                      <a:pt x="4655974" y="1677738"/>
                    </a:lnTo>
                    <a:lnTo>
                      <a:pt x="4655974" y="1712679"/>
                    </a:lnTo>
                    <a:lnTo>
                      <a:pt x="4756050" y="1712679"/>
                    </a:lnTo>
                    <a:lnTo>
                      <a:pt x="4756050" y="1747479"/>
                    </a:lnTo>
                    <a:lnTo>
                      <a:pt x="5103309" y="1747479"/>
                    </a:lnTo>
                    <a:lnTo>
                      <a:pt x="5103309" y="1793679"/>
                    </a:lnTo>
                    <a:lnTo>
                      <a:pt x="5173985" y="1793679"/>
                    </a:lnTo>
                    <a:lnTo>
                      <a:pt x="5173985" y="1842667"/>
                    </a:lnTo>
                    <a:lnTo>
                      <a:pt x="5268168" y="1842667"/>
                    </a:lnTo>
                    <a:lnTo>
                      <a:pt x="5268168" y="1893050"/>
                    </a:lnTo>
                    <a:lnTo>
                      <a:pt x="6427771" y="1893050"/>
                    </a:lnTo>
                    <a:lnTo>
                      <a:pt x="6427771" y="1990761"/>
                    </a:lnTo>
                    <a:lnTo>
                      <a:pt x="8181798" y="1990761"/>
                    </a:lnTo>
                  </a:path>
                </a:pathLst>
              </a:custGeom>
              <a:noFill/>
              <a:ln w="9638" cap="flat">
                <a:solidFill>
                  <a:srgbClr val="787878"/>
                </a:solidFill>
                <a:custDash>
                  <a:ds d="491873" sp="163958"/>
                </a:custDash>
                <a:miter/>
              </a:ln>
            </p:spPr>
            <p:txBody>
              <a:bodyPr rtlCol="0" anchor="ctr"/>
              <a:lstStyle/>
              <a:p>
                <a:endParaRPr lang="en-US" sz="1800" dirty="0"/>
              </a:p>
            </p:txBody>
          </p:sp>
          <p:sp>
            <p:nvSpPr>
              <p:cNvPr id="535" name="Freeform 534">
                <a:extLst>
                  <a:ext uri="{FF2B5EF4-FFF2-40B4-BE49-F238E27FC236}">
                    <a16:creationId xmlns:a16="http://schemas.microsoft.com/office/drawing/2014/main" id="{C5F727B0-0C78-6CCE-EF40-9A2C75892A3B}"/>
                  </a:ext>
                </a:extLst>
              </p:cNvPr>
              <p:cNvSpPr/>
              <p:nvPr/>
            </p:nvSpPr>
            <p:spPr>
              <a:xfrm>
                <a:off x="10567627" y="3158076"/>
                <a:ext cx="652" cy="2911"/>
              </a:xfrm>
              <a:custGeom>
                <a:avLst/>
                <a:gdLst>
                  <a:gd name="connsiteX0" fmla="*/ 653 w 652"/>
                  <a:gd name="connsiteY0" fmla="*/ 2912 h 2911"/>
                  <a:gd name="connsiteX1" fmla="*/ 0 w 652"/>
                  <a:gd name="connsiteY1" fmla="*/ 0 h 2911"/>
                </a:gdLst>
                <a:ahLst/>
                <a:cxnLst>
                  <a:cxn ang="0">
                    <a:pos x="connsiteX0" y="connsiteY0"/>
                  </a:cxn>
                  <a:cxn ang="0">
                    <a:pos x="connsiteX1" y="connsiteY1"/>
                  </a:cxn>
                </a:cxnLst>
                <a:rect l="l" t="t" r="r" b="b"/>
                <a:pathLst>
                  <a:path w="652" h="2911">
                    <a:moveTo>
                      <a:pt x="653" y="2912"/>
                    </a:moveTo>
                    <a:lnTo>
                      <a:pt x="0" y="0"/>
                    </a:lnTo>
                  </a:path>
                </a:pathLst>
              </a:custGeom>
              <a:ln w="9638" cap="flat">
                <a:solidFill>
                  <a:srgbClr val="787878"/>
                </a:solidFill>
                <a:prstDash val="solid"/>
                <a:miter/>
              </a:ln>
            </p:spPr>
            <p:txBody>
              <a:bodyPr rtlCol="0" anchor="ctr"/>
              <a:lstStyle/>
              <a:p>
                <a:endParaRPr lang="en-US" sz="1800" dirty="0"/>
              </a:p>
            </p:txBody>
          </p:sp>
          <p:sp>
            <p:nvSpPr>
              <p:cNvPr id="536" name="Freeform 535">
                <a:extLst>
                  <a:ext uri="{FF2B5EF4-FFF2-40B4-BE49-F238E27FC236}">
                    <a16:creationId xmlns:a16="http://schemas.microsoft.com/office/drawing/2014/main" id="{A6A76C59-C480-7CEC-0CAC-ACF5401D1445}"/>
                  </a:ext>
                </a:extLst>
              </p:cNvPr>
              <p:cNvSpPr/>
              <p:nvPr/>
            </p:nvSpPr>
            <p:spPr>
              <a:xfrm>
                <a:off x="2362323" y="1167315"/>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787878"/>
                </a:solidFill>
                <a:prstDash val="solid"/>
                <a:miter/>
              </a:ln>
            </p:spPr>
            <p:txBody>
              <a:bodyPr rtlCol="0" anchor="ctr"/>
              <a:lstStyle/>
              <a:p>
                <a:endParaRPr lang="en-US" sz="1800" dirty="0"/>
              </a:p>
            </p:txBody>
          </p:sp>
          <p:sp>
            <p:nvSpPr>
              <p:cNvPr id="537" name="Freeform 536">
                <a:extLst>
                  <a:ext uri="{FF2B5EF4-FFF2-40B4-BE49-F238E27FC236}">
                    <a16:creationId xmlns:a16="http://schemas.microsoft.com/office/drawing/2014/main" id="{F383FC75-4496-CC06-DF71-D20722F1B80C}"/>
                  </a:ext>
                </a:extLst>
              </p:cNvPr>
              <p:cNvSpPr/>
              <p:nvPr/>
            </p:nvSpPr>
            <p:spPr>
              <a:xfrm>
                <a:off x="2391706" y="1138833"/>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787878"/>
                </a:solidFill>
                <a:prstDash val="solid"/>
                <a:miter/>
              </a:ln>
            </p:spPr>
            <p:txBody>
              <a:bodyPr rtlCol="0" anchor="ctr"/>
              <a:lstStyle/>
              <a:p>
                <a:endParaRPr lang="en-US" sz="1800" dirty="0"/>
              </a:p>
            </p:txBody>
          </p:sp>
          <p:sp>
            <p:nvSpPr>
              <p:cNvPr id="538" name="Freeform 537">
                <a:extLst>
                  <a:ext uri="{FF2B5EF4-FFF2-40B4-BE49-F238E27FC236}">
                    <a16:creationId xmlns:a16="http://schemas.microsoft.com/office/drawing/2014/main" id="{405D26FB-9D3C-7B0B-422D-182241173A82}"/>
                  </a:ext>
                </a:extLst>
              </p:cNvPr>
              <p:cNvSpPr/>
              <p:nvPr/>
            </p:nvSpPr>
            <p:spPr>
              <a:xfrm>
                <a:off x="2362323" y="1167315"/>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787878"/>
                </a:solidFill>
                <a:prstDash val="solid"/>
                <a:miter/>
              </a:ln>
            </p:spPr>
            <p:txBody>
              <a:bodyPr rtlCol="0" anchor="ctr"/>
              <a:lstStyle/>
              <a:p>
                <a:endParaRPr lang="en-US" sz="1800" dirty="0"/>
              </a:p>
            </p:txBody>
          </p:sp>
          <p:sp>
            <p:nvSpPr>
              <p:cNvPr id="539" name="Freeform 538">
                <a:extLst>
                  <a:ext uri="{FF2B5EF4-FFF2-40B4-BE49-F238E27FC236}">
                    <a16:creationId xmlns:a16="http://schemas.microsoft.com/office/drawing/2014/main" id="{67F069C4-93AA-CE11-A8C6-5EEBB986FBA1}"/>
                  </a:ext>
                </a:extLst>
              </p:cNvPr>
              <p:cNvSpPr/>
              <p:nvPr/>
            </p:nvSpPr>
            <p:spPr>
              <a:xfrm>
                <a:off x="2391706" y="1138833"/>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787878"/>
                </a:solidFill>
                <a:prstDash val="solid"/>
                <a:miter/>
              </a:ln>
            </p:spPr>
            <p:txBody>
              <a:bodyPr rtlCol="0" anchor="ctr"/>
              <a:lstStyle/>
              <a:p>
                <a:endParaRPr lang="en-US" sz="1800" dirty="0"/>
              </a:p>
            </p:txBody>
          </p:sp>
          <p:sp>
            <p:nvSpPr>
              <p:cNvPr id="540" name="Freeform 539">
                <a:extLst>
                  <a:ext uri="{FF2B5EF4-FFF2-40B4-BE49-F238E27FC236}">
                    <a16:creationId xmlns:a16="http://schemas.microsoft.com/office/drawing/2014/main" id="{4F3AA71D-AE7D-80F8-9C19-D0BE43B2D007}"/>
                  </a:ext>
                </a:extLst>
              </p:cNvPr>
              <p:cNvSpPr/>
              <p:nvPr/>
            </p:nvSpPr>
            <p:spPr>
              <a:xfrm>
                <a:off x="2368217" y="1167315"/>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787878"/>
                </a:solidFill>
                <a:prstDash val="solid"/>
                <a:miter/>
              </a:ln>
            </p:spPr>
            <p:txBody>
              <a:bodyPr rtlCol="0" anchor="ctr"/>
              <a:lstStyle/>
              <a:p>
                <a:endParaRPr lang="en-US" sz="1800" dirty="0"/>
              </a:p>
            </p:txBody>
          </p:sp>
          <p:sp>
            <p:nvSpPr>
              <p:cNvPr id="541" name="Freeform 540">
                <a:extLst>
                  <a:ext uri="{FF2B5EF4-FFF2-40B4-BE49-F238E27FC236}">
                    <a16:creationId xmlns:a16="http://schemas.microsoft.com/office/drawing/2014/main" id="{4D3DEC25-A8C7-ED8E-D6B5-AE017C8E1101}"/>
                  </a:ext>
                </a:extLst>
              </p:cNvPr>
              <p:cNvSpPr/>
              <p:nvPr/>
            </p:nvSpPr>
            <p:spPr>
              <a:xfrm>
                <a:off x="2397600" y="1138833"/>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787878"/>
                </a:solidFill>
                <a:prstDash val="solid"/>
                <a:miter/>
              </a:ln>
            </p:spPr>
            <p:txBody>
              <a:bodyPr rtlCol="0" anchor="ctr"/>
              <a:lstStyle/>
              <a:p>
                <a:endParaRPr lang="en-US" sz="1800" dirty="0"/>
              </a:p>
            </p:txBody>
          </p:sp>
          <p:sp>
            <p:nvSpPr>
              <p:cNvPr id="542" name="Freeform 541">
                <a:extLst>
                  <a:ext uri="{FF2B5EF4-FFF2-40B4-BE49-F238E27FC236}">
                    <a16:creationId xmlns:a16="http://schemas.microsoft.com/office/drawing/2014/main" id="{25485295-E79C-124B-CA74-A444686C649E}"/>
                  </a:ext>
                </a:extLst>
              </p:cNvPr>
              <p:cNvSpPr/>
              <p:nvPr/>
            </p:nvSpPr>
            <p:spPr>
              <a:xfrm>
                <a:off x="2374094" y="1167315"/>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787878"/>
                </a:solidFill>
                <a:prstDash val="solid"/>
                <a:miter/>
              </a:ln>
            </p:spPr>
            <p:txBody>
              <a:bodyPr rtlCol="0" anchor="ctr"/>
              <a:lstStyle/>
              <a:p>
                <a:endParaRPr lang="en-US" sz="1800" dirty="0"/>
              </a:p>
            </p:txBody>
          </p:sp>
          <p:sp>
            <p:nvSpPr>
              <p:cNvPr id="543" name="Freeform 542">
                <a:extLst>
                  <a:ext uri="{FF2B5EF4-FFF2-40B4-BE49-F238E27FC236}">
                    <a16:creationId xmlns:a16="http://schemas.microsoft.com/office/drawing/2014/main" id="{BFC764F3-40D9-B159-23F3-55903510BCAC}"/>
                  </a:ext>
                </a:extLst>
              </p:cNvPr>
              <p:cNvSpPr/>
              <p:nvPr/>
            </p:nvSpPr>
            <p:spPr>
              <a:xfrm>
                <a:off x="2403494" y="1138833"/>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787878"/>
                </a:solidFill>
                <a:prstDash val="solid"/>
                <a:miter/>
              </a:ln>
            </p:spPr>
            <p:txBody>
              <a:bodyPr rtlCol="0" anchor="ctr"/>
              <a:lstStyle/>
              <a:p>
                <a:endParaRPr lang="en-US" sz="1800" dirty="0"/>
              </a:p>
            </p:txBody>
          </p:sp>
          <p:sp>
            <p:nvSpPr>
              <p:cNvPr id="544" name="Freeform 543">
                <a:extLst>
                  <a:ext uri="{FF2B5EF4-FFF2-40B4-BE49-F238E27FC236}">
                    <a16:creationId xmlns:a16="http://schemas.microsoft.com/office/drawing/2014/main" id="{2EB1F6EE-78F3-86B7-F32E-B051D27077EF}"/>
                  </a:ext>
                </a:extLst>
              </p:cNvPr>
              <p:cNvSpPr/>
              <p:nvPr/>
            </p:nvSpPr>
            <p:spPr>
              <a:xfrm>
                <a:off x="2374094" y="1167315"/>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787878"/>
                </a:solidFill>
                <a:prstDash val="solid"/>
                <a:miter/>
              </a:ln>
            </p:spPr>
            <p:txBody>
              <a:bodyPr rtlCol="0" anchor="ctr"/>
              <a:lstStyle/>
              <a:p>
                <a:endParaRPr lang="en-US" sz="1800" dirty="0"/>
              </a:p>
            </p:txBody>
          </p:sp>
          <p:sp>
            <p:nvSpPr>
              <p:cNvPr id="545" name="Freeform 544">
                <a:extLst>
                  <a:ext uri="{FF2B5EF4-FFF2-40B4-BE49-F238E27FC236}">
                    <a16:creationId xmlns:a16="http://schemas.microsoft.com/office/drawing/2014/main" id="{BE6FB21A-009F-FF8D-7402-00CD6E73D27A}"/>
                  </a:ext>
                </a:extLst>
              </p:cNvPr>
              <p:cNvSpPr/>
              <p:nvPr/>
            </p:nvSpPr>
            <p:spPr>
              <a:xfrm>
                <a:off x="2403494" y="1138833"/>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787878"/>
                </a:solidFill>
                <a:prstDash val="solid"/>
                <a:miter/>
              </a:ln>
            </p:spPr>
            <p:txBody>
              <a:bodyPr rtlCol="0" anchor="ctr"/>
              <a:lstStyle/>
              <a:p>
                <a:endParaRPr lang="en-US" sz="1800" dirty="0"/>
              </a:p>
            </p:txBody>
          </p:sp>
          <p:sp>
            <p:nvSpPr>
              <p:cNvPr id="546" name="Freeform 545">
                <a:extLst>
                  <a:ext uri="{FF2B5EF4-FFF2-40B4-BE49-F238E27FC236}">
                    <a16:creationId xmlns:a16="http://schemas.microsoft.com/office/drawing/2014/main" id="{824DCDC8-3733-20EA-88E2-A230E364DA50}"/>
                  </a:ext>
                </a:extLst>
              </p:cNvPr>
              <p:cNvSpPr/>
              <p:nvPr/>
            </p:nvSpPr>
            <p:spPr>
              <a:xfrm>
                <a:off x="2421176" y="1167315"/>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787878"/>
                </a:solidFill>
                <a:prstDash val="solid"/>
                <a:miter/>
              </a:ln>
            </p:spPr>
            <p:txBody>
              <a:bodyPr rtlCol="0" anchor="ctr"/>
              <a:lstStyle/>
              <a:p>
                <a:endParaRPr lang="en-US" sz="1800" dirty="0"/>
              </a:p>
            </p:txBody>
          </p:sp>
          <p:sp>
            <p:nvSpPr>
              <p:cNvPr id="547" name="Freeform 546">
                <a:extLst>
                  <a:ext uri="{FF2B5EF4-FFF2-40B4-BE49-F238E27FC236}">
                    <a16:creationId xmlns:a16="http://schemas.microsoft.com/office/drawing/2014/main" id="{B04D4231-01B6-AA5E-FAAC-2BE68C36E513}"/>
                  </a:ext>
                </a:extLst>
              </p:cNvPr>
              <p:cNvSpPr/>
              <p:nvPr/>
            </p:nvSpPr>
            <p:spPr>
              <a:xfrm>
                <a:off x="2450576" y="1138833"/>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787878"/>
                </a:solidFill>
                <a:prstDash val="solid"/>
                <a:miter/>
              </a:ln>
            </p:spPr>
            <p:txBody>
              <a:bodyPr rtlCol="0" anchor="ctr"/>
              <a:lstStyle/>
              <a:p>
                <a:endParaRPr lang="en-US" sz="1800" dirty="0"/>
              </a:p>
            </p:txBody>
          </p:sp>
          <p:sp>
            <p:nvSpPr>
              <p:cNvPr id="548" name="Freeform 547">
                <a:extLst>
                  <a:ext uri="{FF2B5EF4-FFF2-40B4-BE49-F238E27FC236}">
                    <a16:creationId xmlns:a16="http://schemas.microsoft.com/office/drawing/2014/main" id="{DF2318D6-4D73-AB35-C64E-AA539C72884B}"/>
                  </a:ext>
                </a:extLst>
              </p:cNvPr>
              <p:cNvSpPr/>
              <p:nvPr/>
            </p:nvSpPr>
            <p:spPr>
              <a:xfrm>
                <a:off x="2450611" y="1167315"/>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787878"/>
                </a:solidFill>
                <a:prstDash val="solid"/>
                <a:miter/>
              </a:ln>
            </p:spPr>
            <p:txBody>
              <a:bodyPr rtlCol="0" anchor="ctr"/>
              <a:lstStyle/>
              <a:p>
                <a:endParaRPr lang="en-US" sz="1800" dirty="0"/>
              </a:p>
            </p:txBody>
          </p:sp>
          <p:sp>
            <p:nvSpPr>
              <p:cNvPr id="549" name="Freeform 548">
                <a:extLst>
                  <a:ext uri="{FF2B5EF4-FFF2-40B4-BE49-F238E27FC236}">
                    <a16:creationId xmlns:a16="http://schemas.microsoft.com/office/drawing/2014/main" id="{30F795A1-CDC2-DA39-E2B0-A4D5B15BEEB7}"/>
                  </a:ext>
                </a:extLst>
              </p:cNvPr>
              <p:cNvSpPr/>
              <p:nvPr/>
            </p:nvSpPr>
            <p:spPr>
              <a:xfrm>
                <a:off x="2480011" y="1138833"/>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787878"/>
                </a:solidFill>
                <a:prstDash val="solid"/>
                <a:miter/>
              </a:ln>
            </p:spPr>
            <p:txBody>
              <a:bodyPr rtlCol="0" anchor="ctr"/>
              <a:lstStyle/>
              <a:p>
                <a:endParaRPr lang="en-US" sz="1800" dirty="0"/>
              </a:p>
            </p:txBody>
          </p:sp>
          <p:sp>
            <p:nvSpPr>
              <p:cNvPr id="550" name="Freeform 549">
                <a:extLst>
                  <a:ext uri="{FF2B5EF4-FFF2-40B4-BE49-F238E27FC236}">
                    <a16:creationId xmlns:a16="http://schemas.microsoft.com/office/drawing/2014/main" id="{347739DC-388F-59C7-4C9E-CA45A7DD1C80}"/>
                  </a:ext>
                </a:extLst>
              </p:cNvPr>
              <p:cNvSpPr/>
              <p:nvPr/>
            </p:nvSpPr>
            <p:spPr>
              <a:xfrm>
                <a:off x="2474153" y="1167315"/>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787878"/>
                </a:solidFill>
                <a:prstDash val="solid"/>
                <a:miter/>
              </a:ln>
            </p:spPr>
            <p:txBody>
              <a:bodyPr rtlCol="0" anchor="ctr"/>
              <a:lstStyle/>
              <a:p>
                <a:endParaRPr lang="en-US" sz="1800" dirty="0"/>
              </a:p>
            </p:txBody>
          </p:sp>
          <p:sp>
            <p:nvSpPr>
              <p:cNvPr id="551" name="Freeform 550">
                <a:extLst>
                  <a:ext uri="{FF2B5EF4-FFF2-40B4-BE49-F238E27FC236}">
                    <a16:creationId xmlns:a16="http://schemas.microsoft.com/office/drawing/2014/main" id="{EF416AFC-C88B-3530-F657-ED4F175CD1D4}"/>
                  </a:ext>
                </a:extLst>
              </p:cNvPr>
              <p:cNvSpPr/>
              <p:nvPr/>
            </p:nvSpPr>
            <p:spPr>
              <a:xfrm>
                <a:off x="2503553" y="1138833"/>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787878"/>
                </a:solidFill>
                <a:prstDash val="solid"/>
                <a:miter/>
              </a:ln>
            </p:spPr>
            <p:txBody>
              <a:bodyPr rtlCol="0" anchor="ctr"/>
              <a:lstStyle/>
              <a:p>
                <a:endParaRPr lang="en-US" sz="1800" dirty="0"/>
              </a:p>
            </p:txBody>
          </p:sp>
          <p:sp>
            <p:nvSpPr>
              <p:cNvPr id="552" name="Freeform 551">
                <a:extLst>
                  <a:ext uri="{FF2B5EF4-FFF2-40B4-BE49-F238E27FC236}">
                    <a16:creationId xmlns:a16="http://schemas.microsoft.com/office/drawing/2014/main" id="{77D6D78F-0FEA-1CF0-E78D-01806D5102AC}"/>
                  </a:ext>
                </a:extLst>
              </p:cNvPr>
              <p:cNvSpPr/>
              <p:nvPr/>
            </p:nvSpPr>
            <p:spPr>
              <a:xfrm>
                <a:off x="2480047" y="1167315"/>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787878"/>
                </a:solidFill>
                <a:prstDash val="solid"/>
                <a:miter/>
              </a:ln>
            </p:spPr>
            <p:txBody>
              <a:bodyPr rtlCol="0" anchor="ctr"/>
              <a:lstStyle/>
              <a:p>
                <a:endParaRPr lang="en-US" sz="1800" dirty="0"/>
              </a:p>
            </p:txBody>
          </p:sp>
          <p:sp>
            <p:nvSpPr>
              <p:cNvPr id="553" name="Freeform 552">
                <a:extLst>
                  <a:ext uri="{FF2B5EF4-FFF2-40B4-BE49-F238E27FC236}">
                    <a16:creationId xmlns:a16="http://schemas.microsoft.com/office/drawing/2014/main" id="{4DE67274-DCA9-B275-5B19-A8205E0CBAA8}"/>
                  </a:ext>
                </a:extLst>
              </p:cNvPr>
              <p:cNvSpPr/>
              <p:nvPr/>
            </p:nvSpPr>
            <p:spPr>
              <a:xfrm>
                <a:off x="2509429" y="1138833"/>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787878"/>
                </a:solidFill>
                <a:prstDash val="solid"/>
                <a:miter/>
              </a:ln>
            </p:spPr>
            <p:txBody>
              <a:bodyPr rtlCol="0" anchor="ctr"/>
              <a:lstStyle/>
              <a:p>
                <a:endParaRPr lang="en-US" sz="1800" dirty="0"/>
              </a:p>
            </p:txBody>
          </p:sp>
          <p:sp>
            <p:nvSpPr>
              <p:cNvPr id="554" name="Freeform 553">
                <a:extLst>
                  <a:ext uri="{FF2B5EF4-FFF2-40B4-BE49-F238E27FC236}">
                    <a16:creationId xmlns:a16="http://schemas.microsoft.com/office/drawing/2014/main" id="{B78B283A-0472-9D9B-2EE0-C09F96988D1A}"/>
                  </a:ext>
                </a:extLst>
              </p:cNvPr>
              <p:cNvSpPr/>
              <p:nvPr/>
            </p:nvSpPr>
            <p:spPr>
              <a:xfrm>
                <a:off x="2491817" y="1167315"/>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787878"/>
                </a:solidFill>
                <a:prstDash val="solid"/>
                <a:miter/>
              </a:ln>
            </p:spPr>
            <p:txBody>
              <a:bodyPr rtlCol="0" anchor="ctr"/>
              <a:lstStyle/>
              <a:p>
                <a:endParaRPr lang="en-US" sz="1800" dirty="0"/>
              </a:p>
            </p:txBody>
          </p:sp>
          <p:sp>
            <p:nvSpPr>
              <p:cNvPr id="555" name="Freeform 554">
                <a:extLst>
                  <a:ext uri="{FF2B5EF4-FFF2-40B4-BE49-F238E27FC236}">
                    <a16:creationId xmlns:a16="http://schemas.microsoft.com/office/drawing/2014/main" id="{A8ED486C-6374-D8F1-3E6F-519E5CE25C24}"/>
                  </a:ext>
                </a:extLst>
              </p:cNvPr>
              <p:cNvSpPr/>
              <p:nvPr/>
            </p:nvSpPr>
            <p:spPr>
              <a:xfrm>
                <a:off x="2521217" y="1138833"/>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787878"/>
                </a:solidFill>
                <a:prstDash val="solid"/>
                <a:miter/>
              </a:ln>
            </p:spPr>
            <p:txBody>
              <a:bodyPr rtlCol="0" anchor="ctr"/>
              <a:lstStyle/>
              <a:p>
                <a:endParaRPr lang="en-US" sz="1800" dirty="0"/>
              </a:p>
            </p:txBody>
          </p:sp>
          <p:sp>
            <p:nvSpPr>
              <p:cNvPr id="556" name="Freeform 555">
                <a:extLst>
                  <a:ext uri="{FF2B5EF4-FFF2-40B4-BE49-F238E27FC236}">
                    <a16:creationId xmlns:a16="http://schemas.microsoft.com/office/drawing/2014/main" id="{0CBBC684-D681-649B-E1D1-CE9F30792F91}"/>
                  </a:ext>
                </a:extLst>
              </p:cNvPr>
              <p:cNvSpPr/>
              <p:nvPr/>
            </p:nvSpPr>
            <p:spPr>
              <a:xfrm>
                <a:off x="2544794" y="1167315"/>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787878"/>
                </a:solidFill>
                <a:prstDash val="solid"/>
                <a:miter/>
              </a:ln>
            </p:spPr>
            <p:txBody>
              <a:bodyPr rtlCol="0" anchor="ctr"/>
              <a:lstStyle/>
              <a:p>
                <a:endParaRPr lang="en-US" sz="1800" dirty="0"/>
              </a:p>
            </p:txBody>
          </p:sp>
          <p:sp>
            <p:nvSpPr>
              <p:cNvPr id="557" name="Freeform 556">
                <a:extLst>
                  <a:ext uri="{FF2B5EF4-FFF2-40B4-BE49-F238E27FC236}">
                    <a16:creationId xmlns:a16="http://schemas.microsoft.com/office/drawing/2014/main" id="{C8D647C7-DC57-80F7-A6C9-842725D0C641}"/>
                  </a:ext>
                </a:extLst>
              </p:cNvPr>
              <p:cNvSpPr/>
              <p:nvPr/>
            </p:nvSpPr>
            <p:spPr>
              <a:xfrm>
                <a:off x="2574194" y="1138833"/>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787878"/>
                </a:solidFill>
                <a:prstDash val="solid"/>
                <a:miter/>
              </a:ln>
            </p:spPr>
            <p:txBody>
              <a:bodyPr rtlCol="0" anchor="ctr"/>
              <a:lstStyle/>
              <a:p>
                <a:endParaRPr lang="en-US" sz="1800" dirty="0"/>
              </a:p>
            </p:txBody>
          </p:sp>
          <p:sp>
            <p:nvSpPr>
              <p:cNvPr id="558" name="Freeform 557">
                <a:extLst>
                  <a:ext uri="{FF2B5EF4-FFF2-40B4-BE49-F238E27FC236}">
                    <a16:creationId xmlns:a16="http://schemas.microsoft.com/office/drawing/2014/main" id="{4801618F-E929-FA29-15C6-300E3D4C020E}"/>
                  </a:ext>
                </a:extLst>
              </p:cNvPr>
              <p:cNvSpPr/>
              <p:nvPr/>
            </p:nvSpPr>
            <p:spPr>
              <a:xfrm>
                <a:off x="2609541" y="1167315"/>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787878"/>
                </a:solidFill>
                <a:prstDash val="solid"/>
                <a:miter/>
              </a:ln>
            </p:spPr>
            <p:txBody>
              <a:bodyPr rtlCol="0" anchor="ctr"/>
              <a:lstStyle/>
              <a:p>
                <a:endParaRPr lang="en-US" sz="1800" dirty="0"/>
              </a:p>
            </p:txBody>
          </p:sp>
          <p:sp>
            <p:nvSpPr>
              <p:cNvPr id="559" name="Freeform 558">
                <a:extLst>
                  <a:ext uri="{FF2B5EF4-FFF2-40B4-BE49-F238E27FC236}">
                    <a16:creationId xmlns:a16="http://schemas.microsoft.com/office/drawing/2014/main" id="{1F9C90D4-F868-2D72-A7EC-4B1A8A999876}"/>
                  </a:ext>
                </a:extLst>
              </p:cNvPr>
              <p:cNvSpPr/>
              <p:nvPr/>
            </p:nvSpPr>
            <p:spPr>
              <a:xfrm>
                <a:off x="2638941" y="1138833"/>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787878"/>
                </a:solidFill>
                <a:prstDash val="solid"/>
                <a:miter/>
              </a:ln>
            </p:spPr>
            <p:txBody>
              <a:bodyPr rtlCol="0" anchor="ctr"/>
              <a:lstStyle/>
              <a:p>
                <a:endParaRPr lang="en-US" sz="1800" dirty="0"/>
              </a:p>
            </p:txBody>
          </p:sp>
          <p:sp>
            <p:nvSpPr>
              <p:cNvPr id="560" name="Freeform 559">
                <a:extLst>
                  <a:ext uri="{FF2B5EF4-FFF2-40B4-BE49-F238E27FC236}">
                    <a16:creationId xmlns:a16="http://schemas.microsoft.com/office/drawing/2014/main" id="{3FEA3122-E618-612E-FFC5-2D4D6FF6C265}"/>
                  </a:ext>
                </a:extLst>
              </p:cNvPr>
              <p:cNvSpPr/>
              <p:nvPr/>
            </p:nvSpPr>
            <p:spPr>
              <a:xfrm>
                <a:off x="2615435" y="1167315"/>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787878"/>
                </a:solidFill>
                <a:prstDash val="solid"/>
                <a:miter/>
              </a:ln>
            </p:spPr>
            <p:txBody>
              <a:bodyPr rtlCol="0" anchor="ctr"/>
              <a:lstStyle/>
              <a:p>
                <a:endParaRPr lang="en-US" sz="1800" dirty="0"/>
              </a:p>
            </p:txBody>
          </p:sp>
          <p:sp>
            <p:nvSpPr>
              <p:cNvPr id="561" name="Freeform 560">
                <a:extLst>
                  <a:ext uri="{FF2B5EF4-FFF2-40B4-BE49-F238E27FC236}">
                    <a16:creationId xmlns:a16="http://schemas.microsoft.com/office/drawing/2014/main" id="{96F7B014-0B9A-3F4C-E3D6-B7015EC6EBE7}"/>
                  </a:ext>
                </a:extLst>
              </p:cNvPr>
              <p:cNvSpPr/>
              <p:nvPr/>
            </p:nvSpPr>
            <p:spPr>
              <a:xfrm>
                <a:off x="2644817" y="1138833"/>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787878"/>
                </a:solidFill>
                <a:prstDash val="solid"/>
                <a:miter/>
              </a:ln>
            </p:spPr>
            <p:txBody>
              <a:bodyPr rtlCol="0" anchor="ctr"/>
              <a:lstStyle/>
              <a:p>
                <a:endParaRPr lang="en-US" sz="1800" dirty="0"/>
              </a:p>
            </p:txBody>
          </p:sp>
          <p:sp>
            <p:nvSpPr>
              <p:cNvPr id="562" name="Freeform 561">
                <a:extLst>
                  <a:ext uri="{FF2B5EF4-FFF2-40B4-BE49-F238E27FC236}">
                    <a16:creationId xmlns:a16="http://schemas.microsoft.com/office/drawing/2014/main" id="{576C0DB8-26AD-E809-7B4E-5A73CC8D69CD}"/>
                  </a:ext>
                </a:extLst>
              </p:cNvPr>
              <p:cNvSpPr/>
              <p:nvPr/>
            </p:nvSpPr>
            <p:spPr>
              <a:xfrm>
                <a:off x="2627205" y="1167315"/>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787878"/>
                </a:solidFill>
                <a:prstDash val="solid"/>
                <a:miter/>
              </a:ln>
            </p:spPr>
            <p:txBody>
              <a:bodyPr rtlCol="0" anchor="ctr"/>
              <a:lstStyle/>
              <a:p>
                <a:endParaRPr lang="en-US" sz="1800" dirty="0"/>
              </a:p>
            </p:txBody>
          </p:sp>
          <p:sp>
            <p:nvSpPr>
              <p:cNvPr id="563" name="Freeform 562">
                <a:extLst>
                  <a:ext uri="{FF2B5EF4-FFF2-40B4-BE49-F238E27FC236}">
                    <a16:creationId xmlns:a16="http://schemas.microsoft.com/office/drawing/2014/main" id="{0F9F9842-6AA0-8DC1-9255-D65AE1809074}"/>
                  </a:ext>
                </a:extLst>
              </p:cNvPr>
              <p:cNvSpPr/>
              <p:nvPr/>
            </p:nvSpPr>
            <p:spPr>
              <a:xfrm>
                <a:off x="2656588" y="1138833"/>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787878"/>
                </a:solidFill>
                <a:prstDash val="solid"/>
                <a:miter/>
              </a:ln>
            </p:spPr>
            <p:txBody>
              <a:bodyPr rtlCol="0" anchor="ctr"/>
              <a:lstStyle/>
              <a:p>
                <a:endParaRPr lang="en-US" sz="1800" dirty="0"/>
              </a:p>
            </p:txBody>
          </p:sp>
          <p:sp>
            <p:nvSpPr>
              <p:cNvPr id="564" name="Freeform 563">
                <a:extLst>
                  <a:ext uri="{FF2B5EF4-FFF2-40B4-BE49-F238E27FC236}">
                    <a16:creationId xmlns:a16="http://schemas.microsoft.com/office/drawing/2014/main" id="{3270C97B-BE7A-EA16-2E56-4013433DE4D8}"/>
                  </a:ext>
                </a:extLst>
              </p:cNvPr>
              <p:cNvSpPr/>
              <p:nvPr/>
            </p:nvSpPr>
            <p:spPr>
              <a:xfrm>
                <a:off x="2638976" y="1167315"/>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787878"/>
                </a:solidFill>
                <a:prstDash val="solid"/>
                <a:miter/>
              </a:ln>
            </p:spPr>
            <p:txBody>
              <a:bodyPr rtlCol="0" anchor="ctr"/>
              <a:lstStyle/>
              <a:p>
                <a:endParaRPr lang="en-US" sz="1800" dirty="0"/>
              </a:p>
            </p:txBody>
          </p:sp>
          <p:sp>
            <p:nvSpPr>
              <p:cNvPr id="565" name="Freeform 564">
                <a:extLst>
                  <a:ext uri="{FF2B5EF4-FFF2-40B4-BE49-F238E27FC236}">
                    <a16:creationId xmlns:a16="http://schemas.microsoft.com/office/drawing/2014/main" id="{223D7CF2-4CFE-B7A5-D348-7EEA96E0FC93}"/>
                  </a:ext>
                </a:extLst>
              </p:cNvPr>
              <p:cNvSpPr/>
              <p:nvPr/>
            </p:nvSpPr>
            <p:spPr>
              <a:xfrm>
                <a:off x="2668358" y="1138833"/>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787878"/>
                </a:solidFill>
                <a:prstDash val="solid"/>
                <a:miter/>
              </a:ln>
            </p:spPr>
            <p:txBody>
              <a:bodyPr rtlCol="0" anchor="ctr"/>
              <a:lstStyle/>
              <a:p>
                <a:endParaRPr lang="en-US" sz="1800" dirty="0"/>
              </a:p>
            </p:txBody>
          </p:sp>
          <p:sp>
            <p:nvSpPr>
              <p:cNvPr id="566" name="Freeform 565">
                <a:extLst>
                  <a:ext uri="{FF2B5EF4-FFF2-40B4-BE49-F238E27FC236}">
                    <a16:creationId xmlns:a16="http://schemas.microsoft.com/office/drawing/2014/main" id="{D3AC4715-7ECA-28D8-6528-118E03E6652F}"/>
                  </a:ext>
                </a:extLst>
              </p:cNvPr>
              <p:cNvSpPr/>
              <p:nvPr/>
            </p:nvSpPr>
            <p:spPr>
              <a:xfrm>
                <a:off x="2733158" y="1167315"/>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787878"/>
                </a:solidFill>
                <a:prstDash val="solid"/>
                <a:miter/>
              </a:ln>
            </p:spPr>
            <p:txBody>
              <a:bodyPr rtlCol="0" anchor="ctr"/>
              <a:lstStyle/>
              <a:p>
                <a:endParaRPr lang="en-US" sz="1800" dirty="0"/>
              </a:p>
            </p:txBody>
          </p:sp>
          <p:sp>
            <p:nvSpPr>
              <p:cNvPr id="567" name="Freeform 566">
                <a:extLst>
                  <a:ext uri="{FF2B5EF4-FFF2-40B4-BE49-F238E27FC236}">
                    <a16:creationId xmlns:a16="http://schemas.microsoft.com/office/drawing/2014/main" id="{85A7D068-0822-596B-026D-8676C18D3E32}"/>
                  </a:ext>
                </a:extLst>
              </p:cNvPr>
              <p:cNvSpPr/>
              <p:nvPr/>
            </p:nvSpPr>
            <p:spPr>
              <a:xfrm>
                <a:off x="2762540" y="1138833"/>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787878"/>
                </a:solidFill>
                <a:prstDash val="solid"/>
                <a:miter/>
              </a:ln>
            </p:spPr>
            <p:txBody>
              <a:bodyPr rtlCol="0" anchor="ctr"/>
              <a:lstStyle/>
              <a:p>
                <a:endParaRPr lang="en-US" sz="1800" dirty="0"/>
              </a:p>
            </p:txBody>
          </p:sp>
          <p:sp>
            <p:nvSpPr>
              <p:cNvPr id="568" name="Freeform 567">
                <a:extLst>
                  <a:ext uri="{FF2B5EF4-FFF2-40B4-BE49-F238E27FC236}">
                    <a16:creationId xmlns:a16="http://schemas.microsoft.com/office/drawing/2014/main" id="{3C820F7C-57D9-1E30-8818-535CBFD7BECB}"/>
                  </a:ext>
                </a:extLst>
              </p:cNvPr>
              <p:cNvSpPr/>
              <p:nvPr/>
            </p:nvSpPr>
            <p:spPr>
              <a:xfrm>
                <a:off x="2886140" y="1223009"/>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787878"/>
                </a:solidFill>
                <a:prstDash val="solid"/>
                <a:miter/>
              </a:ln>
            </p:spPr>
            <p:txBody>
              <a:bodyPr rtlCol="0" anchor="ctr"/>
              <a:lstStyle/>
              <a:p>
                <a:endParaRPr lang="en-US" sz="1800" dirty="0"/>
              </a:p>
            </p:txBody>
          </p:sp>
          <p:sp>
            <p:nvSpPr>
              <p:cNvPr id="569" name="Freeform 568">
                <a:extLst>
                  <a:ext uri="{FF2B5EF4-FFF2-40B4-BE49-F238E27FC236}">
                    <a16:creationId xmlns:a16="http://schemas.microsoft.com/office/drawing/2014/main" id="{66B25698-4C7F-89CA-00FB-A264862BB8BD}"/>
                  </a:ext>
                </a:extLst>
              </p:cNvPr>
              <p:cNvSpPr/>
              <p:nvPr/>
            </p:nvSpPr>
            <p:spPr>
              <a:xfrm>
                <a:off x="2915540" y="1194527"/>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787878"/>
                </a:solidFill>
                <a:prstDash val="solid"/>
                <a:miter/>
              </a:ln>
            </p:spPr>
            <p:txBody>
              <a:bodyPr rtlCol="0" anchor="ctr"/>
              <a:lstStyle/>
              <a:p>
                <a:endParaRPr lang="en-US" sz="1800" dirty="0"/>
              </a:p>
            </p:txBody>
          </p:sp>
          <p:sp>
            <p:nvSpPr>
              <p:cNvPr id="570" name="Freeform 569">
                <a:extLst>
                  <a:ext uri="{FF2B5EF4-FFF2-40B4-BE49-F238E27FC236}">
                    <a16:creationId xmlns:a16="http://schemas.microsoft.com/office/drawing/2014/main" id="{704A381C-31F4-81E2-8F38-564F846187B3}"/>
                  </a:ext>
                </a:extLst>
              </p:cNvPr>
              <p:cNvSpPr/>
              <p:nvPr/>
            </p:nvSpPr>
            <p:spPr>
              <a:xfrm>
                <a:off x="2897911" y="1223009"/>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787878"/>
                </a:solidFill>
                <a:prstDash val="solid"/>
                <a:miter/>
              </a:ln>
            </p:spPr>
            <p:txBody>
              <a:bodyPr rtlCol="0" anchor="ctr"/>
              <a:lstStyle/>
              <a:p>
                <a:endParaRPr lang="en-US" sz="1800" dirty="0"/>
              </a:p>
            </p:txBody>
          </p:sp>
          <p:sp>
            <p:nvSpPr>
              <p:cNvPr id="571" name="Freeform 570">
                <a:extLst>
                  <a:ext uri="{FF2B5EF4-FFF2-40B4-BE49-F238E27FC236}">
                    <a16:creationId xmlns:a16="http://schemas.microsoft.com/office/drawing/2014/main" id="{4141D544-6A25-DD37-9706-3E83D24AB9DE}"/>
                  </a:ext>
                </a:extLst>
              </p:cNvPr>
              <p:cNvSpPr/>
              <p:nvPr/>
            </p:nvSpPr>
            <p:spPr>
              <a:xfrm>
                <a:off x="2927293" y="1194527"/>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787878"/>
                </a:solidFill>
                <a:prstDash val="solid"/>
                <a:miter/>
              </a:ln>
            </p:spPr>
            <p:txBody>
              <a:bodyPr rtlCol="0" anchor="ctr"/>
              <a:lstStyle/>
              <a:p>
                <a:endParaRPr lang="en-US" sz="1800" dirty="0"/>
              </a:p>
            </p:txBody>
          </p:sp>
          <p:sp>
            <p:nvSpPr>
              <p:cNvPr id="572" name="Freeform 571">
                <a:extLst>
                  <a:ext uri="{FF2B5EF4-FFF2-40B4-BE49-F238E27FC236}">
                    <a16:creationId xmlns:a16="http://schemas.microsoft.com/office/drawing/2014/main" id="{AB3F4604-AA64-0B4F-2520-169167FE9252}"/>
                  </a:ext>
                </a:extLst>
              </p:cNvPr>
              <p:cNvSpPr/>
              <p:nvPr/>
            </p:nvSpPr>
            <p:spPr>
              <a:xfrm>
                <a:off x="2903911" y="1223009"/>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787878"/>
                </a:solidFill>
                <a:prstDash val="solid"/>
                <a:miter/>
              </a:ln>
            </p:spPr>
            <p:txBody>
              <a:bodyPr rtlCol="0" anchor="ctr"/>
              <a:lstStyle/>
              <a:p>
                <a:endParaRPr lang="en-US" sz="1800" dirty="0"/>
              </a:p>
            </p:txBody>
          </p:sp>
          <p:sp>
            <p:nvSpPr>
              <p:cNvPr id="573" name="Freeform 572">
                <a:extLst>
                  <a:ext uri="{FF2B5EF4-FFF2-40B4-BE49-F238E27FC236}">
                    <a16:creationId xmlns:a16="http://schemas.microsoft.com/office/drawing/2014/main" id="{DDBE269D-748E-5943-5102-6DA8E88AC55E}"/>
                  </a:ext>
                </a:extLst>
              </p:cNvPr>
              <p:cNvSpPr/>
              <p:nvPr/>
            </p:nvSpPr>
            <p:spPr>
              <a:xfrm>
                <a:off x="2933311" y="1194527"/>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787878"/>
                </a:solidFill>
                <a:prstDash val="solid"/>
                <a:miter/>
              </a:ln>
            </p:spPr>
            <p:txBody>
              <a:bodyPr rtlCol="0" anchor="ctr"/>
              <a:lstStyle/>
              <a:p>
                <a:endParaRPr lang="en-US" sz="1800" dirty="0"/>
              </a:p>
            </p:txBody>
          </p:sp>
          <p:sp>
            <p:nvSpPr>
              <p:cNvPr id="574" name="Freeform 573">
                <a:extLst>
                  <a:ext uri="{FF2B5EF4-FFF2-40B4-BE49-F238E27FC236}">
                    <a16:creationId xmlns:a16="http://schemas.microsoft.com/office/drawing/2014/main" id="{AFE8B7C8-2AF8-7F5E-8FDA-DF9E9E2CE41B}"/>
                  </a:ext>
                </a:extLst>
              </p:cNvPr>
              <p:cNvSpPr/>
              <p:nvPr/>
            </p:nvSpPr>
            <p:spPr>
              <a:xfrm>
                <a:off x="3109816" y="1260862"/>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787878"/>
                </a:solidFill>
                <a:prstDash val="solid"/>
                <a:miter/>
              </a:ln>
            </p:spPr>
            <p:txBody>
              <a:bodyPr rtlCol="0" anchor="ctr"/>
              <a:lstStyle/>
              <a:p>
                <a:endParaRPr lang="en-US" sz="1800" dirty="0"/>
              </a:p>
            </p:txBody>
          </p:sp>
          <p:sp>
            <p:nvSpPr>
              <p:cNvPr id="575" name="Freeform 574">
                <a:extLst>
                  <a:ext uri="{FF2B5EF4-FFF2-40B4-BE49-F238E27FC236}">
                    <a16:creationId xmlns:a16="http://schemas.microsoft.com/office/drawing/2014/main" id="{20C9904A-E613-2A6B-746A-C0D9E943C749}"/>
                  </a:ext>
                </a:extLst>
              </p:cNvPr>
              <p:cNvSpPr/>
              <p:nvPr/>
            </p:nvSpPr>
            <p:spPr>
              <a:xfrm>
                <a:off x="3139198" y="1232379"/>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787878"/>
                </a:solidFill>
                <a:prstDash val="solid"/>
                <a:miter/>
              </a:ln>
            </p:spPr>
            <p:txBody>
              <a:bodyPr rtlCol="0" anchor="ctr"/>
              <a:lstStyle/>
              <a:p>
                <a:endParaRPr lang="en-US" sz="1800" dirty="0"/>
              </a:p>
            </p:txBody>
          </p:sp>
          <p:sp>
            <p:nvSpPr>
              <p:cNvPr id="576" name="Freeform 575">
                <a:extLst>
                  <a:ext uri="{FF2B5EF4-FFF2-40B4-BE49-F238E27FC236}">
                    <a16:creationId xmlns:a16="http://schemas.microsoft.com/office/drawing/2014/main" id="{CC9D9215-25E9-A942-26E6-130E4CB5C27E}"/>
                  </a:ext>
                </a:extLst>
              </p:cNvPr>
              <p:cNvSpPr/>
              <p:nvPr/>
            </p:nvSpPr>
            <p:spPr>
              <a:xfrm>
                <a:off x="3209875" y="1260862"/>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787878"/>
                </a:solidFill>
                <a:prstDash val="solid"/>
                <a:miter/>
              </a:ln>
            </p:spPr>
            <p:txBody>
              <a:bodyPr rtlCol="0" anchor="ctr"/>
              <a:lstStyle/>
              <a:p>
                <a:endParaRPr lang="en-US" sz="1800" dirty="0"/>
              </a:p>
            </p:txBody>
          </p:sp>
          <p:sp>
            <p:nvSpPr>
              <p:cNvPr id="577" name="Freeform 576">
                <a:extLst>
                  <a:ext uri="{FF2B5EF4-FFF2-40B4-BE49-F238E27FC236}">
                    <a16:creationId xmlns:a16="http://schemas.microsoft.com/office/drawing/2014/main" id="{EA23ACB0-8127-A3FC-ED72-548AEDA3A361}"/>
                  </a:ext>
                </a:extLst>
              </p:cNvPr>
              <p:cNvSpPr/>
              <p:nvPr/>
            </p:nvSpPr>
            <p:spPr>
              <a:xfrm>
                <a:off x="3239275" y="1232379"/>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787878"/>
                </a:solidFill>
                <a:prstDash val="solid"/>
                <a:miter/>
              </a:ln>
            </p:spPr>
            <p:txBody>
              <a:bodyPr rtlCol="0" anchor="ctr"/>
              <a:lstStyle/>
              <a:p>
                <a:endParaRPr lang="en-US" sz="1800" dirty="0"/>
              </a:p>
            </p:txBody>
          </p:sp>
          <p:sp>
            <p:nvSpPr>
              <p:cNvPr id="578" name="Freeform 577">
                <a:extLst>
                  <a:ext uri="{FF2B5EF4-FFF2-40B4-BE49-F238E27FC236}">
                    <a16:creationId xmlns:a16="http://schemas.microsoft.com/office/drawing/2014/main" id="{6218A0A4-9205-BABB-8D22-C27D69F804AA}"/>
                  </a:ext>
                </a:extLst>
              </p:cNvPr>
              <p:cNvSpPr/>
              <p:nvPr/>
            </p:nvSpPr>
            <p:spPr>
              <a:xfrm>
                <a:off x="3245292" y="1279973"/>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787878"/>
                </a:solidFill>
                <a:prstDash val="solid"/>
                <a:miter/>
              </a:ln>
            </p:spPr>
            <p:txBody>
              <a:bodyPr rtlCol="0" anchor="ctr"/>
              <a:lstStyle/>
              <a:p>
                <a:endParaRPr lang="en-US" sz="1800" dirty="0"/>
              </a:p>
            </p:txBody>
          </p:sp>
          <p:sp>
            <p:nvSpPr>
              <p:cNvPr id="579" name="Freeform 578">
                <a:extLst>
                  <a:ext uri="{FF2B5EF4-FFF2-40B4-BE49-F238E27FC236}">
                    <a16:creationId xmlns:a16="http://schemas.microsoft.com/office/drawing/2014/main" id="{52C2FA7C-DB7F-C933-A896-A9DEDE79219A}"/>
                  </a:ext>
                </a:extLst>
              </p:cNvPr>
              <p:cNvSpPr/>
              <p:nvPr/>
            </p:nvSpPr>
            <p:spPr>
              <a:xfrm>
                <a:off x="3274675" y="1251491"/>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787878"/>
                </a:solidFill>
                <a:prstDash val="solid"/>
                <a:miter/>
              </a:ln>
            </p:spPr>
            <p:txBody>
              <a:bodyPr rtlCol="0" anchor="ctr"/>
              <a:lstStyle/>
              <a:p>
                <a:endParaRPr lang="en-US" sz="1800" dirty="0"/>
              </a:p>
            </p:txBody>
          </p:sp>
          <p:sp>
            <p:nvSpPr>
              <p:cNvPr id="580" name="Freeform 579">
                <a:extLst>
                  <a:ext uri="{FF2B5EF4-FFF2-40B4-BE49-F238E27FC236}">
                    <a16:creationId xmlns:a16="http://schemas.microsoft.com/office/drawing/2014/main" id="{EFED4299-2DFB-F0A1-05F9-00A2E5A9C090}"/>
                  </a:ext>
                </a:extLst>
              </p:cNvPr>
              <p:cNvSpPr/>
              <p:nvPr/>
            </p:nvSpPr>
            <p:spPr>
              <a:xfrm>
                <a:off x="3304075" y="1318320"/>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787878"/>
                </a:solidFill>
                <a:prstDash val="solid"/>
                <a:miter/>
              </a:ln>
            </p:spPr>
            <p:txBody>
              <a:bodyPr rtlCol="0" anchor="ctr"/>
              <a:lstStyle/>
              <a:p>
                <a:endParaRPr lang="en-US" sz="1800" dirty="0"/>
              </a:p>
            </p:txBody>
          </p:sp>
          <p:sp>
            <p:nvSpPr>
              <p:cNvPr id="581" name="Freeform 580">
                <a:extLst>
                  <a:ext uri="{FF2B5EF4-FFF2-40B4-BE49-F238E27FC236}">
                    <a16:creationId xmlns:a16="http://schemas.microsoft.com/office/drawing/2014/main" id="{FFF9C834-6C29-000C-7990-863F572A1F61}"/>
                  </a:ext>
                </a:extLst>
              </p:cNvPr>
              <p:cNvSpPr/>
              <p:nvPr/>
            </p:nvSpPr>
            <p:spPr>
              <a:xfrm>
                <a:off x="3333475" y="1289838"/>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787878"/>
                </a:solidFill>
                <a:prstDash val="solid"/>
                <a:miter/>
              </a:ln>
            </p:spPr>
            <p:txBody>
              <a:bodyPr rtlCol="0" anchor="ctr"/>
              <a:lstStyle/>
              <a:p>
                <a:endParaRPr lang="en-US" sz="1800" dirty="0"/>
              </a:p>
            </p:txBody>
          </p:sp>
          <p:sp>
            <p:nvSpPr>
              <p:cNvPr id="582" name="Freeform 581">
                <a:extLst>
                  <a:ext uri="{FF2B5EF4-FFF2-40B4-BE49-F238E27FC236}">
                    <a16:creationId xmlns:a16="http://schemas.microsoft.com/office/drawing/2014/main" id="{07784283-E316-EF84-5DFB-0789B157B3F6}"/>
                  </a:ext>
                </a:extLst>
              </p:cNvPr>
              <p:cNvSpPr/>
              <p:nvPr/>
            </p:nvSpPr>
            <p:spPr>
              <a:xfrm>
                <a:off x="3457198" y="1434385"/>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787878"/>
                </a:solidFill>
                <a:prstDash val="solid"/>
                <a:miter/>
              </a:ln>
            </p:spPr>
            <p:txBody>
              <a:bodyPr rtlCol="0" anchor="ctr"/>
              <a:lstStyle/>
              <a:p>
                <a:endParaRPr lang="en-US" sz="1800" dirty="0"/>
              </a:p>
            </p:txBody>
          </p:sp>
          <p:sp>
            <p:nvSpPr>
              <p:cNvPr id="583" name="Freeform 582">
                <a:extLst>
                  <a:ext uri="{FF2B5EF4-FFF2-40B4-BE49-F238E27FC236}">
                    <a16:creationId xmlns:a16="http://schemas.microsoft.com/office/drawing/2014/main" id="{7ECC0660-03A1-B681-3F98-5EFA04ACB4AA}"/>
                  </a:ext>
                </a:extLst>
              </p:cNvPr>
              <p:cNvSpPr/>
              <p:nvPr/>
            </p:nvSpPr>
            <p:spPr>
              <a:xfrm>
                <a:off x="3486580" y="1405903"/>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787878"/>
                </a:solidFill>
                <a:prstDash val="solid"/>
                <a:miter/>
              </a:ln>
            </p:spPr>
            <p:txBody>
              <a:bodyPr rtlCol="0" anchor="ctr"/>
              <a:lstStyle/>
              <a:p>
                <a:endParaRPr lang="en-US" sz="1800" dirty="0"/>
              </a:p>
            </p:txBody>
          </p:sp>
          <p:sp>
            <p:nvSpPr>
              <p:cNvPr id="584" name="Freeform 583">
                <a:extLst>
                  <a:ext uri="{FF2B5EF4-FFF2-40B4-BE49-F238E27FC236}">
                    <a16:creationId xmlns:a16="http://schemas.microsoft.com/office/drawing/2014/main" id="{1A3A0CED-89C1-46ED-3A1A-16D536078840}"/>
                  </a:ext>
                </a:extLst>
              </p:cNvPr>
              <p:cNvSpPr/>
              <p:nvPr/>
            </p:nvSpPr>
            <p:spPr>
              <a:xfrm>
                <a:off x="3810333" y="1589944"/>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787878"/>
                </a:solidFill>
                <a:prstDash val="solid"/>
                <a:miter/>
              </a:ln>
            </p:spPr>
            <p:txBody>
              <a:bodyPr rtlCol="0" anchor="ctr"/>
              <a:lstStyle/>
              <a:p>
                <a:endParaRPr lang="en-US" sz="1800" dirty="0"/>
              </a:p>
            </p:txBody>
          </p:sp>
          <p:sp>
            <p:nvSpPr>
              <p:cNvPr id="585" name="Freeform 584">
                <a:extLst>
                  <a:ext uri="{FF2B5EF4-FFF2-40B4-BE49-F238E27FC236}">
                    <a16:creationId xmlns:a16="http://schemas.microsoft.com/office/drawing/2014/main" id="{0ECDFD25-E22C-3F0A-DACB-41AC03786316}"/>
                  </a:ext>
                </a:extLst>
              </p:cNvPr>
              <p:cNvSpPr/>
              <p:nvPr/>
            </p:nvSpPr>
            <p:spPr>
              <a:xfrm>
                <a:off x="3839715" y="1561461"/>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787878"/>
                </a:solidFill>
                <a:prstDash val="solid"/>
                <a:miter/>
              </a:ln>
            </p:spPr>
            <p:txBody>
              <a:bodyPr rtlCol="0" anchor="ctr"/>
              <a:lstStyle/>
              <a:p>
                <a:endParaRPr lang="en-US" sz="1800" dirty="0"/>
              </a:p>
            </p:txBody>
          </p:sp>
          <p:sp>
            <p:nvSpPr>
              <p:cNvPr id="586" name="Freeform 585">
                <a:extLst>
                  <a:ext uri="{FF2B5EF4-FFF2-40B4-BE49-F238E27FC236}">
                    <a16:creationId xmlns:a16="http://schemas.microsoft.com/office/drawing/2014/main" id="{DC7000F8-E711-065E-6816-C6EF9EA1EDEE}"/>
                  </a:ext>
                </a:extLst>
              </p:cNvPr>
              <p:cNvSpPr/>
              <p:nvPr/>
            </p:nvSpPr>
            <p:spPr>
              <a:xfrm>
                <a:off x="4045744" y="1687796"/>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787878"/>
                </a:solidFill>
                <a:prstDash val="solid"/>
                <a:miter/>
              </a:ln>
            </p:spPr>
            <p:txBody>
              <a:bodyPr rtlCol="0" anchor="ctr"/>
              <a:lstStyle/>
              <a:p>
                <a:endParaRPr lang="en-US" sz="1800" dirty="0"/>
              </a:p>
            </p:txBody>
          </p:sp>
          <p:sp>
            <p:nvSpPr>
              <p:cNvPr id="587" name="Freeform 586">
                <a:extLst>
                  <a:ext uri="{FF2B5EF4-FFF2-40B4-BE49-F238E27FC236}">
                    <a16:creationId xmlns:a16="http://schemas.microsoft.com/office/drawing/2014/main" id="{6975EF59-014B-E63D-8EC4-60EA3B645009}"/>
                  </a:ext>
                </a:extLst>
              </p:cNvPr>
              <p:cNvSpPr/>
              <p:nvPr/>
            </p:nvSpPr>
            <p:spPr>
              <a:xfrm>
                <a:off x="4075144" y="1659314"/>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787878"/>
                </a:solidFill>
                <a:prstDash val="solid"/>
                <a:miter/>
              </a:ln>
            </p:spPr>
            <p:txBody>
              <a:bodyPr rtlCol="0" anchor="ctr"/>
              <a:lstStyle/>
              <a:p>
                <a:endParaRPr lang="en-US" sz="1800" dirty="0"/>
              </a:p>
            </p:txBody>
          </p:sp>
          <p:sp>
            <p:nvSpPr>
              <p:cNvPr id="588" name="Freeform 587">
                <a:extLst>
                  <a:ext uri="{FF2B5EF4-FFF2-40B4-BE49-F238E27FC236}">
                    <a16:creationId xmlns:a16="http://schemas.microsoft.com/office/drawing/2014/main" id="{42BF27DB-241B-D29E-154E-4F1C596375DC}"/>
                  </a:ext>
                </a:extLst>
              </p:cNvPr>
              <p:cNvSpPr/>
              <p:nvPr/>
            </p:nvSpPr>
            <p:spPr>
              <a:xfrm>
                <a:off x="4440155" y="2022825"/>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787878"/>
                </a:solidFill>
                <a:prstDash val="solid"/>
                <a:miter/>
              </a:ln>
            </p:spPr>
            <p:txBody>
              <a:bodyPr rtlCol="0" anchor="ctr"/>
              <a:lstStyle/>
              <a:p>
                <a:endParaRPr lang="en-US" sz="1800" dirty="0"/>
              </a:p>
            </p:txBody>
          </p:sp>
          <p:sp>
            <p:nvSpPr>
              <p:cNvPr id="589" name="Freeform 588">
                <a:extLst>
                  <a:ext uri="{FF2B5EF4-FFF2-40B4-BE49-F238E27FC236}">
                    <a16:creationId xmlns:a16="http://schemas.microsoft.com/office/drawing/2014/main" id="{178CAC6D-B94C-8790-5012-7B5DADEDADAF}"/>
                  </a:ext>
                </a:extLst>
              </p:cNvPr>
              <p:cNvSpPr/>
              <p:nvPr/>
            </p:nvSpPr>
            <p:spPr>
              <a:xfrm>
                <a:off x="4469555" y="1994360"/>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787878"/>
                </a:solidFill>
                <a:prstDash val="solid"/>
                <a:miter/>
              </a:ln>
            </p:spPr>
            <p:txBody>
              <a:bodyPr rtlCol="0" anchor="ctr"/>
              <a:lstStyle/>
              <a:p>
                <a:endParaRPr lang="en-US" sz="1800" dirty="0"/>
              </a:p>
            </p:txBody>
          </p:sp>
          <p:sp>
            <p:nvSpPr>
              <p:cNvPr id="590" name="Freeform 589">
                <a:extLst>
                  <a:ext uri="{FF2B5EF4-FFF2-40B4-BE49-F238E27FC236}">
                    <a16:creationId xmlns:a16="http://schemas.microsoft.com/office/drawing/2014/main" id="{4B32FC39-886A-CD6F-4F33-3803B39552C3}"/>
                  </a:ext>
                </a:extLst>
              </p:cNvPr>
              <p:cNvSpPr/>
              <p:nvPr/>
            </p:nvSpPr>
            <p:spPr>
              <a:xfrm>
                <a:off x="4522602" y="2042696"/>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787878"/>
                </a:solidFill>
                <a:prstDash val="solid"/>
                <a:miter/>
              </a:ln>
            </p:spPr>
            <p:txBody>
              <a:bodyPr rtlCol="0" anchor="ctr"/>
              <a:lstStyle/>
              <a:p>
                <a:endParaRPr lang="en-US" sz="1800" dirty="0"/>
              </a:p>
            </p:txBody>
          </p:sp>
          <p:sp>
            <p:nvSpPr>
              <p:cNvPr id="591" name="Freeform 590">
                <a:extLst>
                  <a:ext uri="{FF2B5EF4-FFF2-40B4-BE49-F238E27FC236}">
                    <a16:creationId xmlns:a16="http://schemas.microsoft.com/office/drawing/2014/main" id="{E62B050C-343F-CD00-8CC7-B6DA03CC994C}"/>
                  </a:ext>
                </a:extLst>
              </p:cNvPr>
              <p:cNvSpPr/>
              <p:nvPr/>
            </p:nvSpPr>
            <p:spPr>
              <a:xfrm>
                <a:off x="4551984" y="2014231"/>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787878"/>
                </a:solidFill>
                <a:prstDash val="solid"/>
                <a:miter/>
              </a:ln>
            </p:spPr>
            <p:txBody>
              <a:bodyPr rtlCol="0" anchor="ctr"/>
              <a:lstStyle/>
              <a:p>
                <a:endParaRPr lang="en-US" sz="1800" dirty="0"/>
              </a:p>
            </p:txBody>
          </p:sp>
          <p:sp>
            <p:nvSpPr>
              <p:cNvPr id="592" name="Freeform 591">
                <a:extLst>
                  <a:ext uri="{FF2B5EF4-FFF2-40B4-BE49-F238E27FC236}">
                    <a16:creationId xmlns:a16="http://schemas.microsoft.com/office/drawing/2014/main" id="{8D6218DD-3A15-C412-A591-A251ABD031E6}"/>
                  </a:ext>
                </a:extLst>
              </p:cNvPr>
              <p:cNvSpPr/>
              <p:nvPr/>
            </p:nvSpPr>
            <p:spPr>
              <a:xfrm>
                <a:off x="4522602" y="2042696"/>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787878"/>
                </a:solidFill>
                <a:prstDash val="solid"/>
                <a:miter/>
              </a:ln>
            </p:spPr>
            <p:txBody>
              <a:bodyPr rtlCol="0" anchor="ctr"/>
              <a:lstStyle/>
              <a:p>
                <a:endParaRPr lang="en-US" sz="1800" dirty="0"/>
              </a:p>
            </p:txBody>
          </p:sp>
          <p:sp>
            <p:nvSpPr>
              <p:cNvPr id="593" name="Freeform 592">
                <a:extLst>
                  <a:ext uri="{FF2B5EF4-FFF2-40B4-BE49-F238E27FC236}">
                    <a16:creationId xmlns:a16="http://schemas.microsoft.com/office/drawing/2014/main" id="{9445B1D4-7CF1-0406-7D98-4C711D50EB4B}"/>
                  </a:ext>
                </a:extLst>
              </p:cNvPr>
              <p:cNvSpPr/>
              <p:nvPr/>
            </p:nvSpPr>
            <p:spPr>
              <a:xfrm>
                <a:off x="4551984" y="2014231"/>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787878"/>
                </a:solidFill>
                <a:prstDash val="solid"/>
                <a:miter/>
              </a:ln>
            </p:spPr>
            <p:txBody>
              <a:bodyPr rtlCol="0" anchor="ctr"/>
              <a:lstStyle/>
              <a:p>
                <a:endParaRPr lang="en-US" sz="1800" dirty="0"/>
              </a:p>
            </p:txBody>
          </p:sp>
          <p:sp>
            <p:nvSpPr>
              <p:cNvPr id="594" name="Freeform 593">
                <a:extLst>
                  <a:ext uri="{FF2B5EF4-FFF2-40B4-BE49-F238E27FC236}">
                    <a16:creationId xmlns:a16="http://schemas.microsoft.com/office/drawing/2014/main" id="{AF631BA7-B65D-EA08-1FB4-5061F1FFF9EA}"/>
                  </a:ext>
                </a:extLst>
              </p:cNvPr>
              <p:cNvSpPr/>
              <p:nvPr/>
            </p:nvSpPr>
            <p:spPr>
              <a:xfrm>
                <a:off x="4640308" y="2103207"/>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787878"/>
                </a:solidFill>
                <a:prstDash val="solid"/>
                <a:miter/>
              </a:ln>
            </p:spPr>
            <p:txBody>
              <a:bodyPr rtlCol="0" anchor="ctr"/>
              <a:lstStyle/>
              <a:p>
                <a:endParaRPr lang="en-US" sz="1800" dirty="0"/>
              </a:p>
            </p:txBody>
          </p:sp>
          <p:sp>
            <p:nvSpPr>
              <p:cNvPr id="595" name="Freeform 594">
                <a:extLst>
                  <a:ext uri="{FF2B5EF4-FFF2-40B4-BE49-F238E27FC236}">
                    <a16:creationId xmlns:a16="http://schemas.microsoft.com/office/drawing/2014/main" id="{323DBF70-4B92-16E6-A5B0-5894218038EC}"/>
                  </a:ext>
                </a:extLst>
              </p:cNvPr>
              <p:cNvSpPr/>
              <p:nvPr/>
            </p:nvSpPr>
            <p:spPr>
              <a:xfrm>
                <a:off x="4669708" y="2074725"/>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787878"/>
                </a:solidFill>
                <a:prstDash val="solid"/>
                <a:miter/>
              </a:ln>
            </p:spPr>
            <p:txBody>
              <a:bodyPr rtlCol="0" anchor="ctr"/>
              <a:lstStyle/>
              <a:p>
                <a:endParaRPr lang="en-US" sz="1800" dirty="0"/>
              </a:p>
            </p:txBody>
          </p:sp>
          <p:sp>
            <p:nvSpPr>
              <p:cNvPr id="596" name="Freeform 595">
                <a:extLst>
                  <a:ext uri="{FF2B5EF4-FFF2-40B4-BE49-F238E27FC236}">
                    <a16:creationId xmlns:a16="http://schemas.microsoft.com/office/drawing/2014/main" id="{A9AE53F9-3600-A415-4E06-6B46CA9EBC18}"/>
                  </a:ext>
                </a:extLst>
              </p:cNvPr>
              <p:cNvSpPr/>
              <p:nvPr/>
            </p:nvSpPr>
            <p:spPr>
              <a:xfrm>
                <a:off x="5040595" y="2286225"/>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787878"/>
                </a:solidFill>
                <a:prstDash val="solid"/>
                <a:miter/>
              </a:ln>
            </p:spPr>
            <p:txBody>
              <a:bodyPr rtlCol="0" anchor="ctr"/>
              <a:lstStyle/>
              <a:p>
                <a:endParaRPr lang="en-US" sz="1800" dirty="0"/>
              </a:p>
            </p:txBody>
          </p:sp>
          <p:sp>
            <p:nvSpPr>
              <p:cNvPr id="597" name="Freeform 596">
                <a:extLst>
                  <a:ext uri="{FF2B5EF4-FFF2-40B4-BE49-F238E27FC236}">
                    <a16:creationId xmlns:a16="http://schemas.microsoft.com/office/drawing/2014/main" id="{2C23C911-B4BF-7E38-C696-671FFB5F1BD0}"/>
                  </a:ext>
                </a:extLst>
              </p:cNvPr>
              <p:cNvSpPr/>
              <p:nvPr/>
            </p:nvSpPr>
            <p:spPr>
              <a:xfrm>
                <a:off x="5069995" y="2257760"/>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787878"/>
                </a:solidFill>
                <a:prstDash val="solid"/>
                <a:miter/>
              </a:ln>
            </p:spPr>
            <p:txBody>
              <a:bodyPr rtlCol="0" anchor="ctr"/>
              <a:lstStyle/>
              <a:p>
                <a:endParaRPr lang="en-US" sz="1800" dirty="0"/>
              </a:p>
            </p:txBody>
          </p:sp>
          <p:sp>
            <p:nvSpPr>
              <p:cNvPr id="598" name="Freeform 597">
                <a:extLst>
                  <a:ext uri="{FF2B5EF4-FFF2-40B4-BE49-F238E27FC236}">
                    <a16:creationId xmlns:a16="http://schemas.microsoft.com/office/drawing/2014/main" id="{F3A1966F-8847-F876-4417-1385C1262BD6}"/>
                  </a:ext>
                </a:extLst>
              </p:cNvPr>
              <p:cNvSpPr/>
              <p:nvPr/>
            </p:nvSpPr>
            <p:spPr>
              <a:xfrm>
                <a:off x="5240624" y="2347742"/>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787878"/>
                </a:solidFill>
                <a:prstDash val="solid"/>
                <a:miter/>
              </a:ln>
            </p:spPr>
            <p:txBody>
              <a:bodyPr rtlCol="0" anchor="ctr"/>
              <a:lstStyle/>
              <a:p>
                <a:endParaRPr lang="en-US" sz="1800" dirty="0"/>
              </a:p>
            </p:txBody>
          </p:sp>
          <p:sp>
            <p:nvSpPr>
              <p:cNvPr id="599" name="Freeform 598">
                <a:extLst>
                  <a:ext uri="{FF2B5EF4-FFF2-40B4-BE49-F238E27FC236}">
                    <a16:creationId xmlns:a16="http://schemas.microsoft.com/office/drawing/2014/main" id="{CB908AFF-89E8-3319-2E54-386FB01E9560}"/>
                  </a:ext>
                </a:extLst>
              </p:cNvPr>
              <p:cNvSpPr/>
              <p:nvPr/>
            </p:nvSpPr>
            <p:spPr>
              <a:xfrm>
                <a:off x="5270006" y="2319278"/>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787878"/>
                </a:solidFill>
                <a:prstDash val="solid"/>
                <a:miter/>
              </a:ln>
            </p:spPr>
            <p:txBody>
              <a:bodyPr rtlCol="0" anchor="ctr"/>
              <a:lstStyle/>
              <a:p>
                <a:endParaRPr lang="en-US" sz="1800" dirty="0"/>
              </a:p>
            </p:txBody>
          </p:sp>
          <p:sp>
            <p:nvSpPr>
              <p:cNvPr id="600" name="Freeform 599">
                <a:extLst>
                  <a:ext uri="{FF2B5EF4-FFF2-40B4-BE49-F238E27FC236}">
                    <a16:creationId xmlns:a16="http://schemas.microsoft.com/office/drawing/2014/main" id="{01F95519-88BF-1C27-1248-8F07F3456265}"/>
                  </a:ext>
                </a:extLst>
              </p:cNvPr>
              <p:cNvSpPr/>
              <p:nvPr/>
            </p:nvSpPr>
            <p:spPr>
              <a:xfrm>
                <a:off x="5434883" y="2347742"/>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787878"/>
                </a:solidFill>
                <a:prstDash val="solid"/>
                <a:miter/>
              </a:ln>
            </p:spPr>
            <p:txBody>
              <a:bodyPr rtlCol="0" anchor="ctr"/>
              <a:lstStyle/>
              <a:p>
                <a:endParaRPr lang="en-US" sz="1800" dirty="0"/>
              </a:p>
            </p:txBody>
          </p:sp>
          <p:sp>
            <p:nvSpPr>
              <p:cNvPr id="601" name="Freeform 600">
                <a:extLst>
                  <a:ext uri="{FF2B5EF4-FFF2-40B4-BE49-F238E27FC236}">
                    <a16:creationId xmlns:a16="http://schemas.microsoft.com/office/drawing/2014/main" id="{CAE75A8A-65D1-A425-011C-BBF17E828BA9}"/>
                  </a:ext>
                </a:extLst>
              </p:cNvPr>
              <p:cNvSpPr/>
              <p:nvPr/>
            </p:nvSpPr>
            <p:spPr>
              <a:xfrm>
                <a:off x="5464283" y="2319278"/>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787878"/>
                </a:solidFill>
                <a:prstDash val="solid"/>
                <a:miter/>
              </a:ln>
            </p:spPr>
            <p:txBody>
              <a:bodyPr rtlCol="0" anchor="ctr"/>
              <a:lstStyle/>
              <a:p>
                <a:endParaRPr lang="en-US" sz="1800" dirty="0"/>
              </a:p>
            </p:txBody>
          </p:sp>
          <p:sp>
            <p:nvSpPr>
              <p:cNvPr id="602" name="Freeform 601">
                <a:extLst>
                  <a:ext uri="{FF2B5EF4-FFF2-40B4-BE49-F238E27FC236}">
                    <a16:creationId xmlns:a16="http://schemas.microsoft.com/office/drawing/2014/main" id="{42069513-2ED9-5940-E516-68EDD7D22003}"/>
                  </a:ext>
                </a:extLst>
              </p:cNvPr>
              <p:cNvSpPr/>
              <p:nvPr/>
            </p:nvSpPr>
            <p:spPr>
              <a:xfrm>
                <a:off x="5676312" y="2473054"/>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787878"/>
                </a:solidFill>
                <a:prstDash val="solid"/>
                <a:miter/>
              </a:ln>
            </p:spPr>
            <p:txBody>
              <a:bodyPr rtlCol="0" anchor="ctr"/>
              <a:lstStyle/>
              <a:p>
                <a:endParaRPr lang="en-US" sz="1800" dirty="0"/>
              </a:p>
            </p:txBody>
          </p:sp>
          <p:sp>
            <p:nvSpPr>
              <p:cNvPr id="603" name="Freeform 602">
                <a:extLst>
                  <a:ext uri="{FF2B5EF4-FFF2-40B4-BE49-F238E27FC236}">
                    <a16:creationId xmlns:a16="http://schemas.microsoft.com/office/drawing/2014/main" id="{23236F8D-7900-2BBF-C307-284E5372B2BD}"/>
                  </a:ext>
                </a:extLst>
              </p:cNvPr>
              <p:cNvSpPr/>
              <p:nvPr/>
            </p:nvSpPr>
            <p:spPr>
              <a:xfrm>
                <a:off x="5705712" y="2444571"/>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787878"/>
                </a:solidFill>
                <a:prstDash val="solid"/>
                <a:miter/>
              </a:ln>
            </p:spPr>
            <p:txBody>
              <a:bodyPr rtlCol="0" anchor="ctr"/>
              <a:lstStyle/>
              <a:p>
                <a:endParaRPr lang="en-US" sz="1800" dirty="0"/>
              </a:p>
            </p:txBody>
          </p:sp>
          <p:sp>
            <p:nvSpPr>
              <p:cNvPr id="604" name="Freeform 603">
                <a:extLst>
                  <a:ext uri="{FF2B5EF4-FFF2-40B4-BE49-F238E27FC236}">
                    <a16:creationId xmlns:a16="http://schemas.microsoft.com/office/drawing/2014/main" id="{830262DA-C612-D342-52D6-08AB2E70D021}"/>
                  </a:ext>
                </a:extLst>
              </p:cNvPr>
              <p:cNvSpPr/>
              <p:nvPr/>
            </p:nvSpPr>
            <p:spPr>
              <a:xfrm>
                <a:off x="5693959" y="2473054"/>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787878"/>
                </a:solidFill>
                <a:prstDash val="solid"/>
                <a:miter/>
              </a:ln>
            </p:spPr>
            <p:txBody>
              <a:bodyPr rtlCol="0" anchor="ctr"/>
              <a:lstStyle/>
              <a:p>
                <a:endParaRPr lang="en-US" sz="1800" dirty="0"/>
              </a:p>
            </p:txBody>
          </p:sp>
          <p:sp>
            <p:nvSpPr>
              <p:cNvPr id="605" name="Freeform 604">
                <a:extLst>
                  <a:ext uri="{FF2B5EF4-FFF2-40B4-BE49-F238E27FC236}">
                    <a16:creationId xmlns:a16="http://schemas.microsoft.com/office/drawing/2014/main" id="{03C604CD-FFBE-CA57-3444-1B11B772F6A7}"/>
                  </a:ext>
                </a:extLst>
              </p:cNvPr>
              <p:cNvSpPr/>
              <p:nvPr/>
            </p:nvSpPr>
            <p:spPr>
              <a:xfrm>
                <a:off x="5723341" y="2444571"/>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787878"/>
                </a:solidFill>
                <a:prstDash val="solid"/>
                <a:miter/>
              </a:ln>
            </p:spPr>
            <p:txBody>
              <a:bodyPr rtlCol="0" anchor="ctr"/>
              <a:lstStyle/>
              <a:p>
                <a:endParaRPr lang="en-US" sz="1800" dirty="0"/>
              </a:p>
            </p:txBody>
          </p:sp>
          <p:sp>
            <p:nvSpPr>
              <p:cNvPr id="606" name="Freeform 605">
                <a:extLst>
                  <a:ext uri="{FF2B5EF4-FFF2-40B4-BE49-F238E27FC236}">
                    <a16:creationId xmlns:a16="http://schemas.microsoft.com/office/drawing/2014/main" id="{1762F39B-9552-1999-DD57-8D23CF2FAB46}"/>
                  </a:ext>
                </a:extLst>
              </p:cNvPr>
              <p:cNvSpPr/>
              <p:nvPr/>
            </p:nvSpPr>
            <p:spPr>
              <a:xfrm>
                <a:off x="5693959" y="2473054"/>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787878"/>
                </a:solidFill>
                <a:prstDash val="solid"/>
                <a:miter/>
              </a:ln>
            </p:spPr>
            <p:txBody>
              <a:bodyPr rtlCol="0" anchor="ctr"/>
              <a:lstStyle/>
              <a:p>
                <a:endParaRPr lang="en-US" sz="1800" dirty="0"/>
              </a:p>
            </p:txBody>
          </p:sp>
          <p:sp>
            <p:nvSpPr>
              <p:cNvPr id="607" name="Freeform 606">
                <a:extLst>
                  <a:ext uri="{FF2B5EF4-FFF2-40B4-BE49-F238E27FC236}">
                    <a16:creationId xmlns:a16="http://schemas.microsoft.com/office/drawing/2014/main" id="{38883231-DFF9-E2CD-5ADF-C1BC8AE25A8A}"/>
                  </a:ext>
                </a:extLst>
              </p:cNvPr>
              <p:cNvSpPr/>
              <p:nvPr/>
            </p:nvSpPr>
            <p:spPr>
              <a:xfrm>
                <a:off x="5723341" y="2444571"/>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787878"/>
                </a:solidFill>
                <a:prstDash val="solid"/>
                <a:miter/>
              </a:ln>
            </p:spPr>
            <p:txBody>
              <a:bodyPr rtlCol="0" anchor="ctr"/>
              <a:lstStyle/>
              <a:p>
                <a:endParaRPr lang="en-US" sz="1800" dirty="0"/>
              </a:p>
            </p:txBody>
          </p:sp>
          <p:sp>
            <p:nvSpPr>
              <p:cNvPr id="608" name="Freeform 607">
                <a:extLst>
                  <a:ext uri="{FF2B5EF4-FFF2-40B4-BE49-F238E27FC236}">
                    <a16:creationId xmlns:a16="http://schemas.microsoft.com/office/drawing/2014/main" id="{01D4EB21-7DD6-530F-AEEE-51CB724CC2DA}"/>
                  </a:ext>
                </a:extLst>
              </p:cNvPr>
              <p:cNvSpPr/>
              <p:nvPr/>
            </p:nvSpPr>
            <p:spPr>
              <a:xfrm>
                <a:off x="5746864" y="2494583"/>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787878"/>
                </a:solidFill>
                <a:prstDash val="solid"/>
                <a:miter/>
              </a:ln>
            </p:spPr>
            <p:txBody>
              <a:bodyPr rtlCol="0" anchor="ctr"/>
              <a:lstStyle/>
              <a:p>
                <a:endParaRPr lang="en-US" sz="1800" dirty="0"/>
              </a:p>
            </p:txBody>
          </p:sp>
          <p:sp>
            <p:nvSpPr>
              <p:cNvPr id="609" name="Freeform 608">
                <a:extLst>
                  <a:ext uri="{FF2B5EF4-FFF2-40B4-BE49-F238E27FC236}">
                    <a16:creationId xmlns:a16="http://schemas.microsoft.com/office/drawing/2014/main" id="{DBBBDF23-964E-4E71-EF43-3546BA2193F1}"/>
                  </a:ext>
                </a:extLst>
              </p:cNvPr>
              <p:cNvSpPr/>
              <p:nvPr/>
            </p:nvSpPr>
            <p:spPr>
              <a:xfrm>
                <a:off x="5776264" y="2466101"/>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787878"/>
                </a:solidFill>
                <a:prstDash val="solid"/>
                <a:miter/>
              </a:ln>
            </p:spPr>
            <p:txBody>
              <a:bodyPr rtlCol="0" anchor="ctr"/>
              <a:lstStyle/>
              <a:p>
                <a:endParaRPr lang="en-US" sz="1800" dirty="0"/>
              </a:p>
            </p:txBody>
          </p:sp>
          <p:sp>
            <p:nvSpPr>
              <p:cNvPr id="610" name="Freeform 609">
                <a:extLst>
                  <a:ext uri="{FF2B5EF4-FFF2-40B4-BE49-F238E27FC236}">
                    <a16:creationId xmlns:a16="http://schemas.microsoft.com/office/drawing/2014/main" id="{93D0D5F1-3316-14E0-DB7D-21553510063D}"/>
                  </a:ext>
                </a:extLst>
              </p:cNvPr>
              <p:cNvSpPr/>
              <p:nvPr/>
            </p:nvSpPr>
            <p:spPr>
              <a:xfrm>
                <a:off x="5746864" y="2494583"/>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787878"/>
                </a:solidFill>
                <a:prstDash val="solid"/>
                <a:miter/>
              </a:ln>
            </p:spPr>
            <p:txBody>
              <a:bodyPr rtlCol="0" anchor="ctr"/>
              <a:lstStyle/>
              <a:p>
                <a:endParaRPr lang="en-US" sz="1800" dirty="0"/>
              </a:p>
            </p:txBody>
          </p:sp>
          <p:sp>
            <p:nvSpPr>
              <p:cNvPr id="611" name="Freeform 610">
                <a:extLst>
                  <a:ext uri="{FF2B5EF4-FFF2-40B4-BE49-F238E27FC236}">
                    <a16:creationId xmlns:a16="http://schemas.microsoft.com/office/drawing/2014/main" id="{ADA69A90-7CCA-4CE1-A53E-398A0E99C6F5}"/>
                  </a:ext>
                </a:extLst>
              </p:cNvPr>
              <p:cNvSpPr/>
              <p:nvPr/>
            </p:nvSpPr>
            <p:spPr>
              <a:xfrm>
                <a:off x="5776264" y="2466101"/>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787878"/>
                </a:solidFill>
                <a:prstDash val="solid"/>
                <a:miter/>
              </a:ln>
            </p:spPr>
            <p:txBody>
              <a:bodyPr rtlCol="0" anchor="ctr"/>
              <a:lstStyle/>
              <a:p>
                <a:endParaRPr lang="en-US" sz="1800" dirty="0"/>
              </a:p>
            </p:txBody>
          </p:sp>
          <p:sp>
            <p:nvSpPr>
              <p:cNvPr id="612" name="Freeform 611">
                <a:extLst>
                  <a:ext uri="{FF2B5EF4-FFF2-40B4-BE49-F238E27FC236}">
                    <a16:creationId xmlns:a16="http://schemas.microsoft.com/office/drawing/2014/main" id="{15FD5993-005C-C78D-A3A0-A0AA5D37F290}"/>
                  </a:ext>
                </a:extLst>
              </p:cNvPr>
              <p:cNvSpPr/>
              <p:nvPr/>
            </p:nvSpPr>
            <p:spPr>
              <a:xfrm>
                <a:off x="5746864" y="2494583"/>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787878"/>
                </a:solidFill>
                <a:prstDash val="solid"/>
                <a:miter/>
              </a:ln>
            </p:spPr>
            <p:txBody>
              <a:bodyPr rtlCol="0" anchor="ctr"/>
              <a:lstStyle/>
              <a:p>
                <a:endParaRPr lang="en-US" sz="1800" dirty="0"/>
              </a:p>
            </p:txBody>
          </p:sp>
          <p:sp>
            <p:nvSpPr>
              <p:cNvPr id="613" name="Freeform 612">
                <a:extLst>
                  <a:ext uri="{FF2B5EF4-FFF2-40B4-BE49-F238E27FC236}">
                    <a16:creationId xmlns:a16="http://schemas.microsoft.com/office/drawing/2014/main" id="{E3A817EE-98D9-364B-BD2C-F8AC14ADF781}"/>
                  </a:ext>
                </a:extLst>
              </p:cNvPr>
              <p:cNvSpPr/>
              <p:nvPr/>
            </p:nvSpPr>
            <p:spPr>
              <a:xfrm>
                <a:off x="5776264" y="2466101"/>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787878"/>
                </a:solidFill>
                <a:prstDash val="solid"/>
                <a:miter/>
              </a:ln>
            </p:spPr>
            <p:txBody>
              <a:bodyPr rtlCol="0" anchor="ctr"/>
              <a:lstStyle/>
              <a:p>
                <a:endParaRPr lang="en-US" sz="1800" dirty="0"/>
              </a:p>
            </p:txBody>
          </p:sp>
          <p:sp>
            <p:nvSpPr>
              <p:cNvPr id="614" name="Freeform 613">
                <a:extLst>
                  <a:ext uri="{FF2B5EF4-FFF2-40B4-BE49-F238E27FC236}">
                    <a16:creationId xmlns:a16="http://schemas.microsoft.com/office/drawing/2014/main" id="{3153740A-B8CD-496E-6A11-B0A8C2924933}"/>
                  </a:ext>
                </a:extLst>
              </p:cNvPr>
              <p:cNvSpPr/>
              <p:nvPr/>
            </p:nvSpPr>
            <p:spPr>
              <a:xfrm>
                <a:off x="5752741" y="2494583"/>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787878"/>
                </a:solidFill>
                <a:prstDash val="solid"/>
                <a:miter/>
              </a:ln>
            </p:spPr>
            <p:txBody>
              <a:bodyPr rtlCol="0" anchor="ctr"/>
              <a:lstStyle/>
              <a:p>
                <a:endParaRPr lang="en-US" sz="1800" dirty="0"/>
              </a:p>
            </p:txBody>
          </p:sp>
          <p:sp>
            <p:nvSpPr>
              <p:cNvPr id="615" name="Freeform 614">
                <a:extLst>
                  <a:ext uri="{FF2B5EF4-FFF2-40B4-BE49-F238E27FC236}">
                    <a16:creationId xmlns:a16="http://schemas.microsoft.com/office/drawing/2014/main" id="{6D4628BF-D8CB-5C06-477C-F16FD09D6FB4}"/>
                  </a:ext>
                </a:extLst>
              </p:cNvPr>
              <p:cNvSpPr/>
              <p:nvPr/>
            </p:nvSpPr>
            <p:spPr>
              <a:xfrm>
                <a:off x="5782141" y="2466101"/>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787878"/>
                </a:solidFill>
                <a:prstDash val="solid"/>
                <a:miter/>
              </a:ln>
            </p:spPr>
            <p:txBody>
              <a:bodyPr rtlCol="0" anchor="ctr"/>
              <a:lstStyle/>
              <a:p>
                <a:endParaRPr lang="en-US" sz="1800" dirty="0"/>
              </a:p>
            </p:txBody>
          </p:sp>
          <p:sp>
            <p:nvSpPr>
              <p:cNvPr id="616" name="Freeform 615">
                <a:extLst>
                  <a:ext uri="{FF2B5EF4-FFF2-40B4-BE49-F238E27FC236}">
                    <a16:creationId xmlns:a16="http://schemas.microsoft.com/office/drawing/2014/main" id="{559414AE-491C-69C9-9442-2ABAF413464A}"/>
                  </a:ext>
                </a:extLst>
              </p:cNvPr>
              <p:cNvSpPr/>
              <p:nvPr/>
            </p:nvSpPr>
            <p:spPr>
              <a:xfrm>
                <a:off x="5811664" y="2516977"/>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787878"/>
                </a:solidFill>
                <a:prstDash val="solid"/>
                <a:miter/>
              </a:ln>
            </p:spPr>
            <p:txBody>
              <a:bodyPr rtlCol="0" anchor="ctr"/>
              <a:lstStyle/>
              <a:p>
                <a:endParaRPr lang="en-US" sz="1800" dirty="0"/>
              </a:p>
            </p:txBody>
          </p:sp>
          <p:sp>
            <p:nvSpPr>
              <p:cNvPr id="617" name="Freeform 616">
                <a:extLst>
                  <a:ext uri="{FF2B5EF4-FFF2-40B4-BE49-F238E27FC236}">
                    <a16:creationId xmlns:a16="http://schemas.microsoft.com/office/drawing/2014/main" id="{8AD14BC7-9D86-B0C7-2109-B5CFD4755487}"/>
                  </a:ext>
                </a:extLst>
              </p:cNvPr>
              <p:cNvSpPr/>
              <p:nvPr/>
            </p:nvSpPr>
            <p:spPr>
              <a:xfrm>
                <a:off x="5841064" y="2488495"/>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787878"/>
                </a:solidFill>
                <a:prstDash val="solid"/>
                <a:miter/>
              </a:ln>
            </p:spPr>
            <p:txBody>
              <a:bodyPr rtlCol="0" anchor="ctr"/>
              <a:lstStyle/>
              <a:p>
                <a:endParaRPr lang="en-US" sz="1800" dirty="0"/>
              </a:p>
            </p:txBody>
          </p:sp>
          <p:sp>
            <p:nvSpPr>
              <p:cNvPr id="618" name="Freeform 617">
                <a:extLst>
                  <a:ext uri="{FF2B5EF4-FFF2-40B4-BE49-F238E27FC236}">
                    <a16:creationId xmlns:a16="http://schemas.microsoft.com/office/drawing/2014/main" id="{81959DEE-8080-0798-F44D-ACF358AD75DC}"/>
                  </a:ext>
                </a:extLst>
              </p:cNvPr>
              <p:cNvSpPr/>
              <p:nvPr/>
            </p:nvSpPr>
            <p:spPr>
              <a:xfrm>
                <a:off x="5905864" y="2539636"/>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787878"/>
                </a:solidFill>
                <a:prstDash val="solid"/>
                <a:miter/>
              </a:ln>
            </p:spPr>
            <p:txBody>
              <a:bodyPr rtlCol="0" anchor="ctr"/>
              <a:lstStyle/>
              <a:p>
                <a:endParaRPr lang="en-US" sz="1800" dirty="0"/>
              </a:p>
            </p:txBody>
          </p:sp>
          <p:sp>
            <p:nvSpPr>
              <p:cNvPr id="619" name="Freeform 618">
                <a:extLst>
                  <a:ext uri="{FF2B5EF4-FFF2-40B4-BE49-F238E27FC236}">
                    <a16:creationId xmlns:a16="http://schemas.microsoft.com/office/drawing/2014/main" id="{A5F91826-9F35-DD28-D752-E23281DD4948}"/>
                  </a:ext>
                </a:extLst>
              </p:cNvPr>
              <p:cNvSpPr/>
              <p:nvPr/>
            </p:nvSpPr>
            <p:spPr>
              <a:xfrm>
                <a:off x="5935246" y="2511154"/>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787878"/>
                </a:solidFill>
                <a:prstDash val="solid"/>
                <a:miter/>
              </a:ln>
            </p:spPr>
            <p:txBody>
              <a:bodyPr rtlCol="0" anchor="ctr"/>
              <a:lstStyle/>
              <a:p>
                <a:endParaRPr lang="en-US" sz="1800" dirty="0"/>
              </a:p>
            </p:txBody>
          </p:sp>
          <p:sp>
            <p:nvSpPr>
              <p:cNvPr id="620" name="Freeform 619">
                <a:extLst>
                  <a:ext uri="{FF2B5EF4-FFF2-40B4-BE49-F238E27FC236}">
                    <a16:creationId xmlns:a16="http://schemas.microsoft.com/office/drawing/2014/main" id="{33339535-044D-12FE-AB44-19C053C37124}"/>
                  </a:ext>
                </a:extLst>
              </p:cNvPr>
              <p:cNvSpPr/>
              <p:nvPr/>
            </p:nvSpPr>
            <p:spPr>
              <a:xfrm>
                <a:off x="5911741" y="2539636"/>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787878"/>
                </a:solidFill>
                <a:prstDash val="solid"/>
                <a:miter/>
              </a:ln>
            </p:spPr>
            <p:txBody>
              <a:bodyPr rtlCol="0" anchor="ctr"/>
              <a:lstStyle/>
              <a:p>
                <a:endParaRPr lang="en-US" sz="1800" dirty="0"/>
              </a:p>
            </p:txBody>
          </p:sp>
          <p:sp>
            <p:nvSpPr>
              <p:cNvPr id="621" name="Freeform 620">
                <a:extLst>
                  <a:ext uri="{FF2B5EF4-FFF2-40B4-BE49-F238E27FC236}">
                    <a16:creationId xmlns:a16="http://schemas.microsoft.com/office/drawing/2014/main" id="{CFCE90A0-8E01-5749-ECAF-C2F07494679F}"/>
                  </a:ext>
                </a:extLst>
              </p:cNvPr>
              <p:cNvSpPr/>
              <p:nvPr/>
            </p:nvSpPr>
            <p:spPr>
              <a:xfrm>
                <a:off x="5941123" y="2511154"/>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787878"/>
                </a:solidFill>
                <a:prstDash val="solid"/>
                <a:miter/>
              </a:ln>
            </p:spPr>
            <p:txBody>
              <a:bodyPr rtlCol="0" anchor="ctr"/>
              <a:lstStyle/>
              <a:p>
                <a:endParaRPr lang="en-US" sz="1800" dirty="0"/>
              </a:p>
            </p:txBody>
          </p:sp>
          <p:sp>
            <p:nvSpPr>
              <p:cNvPr id="622" name="Freeform 621">
                <a:extLst>
                  <a:ext uri="{FF2B5EF4-FFF2-40B4-BE49-F238E27FC236}">
                    <a16:creationId xmlns:a16="http://schemas.microsoft.com/office/drawing/2014/main" id="{1B0546DB-725D-6312-BCB2-364ABB55EFA2}"/>
                  </a:ext>
                </a:extLst>
              </p:cNvPr>
              <p:cNvSpPr/>
              <p:nvPr/>
            </p:nvSpPr>
            <p:spPr>
              <a:xfrm>
                <a:off x="5917617" y="2539636"/>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787878"/>
                </a:solidFill>
                <a:prstDash val="solid"/>
                <a:miter/>
              </a:ln>
            </p:spPr>
            <p:txBody>
              <a:bodyPr rtlCol="0" anchor="ctr"/>
              <a:lstStyle/>
              <a:p>
                <a:endParaRPr lang="en-US" sz="1800" dirty="0"/>
              </a:p>
            </p:txBody>
          </p:sp>
          <p:sp>
            <p:nvSpPr>
              <p:cNvPr id="623" name="Freeform 622">
                <a:extLst>
                  <a:ext uri="{FF2B5EF4-FFF2-40B4-BE49-F238E27FC236}">
                    <a16:creationId xmlns:a16="http://schemas.microsoft.com/office/drawing/2014/main" id="{3F8436AE-19CB-14A8-FFE5-65930F13831D}"/>
                  </a:ext>
                </a:extLst>
              </p:cNvPr>
              <p:cNvSpPr/>
              <p:nvPr/>
            </p:nvSpPr>
            <p:spPr>
              <a:xfrm>
                <a:off x="5946999" y="2511154"/>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787878"/>
                </a:solidFill>
                <a:prstDash val="solid"/>
                <a:miter/>
              </a:ln>
            </p:spPr>
            <p:txBody>
              <a:bodyPr rtlCol="0" anchor="ctr"/>
              <a:lstStyle/>
              <a:p>
                <a:endParaRPr lang="en-US" sz="1800" dirty="0"/>
              </a:p>
            </p:txBody>
          </p:sp>
          <p:sp>
            <p:nvSpPr>
              <p:cNvPr id="624" name="Freeform 623">
                <a:extLst>
                  <a:ext uri="{FF2B5EF4-FFF2-40B4-BE49-F238E27FC236}">
                    <a16:creationId xmlns:a16="http://schemas.microsoft.com/office/drawing/2014/main" id="{1D568F74-8E11-A46C-9139-156A4C8D13FE}"/>
                  </a:ext>
                </a:extLst>
              </p:cNvPr>
              <p:cNvSpPr/>
              <p:nvPr/>
            </p:nvSpPr>
            <p:spPr>
              <a:xfrm>
                <a:off x="5952894" y="2539636"/>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787878"/>
                </a:solidFill>
                <a:prstDash val="solid"/>
                <a:miter/>
              </a:ln>
            </p:spPr>
            <p:txBody>
              <a:bodyPr rtlCol="0" anchor="ctr"/>
              <a:lstStyle/>
              <a:p>
                <a:endParaRPr lang="en-US" sz="1800" dirty="0"/>
              </a:p>
            </p:txBody>
          </p:sp>
          <p:sp>
            <p:nvSpPr>
              <p:cNvPr id="625" name="Freeform 624">
                <a:extLst>
                  <a:ext uri="{FF2B5EF4-FFF2-40B4-BE49-F238E27FC236}">
                    <a16:creationId xmlns:a16="http://schemas.microsoft.com/office/drawing/2014/main" id="{BC6038A2-D47B-83AB-F59A-92D33DC919D6}"/>
                  </a:ext>
                </a:extLst>
              </p:cNvPr>
              <p:cNvSpPr/>
              <p:nvPr/>
            </p:nvSpPr>
            <p:spPr>
              <a:xfrm>
                <a:off x="5982276" y="2511154"/>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787878"/>
                </a:solidFill>
                <a:prstDash val="solid"/>
                <a:miter/>
              </a:ln>
            </p:spPr>
            <p:txBody>
              <a:bodyPr rtlCol="0" anchor="ctr"/>
              <a:lstStyle/>
              <a:p>
                <a:endParaRPr lang="en-US" sz="1800" dirty="0"/>
              </a:p>
            </p:txBody>
          </p:sp>
          <p:sp>
            <p:nvSpPr>
              <p:cNvPr id="626" name="Freeform 625">
                <a:extLst>
                  <a:ext uri="{FF2B5EF4-FFF2-40B4-BE49-F238E27FC236}">
                    <a16:creationId xmlns:a16="http://schemas.microsoft.com/office/drawing/2014/main" id="{415721AE-8589-C9E6-28D3-CE28CC3E2AA0}"/>
                  </a:ext>
                </a:extLst>
              </p:cNvPr>
              <p:cNvSpPr/>
              <p:nvPr/>
            </p:nvSpPr>
            <p:spPr>
              <a:xfrm>
                <a:off x="6000046" y="2563301"/>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787878"/>
                </a:solidFill>
                <a:prstDash val="solid"/>
                <a:miter/>
              </a:ln>
            </p:spPr>
            <p:txBody>
              <a:bodyPr rtlCol="0" anchor="ctr"/>
              <a:lstStyle/>
              <a:p>
                <a:endParaRPr lang="en-US" sz="1800" dirty="0"/>
              </a:p>
            </p:txBody>
          </p:sp>
          <p:sp>
            <p:nvSpPr>
              <p:cNvPr id="627" name="Freeform 626">
                <a:extLst>
                  <a:ext uri="{FF2B5EF4-FFF2-40B4-BE49-F238E27FC236}">
                    <a16:creationId xmlns:a16="http://schemas.microsoft.com/office/drawing/2014/main" id="{C3631BCF-3501-1E1F-4DC6-8E846D466E1E}"/>
                  </a:ext>
                </a:extLst>
              </p:cNvPr>
              <p:cNvSpPr/>
              <p:nvPr/>
            </p:nvSpPr>
            <p:spPr>
              <a:xfrm>
                <a:off x="6029446" y="2534818"/>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787878"/>
                </a:solidFill>
                <a:prstDash val="solid"/>
                <a:miter/>
              </a:ln>
            </p:spPr>
            <p:txBody>
              <a:bodyPr rtlCol="0" anchor="ctr"/>
              <a:lstStyle/>
              <a:p>
                <a:endParaRPr lang="en-US" sz="1800" dirty="0"/>
              </a:p>
            </p:txBody>
          </p:sp>
          <p:sp>
            <p:nvSpPr>
              <p:cNvPr id="628" name="Freeform 627">
                <a:extLst>
                  <a:ext uri="{FF2B5EF4-FFF2-40B4-BE49-F238E27FC236}">
                    <a16:creationId xmlns:a16="http://schemas.microsoft.com/office/drawing/2014/main" id="{3425942E-6E5D-4540-DF22-68BF4AF12DFE}"/>
                  </a:ext>
                </a:extLst>
              </p:cNvPr>
              <p:cNvSpPr/>
              <p:nvPr/>
            </p:nvSpPr>
            <p:spPr>
              <a:xfrm>
                <a:off x="6052952" y="2611283"/>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787878"/>
                </a:solidFill>
                <a:prstDash val="solid"/>
                <a:miter/>
              </a:ln>
            </p:spPr>
            <p:txBody>
              <a:bodyPr rtlCol="0" anchor="ctr"/>
              <a:lstStyle/>
              <a:p>
                <a:endParaRPr lang="en-US" sz="1800" dirty="0"/>
              </a:p>
            </p:txBody>
          </p:sp>
          <p:sp>
            <p:nvSpPr>
              <p:cNvPr id="629" name="Freeform 628">
                <a:extLst>
                  <a:ext uri="{FF2B5EF4-FFF2-40B4-BE49-F238E27FC236}">
                    <a16:creationId xmlns:a16="http://schemas.microsoft.com/office/drawing/2014/main" id="{F1A522B9-CCC1-3661-C121-F217F279C4B5}"/>
                  </a:ext>
                </a:extLst>
              </p:cNvPr>
              <p:cNvSpPr/>
              <p:nvPr/>
            </p:nvSpPr>
            <p:spPr>
              <a:xfrm>
                <a:off x="6082352" y="2582801"/>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787878"/>
                </a:solidFill>
                <a:prstDash val="solid"/>
                <a:miter/>
              </a:ln>
            </p:spPr>
            <p:txBody>
              <a:bodyPr rtlCol="0" anchor="ctr"/>
              <a:lstStyle/>
              <a:p>
                <a:endParaRPr lang="en-US" sz="1800" dirty="0"/>
              </a:p>
            </p:txBody>
          </p:sp>
          <p:sp>
            <p:nvSpPr>
              <p:cNvPr id="630" name="Freeform 629">
                <a:extLst>
                  <a:ext uri="{FF2B5EF4-FFF2-40B4-BE49-F238E27FC236}">
                    <a16:creationId xmlns:a16="http://schemas.microsoft.com/office/drawing/2014/main" id="{22D27786-F245-5F81-C45A-7083FEC86B6B}"/>
                  </a:ext>
                </a:extLst>
              </p:cNvPr>
              <p:cNvSpPr/>
              <p:nvPr/>
            </p:nvSpPr>
            <p:spPr>
              <a:xfrm>
                <a:off x="6082352" y="2611283"/>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787878"/>
                </a:solidFill>
                <a:prstDash val="solid"/>
                <a:miter/>
              </a:ln>
            </p:spPr>
            <p:txBody>
              <a:bodyPr rtlCol="0" anchor="ctr"/>
              <a:lstStyle/>
              <a:p>
                <a:endParaRPr lang="en-US" sz="1800" dirty="0"/>
              </a:p>
            </p:txBody>
          </p:sp>
          <p:sp>
            <p:nvSpPr>
              <p:cNvPr id="631" name="Freeform 630">
                <a:extLst>
                  <a:ext uri="{FF2B5EF4-FFF2-40B4-BE49-F238E27FC236}">
                    <a16:creationId xmlns:a16="http://schemas.microsoft.com/office/drawing/2014/main" id="{A279230E-EC0A-F34C-AE7D-707A847A53AD}"/>
                  </a:ext>
                </a:extLst>
              </p:cNvPr>
              <p:cNvSpPr/>
              <p:nvPr/>
            </p:nvSpPr>
            <p:spPr>
              <a:xfrm>
                <a:off x="6111752" y="2582801"/>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787878"/>
                </a:solidFill>
                <a:prstDash val="solid"/>
                <a:miter/>
              </a:ln>
            </p:spPr>
            <p:txBody>
              <a:bodyPr rtlCol="0" anchor="ctr"/>
              <a:lstStyle/>
              <a:p>
                <a:endParaRPr lang="en-US" sz="1800" dirty="0"/>
              </a:p>
            </p:txBody>
          </p:sp>
          <p:sp>
            <p:nvSpPr>
              <p:cNvPr id="632" name="Freeform 631">
                <a:extLst>
                  <a:ext uri="{FF2B5EF4-FFF2-40B4-BE49-F238E27FC236}">
                    <a16:creationId xmlns:a16="http://schemas.microsoft.com/office/drawing/2014/main" id="{324DE226-4BDA-8D6B-CE28-5D14AC86CA3F}"/>
                  </a:ext>
                </a:extLst>
              </p:cNvPr>
              <p:cNvSpPr/>
              <p:nvPr/>
            </p:nvSpPr>
            <p:spPr>
              <a:xfrm>
                <a:off x="6105999" y="2611283"/>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787878"/>
                </a:solidFill>
                <a:prstDash val="solid"/>
                <a:miter/>
              </a:ln>
            </p:spPr>
            <p:txBody>
              <a:bodyPr rtlCol="0" anchor="ctr"/>
              <a:lstStyle/>
              <a:p>
                <a:endParaRPr lang="en-US" sz="1800" dirty="0"/>
              </a:p>
            </p:txBody>
          </p:sp>
          <p:sp>
            <p:nvSpPr>
              <p:cNvPr id="633" name="Freeform 632">
                <a:extLst>
                  <a:ext uri="{FF2B5EF4-FFF2-40B4-BE49-F238E27FC236}">
                    <a16:creationId xmlns:a16="http://schemas.microsoft.com/office/drawing/2014/main" id="{0BF1B3F5-992A-B992-680B-508012FA4436}"/>
                  </a:ext>
                </a:extLst>
              </p:cNvPr>
              <p:cNvSpPr/>
              <p:nvPr/>
            </p:nvSpPr>
            <p:spPr>
              <a:xfrm>
                <a:off x="6135399" y="2582801"/>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787878"/>
                </a:solidFill>
                <a:prstDash val="solid"/>
                <a:miter/>
              </a:ln>
            </p:spPr>
            <p:txBody>
              <a:bodyPr rtlCol="0" anchor="ctr"/>
              <a:lstStyle/>
              <a:p>
                <a:endParaRPr lang="en-US" sz="1800" dirty="0"/>
              </a:p>
            </p:txBody>
          </p:sp>
          <p:sp>
            <p:nvSpPr>
              <p:cNvPr id="634" name="Freeform 633">
                <a:extLst>
                  <a:ext uri="{FF2B5EF4-FFF2-40B4-BE49-F238E27FC236}">
                    <a16:creationId xmlns:a16="http://schemas.microsoft.com/office/drawing/2014/main" id="{DAB227A7-4795-C076-F89E-24032C6D3073}"/>
                  </a:ext>
                </a:extLst>
              </p:cNvPr>
              <p:cNvSpPr/>
              <p:nvPr/>
            </p:nvSpPr>
            <p:spPr>
              <a:xfrm>
                <a:off x="6117752" y="2636077"/>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787878"/>
                </a:solidFill>
                <a:prstDash val="solid"/>
                <a:miter/>
              </a:ln>
            </p:spPr>
            <p:txBody>
              <a:bodyPr rtlCol="0" anchor="ctr"/>
              <a:lstStyle/>
              <a:p>
                <a:endParaRPr lang="en-US" sz="1800" dirty="0"/>
              </a:p>
            </p:txBody>
          </p:sp>
          <p:sp>
            <p:nvSpPr>
              <p:cNvPr id="635" name="Freeform 634">
                <a:extLst>
                  <a:ext uri="{FF2B5EF4-FFF2-40B4-BE49-F238E27FC236}">
                    <a16:creationId xmlns:a16="http://schemas.microsoft.com/office/drawing/2014/main" id="{A74E5F13-B009-EFC8-BCB2-F11716CBCF14}"/>
                  </a:ext>
                </a:extLst>
              </p:cNvPr>
              <p:cNvSpPr/>
              <p:nvPr/>
            </p:nvSpPr>
            <p:spPr>
              <a:xfrm>
                <a:off x="6147152" y="2607612"/>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787878"/>
                </a:solidFill>
                <a:prstDash val="solid"/>
                <a:miter/>
              </a:ln>
            </p:spPr>
            <p:txBody>
              <a:bodyPr rtlCol="0" anchor="ctr"/>
              <a:lstStyle/>
              <a:p>
                <a:endParaRPr lang="en-US" sz="1800" dirty="0"/>
              </a:p>
            </p:txBody>
          </p:sp>
          <p:sp>
            <p:nvSpPr>
              <p:cNvPr id="636" name="Freeform 635">
                <a:extLst>
                  <a:ext uri="{FF2B5EF4-FFF2-40B4-BE49-F238E27FC236}">
                    <a16:creationId xmlns:a16="http://schemas.microsoft.com/office/drawing/2014/main" id="{A383B698-A019-82B2-7C0F-836A5BF77F1E}"/>
                  </a:ext>
                </a:extLst>
              </p:cNvPr>
              <p:cNvSpPr/>
              <p:nvPr/>
            </p:nvSpPr>
            <p:spPr>
              <a:xfrm>
                <a:off x="6123646" y="2636077"/>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787878"/>
                </a:solidFill>
                <a:prstDash val="solid"/>
                <a:miter/>
              </a:ln>
            </p:spPr>
            <p:txBody>
              <a:bodyPr rtlCol="0" anchor="ctr"/>
              <a:lstStyle/>
              <a:p>
                <a:endParaRPr lang="en-US" sz="1800" dirty="0"/>
              </a:p>
            </p:txBody>
          </p:sp>
          <p:sp>
            <p:nvSpPr>
              <p:cNvPr id="637" name="Freeform 636">
                <a:extLst>
                  <a:ext uri="{FF2B5EF4-FFF2-40B4-BE49-F238E27FC236}">
                    <a16:creationId xmlns:a16="http://schemas.microsoft.com/office/drawing/2014/main" id="{E84383DA-1717-AB9C-4AD0-B3AF23B220D3}"/>
                  </a:ext>
                </a:extLst>
              </p:cNvPr>
              <p:cNvSpPr/>
              <p:nvPr/>
            </p:nvSpPr>
            <p:spPr>
              <a:xfrm>
                <a:off x="6153028" y="2607612"/>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787878"/>
                </a:solidFill>
                <a:prstDash val="solid"/>
                <a:miter/>
              </a:ln>
            </p:spPr>
            <p:txBody>
              <a:bodyPr rtlCol="0" anchor="ctr"/>
              <a:lstStyle/>
              <a:p>
                <a:endParaRPr lang="en-US" sz="1800" dirty="0"/>
              </a:p>
            </p:txBody>
          </p:sp>
          <p:sp>
            <p:nvSpPr>
              <p:cNvPr id="638" name="Freeform 637">
                <a:extLst>
                  <a:ext uri="{FF2B5EF4-FFF2-40B4-BE49-F238E27FC236}">
                    <a16:creationId xmlns:a16="http://schemas.microsoft.com/office/drawing/2014/main" id="{F866AC53-F9EF-553A-0096-B8E5AE885959}"/>
                  </a:ext>
                </a:extLst>
              </p:cNvPr>
              <p:cNvSpPr/>
              <p:nvPr/>
            </p:nvSpPr>
            <p:spPr>
              <a:xfrm>
                <a:off x="6194181" y="2636077"/>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787878"/>
                </a:solidFill>
                <a:prstDash val="solid"/>
                <a:miter/>
              </a:ln>
            </p:spPr>
            <p:txBody>
              <a:bodyPr rtlCol="0" anchor="ctr"/>
              <a:lstStyle/>
              <a:p>
                <a:endParaRPr lang="en-US" sz="1800" dirty="0"/>
              </a:p>
            </p:txBody>
          </p:sp>
          <p:sp>
            <p:nvSpPr>
              <p:cNvPr id="639" name="Freeform 638">
                <a:extLst>
                  <a:ext uri="{FF2B5EF4-FFF2-40B4-BE49-F238E27FC236}">
                    <a16:creationId xmlns:a16="http://schemas.microsoft.com/office/drawing/2014/main" id="{50EE1BA0-4D4F-2EA4-0169-71BA15E669C5}"/>
                  </a:ext>
                </a:extLst>
              </p:cNvPr>
              <p:cNvSpPr/>
              <p:nvPr/>
            </p:nvSpPr>
            <p:spPr>
              <a:xfrm>
                <a:off x="6223581" y="2607612"/>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787878"/>
                </a:solidFill>
                <a:prstDash val="solid"/>
                <a:miter/>
              </a:ln>
            </p:spPr>
            <p:txBody>
              <a:bodyPr rtlCol="0" anchor="ctr"/>
              <a:lstStyle/>
              <a:p>
                <a:endParaRPr lang="en-US" sz="1800" dirty="0"/>
              </a:p>
            </p:txBody>
          </p:sp>
          <p:sp>
            <p:nvSpPr>
              <p:cNvPr id="640" name="Freeform 639">
                <a:extLst>
                  <a:ext uri="{FF2B5EF4-FFF2-40B4-BE49-F238E27FC236}">
                    <a16:creationId xmlns:a16="http://schemas.microsoft.com/office/drawing/2014/main" id="{714B088B-CFAA-D590-EAFA-5C7090233CDF}"/>
                  </a:ext>
                </a:extLst>
              </p:cNvPr>
              <p:cNvSpPr/>
              <p:nvPr/>
            </p:nvSpPr>
            <p:spPr>
              <a:xfrm>
                <a:off x="6323781" y="2661912"/>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787878"/>
                </a:solidFill>
                <a:prstDash val="solid"/>
                <a:miter/>
              </a:ln>
            </p:spPr>
            <p:txBody>
              <a:bodyPr rtlCol="0" anchor="ctr"/>
              <a:lstStyle/>
              <a:p>
                <a:endParaRPr lang="en-US" sz="1800" dirty="0"/>
              </a:p>
            </p:txBody>
          </p:sp>
          <p:sp>
            <p:nvSpPr>
              <p:cNvPr id="641" name="Freeform 640">
                <a:extLst>
                  <a:ext uri="{FF2B5EF4-FFF2-40B4-BE49-F238E27FC236}">
                    <a16:creationId xmlns:a16="http://schemas.microsoft.com/office/drawing/2014/main" id="{E95A6A82-006B-225A-F4D0-56BDDF6D1E8D}"/>
                  </a:ext>
                </a:extLst>
              </p:cNvPr>
              <p:cNvSpPr/>
              <p:nvPr/>
            </p:nvSpPr>
            <p:spPr>
              <a:xfrm>
                <a:off x="6353181" y="2633430"/>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787878"/>
                </a:solidFill>
                <a:prstDash val="solid"/>
                <a:miter/>
              </a:ln>
            </p:spPr>
            <p:txBody>
              <a:bodyPr rtlCol="0" anchor="ctr"/>
              <a:lstStyle/>
              <a:p>
                <a:endParaRPr lang="en-US" sz="1800" dirty="0"/>
              </a:p>
            </p:txBody>
          </p:sp>
          <p:sp>
            <p:nvSpPr>
              <p:cNvPr id="642" name="Freeform 641">
                <a:extLst>
                  <a:ext uri="{FF2B5EF4-FFF2-40B4-BE49-F238E27FC236}">
                    <a16:creationId xmlns:a16="http://schemas.microsoft.com/office/drawing/2014/main" id="{1F194F77-51EF-3DF1-D0FA-91CADDA54A32}"/>
                  </a:ext>
                </a:extLst>
              </p:cNvPr>
              <p:cNvSpPr/>
              <p:nvPr/>
            </p:nvSpPr>
            <p:spPr>
              <a:xfrm>
                <a:off x="6335552" y="2661912"/>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787878"/>
                </a:solidFill>
                <a:prstDash val="solid"/>
                <a:miter/>
              </a:ln>
            </p:spPr>
            <p:txBody>
              <a:bodyPr rtlCol="0" anchor="ctr"/>
              <a:lstStyle/>
              <a:p>
                <a:endParaRPr lang="en-US" sz="1800" dirty="0"/>
              </a:p>
            </p:txBody>
          </p:sp>
          <p:sp>
            <p:nvSpPr>
              <p:cNvPr id="643" name="Freeform 642">
                <a:extLst>
                  <a:ext uri="{FF2B5EF4-FFF2-40B4-BE49-F238E27FC236}">
                    <a16:creationId xmlns:a16="http://schemas.microsoft.com/office/drawing/2014/main" id="{94F13FC9-0625-42FA-10F4-EB5D606EAC8F}"/>
                  </a:ext>
                </a:extLst>
              </p:cNvPr>
              <p:cNvSpPr/>
              <p:nvPr/>
            </p:nvSpPr>
            <p:spPr>
              <a:xfrm>
                <a:off x="6364934" y="2633430"/>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787878"/>
                </a:solidFill>
                <a:prstDash val="solid"/>
                <a:miter/>
              </a:ln>
            </p:spPr>
            <p:txBody>
              <a:bodyPr rtlCol="0" anchor="ctr"/>
              <a:lstStyle/>
              <a:p>
                <a:endParaRPr lang="en-US" sz="1800" dirty="0"/>
              </a:p>
            </p:txBody>
          </p:sp>
          <p:sp>
            <p:nvSpPr>
              <p:cNvPr id="644" name="Freeform 643">
                <a:extLst>
                  <a:ext uri="{FF2B5EF4-FFF2-40B4-BE49-F238E27FC236}">
                    <a16:creationId xmlns:a16="http://schemas.microsoft.com/office/drawing/2014/main" id="{310674E5-372F-8C4F-C524-0C67C2260475}"/>
                  </a:ext>
                </a:extLst>
              </p:cNvPr>
              <p:cNvSpPr/>
              <p:nvPr/>
            </p:nvSpPr>
            <p:spPr>
              <a:xfrm>
                <a:off x="6429734" y="2661912"/>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787878"/>
                </a:solidFill>
                <a:prstDash val="solid"/>
                <a:miter/>
              </a:ln>
            </p:spPr>
            <p:txBody>
              <a:bodyPr rtlCol="0" anchor="ctr"/>
              <a:lstStyle/>
              <a:p>
                <a:endParaRPr lang="en-US" sz="1800" dirty="0"/>
              </a:p>
            </p:txBody>
          </p:sp>
          <p:sp>
            <p:nvSpPr>
              <p:cNvPr id="645" name="Freeform 644">
                <a:extLst>
                  <a:ext uri="{FF2B5EF4-FFF2-40B4-BE49-F238E27FC236}">
                    <a16:creationId xmlns:a16="http://schemas.microsoft.com/office/drawing/2014/main" id="{3F15CE9A-2DB5-DE14-D48C-E3AEB7BBBB48}"/>
                  </a:ext>
                </a:extLst>
              </p:cNvPr>
              <p:cNvSpPr/>
              <p:nvPr/>
            </p:nvSpPr>
            <p:spPr>
              <a:xfrm>
                <a:off x="6459134" y="2633430"/>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787878"/>
                </a:solidFill>
                <a:prstDash val="solid"/>
                <a:miter/>
              </a:ln>
            </p:spPr>
            <p:txBody>
              <a:bodyPr rtlCol="0" anchor="ctr"/>
              <a:lstStyle/>
              <a:p>
                <a:endParaRPr lang="en-US" sz="1800" dirty="0"/>
              </a:p>
            </p:txBody>
          </p:sp>
          <p:sp>
            <p:nvSpPr>
              <p:cNvPr id="646" name="Freeform 645">
                <a:extLst>
                  <a:ext uri="{FF2B5EF4-FFF2-40B4-BE49-F238E27FC236}">
                    <a16:creationId xmlns:a16="http://schemas.microsoft.com/office/drawing/2014/main" id="{01B55900-6D39-A735-C8A4-E55CA5A406DF}"/>
                  </a:ext>
                </a:extLst>
              </p:cNvPr>
              <p:cNvSpPr/>
              <p:nvPr/>
            </p:nvSpPr>
            <p:spPr>
              <a:xfrm>
                <a:off x="6465010" y="2661912"/>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787878"/>
                </a:solidFill>
                <a:prstDash val="solid"/>
                <a:miter/>
              </a:ln>
            </p:spPr>
            <p:txBody>
              <a:bodyPr rtlCol="0" anchor="ctr"/>
              <a:lstStyle/>
              <a:p>
                <a:endParaRPr lang="en-US" sz="1800" dirty="0"/>
              </a:p>
            </p:txBody>
          </p:sp>
          <p:sp>
            <p:nvSpPr>
              <p:cNvPr id="647" name="Freeform 646">
                <a:extLst>
                  <a:ext uri="{FF2B5EF4-FFF2-40B4-BE49-F238E27FC236}">
                    <a16:creationId xmlns:a16="http://schemas.microsoft.com/office/drawing/2014/main" id="{CA35ECAC-0FBB-2363-7F1B-5295F5AF6780}"/>
                  </a:ext>
                </a:extLst>
              </p:cNvPr>
              <p:cNvSpPr/>
              <p:nvPr/>
            </p:nvSpPr>
            <p:spPr>
              <a:xfrm>
                <a:off x="6494410" y="2633430"/>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787878"/>
                </a:solidFill>
                <a:prstDash val="solid"/>
                <a:miter/>
              </a:ln>
            </p:spPr>
            <p:txBody>
              <a:bodyPr rtlCol="0" anchor="ctr"/>
              <a:lstStyle/>
              <a:p>
                <a:endParaRPr lang="en-US" sz="1800" dirty="0"/>
              </a:p>
            </p:txBody>
          </p:sp>
          <p:sp>
            <p:nvSpPr>
              <p:cNvPr id="648" name="Freeform 647">
                <a:extLst>
                  <a:ext uri="{FF2B5EF4-FFF2-40B4-BE49-F238E27FC236}">
                    <a16:creationId xmlns:a16="http://schemas.microsoft.com/office/drawing/2014/main" id="{FA15239F-FC7B-F0FC-D765-391BC9A9BFBA}"/>
                  </a:ext>
                </a:extLst>
              </p:cNvPr>
              <p:cNvSpPr/>
              <p:nvPr/>
            </p:nvSpPr>
            <p:spPr>
              <a:xfrm>
                <a:off x="6482657" y="2689124"/>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787878"/>
                </a:solidFill>
                <a:prstDash val="solid"/>
                <a:miter/>
              </a:ln>
            </p:spPr>
            <p:txBody>
              <a:bodyPr rtlCol="0" anchor="ctr"/>
              <a:lstStyle/>
              <a:p>
                <a:endParaRPr lang="en-US" sz="1800" dirty="0"/>
              </a:p>
            </p:txBody>
          </p:sp>
          <p:sp>
            <p:nvSpPr>
              <p:cNvPr id="649" name="Freeform 648">
                <a:extLst>
                  <a:ext uri="{FF2B5EF4-FFF2-40B4-BE49-F238E27FC236}">
                    <a16:creationId xmlns:a16="http://schemas.microsoft.com/office/drawing/2014/main" id="{4127DD2C-606F-9176-650D-997B49F2B8B1}"/>
                  </a:ext>
                </a:extLst>
              </p:cNvPr>
              <p:cNvSpPr/>
              <p:nvPr/>
            </p:nvSpPr>
            <p:spPr>
              <a:xfrm>
                <a:off x="6512040" y="2660642"/>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787878"/>
                </a:solidFill>
                <a:prstDash val="solid"/>
                <a:miter/>
              </a:ln>
            </p:spPr>
            <p:txBody>
              <a:bodyPr rtlCol="0" anchor="ctr"/>
              <a:lstStyle/>
              <a:p>
                <a:endParaRPr lang="en-US" sz="1800" dirty="0"/>
              </a:p>
            </p:txBody>
          </p:sp>
          <p:sp>
            <p:nvSpPr>
              <p:cNvPr id="650" name="Freeform 649">
                <a:extLst>
                  <a:ext uri="{FF2B5EF4-FFF2-40B4-BE49-F238E27FC236}">
                    <a16:creationId xmlns:a16="http://schemas.microsoft.com/office/drawing/2014/main" id="{E5D79AE8-1DE0-09DE-0C02-B9CFCA33AD6B}"/>
                  </a:ext>
                </a:extLst>
              </p:cNvPr>
              <p:cNvSpPr/>
              <p:nvPr/>
            </p:nvSpPr>
            <p:spPr>
              <a:xfrm>
                <a:off x="6488534" y="2689124"/>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787878"/>
                </a:solidFill>
                <a:prstDash val="solid"/>
                <a:miter/>
              </a:ln>
            </p:spPr>
            <p:txBody>
              <a:bodyPr rtlCol="0" anchor="ctr"/>
              <a:lstStyle/>
              <a:p>
                <a:endParaRPr lang="en-US" sz="1800" dirty="0"/>
              </a:p>
            </p:txBody>
          </p:sp>
          <p:sp>
            <p:nvSpPr>
              <p:cNvPr id="651" name="Freeform 650">
                <a:extLst>
                  <a:ext uri="{FF2B5EF4-FFF2-40B4-BE49-F238E27FC236}">
                    <a16:creationId xmlns:a16="http://schemas.microsoft.com/office/drawing/2014/main" id="{03A48185-EF37-3884-B076-A100B1449F3B}"/>
                  </a:ext>
                </a:extLst>
              </p:cNvPr>
              <p:cNvSpPr/>
              <p:nvPr/>
            </p:nvSpPr>
            <p:spPr>
              <a:xfrm>
                <a:off x="6517916" y="2660642"/>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787878"/>
                </a:solidFill>
                <a:prstDash val="solid"/>
                <a:miter/>
              </a:ln>
            </p:spPr>
            <p:txBody>
              <a:bodyPr rtlCol="0" anchor="ctr"/>
              <a:lstStyle/>
              <a:p>
                <a:endParaRPr lang="en-US" sz="1800" dirty="0"/>
              </a:p>
            </p:txBody>
          </p:sp>
          <p:sp>
            <p:nvSpPr>
              <p:cNvPr id="652" name="Freeform 651">
                <a:extLst>
                  <a:ext uri="{FF2B5EF4-FFF2-40B4-BE49-F238E27FC236}">
                    <a16:creationId xmlns:a16="http://schemas.microsoft.com/office/drawing/2014/main" id="{B211E2A1-3E69-C949-F975-CFE68EEC7E75}"/>
                  </a:ext>
                </a:extLst>
              </p:cNvPr>
              <p:cNvSpPr/>
              <p:nvPr/>
            </p:nvSpPr>
            <p:spPr>
              <a:xfrm>
                <a:off x="6506163" y="2689124"/>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787878"/>
                </a:solidFill>
                <a:prstDash val="solid"/>
                <a:miter/>
              </a:ln>
            </p:spPr>
            <p:txBody>
              <a:bodyPr rtlCol="0" anchor="ctr"/>
              <a:lstStyle/>
              <a:p>
                <a:endParaRPr lang="en-US" sz="1800" dirty="0"/>
              </a:p>
            </p:txBody>
          </p:sp>
          <p:sp>
            <p:nvSpPr>
              <p:cNvPr id="653" name="Freeform 652">
                <a:extLst>
                  <a:ext uri="{FF2B5EF4-FFF2-40B4-BE49-F238E27FC236}">
                    <a16:creationId xmlns:a16="http://schemas.microsoft.com/office/drawing/2014/main" id="{47B0F178-5A25-B64D-0045-1E2591DF2A8B}"/>
                  </a:ext>
                </a:extLst>
              </p:cNvPr>
              <p:cNvSpPr/>
              <p:nvPr/>
            </p:nvSpPr>
            <p:spPr>
              <a:xfrm>
                <a:off x="6535563" y="2660642"/>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787878"/>
                </a:solidFill>
                <a:prstDash val="solid"/>
                <a:miter/>
              </a:ln>
            </p:spPr>
            <p:txBody>
              <a:bodyPr rtlCol="0" anchor="ctr"/>
              <a:lstStyle/>
              <a:p>
                <a:endParaRPr lang="en-US" sz="1800" dirty="0"/>
              </a:p>
            </p:txBody>
          </p:sp>
          <p:sp>
            <p:nvSpPr>
              <p:cNvPr id="654" name="Freeform 653">
                <a:extLst>
                  <a:ext uri="{FF2B5EF4-FFF2-40B4-BE49-F238E27FC236}">
                    <a16:creationId xmlns:a16="http://schemas.microsoft.com/office/drawing/2014/main" id="{A982B954-9D5B-4A66-F797-283FD2147710}"/>
                  </a:ext>
                </a:extLst>
              </p:cNvPr>
              <p:cNvSpPr/>
              <p:nvPr/>
            </p:nvSpPr>
            <p:spPr>
              <a:xfrm>
                <a:off x="6547457" y="2717606"/>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787878"/>
                </a:solidFill>
                <a:prstDash val="solid"/>
                <a:miter/>
              </a:ln>
            </p:spPr>
            <p:txBody>
              <a:bodyPr rtlCol="0" anchor="ctr"/>
              <a:lstStyle/>
              <a:p>
                <a:endParaRPr lang="en-US" sz="1800" dirty="0"/>
              </a:p>
            </p:txBody>
          </p:sp>
          <p:sp>
            <p:nvSpPr>
              <p:cNvPr id="655" name="Freeform 654">
                <a:extLst>
                  <a:ext uri="{FF2B5EF4-FFF2-40B4-BE49-F238E27FC236}">
                    <a16:creationId xmlns:a16="http://schemas.microsoft.com/office/drawing/2014/main" id="{3EEC0F9E-A441-1721-1253-935EB2E5D875}"/>
                  </a:ext>
                </a:extLst>
              </p:cNvPr>
              <p:cNvSpPr/>
              <p:nvPr/>
            </p:nvSpPr>
            <p:spPr>
              <a:xfrm>
                <a:off x="6576839" y="2689124"/>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787878"/>
                </a:solidFill>
                <a:prstDash val="solid"/>
                <a:miter/>
              </a:ln>
            </p:spPr>
            <p:txBody>
              <a:bodyPr rtlCol="0" anchor="ctr"/>
              <a:lstStyle/>
              <a:p>
                <a:endParaRPr lang="en-US" sz="1800" dirty="0"/>
              </a:p>
            </p:txBody>
          </p:sp>
          <p:sp>
            <p:nvSpPr>
              <p:cNvPr id="656" name="Freeform 655">
                <a:extLst>
                  <a:ext uri="{FF2B5EF4-FFF2-40B4-BE49-F238E27FC236}">
                    <a16:creationId xmlns:a16="http://schemas.microsoft.com/office/drawing/2014/main" id="{221E4695-060A-5EDA-A066-75BDE51A6512}"/>
                  </a:ext>
                </a:extLst>
              </p:cNvPr>
              <p:cNvSpPr/>
              <p:nvPr/>
            </p:nvSpPr>
            <p:spPr>
              <a:xfrm>
                <a:off x="6547457" y="2717606"/>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787878"/>
                </a:solidFill>
                <a:prstDash val="solid"/>
                <a:miter/>
              </a:ln>
            </p:spPr>
            <p:txBody>
              <a:bodyPr rtlCol="0" anchor="ctr"/>
              <a:lstStyle/>
              <a:p>
                <a:endParaRPr lang="en-US" sz="1800" dirty="0"/>
              </a:p>
            </p:txBody>
          </p:sp>
          <p:sp>
            <p:nvSpPr>
              <p:cNvPr id="657" name="Freeform 656">
                <a:extLst>
                  <a:ext uri="{FF2B5EF4-FFF2-40B4-BE49-F238E27FC236}">
                    <a16:creationId xmlns:a16="http://schemas.microsoft.com/office/drawing/2014/main" id="{50C1D8CD-7834-0229-97E8-7E1CA03B18F7}"/>
                  </a:ext>
                </a:extLst>
              </p:cNvPr>
              <p:cNvSpPr/>
              <p:nvPr/>
            </p:nvSpPr>
            <p:spPr>
              <a:xfrm>
                <a:off x="6576839" y="2689124"/>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787878"/>
                </a:solidFill>
                <a:prstDash val="solid"/>
                <a:miter/>
              </a:ln>
            </p:spPr>
            <p:txBody>
              <a:bodyPr rtlCol="0" anchor="ctr"/>
              <a:lstStyle/>
              <a:p>
                <a:endParaRPr lang="en-US" sz="1800" dirty="0"/>
              </a:p>
            </p:txBody>
          </p:sp>
          <p:sp>
            <p:nvSpPr>
              <p:cNvPr id="658" name="Freeform 657">
                <a:extLst>
                  <a:ext uri="{FF2B5EF4-FFF2-40B4-BE49-F238E27FC236}">
                    <a16:creationId xmlns:a16="http://schemas.microsoft.com/office/drawing/2014/main" id="{F016ACA4-A2EF-8E71-2314-DFB5DC0DD172}"/>
                  </a:ext>
                </a:extLst>
              </p:cNvPr>
              <p:cNvSpPr/>
              <p:nvPr/>
            </p:nvSpPr>
            <p:spPr>
              <a:xfrm>
                <a:off x="6606239" y="2717606"/>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787878"/>
                </a:solidFill>
                <a:prstDash val="solid"/>
                <a:miter/>
              </a:ln>
            </p:spPr>
            <p:txBody>
              <a:bodyPr rtlCol="0" anchor="ctr"/>
              <a:lstStyle/>
              <a:p>
                <a:endParaRPr lang="en-US" sz="1800" dirty="0"/>
              </a:p>
            </p:txBody>
          </p:sp>
          <p:sp>
            <p:nvSpPr>
              <p:cNvPr id="659" name="Freeform 658">
                <a:extLst>
                  <a:ext uri="{FF2B5EF4-FFF2-40B4-BE49-F238E27FC236}">
                    <a16:creationId xmlns:a16="http://schemas.microsoft.com/office/drawing/2014/main" id="{8AAA1697-4BF2-6E4D-17BE-EBD99A9B3BD6}"/>
                  </a:ext>
                </a:extLst>
              </p:cNvPr>
              <p:cNvSpPr/>
              <p:nvPr/>
            </p:nvSpPr>
            <p:spPr>
              <a:xfrm>
                <a:off x="6635639" y="2689124"/>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787878"/>
                </a:solidFill>
                <a:prstDash val="solid"/>
                <a:miter/>
              </a:ln>
            </p:spPr>
            <p:txBody>
              <a:bodyPr rtlCol="0" anchor="ctr"/>
              <a:lstStyle/>
              <a:p>
                <a:endParaRPr lang="en-US" sz="1800" dirty="0"/>
              </a:p>
            </p:txBody>
          </p:sp>
          <p:sp>
            <p:nvSpPr>
              <p:cNvPr id="660" name="Freeform 659">
                <a:extLst>
                  <a:ext uri="{FF2B5EF4-FFF2-40B4-BE49-F238E27FC236}">
                    <a16:creationId xmlns:a16="http://schemas.microsoft.com/office/drawing/2014/main" id="{E3C37A29-3B35-DAE2-C3D9-A9047C42368F}"/>
                  </a:ext>
                </a:extLst>
              </p:cNvPr>
              <p:cNvSpPr/>
              <p:nvPr/>
            </p:nvSpPr>
            <p:spPr>
              <a:xfrm>
                <a:off x="6617992" y="2717606"/>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787878"/>
                </a:solidFill>
                <a:prstDash val="solid"/>
                <a:miter/>
              </a:ln>
            </p:spPr>
            <p:txBody>
              <a:bodyPr rtlCol="0" anchor="ctr"/>
              <a:lstStyle/>
              <a:p>
                <a:endParaRPr lang="en-US" sz="1800" dirty="0"/>
              </a:p>
            </p:txBody>
          </p:sp>
          <p:sp>
            <p:nvSpPr>
              <p:cNvPr id="661" name="Freeform 660">
                <a:extLst>
                  <a:ext uri="{FF2B5EF4-FFF2-40B4-BE49-F238E27FC236}">
                    <a16:creationId xmlns:a16="http://schemas.microsoft.com/office/drawing/2014/main" id="{A34B0446-584D-DB8E-416F-E107C34C34D3}"/>
                  </a:ext>
                </a:extLst>
              </p:cNvPr>
              <p:cNvSpPr/>
              <p:nvPr/>
            </p:nvSpPr>
            <p:spPr>
              <a:xfrm>
                <a:off x="6647392" y="2689124"/>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787878"/>
                </a:solidFill>
                <a:prstDash val="solid"/>
                <a:miter/>
              </a:ln>
            </p:spPr>
            <p:txBody>
              <a:bodyPr rtlCol="0" anchor="ctr"/>
              <a:lstStyle/>
              <a:p>
                <a:endParaRPr lang="en-US" sz="1800" dirty="0"/>
              </a:p>
            </p:txBody>
          </p:sp>
          <p:sp>
            <p:nvSpPr>
              <p:cNvPr id="662" name="Freeform 661">
                <a:extLst>
                  <a:ext uri="{FF2B5EF4-FFF2-40B4-BE49-F238E27FC236}">
                    <a16:creationId xmlns:a16="http://schemas.microsoft.com/office/drawing/2014/main" id="{848D475F-E238-C076-930E-66057B2D2537}"/>
                  </a:ext>
                </a:extLst>
              </p:cNvPr>
              <p:cNvSpPr/>
              <p:nvPr/>
            </p:nvSpPr>
            <p:spPr>
              <a:xfrm>
                <a:off x="6635763" y="2747853"/>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787878"/>
                </a:solidFill>
                <a:prstDash val="solid"/>
                <a:miter/>
              </a:ln>
            </p:spPr>
            <p:txBody>
              <a:bodyPr rtlCol="0" anchor="ctr"/>
              <a:lstStyle/>
              <a:p>
                <a:endParaRPr lang="en-US" sz="1800" dirty="0"/>
              </a:p>
            </p:txBody>
          </p:sp>
          <p:sp>
            <p:nvSpPr>
              <p:cNvPr id="663" name="Freeform 662">
                <a:extLst>
                  <a:ext uri="{FF2B5EF4-FFF2-40B4-BE49-F238E27FC236}">
                    <a16:creationId xmlns:a16="http://schemas.microsoft.com/office/drawing/2014/main" id="{E439294B-B37A-A94F-AE1C-FE4E5526DE5C}"/>
                  </a:ext>
                </a:extLst>
              </p:cNvPr>
              <p:cNvSpPr/>
              <p:nvPr/>
            </p:nvSpPr>
            <p:spPr>
              <a:xfrm>
                <a:off x="6665163" y="2719371"/>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787878"/>
                </a:solidFill>
                <a:prstDash val="solid"/>
                <a:miter/>
              </a:ln>
            </p:spPr>
            <p:txBody>
              <a:bodyPr rtlCol="0" anchor="ctr"/>
              <a:lstStyle/>
              <a:p>
                <a:endParaRPr lang="en-US" sz="1800" dirty="0"/>
              </a:p>
            </p:txBody>
          </p:sp>
          <p:sp>
            <p:nvSpPr>
              <p:cNvPr id="664" name="Freeform 663">
                <a:extLst>
                  <a:ext uri="{FF2B5EF4-FFF2-40B4-BE49-F238E27FC236}">
                    <a16:creationId xmlns:a16="http://schemas.microsoft.com/office/drawing/2014/main" id="{20C7AFD9-635E-9D8F-CFD0-3E3763BAA1B7}"/>
                  </a:ext>
                </a:extLst>
              </p:cNvPr>
              <p:cNvSpPr/>
              <p:nvPr/>
            </p:nvSpPr>
            <p:spPr>
              <a:xfrm>
                <a:off x="6676916" y="2747853"/>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787878"/>
                </a:solidFill>
                <a:prstDash val="solid"/>
                <a:miter/>
              </a:ln>
            </p:spPr>
            <p:txBody>
              <a:bodyPr rtlCol="0" anchor="ctr"/>
              <a:lstStyle/>
              <a:p>
                <a:endParaRPr lang="en-US" sz="1800" dirty="0"/>
              </a:p>
            </p:txBody>
          </p:sp>
          <p:sp>
            <p:nvSpPr>
              <p:cNvPr id="665" name="Freeform 664">
                <a:extLst>
                  <a:ext uri="{FF2B5EF4-FFF2-40B4-BE49-F238E27FC236}">
                    <a16:creationId xmlns:a16="http://schemas.microsoft.com/office/drawing/2014/main" id="{6616285F-B0FC-C603-04E4-FACD58A7131A}"/>
                  </a:ext>
                </a:extLst>
              </p:cNvPr>
              <p:cNvSpPr/>
              <p:nvPr/>
            </p:nvSpPr>
            <p:spPr>
              <a:xfrm>
                <a:off x="6706316" y="2719371"/>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787878"/>
                </a:solidFill>
                <a:prstDash val="solid"/>
                <a:miter/>
              </a:ln>
            </p:spPr>
            <p:txBody>
              <a:bodyPr rtlCol="0" anchor="ctr"/>
              <a:lstStyle/>
              <a:p>
                <a:endParaRPr lang="en-US" sz="1800" dirty="0"/>
              </a:p>
            </p:txBody>
          </p:sp>
          <p:sp>
            <p:nvSpPr>
              <p:cNvPr id="666" name="Freeform 665">
                <a:extLst>
                  <a:ext uri="{FF2B5EF4-FFF2-40B4-BE49-F238E27FC236}">
                    <a16:creationId xmlns:a16="http://schemas.microsoft.com/office/drawing/2014/main" id="{2159B3EC-16FC-0B7F-4034-4DE3335699FB}"/>
                  </a:ext>
                </a:extLst>
              </p:cNvPr>
              <p:cNvSpPr/>
              <p:nvPr/>
            </p:nvSpPr>
            <p:spPr>
              <a:xfrm>
                <a:off x="6706316" y="2779106"/>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787878"/>
                </a:solidFill>
                <a:prstDash val="solid"/>
                <a:miter/>
              </a:ln>
            </p:spPr>
            <p:txBody>
              <a:bodyPr rtlCol="0" anchor="ctr"/>
              <a:lstStyle/>
              <a:p>
                <a:endParaRPr lang="en-US" sz="1800" dirty="0"/>
              </a:p>
            </p:txBody>
          </p:sp>
          <p:sp>
            <p:nvSpPr>
              <p:cNvPr id="667" name="Freeform 666">
                <a:extLst>
                  <a:ext uri="{FF2B5EF4-FFF2-40B4-BE49-F238E27FC236}">
                    <a16:creationId xmlns:a16="http://schemas.microsoft.com/office/drawing/2014/main" id="{E9E2A183-359D-6128-D6E1-E16802CF645C}"/>
                  </a:ext>
                </a:extLst>
              </p:cNvPr>
              <p:cNvSpPr/>
              <p:nvPr/>
            </p:nvSpPr>
            <p:spPr>
              <a:xfrm>
                <a:off x="6735716" y="2750642"/>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787878"/>
                </a:solidFill>
                <a:prstDash val="solid"/>
                <a:miter/>
              </a:ln>
            </p:spPr>
            <p:txBody>
              <a:bodyPr rtlCol="0" anchor="ctr"/>
              <a:lstStyle/>
              <a:p>
                <a:endParaRPr lang="en-US" sz="1800" dirty="0"/>
              </a:p>
            </p:txBody>
          </p:sp>
          <p:sp>
            <p:nvSpPr>
              <p:cNvPr id="668" name="Freeform 667">
                <a:extLst>
                  <a:ext uri="{FF2B5EF4-FFF2-40B4-BE49-F238E27FC236}">
                    <a16:creationId xmlns:a16="http://schemas.microsoft.com/office/drawing/2014/main" id="{B44B2665-24F5-CBAD-680E-C11E55AAE9F1}"/>
                  </a:ext>
                </a:extLst>
              </p:cNvPr>
              <p:cNvSpPr/>
              <p:nvPr/>
            </p:nvSpPr>
            <p:spPr>
              <a:xfrm>
                <a:off x="6712192" y="2779106"/>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787878"/>
                </a:solidFill>
                <a:prstDash val="solid"/>
                <a:miter/>
              </a:ln>
            </p:spPr>
            <p:txBody>
              <a:bodyPr rtlCol="0" anchor="ctr"/>
              <a:lstStyle/>
              <a:p>
                <a:endParaRPr lang="en-US" sz="1800" dirty="0"/>
              </a:p>
            </p:txBody>
          </p:sp>
          <p:sp>
            <p:nvSpPr>
              <p:cNvPr id="669" name="Freeform 668">
                <a:extLst>
                  <a:ext uri="{FF2B5EF4-FFF2-40B4-BE49-F238E27FC236}">
                    <a16:creationId xmlns:a16="http://schemas.microsoft.com/office/drawing/2014/main" id="{0CFAB455-D595-BD67-7C9E-6499B5C0DDEC}"/>
                  </a:ext>
                </a:extLst>
              </p:cNvPr>
              <p:cNvSpPr/>
              <p:nvPr/>
            </p:nvSpPr>
            <p:spPr>
              <a:xfrm>
                <a:off x="6741592" y="2750642"/>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787878"/>
                </a:solidFill>
                <a:prstDash val="solid"/>
                <a:miter/>
              </a:ln>
            </p:spPr>
            <p:txBody>
              <a:bodyPr rtlCol="0" anchor="ctr"/>
              <a:lstStyle/>
              <a:p>
                <a:endParaRPr lang="en-US" sz="1800" dirty="0"/>
              </a:p>
            </p:txBody>
          </p:sp>
          <p:sp>
            <p:nvSpPr>
              <p:cNvPr id="670" name="Freeform 669">
                <a:extLst>
                  <a:ext uri="{FF2B5EF4-FFF2-40B4-BE49-F238E27FC236}">
                    <a16:creationId xmlns:a16="http://schemas.microsoft.com/office/drawing/2014/main" id="{AA9C37DE-947D-2DFB-85B2-D5A49CD93D7E}"/>
                  </a:ext>
                </a:extLst>
              </p:cNvPr>
              <p:cNvSpPr/>
              <p:nvPr/>
            </p:nvSpPr>
            <p:spPr>
              <a:xfrm>
                <a:off x="6729822" y="2779106"/>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787878"/>
                </a:solidFill>
                <a:prstDash val="solid"/>
                <a:miter/>
              </a:ln>
            </p:spPr>
            <p:txBody>
              <a:bodyPr rtlCol="0" anchor="ctr"/>
              <a:lstStyle/>
              <a:p>
                <a:endParaRPr lang="en-US" sz="1800" dirty="0"/>
              </a:p>
            </p:txBody>
          </p:sp>
          <p:sp>
            <p:nvSpPr>
              <p:cNvPr id="671" name="Freeform 670">
                <a:extLst>
                  <a:ext uri="{FF2B5EF4-FFF2-40B4-BE49-F238E27FC236}">
                    <a16:creationId xmlns:a16="http://schemas.microsoft.com/office/drawing/2014/main" id="{F31611D8-C6BD-1A7A-E867-9F88941DC057}"/>
                  </a:ext>
                </a:extLst>
              </p:cNvPr>
              <p:cNvSpPr/>
              <p:nvPr/>
            </p:nvSpPr>
            <p:spPr>
              <a:xfrm>
                <a:off x="6759222" y="2750642"/>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787878"/>
                </a:solidFill>
                <a:prstDash val="solid"/>
                <a:miter/>
              </a:ln>
            </p:spPr>
            <p:txBody>
              <a:bodyPr rtlCol="0" anchor="ctr"/>
              <a:lstStyle/>
              <a:p>
                <a:endParaRPr lang="en-US" sz="1800" dirty="0"/>
              </a:p>
            </p:txBody>
          </p:sp>
          <p:sp>
            <p:nvSpPr>
              <p:cNvPr id="672" name="Freeform 671">
                <a:extLst>
                  <a:ext uri="{FF2B5EF4-FFF2-40B4-BE49-F238E27FC236}">
                    <a16:creationId xmlns:a16="http://schemas.microsoft.com/office/drawing/2014/main" id="{DF5E46B1-92F8-E300-C31E-38B54F8C0641}"/>
                  </a:ext>
                </a:extLst>
              </p:cNvPr>
              <p:cNvSpPr/>
              <p:nvPr/>
            </p:nvSpPr>
            <p:spPr>
              <a:xfrm>
                <a:off x="6818145" y="2845053"/>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787878"/>
                </a:solidFill>
                <a:prstDash val="solid"/>
                <a:miter/>
              </a:ln>
            </p:spPr>
            <p:txBody>
              <a:bodyPr rtlCol="0" anchor="ctr"/>
              <a:lstStyle/>
              <a:p>
                <a:endParaRPr lang="en-US" sz="1800" dirty="0"/>
              </a:p>
            </p:txBody>
          </p:sp>
          <p:sp>
            <p:nvSpPr>
              <p:cNvPr id="673" name="Freeform 672">
                <a:extLst>
                  <a:ext uri="{FF2B5EF4-FFF2-40B4-BE49-F238E27FC236}">
                    <a16:creationId xmlns:a16="http://schemas.microsoft.com/office/drawing/2014/main" id="{5A3220C8-B2FD-9560-19EA-3C3A3D723751}"/>
                  </a:ext>
                </a:extLst>
              </p:cNvPr>
              <p:cNvSpPr/>
              <p:nvPr/>
            </p:nvSpPr>
            <p:spPr>
              <a:xfrm>
                <a:off x="6847545" y="2816588"/>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787878"/>
                </a:solidFill>
                <a:prstDash val="solid"/>
                <a:miter/>
              </a:ln>
            </p:spPr>
            <p:txBody>
              <a:bodyPr rtlCol="0" anchor="ctr"/>
              <a:lstStyle/>
              <a:p>
                <a:endParaRPr lang="en-US" sz="1800" dirty="0"/>
              </a:p>
            </p:txBody>
          </p:sp>
          <p:sp>
            <p:nvSpPr>
              <p:cNvPr id="674" name="Freeform 673">
                <a:extLst>
                  <a:ext uri="{FF2B5EF4-FFF2-40B4-BE49-F238E27FC236}">
                    <a16:creationId xmlns:a16="http://schemas.microsoft.com/office/drawing/2014/main" id="{A27ACB20-6B55-4488-95AC-D8C5E2D91EAD}"/>
                  </a:ext>
                </a:extLst>
              </p:cNvPr>
              <p:cNvSpPr/>
              <p:nvPr/>
            </p:nvSpPr>
            <p:spPr>
              <a:xfrm>
                <a:off x="6859421" y="2845053"/>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787878"/>
                </a:solidFill>
                <a:prstDash val="solid"/>
                <a:miter/>
              </a:ln>
            </p:spPr>
            <p:txBody>
              <a:bodyPr rtlCol="0" anchor="ctr"/>
              <a:lstStyle/>
              <a:p>
                <a:endParaRPr lang="en-US" sz="1800" dirty="0"/>
              </a:p>
            </p:txBody>
          </p:sp>
          <p:sp>
            <p:nvSpPr>
              <p:cNvPr id="675" name="Freeform 674">
                <a:extLst>
                  <a:ext uri="{FF2B5EF4-FFF2-40B4-BE49-F238E27FC236}">
                    <a16:creationId xmlns:a16="http://schemas.microsoft.com/office/drawing/2014/main" id="{AF4E1ACA-0E1E-18AF-0C8D-C83CD60EEE7A}"/>
                  </a:ext>
                </a:extLst>
              </p:cNvPr>
              <p:cNvSpPr/>
              <p:nvPr/>
            </p:nvSpPr>
            <p:spPr>
              <a:xfrm>
                <a:off x="6888821" y="2816588"/>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787878"/>
                </a:solidFill>
                <a:prstDash val="solid"/>
                <a:miter/>
              </a:ln>
            </p:spPr>
            <p:txBody>
              <a:bodyPr rtlCol="0" anchor="ctr"/>
              <a:lstStyle/>
              <a:p>
                <a:endParaRPr lang="en-US" sz="1800" dirty="0"/>
              </a:p>
            </p:txBody>
          </p:sp>
          <p:sp>
            <p:nvSpPr>
              <p:cNvPr id="676" name="Freeform 675">
                <a:extLst>
                  <a:ext uri="{FF2B5EF4-FFF2-40B4-BE49-F238E27FC236}">
                    <a16:creationId xmlns:a16="http://schemas.microsoft.com/office/drawing/2014/main" id="{7D36AF41-0C96-8D14-D9B7-FCD72A1CCA2A}"/>
                  </a:ext>
                </a:extLst>
              </p:cNvPr>
              <p:cNvSpPr/>
              <p:nvPr/>
            </p:nvSpPr>
            <p:spPr>
              <a:xfrm>
                <a:off x="6865298" y="2845053"/>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787878"/>
                </a:solidFill>
                <a:prstDash val="solid"/>
                <a:miter/>
              </a:ln>
            </p:spPr>
            <p:txBody>
              <a:bodyPr rtlCol="0" anchor="ctr"/>
              <a:lstStyle/>
              <a:p>
                <a:endParaRPr lang="en-US" sz="1800" dirty="0"/>
              </a:p>
            </p:txBody>
          </p:sp>
          <p:sp>
            <p:nvSpPr>
              <p:cNvPr id="677" name="Freeform 676">
                <a:extLst>
                  <a:ext uri="{FF2B5EF4-FFF2-40B4-BE49-F238E27FC236}">
                    <a16:creationId xmlns:a16="http://schemas.microsoft.com/office/drawing/2014/main" id="{8952CD50-6F1D-A4DE-9CF7-5B9315B3411D}"/>
                  </a:ext>
                </a:extLst>
              </p:cNvPr>
              <p:cNvSpPr/>
              <p:nvPr/>
            </p:nvSpPr>
            <p:spPr>
              <a:xfrm>
                <a:off x="6894698" y="2816588"/>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787878"/>
                </a:solidFill>
                <a:prstDash val="solid"/>
                <a:miter/>
              </a:ln>
            </p:spPr>
            <p:txBody>
              <a:bodyPr rtlCol="0" anchor="ctr"/>
              <a:lstStyle/>
              <a:p>
                <a:endParaRPr lang="en-US" sz="1800" dirty="0"/>
              </a:p>
            </p:txBody>
          </p:sp>
          <p:sp>
            <p:nvSpPr>
              <p:cNvPr id="678" name="Freeform 677">
                <a:extLst>
                  <a:ext uri="{FF2B5EF4-FFF2-40B4-BE49-F238E27FC236}">
                    <a16:creationId xmlns:a16="http://schemas.microsoft.com/office/drawing/2014/main" id="{75D75571-A684-A844-909B-DF9537CD86BA}"/>
                  </a:ext>
                </a:extLst>
              </p:cNvPr>
              <p:cNvSpPr/>
              <p:nvPr/>
            </p:nvSpPr>
            <p:spPr>
              <a:xfrm>
                <a:off x="7112480" y="2914794"/>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787878"/>
                </a:solidFill>
                <a:prstDash val="solid"/>
                <a:miter/>
              </a:ln>
            </p:spPr>
            <p:txBody>
              <a:bodyPr rtlCol="0" anchor="ctr"/>
              <a:lstStyle/>
              <a:p>
                <a:endParaRPr lang="en-US" sz="1800" dirty="0"/>
              </a:p>
            </p:txBody>
          </p:sp>
          <p:sp>
            <p:nvSpPr>
              <p:cNvPr id="679" name="Freeform 678">
                <a:extLst>
                  <a:ext uri="{FF2B5EF4-FFF2-40B4-BE49-F238E27FC236}">
                    <a16:creationId xmlns:a16="http://schemas.microsoft.com/office/drawing/2014/main" id="{B42FD59A-5283-30A9-B52E-E81A9A6133E4}"/>
                  </a:ext>
                </a:extLst>
              </p:cNvPr>
              <p:cNvSpPr/>
              <p:nvPr/>
            </p:nvSpPr>
            <p:spPr>
              <a:xfrm>
                <a:off x="7141880" y="2886330"/>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787878"/>
                </a:solidFill>
                <a:prstDash val="solid"/>
                <a:miter/>
              </a:ln>
            </p:spPr>
            <p:txBody>
              <a:bodyPr rtlCol="0" anchor="ctr"/>
              <a:lstStyle/>
              <a:p>
                <a:endParaRPr lang="en-US" sz="1800" dirty="0"/>
              </a:p>
            </p:txBody>
          </p:sp>
          <p:sp>
            <p:nvSpPr>
              <p:cNvPr id="680" name="Freeform 679">
                <a:extLst>
                  <a:ext uri="{FF2B5EF4-FFF2-40B4-BE49-F238E27FC236}">
                    <a16:creationId xmlns:a16="http://schemas.microsoft.com/office/drawing/2014/main" id="{1AA56648-804E-E603-6006-307D6512BE86}"/>
                  </a:ext>
                </a:extLst>
              </p:cNvPr>
              <p:cNvSpPr/>
              <p:nvPr/>
            </p:nvSpPr>
            <p:spPr>
              <a:xfrm>
                <a:off x="7159509" y="2914794"/>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787878"/>
                </a:solidFill>
                <a:prstDash val="solid"/>
                <a:miter/>
              </a:ln>
            </p:spPr>
            <p:txBody>
              <a:bodyPr rtlCol="0" anchor="ctr"/>
              <a:lstStyle/>
              <a:p>
                <a:endParaRPr lang="en-US" sz="1800" dirty="0"/>
              </a:p>
            </p:txBody>
          </p:sp>
          <p:sp>
            <p:nvSpPr>
              <p:cNvPr id="681" name="Freeform 680">
                <a:extLst>
                  <a:ext uri="{FF2B5EF4-FFF2-40B4-BE49-F238E27FC236}">
                    <a16:creationId xmlns:a16="http://schemas.microsoft.com/office/drawing/2014/main" id="{D45C55B6-9FCD-6F3A-9525-0E2C7FE621D2}"/>
                  </a:ext>
                </a:extLst>
              </p:cNvPr>
              <p:cNvSpPr/>
              <p:nvPr/>
            </p:nvSpPr>
            <p:spPr>
              <a:xfrm>
                <a:off x="7188909" y="2886330"/>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787878"/>
                </a:solidFill>
                <a:prstDash val="solid"/>
                <a:miter/>
              </a:ln>
            </p:spPr>
            <p:txBody>
              <a:bodyPr rtlCol="0" anchor="ctr"/>
              <a:lstStyle/>
              <a:p>
                <a:endParaRPr lang="en-US" sz="1800" dirty="0"/>
              </a:p>
            </p:txBody>
          </p:sp>
          <p:sp>
            <p:nvSpPr>
              <p:cNvPr id="682" name="Freeform 681">
                <a:extLst>
                  <a:ext uri="{FF2B5EF4-FFF2-40B4-BE49-F238E27FC236}">
                    <a16:creationId xmlns:a16="http://schemas.microsoft.com/office/drawing/2014/main" id="{98EC2CE3-272C-0C89-E0CD-201BB0B75C53}"/>
                  </a:ext>
                </a:extLst>
              </p:cNvPr>
              <p:cNvSpPr/>
              <p:nvPr/>
            </p:nvSpPr>
            <p:spPr>
              <a:xfrm>
                <a:off x="7165403" y="2914794"/>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787878"/>
                </a:solidFill>
                <a:prstDash val="solid"/>
                <a:miter/>
              </a:ln>
            </p:spPr>
            <p:txBody>
              <a:bodyPr rtlCol="0" anchor="ctr"/>
              <a:lstStyle/>
              <a:p>
                <a:endParaRPr lang="en-US" sz="1800" dirty="0"/>
              </a:p>
            </p:txBody>
          </p:sp>
          <p:sp>
            <p:nvSpPr>
              <p:cNvPr id="683" name="Freeform 682">
                <a:extLst>
                  <a:ext uri="{FF2B5EF4-FFF2-40B4-BE49-F238E27FC236}">
                    <a16:creationId xmlns:a16="http://schemas.microsoft.com/office/drawing/2014/main" id="{0DE94D6A-C2ED-B702-BBB1-2F41E19B3CAF}"/>
                  </a:ext>
                </a:extLst>
              </p:cNvPr>
              <p:cNvSpPr/>
              <p:nvPr/>
            </p:nvSpPr>
            <p:spPr>
              <a:xfrm>
                <a:off x="7194785" y="2886330"/>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787878"/>
                </a:solidFill>
                <a:prstDash val="solid"/>
                <a:miter/>
              </a:ln>
            </p:spPr>
            <p:txBody>
              <a:bodyPr rtlCol="0" anchor="ctr"/>
              <a:lstStyle/>
              <a:p>
                <a:endParaRPr lang="en-US" sz="1800" dirty="0"/>
              </a:p>
            </p:txBody>
          </p:sp>
          <p:sp>
            <p:nvSpPr>
              <p:cNvPr id="684" name="Freeform 683">
                <a:extLst>
                  <a:ext uri="{FF2B5EF4-FFF2-40B4-BE49-F238E27FC236}">
                    <a16:creationId xmlns:a16="http://schemas.microsoft.com/office/drawing/2014/main" id="{54874464-17D0-AF55-1666-DFA068CB9E01}"/>
                  </a:ext>
                </a:extLst>
              </p:cNvPr>
              <p:cNvSpPr/>
              <p:nvPr/>
            </p:nvSpPr>
            <p:spPr>
              <a:xfrm>
                <a:off x="7200803" y="2914794"/>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787878"/>
                </a:solidFill>
                <a:prstDash val="solid"/>
                <a:miter/>
              </a:ln>
            </p:spPr>
            <p:txBody>
              <a:bodyPr rtlCol="0" anchor="ctr"/>
              <a:lstStyle/>
              <a:p>
                <a:endParaRPr lang="en-US" sz="1800" dirty="0"/>
              </a:p>
            </p:txBody>
          </p:sp>
          <p:sp>
            <p:nvSpPr>
              <p:cNvPr id="685" name="Freeform 684">
                <a:extLst>
                  <a:ext uri="{FF2B5EF4-FFF2-40B4-BE49-F238E27FC236}">
                    <a16:creationId xmlns:a16="http://schemas.microsoft.com/office/drawing/2014/main" id="{B88E0A0D-E0CD-9E60-56DD-A079C84E68FE}"/>
                  </a:ext>
                </a:extLst>
              </p:cNvPr>
              <p:cNvSpPr/>
              <p:nvPr/>
            </p:nvSpPr>
            <p:spPr>
              <a:xfrm>
                <a:off x="7230203" y="2886330"/>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787878"/>
                </a:solidFill>
                <a:prstDash val="solid"/>
                <a:miter/>
              </a:ln>
            </p:spPr>
            <p:txBody>
              <a:bodyPr rtlCol="0" anchor="ctr"/>
              <a:lstStyle/>
              <a:p>
                <a:endParaRPr lang="en-US" sz="1800" dirty="0"/>
              </a:p>
            </p:txBody>
          </p:sp>
          <p:sp>
            <p:nvSpPr>
              <p:cNvPr id="686" name="Freeform 685">
                <a:extLst>
                  <a:ext uri="{FF2B5EF4-FFF2-40B4-BE49-F238E27FC236}">
                    <a16:creationId xmlns:a16="http://schemas.microsoft.com/office/drawing/2014/main" id="{B81F264E-3E6F-3A8E-3C40-CD2F93E773F4}"/>
                  </a:ext>
                </a:extLst>
              </p:cNvPr>
              <p:cNvSpPr/>
              <p:nvPr/>
            </p:nvSpPr>
            <p:spPr>
              <a:xfrm>
                <a:off x="7200803" y="2914794"/>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787878"/>
                </a:solidFill>
                <a:prstDash val="solid"/>
                <a:miter/>
              </a:ln>
            </p:spPr>
            <p:txBody>
              <a:bodyPr rtlCol="0" anchor="ctr"/>
              <a:lstStyle/>
              <a:p>
                <a:endParaRPr lang="en-US" sz="1800" dirty="0"/>
              </a:p>
            </p:txBody>
          </p:sp>
          <p:sp>
            <p:nvSpPr>
              <p:cNvPr id="687" name="Freeform 686">
                <a:extLst>
                  <a:ext uri="{FF2B5EF4-FFF2-40B4-BE49-F238E27FC236}">
                    <a16:creationId xmlns:a16="http://schemas.microsoft.com/office/drawing/2014/main" id="{A4B315E1-A731-440F-2385-2155C6C1CE6A}"/>
                  </a:ext>
                </a:extLst>
              </p:cNvPr>
              <p:cNvSpPr/>
              <p:nvPr/>
            </p:nvSpPr>
            <p:spPr>
              <a:xfrm>
                <a:off x="7230203" y="2886330"/>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787878"/>
                </a:solidFill>
                <a:prstDash val="solid"/>
                <a:miter/>
              </a:ln>
            </p:spPr>
            <p:txBody>
              <a:bodyPr rtlCol="0" anchor="ctr"/>
              <a:lstStyle/>
              <a:p>
                <a:endParaRPr lang="en-US" sz="1800" dirty="0"/>
              </a:p>
            </p:txBody>
          </p:sp>
          <p:sp>
            <p:nvSpPr>
              <p:cNvPr id="688" name="Freeform 687">
                <a:extLst>
                  <a:ext uri="{FF2B5EF4-FFF2-40B4-BE49-F238E27FC236}">
                    <a16:creationId xmlns:a16="http://schemas.microsoft.com/office/drawing/2014/main" id="{F19F769E-AC21-D1B6-AEE1-F61007F1BC2C}"/>
                  </a:ext>
                </a:extLst>
              </p:cNvPr>
              <p:cNvSpPr/>
              <p:nvPr/>
            </p:nvSpPr>
            <p:spPr>
              <a:xfrm>
                <a:off x="7230203" y="2914794"/>
                <a:ext cx="58782" cy="17647"/>
              </a:xfrm>
              <a:custGeom>
                <a:avLst/>
                <a:gdLst>
                  <a:gd name="connsiteX0" fmla="*/ 0 w 58782"/>
                  <a:gd name="connsiteY0" fmla="*/ 0 h 17647"/>
                  <a:gd name="connsiteX1" fmla="*/ 58783 w 58782"/>
                  <a:gd name="connsiteY1" fmla="*/ 0 h 17647"/>
                </a:gdLst>
                <a:ahLst/>
                <a:cxnLst>
                  <a:cxn ang="0">
                    <a:pos x="connsiteX0" y="connsiteY0"/>
                  </a:cxn>
                  <a:cxn ang="0">
                    <a:pos x="connsiteX1" y="connsiteY1"/>
                  </a:cxn>
                </a:cxnLst>
                <a:rect l="l" t="t" r="r" b="b"/>
                <a:pathLst>
                  <a:path w="58782" h="17647">
                    <a:moveTo>
                      <a:pt x="0" y="0"/>
                    </a:moveTo>
                    <a:lnTo>
                      <a:pt x="58783" y="0"/>
                    </a:lnTo>
                  </a:path>
                </a:pathLst>
              </a:custGeom>
              <a:ln w="9638" cap="sq">
                <a:solidFill>
                  <a:srgbClr val="787878"/>
                </a:solidFill>
                <a:prstDash val="solid"/>
                <a:miter/>
              </a:ln>
            </p:spPr>
            <p:txBody>
              <a:bodyPr rtlCol="0" anchor="ctr"/>
              <a:lstStyle/>
              <a:p>
                <a:endParaRPr lang="en-US" sz="1800" dirty="0"/>
              </a:p>
            </p:txBody>
          </p:sp>
          <p:sp>
            <p:nvSpPr>
              <p:cNvPr id="689" name="Freeform 688">
                <a:extLst>
                  <a:ext uri="{FF2B5EF4-FFF2-40B4-BE49-F238E27FC236}">
                    <a16:creationId xmlns:a16="http://schemas.microsoft.com/office/drawing/2014/main" id="{63940133-4678-2BF8-9FA6-AB58922AABC7}"/>
                  </a:ext>
                </a:extLst>
              </p:cNvPr>
              <p:cNvSpPr/>
              <p:nvPr/>
            </p:nvSpPr>
            <p:spPr>
              <a:xfrm>
                <a:off x="7259585" y="2886330"/>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787878"/>
                </a:solidFill>
                <a:prstDash val="solid"/>
                <a:miter/>
              </a:ln>
            </p:spPr>
            <p:txBody>
              <a:bodyPr rtlCol="0" anchor="ctr"/>
              <a:lstStyle/>
              <a:p>
                <a:endParaRPr lang="en-US" sz="1800" dirty="0"/>
              </a:p>
            </p:txBody>
          </p:sp>
          <p:sp>
            <p:nvSpPr>
              <p:cNvPr id="690" name="Freeform 689">
                <a:extLst>
                  <a:ext uri="{FF2B5EF4-FFF2-40B4-BE49-F238E27FC236}">
                    <a16:creationId xmlns:a16="http://schemas.microsoft.com/office/drawing/2014/main" id="{F258C908-CBBE-180B-A303-E4349B4BD686}"/>
                  </a:ext>
                </a:extLst>
              </p:cNvPr>
              <p:cNvSpPr/>
              <p:nvPr/>
            </p:nvSpPr>
            <p:spPr>
              <a:xfrm>
                <a:off x="7271356" y="2914794"/>
                <a:ext cx="58782" cy="17647"/>
              </a:xfrm>
              <a:custGeom>
                <a:avLst/>
                <a:gdLst>
                  <a:gd name="connsiteX0" fmla="*/ 0 w 58782"/>
                  <a:gd name="connsiteY0" fmla="*/ 0 h 17647"/>
                  <a:gd name="connsiteX1" fmla="*/ 58783 w 58782"/>
                  <a:gd name="connsiteY1" fmla="*/ 0 h 17647"/>
                </a:gdLst>
                <a:ahLst/>
                <a:cxnLst>
                  <a:cxn ang="0">
                    <a:pos x="connsiteX0" y="connsiteY0"/>
                  </a:cxn>
                  <a:cxn ang="0">
                    <a:pos x="connsiteX1" y="connsiteY1"/>
                  </a:cxn>
                </a:cxnLst>
                <a:rect l="l" t="t" r="r" b="b"/>
                <a:pathLst>
                  <a:path w="58782" h="17647">
                    <a:moveTo>
                      <a:pt x="0" y="0"/>
                    </a:moveTo>
                    <a:lnTo>
                      <a:pt x="58783" y="0"/>
                    </a:lnTo>
                  </a:path>
                </a:pathLst>
              </a:custGeom>
              <a:ln w="9638" cap="sq">
                <a:solidFill>
                  <a:srgbClr val="787878"/>
                </a:solidFill>
                <a:prstDash val="solid"/>
                <a:miter/>
              </a:ln>
            </p:spPr>
            <p:txBody>
              <a:bodyPr rtlCol="0" anchor="ctr"/>
              <a:lstStyle/>
              <a:p>
                <a:endParaRPr lang="en-US" sz="1800" dirty="0"/>
              </a:p>
            </p:txBody>
          </p:sp>
          <p:sp>
            <p:nvSpPr>
              <p:cNvPr id="691" name="Freeform 690">
                <a:extLst>
                  <a:ext uri="{FF2B5EF4-FFF2-40B4-BE49-F238E27FC236}">
                    <a16:creationId xmlns:a16="http://schemas.microsoft.com/office/drawing/2014/main" id="{4908DDD8-0E9A-9555-2FEC-02BF70B02FB2}"/>
                  </a:ext>
                </a:extLst>
              </p:cNvPr>
              <p:cNvSpPr/>
              <p:nvPr/>
            </p:nvSpPr>
            <p:spPr>
              <a:xfrm>
                <a:off x="7300738" y="2886330"/>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787878"/>
                </a:solidFill>
                <a:prstDash val="solid"/>
                <a:miter/>
              </a:ln>
            </p:spPr>
            <p:txBody>
              <a:bodyPr rtlCol="0" anchor="ctr"/>
              <a:lstStyle/>
              <a:p>
                <a:endParaRPr lang="en-US" sz="1800" dirty="0"/>
              </a:p>
            </p:txBody>
          </p:sp>
          <p:sp>
            <p:nvSpPr>
              <p:cNvPr id="692" name="Freeform 691">
                <a:extLst>
                  <a:ext uri="{FF2B5EF4-FFF2-40B4-BE49-F238E27FC236}">
                    <a16:creationId xmlns:a16="http://schemas.microsoft.com/office/drawing/2014/main" id="{65A4F11C-0ED5-3C06-72E4-04F07C8637D0}"/>
                  </a:ext>
                </a:extLst>
              </p:cNvPr>
              <p:cNvSpPr/>
              <p:nvPr/>
            </p:nvSpPr>
            <p:spPr>
              <a:xfrm>
                <a:off x="7271356" y="2914794"/>
                <a:ext cx="58782" cy="17647"/>
              </a:xfrm>
              <a:custGeom>
                <a:avLst/>
                <a:gdLst>
                  <a:gd name="connsiteX0" fmla="*/ 0 w 58782"/>
                  <a:gd name="connsiteY0" fmla="*/ 0 h 17647"/>
                  <a:gd name="connsiteX1" fmla="*/ 58783 w 58782"/>
                  <a:gd name="connsiteY1" fmla="*/ 0 h 17647"/>
                </a:gdLst>
                <a:ahLst/>
                <a:cxnLst>
                  <a:cxn ang="0">
                    <a:pos x="connsiteX0" y="connsiteY0"/>
                  </a:cxn>
                  <a:cxn ang="0">
                    <a:pos x="connsiteX1" y="connsiteY1"/>
                  </a:cxn>
                </a:cxnLst>
                <a:rect l="l" t="t" r="r" b="b"/>
                <a:pathLst>
                  <a:path w="58782" h="17647">
                    <a:moveTo>
                      <a:pt x="0" y="0"/>
                    </a:moveTo>
                    <a:lnTo>
                      <a:pt x="58783" y="0"/>
                    </a:lnTo>
                  </a:path>
                </a:pathLst>
              </a:custGeom>
              <a:ln w="9638" cap="sq">
                <a:solidFill>
                  <a:srgbClr val="787878"/>
                </a:solidFill>
                <a:prstDash val="solid"/>
                <a:miter/>
              </a:ln>
            </p:spPr>
            <p:txBody>
              <a:bodyPr rtlCol="0" anchor="ctr"/>
              <a:lstStyle/>
              <a:p>
                <a:endParaRPr lang="en-US" sz="1800" dirty="0"/>
              </a:p>
            </p:txBody>
          </p:sp>
          <p:sp>
            <p:nvSpPr>
              <p:cNvPr id="693" name="Freeform 692">
                <a:extLst>
                  <a:ext uri="{FF2B5EF4-FFF2-40B4-BE49-F238E27FC236}">
                    <a16:creationId xmlns:a16="http://schemas.microsoft.com/office/drawing/2014/main" id="{F2E3C57B-81D7-42E5-142A-281E3A461A8E}"/>
                  </a:ext>
                </a:extLst>
              </p:cNvPr>
              <p:cNvSpPr/>
              <p:nvPr/>
            </p:nvSpPr>
            <p:spPr>
              <a:xfrm>
                <a:off x="7300738" y="2886330"/>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787878"/>
                </a:solidFill>
                <a:prstDash val="solid"/>
                <a:miter/>
              </a:ln>
            </p:spPr>
            <p:txBody>
              <a:bodyPr rtlCol="0" anchor="ctr"/>
              <a:lstStyle/>
              <a:p>
                <a:endParaRPr lang="en-US" sz="1800" dirty="0"/>
              </a:p>
            </p:txBody>
          </p:sp>
          <p:sp>
            <p:nvSpPr>
              <p:cNvPr id="694" name="Freeform 693">
                <a:extLst>
                  <a:ext uri="{FF2B5EF4-FFF2-40B4-BE49-F238E27FC236}">
                    <a16:creationId xmlns:a16="http://schemas.microsoft.com/office/drawing/2014/main" id="{5D9ADF0E-695A-1BB7-FBF6-0DDF06ACF622}"/>
                  </a:ext>
                </a:extLst>
              </p:cNvPr>
              <p:cNvSpPr/>
              <p:nvPr/>
            </p:nvSpPr>
            <p:spPr>
              <a:xfrm>
                <a:off x="7295003" y="2914794"/>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787878"/>
                </a:solidFill>
                <a:prstDash val="solid"/>
                <a:miter/>
              </a:ln>
            </p:spPr>
            <p:txBody>
              <a:bodyPr rtlCol="0" anchor="ctr"/>
              <a:lstStyle/>
              <a:p>
                <a:endParaRPr lang="en-US" sz="1800" dirty="0"/>
              </a:p>
            </p:txBody>
          </p:sp>
          <p:sp>
            <p:nvSpPr>
              <p:cNvPr id="695" name="Freeform 694">
                <a:extLst>
                  <a:ext uri="{FF2B5EF4-FFF2-40B4-BE49-F238E27FC236}">
                    <a16:creationId xmlns:a16="http://schemas.microsoft.com/office/drawing/2014/main" id="{3D7392A3-CDD2-183D-ABEC-70C7F36B55D0}"/>
                  </a:ext>
                </a:extLst>
              </p:cNvPr>
              <p:cNvSpPr/>
              <p:nvPr/>
            </p:nvSpPr>
            <p:spPr>
              <a:xfrm>
                <a:off x="7324385" y="2886330"/>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787878"/>
                </a:solidFill>
                <a:prstDash val="solid"/>
                <a:miter/>
              </a:ln>
            </p:spPr>
            <p:txBody>
              <a:bodyPr rtlCol="0" anchor="ctr"/>
              <a:lstStyle/>
              <a:p>
                <a:endParaRPr lang="en-US" sz="1800" dirty="0"/>
              </a:p>
            </p:txBody>
          </p:sp>
          <p:sp>
            <p:nvSpPr>
              <p:cNvPr id="696" name="Freeform 695">
                <a:extLst>
                  <a:ext uri="{FF2B5EF4-FFF2-40B4-BE49-F238E27FC236}">
                    <a16:creationId xmlns:a16="http://schemas.microsoft.com/office/drawing/2014/main" id="{23E55220-F73B-C7CC-6C7F-D02BEFC2F828}"/>
                  </a:ext>
                </a:extLst>
              </p:cNvPr>
              <p:cNvSpPr/>
              <p:nvPr/>
            </p:nvSpPr>
            <p:spPr>
              <a:xfrm>
                <a:off x="7312632" y="2914794"/>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787878"/>
                </a:solidFill>
                <a:prstDash val="solid"/>
                <a:miter/>
              </a:ln>
            </p:spPr>
            <p:txBody>
              <a:bodyPr rtlCol="0" anchor="ctr"/>
              <a:lstStyle/>
              <a:p>
                <a:endParaRPr lang="en-US" sz="1800" dirty="0"/>
              </a:p>
            </p:txBody>
          </p:sp>
          <p:sp>
            <p:nvSpPr>
              <p:cNvPr id="697" name="Freeform 696">
                <a:extLst>
                  <a:ext uri="{FF2B5EF4-FFF2-40B4-BE49-F238E27FC236}">
                    <a16:creationId xmlns:a16="http://schemas.microsoft.com/office/drawing/2014/main" id="{93E9B4EA-F540-0597-8705-DBB057A4A614}"/>
                  </a:ext>
                </a:extLst>
              </p:cNvPr>
              <p:cNvSpPr/>
              <p:nvPr/>
            </p:nvSpPr>
            <p:spPr>
              <a:xfrm>
                <a:off x="7342032" y="2886330"/>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787878"/>
                </a:solidFill>
                <a:prstDash val="solid"/>
                <a:miter/>
              </a:ln>
            </p:spPr>
            <p:txBody>
              <a:bodyPr rtlCol="0" anchor="ctr"/>
              <a:lstStyle/>
              <a:p>
                <a:endParaRPr lang="en-US" sz="1800" dirty="0"/>
              </a:p>
            </p:txBody>
          </p:sp>
          <p:sp>
            <p:nvSpPr>
              <p:cNvPr id="698" name="Freeform 697">
                <a:extLst>
                  <a:ext uri="{FF2B5EF4-FFF2-40B4-BE49-F238E27FC236}">
                    <a16:creationId xmlns:a16="http://schemas.microsoft.com/office/drawing/2014/main" id="{F4F3E9BD-DB7F-B1F5-6BC2-ED44F03B5A4B}"/>
                  </a:ext>
                </a:extLst>
              </p:cNvPr>
              <p:cNvSpPr/>
              <p:nvPr/>
            </p:nvSpPr>
            <p:spPr>
              <a:xfrm>
                <a:off x="7359662" y="2914794"/>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787878"/>
                </a:solidFill>
                <a:prstDash val="solid"/>
                <a:miter/>
              </a:ln>
            </p:spPr>
            <p:txBody>
              <a:bodyPr rtlCol="0" anchor="ctr"/>
              <a:lstStyle/>
              <a:p>
                <a:endParaRPr lang="en-US" sz="1800" dirty="0"/>
              </a:p>
            </p:txBody>
          </p:sp>
          <p:sp>
            <p:nvSpPr>
              <p:cNvPr id="699" name="Freeform 698">
                <a:extLst>
                  <a:ext uri="{FF2B5EF4-FFF2-40B4-BE49-F238E27FC236}">
                    <a16:creationId xmlns:a16="http://schemas.microsoft.com/office/drawing/2014/main" id="{35E9CE63-B83B-40FA-3CF4-9919B9B7CD98}"/>
                  </a:ext>
                </a:extLst>
              </p:cNvPr>
              <p:cNvSpPr/>
              <p:nvPr/>
            </p:nvSpPr>
            <p:spPr>
              <a:xfrm>
                <a:off x="7389062" y="2886330"/>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787878"/>
                </a:solidFill>
                <a:prstDash val="solid"/>
                <a:miter/>
              </a:ln>
            </p:spPr>
            <p:txBody>
              <a:bodyPr rtlCol="0" anchor="ctr"/>
              <a:lstStyle/>
              <a:p>
                <a:endParaRPr lang="en-US" sz="1800" dirty="0"/>
              </a:p>
            </p:txBody>
          </p:sp>
          <p:sp>
            <p:nvSpPr>
              <p:cNvPr id="700" name="Freeform 699">
                <a:extLst>
                  <a:ext uri="{FF2B5EF4-FFF2-40B4-BE49-F238E27FC236}">
                    <a16:creationId xmlns:a16="http://schemas.microsoft.com/office/drawing/2014/main" id="{47642BF4-FEC5-6E42-03A7-339BF1DA5441}"/>
                  </a:ext>
                </a:extLst>
              </p:cNvPr>
              <p:cNvSpPr/>
              <p:nvPr/>
            </p:nvSpPr>
            <p:spPr>
              <a:xfrm>
                <a:off x="7389185" y="2914794"/>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787878"/>
                </a:solidFill>
                <a:prstDash val="solid"/>
                <a:miter/>
              </a:ln>
            </p:spPr>
            <p:txBody>
              <a:bodyPr rtlCol="0" anchor="ctr"/>
              <a:lstStyle/>
              <a:p>
                <a:endParaRPr lang="en-US" sz="1800" dirty="0"/>
              </a:p>
            </p:txBody>
          </p:sp>
          <p:sp>
            <p:nvSpPr>
              <p:cNvPr id="701" name="Freeform 700">
                <a:extLst>
                  <a:ext uri="{FF2B5EF4-FFF2-40B4-BE49-F238E27FC236}">
                    <a16:creationId xmlns:a16="http://schemas.microsoft.com/office/drawing/2014/main" id="{7A0A0932-33EC-5A0C-F7D8-2F91297B263A}"/>
                  </a:ext>
                </a:extLst>
              </p:cNvPr>
              <p:cNvSpPr/>
              <p:nvPr/>
            </p:nvSpPr>
            <p:spPr>
              <a:xfrm>
                <a:off x="7418585" y="2886330"/>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787878"/>
                </a:solidFill>
                <a:prstDash val="solid"/>
                <a:miter/>
              </a:ln>
            </p:spPr>
            <p:txBody>
              <a:bodyPr rtlCol="0" anchor="ctr"/>
              <a:lstStyle/>
              <a:p>
                <a:endParaRPr lang="en-US" sz="1800" dirty="0"/>
              </a:p>
            </p:txBody>
          </p:sp>
          <p:sp>
            <p:nvSpPr>
              <p:cNvPr id="702" name="Freeform 701">
                <a:extLst>
                  <a:ext uri="{FF2B5EF4-FFF2-40B4-BE49-F238E27FC236}">
                    <a16:creationId xmlns:a16="http://schemas.microsoft.com/office/drawing/2014/main" id="{226EB576-F2EC-1E23-8A65-40A5B94B52C7}"/>
                  </a:ext>
                </a:extLst>
              </p:cNvPr>
              <p:cNvSpPr/>
              <p:nvPr/>
            </p:nvSpPr>
            <p:spPr>
              <a:xfrm>
                <a:off x="7483244" y="2960994"/>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787878"/>
                </a:solidFill>
                <a:prstDash val="solid"/>
                <a:miter/>
              </a:ln>
            </p:spPr>
            <p:txBody>
              <a:bodyPr rtlCol="0" anchor="ctr"/>
              <a:lstStyle/>
              <a:p>
                <a:endParaRPr lang="en-US" sz="1800" dirty="0"/>
              </a:p>
            </p:txBody>
          </p:sp>
          <p:sp>
            <p:nvSpPr>
              <p:cNvPr id="703" name="Freeform 702">
                <a:extLst>
                  <a:ext uri="{FF2B5EF4-FFF2-40B4-BE49-F238E27FC236}">
                    <a16:creationId xmlns:a16="http://schemas.microsoft.com/office/drawing/2014/main" id="{189ED121-CB9C-E687-EDA7-A31CACD79944}"/>
                  </a:ext>
                </a:extLst>
              </p:cNvPr>
              <p:cNvSpPr/>
              <p:nvPr/>
            </p:nvSpPr>
            <p:spPr>
              <a:xfrm>
                <a:off x="7512644" y="2932529"/>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787878"/>
                </a:solidFill>
                <a:prstDash val="solid"/>
                <a:miter/>
              </a:ln>
            </p:spPr>
            <p:txBody>
              <a:bodyPr rtlCol="0" anchor="ctr"/>
              <a:lstStyle/>
              <a:p>
                <a:endParaRPr lang="en-US" sz="1800" dirty="0"/>
              </a:p>
            </p:txBody>
          </p:sp>
          <p:sp>
            <p:nvSpPr>
              <p:cNvPr id="704" name="Freeform 703">
                <a:extLst>
                  <a:ext uri="{FF2B5EF4-FFF2-40B4-BE49-F238E27FC236}">
                    <a16:creationId xmlns:a16="http://schemas.microsoft.com/office/drawing/2014/main" id="{AA6C9C4A-F91B-F3CC-BCD8-8396D07F81E3}"/>
                  </a:ext>
                </a:extLst>
              </p:cNvPr>
              <p:cNvSpPr/>
              <p:nvPr/>
            </p:nvSpPr>
            <p:spPr>
              <a:xfrm>
                <a:off x="7489261" y="2960994"/>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787878"/>
                </a:solidFill>
                <a:prstDash val="solid"/>
                <a:miter/>
              </a:ln>
            </p:spPr>
            <p:txBody>
              <a:bodyPr rtlCol="0" anchor="ctr"/>
              <a:lstStyle/>
              <a:p>
                <a:endParaRPr lang="en-US" sz="1800" dirty="0"/>
              </a:p>
            </p:txBody>
          </p:sp>
          <p:sp>
            <p:nvSpPr>
              <p:cNvPr id="705" name="Freeform 704">
                <a:extLst>
                  <a:ext uri="{FF2B5EF4-FFF2-40B4-BE49-F238E27FC236}">
                    <a16:creationId xmlns:a16="http://schemas.microsoft.com/office/drawing/2014/main" id="{7362F2C9-1C40-EDB4-35B1-5A43AE5A4975}"/>
                  </a:ext>
                </a:extLst>
              </p:cNvPr>
              <p:cNvSpPr/>
              <p:nvPr/>
            </p:nvSpPr>
            <p:spPr>
              <a:xfrm>
                <a:off x="7518661" y="2932529"/>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787878"/>
                </a:solidFill>
                <a:prstDash val="solid"/>
                <a:miter/>
              </a:ln>
            </p:spPr>
            <p:txBody>
              <a:bodyPr rtlCol="0" anchor="ctr"/>
              <a:lstStyle/>
              <a:p>
                <a:endParaRPr lang="en-US" sz="1800" dirty="0"/>
              </a:p>
            </p:txBody>
          </p:sp>
          <p:sp>
            <p:nvSpPr>
              <p:cNvPr id="706" name="Freeform 705">
                <a:extLst>
                  <a:ext uri="{FF2B5EF4-FFF2-40B4-BE49-F238E27FC236}">
                    <a16:creationId xmlns:a16="http://schemas.microsoft.com/office/drawing/2014/main" id="{3081CB98-75D4-B394-08D9-3DC910FF6B62}"/>
                  </a:ext>
                </a:extLst>
              </p:cNvPr>
              <p:cNvSpPr/>
              <p:nvPr/>
            </p:nvSpPr>
            <p:spPr>
              <a:xfrm>
                <a:off x="7601091" y="3009982"/>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787878"/>
                </a:solidFill>
                <a:prstDash val="solid"/>
                <a:miter/>
              </a:ln>
            </p:spPr>
            <p:txBody>
              <a:bodyPr rtlCol="0" anchor="ctr"/>
              <a:lstStyle/>
              <a:p>
                <a:endParaRPr lang="en-US" sz="1800" dirty="0"/>
              </a:p>
            </p:txBody>
          </p:sp>
          <p:sp>
            <p:nvSpPr>
              <p:cNvPr id="707" name="Freeform 706">
                <a:extLst>
                  <a:ext uri="{FF2B5EF4-FFF2-40B4-BE49-F238E27FC236}">
                    <a16:creationId xmlns:a16="http://schemas.microsoft.com/office/drawing/2014/main" id="{BAE8403E-4BF5-6318-AE2A-FEB0C3995F00}"/>
                  </a:ext>
                </a:extLst>
              </p:cNvPr>
              <p:cNvSpPr/>
              <p:nvPr/>
            </p:nvSpPr>
            <p:spPr>
              <a:xfrm>
                <a:off x="7630491" y="2981500"/>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787878"/>
                </a:solidFill>
                <a:prstDash val="solid"/>
                <a:miter/>
              </a:ln>
            </p:spPr>
            <p:txBody>
              <a:bodyPr rtlCol="0" anchor="ctr"/>
              <a:lstStyle/>
              <a:p>
                <a:endParaRPr lang="en-US" sz="1800" dirty="0"/>
              </a:p>
            </p:txBody>
          </p:sp>
          <p:sp>
            <p:nvSpPr>
              <p:cNvPr id="708" name="Freeform 707">
                <a:extLst>
                  <a:ext uri="{FF2B5EF4-FFF2-40B4-BE49-F238E27FC236}">
                    <a16:creationId xmlns:a16="http://schemas.microsoft.com/office/drawing/2014/main" id="{39502E88-09DE-CC75-FB14-16E94793318F}"/>
                  </a:ext>
                </a:extLst>
              </p:cNvPr>
              <p:cNvSpPr/>
              <p:nvPr/>
            </p:nvSpPr>
            <p:spPr>
              <a:xfrm>
                <a:off x="7689273" y="3060364"/>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787878"/>
                </a:solidFill>
                <a:prstDash val="solid"/>
                <a:miter/>
              </a:ln>
            </p:spPr>
            <p:txBody>
              <a:bodyPr rtlCol="0" anchor="ctr"/>
              <a:lstStyle/>
              <a:p>
                <a:endParaRPr lang="en-US" sz="1800" dirty="0"/>
              </a:p>
            </p:txBody>
          </p:sp>
          <p:sp>
            <p:nvSpPr>
              <p:cNvPr id="709" name="Freeform 708">
                <a:extLst>
                  <a:ext uri="{FF2B5EF4-FFF2-40B4-BE49-F238E27FC236}">
                    <a16:creationId xmlns:a16="http://schemas.microsoft.com/office/drawing/2014/main" id="{FA0EB528-CEB7-ACDD-8473-7879482B6595}"/>
                  </a:ext>
                </a:extLst>
              </p:cNvPr>
              <p:cNvSpPr/>
              <p:nvPr/>
            </p:nvSpPr>
            <p:spPr>
              <a:xfrm>
                <a:off x="7718673" y="3031882"/>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787878"/>
                </a:solidFill>
                <a:prstDash val="solid"/>
                <a:miter/>
              </a:ln>
            </p:spPr>
            <p:txBody>
              <a:bodyPr rtlCol="0" anchor="ctr"/>
              <a:lstStyle/>
              <a:p>
                <a:endParaRPr lang="en-US" sz="1800" dirty="0"/>
              </a:p>
            </p:txBody>
          </p:sp>
          <p:sp>
            <p:nvSpPr>
              <p:cNvPr id="710" name="Freeform 709">
                <a:extLst>
                  <a:ext uri="{FF2B5EF4-FFF2-40B4-BE49-F238E27FC236}">
                    <a16:creationId xmlns:a16="http://schemas.microsoft.com/office/drawing/2014/main" id="{E0CA849D-49BB-B883-D28B-C8696EE63B33}"/>
                  </a:ext>
                </a:extLst>
              </p:cNvPr>
              <p:cNvSpPr/>
              <p:nvPr/>
            </p:nvSpPr>
            <p:spPr>
              <a:xfrm>
                <a:off x="7695149" y="3060364"/>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787878"/>
                </a:solidFill>
                <a:prstDash val="solid"/>
                <a:miter/>
              </a:ln>
            </p:spPr>
            <p:txBody>
              <a:bodyPr rtlCol="0" anchor="ctr"/>
              <a:lstStyle/>
              <a:p>
                <a:endParaRPr lang="en-US" sz="1800" dirty="0"/>
              </a:p>
            </p:txBody>
          </p:sp>
          <p:sp>
            <p:nvSpPr>
              <p:cNvPr id="711" name="Freeform 710">
                <a:extLst>
                  <a:ext uri="{FF2B5EF4-FFF2-40B4-BE49-F238E27FC236}">
                    <a16:creationId xmlns:a16="http://schemas.microsoft.com/office/drawing/2014/main" id="{56D0D009-6FD7-B3E9-96F3-7D8B8CB79FC9}"/>
                  </a:ext>
                </a:extLst>
              </p:cNvPr>
              <p:cNvSpPr/>
              <p:nvPr/>
            </p:nvSpPr>
            <p:spPr>
              <a:xfrm>
                <a:off x="7724549" y="3031882"/>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787878"/>
                </a:solidFill>
                <a:prstDash val="solid"/>
                <a:miter/>
              </a:ln>
            </p:spPr>
            <p:txBody>
              <a:bodyPr rtlCol="0" anchor="ctr"/>
              <a:lstStyle/>
              <a:p>
                <a:endParaRPr lang="en-US" sz="1800" dirty="0"/>
              </a:p>
            </p:txBody>
          </p:sp>
          <p:sp>
            <p:nvSpPr>
              <p:cNvPr id="712" name="Freeform 711">
                <a:extLst>
                  <a:ext uri="{FF2B5EF4-FFF2-40B4-BE49-F238E27FC236}">
                    <a16:creationId xmlns:a16="http://schemas.microsoft.com/office/drawing/2014/main" id="{08EC2E8F-9F3A-DE6E-09D9-A0E29510769A}"/>
                  </a:ext>
                </a:extLst>
              </p:cNvPr>
              <p:cNvSpPr/>
              <p:nvPr/>
            </p:nvSpPr>
            <p:spPr>
              <a:xfrm>
                <a:off x="7883549" y="3060364"/>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787878"/>
                </a:solidFill>
                <a:prstDash val="solid"/>
                <a:miter/>
              </a:ln>
            </p:spPr>
            <p:txBody>
              <a:bodyPr rtlCol="0" anchor="ctr"/>
              <a:lstStyle/>
              <a:p>
                <a:endParaRPr lang="en-US" sz="1800" dirty="0"/>
              </a:p>
            </p:txBody>
          </p:sp>
          <p:sp>
            <p:nvSpPr>
              <p:cNvPr id="713" name="Freeform 712">
                <a:extLst>
                  <a:ext uri="{FF2B5EF4-FFF2-40B4-BE49-F238E27FC236}">
                    <a16:creationId xmlns:a16="http://schemas.microsoft.com/office/drawing/2014/main" id="{E3AC4C3D-14E3-2D64-13C2-F2209205D018}"/>
                  </a:ext>
                </a:extLst>
              </p:cNvPr>
              <p:cNvSpPr/>
              <p:nvPr/>
            </p:nvSpPr>
            <p:spPr>
              <a:xfrm>
                <a:off x="7912949" y="3031882"/>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787878"/>
                </a:solidFill>
                <a:prstDash val="solid"/>
                <a:miter/>
              </a:ln>
            </p:spPr>
            <p:txBody>
              <a:bodyPr rtlCol="0" anchor="ctr"/>
              <a:lstStyle/>
              <a:p>
                <a:endParaRPr lang="en-US" sz="1800" dirty="0"/>
              </a:p>
            </p:txBody>
          </p:sp>
          <p:sp>
            <p:nvSpPr>
              <p:cNvPr id="714" name="Freeform 713">
                <a:extLst>
                  <a:ext uri="{FF2B5EF4-FFF2-40B4-BE49-F238E27FC236}">
                    <a16:creationId xmlns:a16="http://schemas.microsoft.com/office/drawing/2014/main" id="{5B4383CF-448B-572A-02F8-78FFA4C5F1FE}"/>
                  </a:ext>
                </a:extLst>
              </p:cNvPr>
              <p:cNvSpPr/>
              <p:nvPr/>
            </p:nvSpPr>
            <p:spPr>
              <a:xfrm>
                <a:off x="7912949" y="3060364"/>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787878"/>
                </a:solidFill>
                <a:prstDash val="solid"/>
                <a:miter/>
              </a:ln>
            </p:spPr>
            <p:txBody>
              <a:bodyPr rtlCol="0" anchor="ctr"/>
              <a:lstStyle/>
              <a:p>
                <a:endParaRPr lang="en-US" sz="1800" dirty="0"/>
              </a:p>
            </p:txBody>
          </p:sp>
          <p:sp>
            <p:nvSpPr>
              <p:cNvPr id="715" name="Freeform 714">
                <a:extLst>
                  <a:ext uri="{FF2B5EF4-FFF2-40B4-BE49-F238E27FC236}">
                    <a16:creationId xmlns:a16="http://schemas.microsoft.com/office/drawing/2014/main" id="{AC141BF5-06BA-E702-9EAB-F8B89731FD1C}"/>
                  </a:ext>
                </a:extLst>
              </p:cNvPr>
              <p:cNvSpPr/>
              <p:nvPr/>
            </p:nvSpPr>
            <p:spPr>
              <a:xfrm>
                <a:off x="7942331" y="3031882"/>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787878"/>
                </a:solidFill>
                <a:prstDash val="solid"/>
                <a:miter/>
              </a:ln>
            </p:spPr>
            <p:txBody>
              <a:bodyPr rtlCol="0" anchor="ctr"/>
              <a:lstStyle/>
              <a:p>
                <a:endParaRPr lang="en-US" sz="1800" dirty="0"/>
              </a:p>
            </p:txBody>
          </p:sp>
          <p:sp>
            <p:nvSpPr>
              <p:cNvPr id="716" name="Freeform 715">
                <a:extLst>
                  <a:ext uri="{FF2B5EF4-FFF2-40B4-BE49-F238E27FC236}">
                    <a16:creationId xmlns:a16="http://schemas.microsoft.com/office/drawing/2014/main" id="{5378F141-1C2D-B25F-F262-DD75E4865D88}"/>
                  </a:ext>
                </a:extLst>
              </p:cNvPr>
              <p:cNvSpPr/>
              <p:nvPr/>
            </p:nvSpPr>
            <p:spPr>
              <a:xfrm>
                <a:off x="7930702" y="3060364"/>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787878"/>
                </a:solidFill>
                <a:prstDash val="solid"/>
                <a:miter/>
              </a:ln>
            </p:spPr>
            <p:txBody>
              <a:bodyPr rtlCol="0" anchor="ctr"/>
              <a:lstStyle/>
              <a:p>
                <a:endParaRPr lang="en-US" sz="1800" dirty="0"/>
              </a:p>
            </p:txBody>
          </p:sp>
          <p:sp>
            <p:nvSpPr>
              <p:cNvPr id="717" name="Freeform 716">
                <a:extLst>
                  <a:ext uri="{FF2B5EF4-FFF2-40B4-BE49-F238E27FC236}">
                    <a16:creationId xmlns:a16="http://schemas.microsoft.com/office/drawing/2014/main" id="{C6F34633-64B6-573F-8997-E2C7BD6BD9D2}"/>
                  </a:ext>
                </a:extLst>
              </p:cNvPr>
              <p:cNvSpPr/>
              <p:nvPr/>
            </p:nvSpPr>
            <p:spPr>
              <a:xfrm>
                <a:off x="7960102" y="3031882"/>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787878"/>
                </a:solidFill>
                <a:prstDash val="solid"/>
                <a:miter/>
              </a:ln>
            </p:spPr>
            <p:txBody>
              <a:bodyPr rtlCol="0" anchor="ctr"/>
              <a:lstStyle/>
              <a:p>
                <a:endParaRPr lang="en-US" sz="1800" dirty="0"/>
              </a:p>
            </p:txBody>
          </p:sp>
          <p:sp>
            <p:nvSpPr>
              <p:cNvPr id="718" name="Freeform 717">
                <a:extLst>
                  <a:ext uri="{FF2B5EF4-FFF2-40B4-BE49-F238E27FC236}">
                    <a16:creationId xmlns:a16="http://schemas.microsoft.com/office/drawing/2014/main" id="{BB01E959-F6B4-9ECF-BF82-4D4E8E253672}"/>
                  </a:ext>
                </a:extLst>
              </p:cNvPr>
              <p:cNvSpPr/>
              <p:nvPr/>
            </p:nvSpPr>
            <p:spPr>
              <a:xfrm>
                <a:off x="8001255" y="3060364"/>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787878"/>
                </a:solidFill>
                <a:prstDash val="solid"/>
                <a:miter/>
              </a:ln>
            </p:spPr>
            <p:txBody>
              <a:bodyPr rtlCol="0" anchor="ctr"/>
              <a:lstStyle/>
              <a:p>
                <a:endParaRPr lang="en-US" sz="1800" dirty="0"/>
              </a:p>
            </p:txBody>
          </p:sp>
          <p:sp>
            <p:nvSpPr>
              <p:cNvPr id="719" name="Freeform 718">
                <a:extLst>
                  <a:ext uri="{FF2B5EF4-FFF2-40B4-BE49-F238E27FC236}">
                    <a16:creationId xmlns:a16="http://schemas.microsoft.com/office/drawing/2014/main" id="{7C897B67-1EB8-5F71-C5A3-61D174745BBE}"/>
                  </a:ext>
                </a:extLst>
              </p:cNvPr>
              <p:cNvSpPr/>
              <p:nvPr/>
            </p:nvSpPr>
            <p:spPr>
              <a:xfrm>
                <a:off x="8030655" y="3031882"/>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787878"/>
                </a:solidFill>
                <a:prstDash val="solid"/>
                <a:miter/>
              </a:ln>
            </p:spPr>
            <p:txBody>
              <a:bodyPr rtlCol="0" anchor="ctr"/>
              <a:lstStyle/>
              <a:p>
                <a:endParaRPr lang="en-US" sz="1800" dirty="0"/>
              </a:p>
            </p:txBody>
          </p:sp>
          <p:sp>
            <p:nvSpPr>
              <p:cNvPr id="720" name="Freeform 719">
                <a:extLst>
                  <a:ext uri="{FF2B5EF4-FFF2-40B4-BE49-F238E27FC236}">
                    <a16:creationId xmlns:a16="http://schemas.microsoft.com/office/drawing/2014/main" id="{0AACB2BC-7BE4-1B0F-2F30-09E178A810FE}"/>
                  </a:ext>
                </a:extLst>
              </p:cNvPr>
              <p:cNvSpPr/>
              <p:nvPr/>
            </p:nvSpPr>
            <p:spPr>
              <a:xfrm>
                <a:off x="8148484" y="3060364"/>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787878"/>
                </a:solidFill>
                <a:prstDash val="solid"/>
                <a:miter/>
              </a:ln>
            </p:spPr>
            <p:txBody>
              <a:bodyPr rtlCol="0" anchor="ctr"/>
              <a:lstStyle/>
              <a:p>
                <a:endParaRPr lang="en-US" sz="1800" dirty="0"/>
              </a:p>
            </p:txBody>
          </p:sp>
          <p:sp>
            <p:nvSpPr>
              <p:cNvPr id="721" name="Freeform 720">
                <a:extLst>
                  <a:ext uri="{FF2B5EF4-FFF2-40B4-BE49-F238E27FC236}">
                    <a16:creationId xmlns:a16="http://schemas.microsoft.com/office/drawing/2014/main" id="{906B087D-4A05-E5E1-1091-163AA3BA70FF}"/>
                  </a:ext>
                </a:extLst>
              </p:cNvPr>
              <p:cNvSpPr/>
              <p:nvPr/>
            </p:nvSpPr>
            <p:spPr>
              <a:xfrm>
                <a:off x="8177884" y="3031882"/>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787878"/>
                </a:solidFill>
                <a:prstDash val="solid"/>
                <a:miter/>
              </a:ln>
            </p:spPr>
            <p:txBody>
              <a:bodyPr rtlCol="0" anchor="ctr"/>
              <a:lstStyle/>
              <a:p>
                <a:endParaRPr lang="en-US" sz="1800" dirty="0"/>
              </a:p>
            </p:txBody>
          </p:sp>
          <p:sp>
            <p:nvSpPr>
              <p:cNvPr id="722" name="Freeform 721">
                <a:extLst>
                  <a:ext uri="{FF2B5EF4-FFF2-40B4-BE49-F238E27FC236}">
                    <a16:creationId xmlns:a16="http://schemas.microsoft.com/office/drawing/2014/main" id="{1AF33313-06A4-1ADA-9EB8-D3CD0794F02F}"/>
                  </a:ext>
                </a:extLst>
              </p:cNvPr>
              <p:cNvSpPr/>
              <p:nvPr/>
            </p:nvSpPr>
            <p:spPr>
              <a:xfrm>
                <a:off x="8177884" y="3060364"/>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787878"/>
                </a:solidFill>
                <a:prstDash val="solid"/>
                <a:miter/>
              </a:ln>
            </p:spPr>
            <p:txBody>
              <a:bodyPr rtlCol="0" anchor="ctr"/>
              <a:lstStyle/>
              <a:p>
                <a:endParaRPr lang="en-US" sz="1800" dirty="0"/>
              </a:p>
            </p:txBody>
          </p:sp>
          <p:sp>
            <p:nvSpPr>
              <p:cNvPr id="723" name="Freeform 722">
                <a:extLst>
                  <a:ext uri="{FF2B5EF4-FFF2-40B4-BE49-F238E27FC236}">
                    <a16:creationId xmlns:a16="http://schemas.microsoft.com/office/drawing/2014/main" id="{631537FE-0AE9-EAE5-B471-9B0AC4DFEFDB}"/>
                  </a:ext>
                </a:extLst>
              </p:cNvPr>
              <p:cNvSpPr/>
              <p:nvPr/>
            </p:nvSpPr>
            <p:spPr>
              <a:xfrm>
                <a:off x="8207284" y="3031882"/>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787878"/>
                </a:solidFill>
                <a:prstDash val="solid"/>
                <a:miter/>
              </a:ln>
            </p:spPr>
            <p:txBody>
              <a:bodyPr rtlCol="0" anchor="ctr"/>
              <a:lstStyle/>
              <a:p>
                <a:endParaRPr lang="en-US" sz="1800" dirty="0"/>
              </a:p>
            </p:txBody>
          </p:sp>
          <p:sp>
            <p:nvSpPr>
              <p:cNvPr id="724" name="Freeform 723">
                <a:extLst>
                  <a:ext uri="{FF2B5EF4-FFF2-40B4-BE49-F238E27FC236}">
                    <a16:creationId xmlns:a16="http://schemas.microsoft.com/office/drawing/2014/main" id="{9F25FBA3-1BC4-21AF-43A2-E6C73AAFF840}"/>
                  </a:ext>
                </a:extLst>
              </p:cNvPr>
              <p:cNvSpPr/>
              <p:nvPr/>
            </p:nvSpPr>
            <p:spPr>
              <a:xfrm>
                <a:off x="8224913" y="3060364"/>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787878"/>
                </a:solidFill>
                <a:prstDash val="solid"/>
                <a:miter/>
              </a:ln>
            </p:spPr>
            <p:txBody>
              <a:bodyPr rtlCol="0" anchor="ctr"/>
              <a:lstStyle/>
              <a:p>
                <a:endParaRPr lang="en-US" sz="1800" dirty="0"/>
              </a:p>
            </p:txBody>
          </p:sp>
          <p:sp>
            <p:nvSpPr>
              <p:cNvPr id="725" name="Freeform 724">
                <a:extLst>
                  <a:ext uri="{FF2B5EF4-FFF2-40B4-BE49-F238E27FC236}">
                    <a16:creationId xmlns:a16="http://schemas.microsoft.com/office/drawing/2014/main" id="{3DF863D8-351A-B906-B607-D6AFFA884FB8}"/>
                  </a:ext>
                </a:extLst>
              </p:cNvPr>
              <p:cNvSpPr/>
              <p:nvPr/>
            </p:nvSpPr>
            <p:spPr>
              <a:xfrm>
                <a:off x="8254313" y="3031882"/>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787878"/>
                </a:solidFill>
                <a:prstDash val="solid"/>
                <a:miter/>
              </a:ln>
            </p:spPr>
            <p:txBody>
              <a:bodyPr rtlCol="0" anchor="ctr"/>
              <a:lstStyle/>
              <a:p>
                <a:endParaRPr lang="en-US" sz="1800" dirty="0"/>
              </a:p>
            </p:txBody>
          </p:sp>
          <p:sp>
            <p:nvSpPr>
              <p:cNvPr id="726" name="Freeform 725">
                <a:extLst>
                  <a:ext uri="{FF2B5EF4-FFF2-40B4-BE49-F238E27FC236}">
                    <a16:creationId xmlns:a16="http://schemas.microsoft.com/office/drawing/2014/main" id="{9BC52C31-5FE0-B0F2-D1EF-BF605873EA77}"/>
                  </a:ext>
                </a:extLst>
              </p:cNvPr>
              <p:cNvSpPr/>
              <p:nvPr/>
            </p:nvSpPr>
            <p:spPr>
              <a:xfrm>
                <a:off x="8501618" y="3060364"/>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787878"/>
                </a:solidFill>
                <a:prstDash val="solid"/>
                <a:miter/>
              </a:ln>
            </p:spPr>
            <p:txBody>
              <a:bodyPr rtlCol="0" anchor="ctr"/>
              <a:lstStyle/>
              <a:p>
                <a:endParaRPr lang="en-US" sz="1800" dirty="0"/>
              </a:p>
            </p:txBody>
          </p:sp>
          <p:sp>
            <p:nvSpPr>
              <p:cNvPr id="727" name="Freeform 726">
                <a:extLst>
                  <a:ext uri="{FF2B5EF4-FFF2-40B4-BE49-F238E27FC236}">
                    <a16:creationId xmlns:a16="http://schemas.microsoft.com/office/drawing/2014/main" id="{90E4F659-7B7B-98A4-2979-B8DB02A254C2}"/>
                  </a:ext>
                </a:extLst>
              </p:cNvPr>
              <p:cNvSpPr/>
              <p:nvPr/>
            </p:nvSpPr>
            <p:spPr>
              <a:xfrm>
                <a:off x="8531018" y="3031882"/>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787878"/>
                </a:solidFill>
                <a:prstDash val="solid"/>
                <a:miter/>
              </a:ln>
            </p:spPr>
            <p:txBody>
              <a:bodyPr rtlCol="0" anchor="ctr"/>
              <a:lstStyle/>
              <a:p>
                <a:endParaRPr lang="en-US" sz="1800" dirty="0"/>
              </a:p>
            </p:txBody>
          </p:sp>
          <p:sp>
            <p:nvSpPr>
              <p:cNvPr id="728" name="Freeform 727">
                <a:extLst>
                  <a:ext uri="{FF2B5EF4-FFF2-40B4-BE49-F238E27FC236}">
                    <a16:creationId xmlns:a16="http://schemas.microsoft.com/office/drawing/2014/main" id="{6B51288D-5DC7-79CC-536C-AE98D2FCC903}"/>
                  </a:ext>
                </a:extLst>
              </p:cNvPr>
              <p:cNvSpPr/>
              <p:nvPr/>
            </p:nvSpPr>
            <p:spPr>
              <a:xfrm>
                <a:off x="8501618" y="3060364"/>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787878"/>
                </a:solidFill>
                <a:prstDash val="solid"/>
                <a:miter/>
              </a:ln>
            </p:spPr>
            <p:txBody>
              <a:bodyPr rtlCol="0" anchor="ctr"/>
              <a:lstStyle/>
              <a:p>
                <a:endParaRPr lang="en-US" sz="1800" dirty="0"/>
              </a:p>
            </p:txBody>
          </p:sp>
          <p:sp>
            <p:nvSpPr>
              <p:cNvPr id="729" name="Freeform 728">
                <a:extLst>
                  <a:ext uri="{FF2B5EF4-FFF2-40B4-BE49-F238E27FC236}">
                    <a16:creationId xmlns:a16="http://schemas.microsoft.com/office/drawing/2014/main" id="{0EE1B0DC-1247-C613-0F27-E57352D8FAA5}"/>
                  </a:ext>
                </a:extLst>
              </p:cNvPr>
              <p:cNvSpPr/>
              <p:nvPr/>
            </p:nvSpPr>
            <p:spPr>
              <a:xfrm>
                <a:off x="8531018" y="3031882"/>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787878"/>
                </a:solidFill>
                <a:prstDash val="solid"/>
                <a:miter/>
              </a:ln>
            </p:spPr>
            <p:txBody>
              <a:bodyPr rtlCol="0" anchor="ctr"/>
              <a:lstStyle/>
              <a:p>
                <a:endParaRPr lang="en-US" sz="1800" dirty="0"/>
              </a:p>
            </p:txBody>
          </p:sp>
          <p:sp>
            <p:nvSpPr>
              <p:cNvPr id="730" name="Freeform 729">
                <a:extLst>
                  <a:ext uri="{FF2B5EF4-FFF2-40B4-BE49-F238E27FC236}">
                    <a16:creationId xmlns:a16="http://schemas.microsoft.com/office/drawing/2014/main" id="{03A1E494-F413-DF03-63C3-9306320F6947}"/>
                  </a:ext>
                </a:extLst>
              </p:cNvPr>
              <p:cNvSpPr/>
              <p:nvPr/>
            </p:nvSpPr>
            <p:spPr>
              <a:xfrm>
                <a:off x="8542771" y="3060364"/>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787878"/>
                </a:solidFill>
                <a:prstDash val="solid"/>
                <a:miter/>
              </a:ln>
            </p:spPr>
            <p:txBody>
              <a:bodyPr rtlCol="0" anchor="ctr"/>
              <a:lstStyle/>
              <a:p>
                <a:endParaRPr lang="en-US" sz="1800" dirty="0"/>
              </a:p>
            </p:txBody>
          </p:sp>
          <p:sp>
            <p:nvSpPr>
              <p:cNvPr id="731" name="Freeform 730">
                <a:extLst>
                  <a:ext uri="{FF2B5EF4-FFF2-40B4-BE49-F238E27FC236}">
                    <a16:creationId xmlns:a16="http://schemas.microsoft.com/office/drawing/2014/main" id="{1D9E88CB-C52E-46EC-5213-B2AA9544F904}"/>
                  </a:ext>
                </a:extLst>
              </p:cNvPr>
              <p:cNvSpPr/>
              <p:nvPr/>
            </p:nvSpPr>
            <p:spPr>
              <a:xfrm>
                <a:off x="8572171" y="3031882"/>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787878"/>
                </a:solidFill>
                <a:prstDash val="solid"/>
                <a:miter/>
              </a:ln>
            </p:spPr>
            <p:txBody>
              <a:bodyPr rtlCol="0" anchor="ctr"/>
              <a:lstStyle/>
              <a:p>
                <a:endParaRPr lang="en-US" sz="1800" dirty="0"/>
              </a:p>
            </p:txBody>
          </p:sp>
          <p:sp>
            <p:nvSpPr>
              <p:cNvPr id="732" name="Freeform 731">
                <a:extLst>
                  <a:ext uri="{FF2B5EF4-FFF2-40B4-BE49-F238E27FC236}">
                    <a16:creationId xmlns:a16="http://schemas.microsoft.com/office/drawing/2014/main" id="{5D7141A7-7511-E90F-4DAA-C68CEA481004}"/>
                  </a:ext>
                </a:extLst>
              </p:cNvPr>
              <p:cNvSpPr/>
              <p:nvPr/>
            </p:nvSpPr>
            <p:spPr>
              <a:xfrm>
                <a:off x="8613448" y="3060364"/>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787878"/>
                </a:solidFill>
                <a:prstDash val="solid"/>
                <a:miter/>
              </a:ln>
            </p:spPr>
            <p:txBody>
              <a:bodyPr rtlCol="0" anchor="ctr"/>
              <a:lstStyle/>
              <a:p>
                <a:endParaRPr lang="en-US" sz="1800" dirty="0"/>
              </a:p>
            </p:txBody>
          </p:sp>
          <p:sp>
            <p:nvSpPr>
              <p:cNvPr id="733" name="Freeform 732">
                <a:extLst>
                  <a:ext uri="{FF2B5EF4-FFF2-40B4-BE49-F238E27FC236}">
                    <a16:creationId xmlns:a16="http://schemas.microsoft.com/office/drawing/2014/main" id="{EC77740B-4A42-6BA6-1F4E-21275C29ED49}"/>
                  </a:ext>
                </a:extLst>
              </p:cNvPr>
              <p:cNvSpPr/>
              <p:nvPr/>
            </p:nvSpPr>
            <p:spPr>
              <a:xfrm>
                <a:off x="8642848" y="3031882"/>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787878"/>
                </a:solidFill>
                <a:prstDash val="solid"/>
                <a:miter/>
              </a:ln>
            </p:spPr>
            <p:txBody>
              <a:bodyPr rtlCol="0" anchor="ctr"/>
              <a:lstStyle/>
              <a:p>
                <a:endParaRPr lang="en-US" sz="1800" dirty="0"/>
              </a:p>
            </p:txBody>
          </p:sp>
          <p:sp>
            <p:nvSpPr>
              <p:cNvPr id="734" name="Freeform 733">
                <a:extLst>
                  <a:ext uri="{FF2B5EF4-FFF2-40B4-BE49-F238E27FC236}">
                    <a16:creationId xmlns:a16="http://schemas.microsoft.com/office/drawing/2014/main" id="{40A2F8BA-8AD8-9150-5E5A-522958095B63}"/>
                  </a:ext>
                </a:extLst>
              </p:cNvPr>
              <p:cNvSpPr/>
              <p:nvPr/>
            </p:nvSpPr>
            <p:spPr>
              <a:xfrm>
                <a:off x="8701771" y="3060364"/>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787878"/>
                </a:solidFill>
                <a:prstDash val="solid"/>
                <a:miter/>
              </a:ln>
            </p:spPr>
            <p:txBody>
              <a:bodyPr rtlCol="0" anchor="ctr"/>
              <a:lstStyle/>
              <a:p>
                <a:endParaRPr lang="en-US" sz="1800" dirty="0"/>
              </a:p>
            </p:txBody>
          </p:sp>
          <p:sp>
            <p:nvSpPr>
              <p:cNvPr id="735" name="Freeform 734">
                <a:extLst>
                  <a:ext uri="{FF2B5EF4-FFF2-40B4-BE49-F238E27FC236}">
                    <a16:creationId xmlns:a16="http://schemas.microsoft.com/office/drawing/2014/main" id="{EB146EA5-0096-6DD5-6BC5-783BA3D258A2}"/>
                  </a:ext>
                </a:extLst>
              </p:cNvPr>
              <p:cNvSpPr/>
              <p:nvPr/>
            </p:nvSpPr>
            <p:spPr>
              <a:xfrm>
                <a:off x="8731171" y="3031882"/>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787878"/>
                </a:solidFill>
                <a:prstDash val="solid"/>
                <a:miter/>
              </a:ln>
            </p:spPr>
            <p:txBody>
              <a:bodyPr rtlCol="0" anchor="ctr"/>
              <a:lstStyle/>
              <a:p>
                <a:endParaRPr lang="en-US" sz="1800" dirty="0"/>
              </a:p>
            </p:txBody>
          </p:sp>
          <p:sp>
            <p:nvSpPr>
              <p:cNvPr id="736" name="Freeform 735">
                <a:extLst>
                  <a:ext uri="{FF2B5EF4-FFF2-40B4-BE49-F238E27FC236}">
                    <a16:creationId xmlns:a16="http://schemas.microsoft.com/office/drawing/2014/main" id="{55865422-70B1-4980-5E93-EBB2E3807E8D}"/>
                  </a:ext>
                </a:extLst>
              </p:cNvPr>
              <p:cNvSpPr/>
              <p:nvPr/>
            </p:nvSpPr>
            <p:spPr>
              <a:xfrm>
                <a:off x="8737047" y="3060364"/>
                <a:ext cx="58782" cy="17647"/>
              </a:xfrm>
              <a:custGeom>
                <a:avLst/>
                <a:gdLst>
                  <a:gd name="connsiteX0" fmla="*/ 0 w 58782"/>
                  <a:gd name="connsiteY0" fmla="*/ 0 h 17647"/>
                  <a:gd name="connsiteX1" fmla="*/ 58783 w 58782"/>
                  <a:gd name="connsiteY1" fmla="*/ 0 h 17647"/>
                </a:gdLst>
                <a:ahLst/>
                <a:cxnLst>
                  <a:cxn ang="0">
                    <a:pos x="connsiteX0" y="connsiteY0"/>
                  </a:cxn>
                  <a:cxn ang="0">
                    <a:pos x="connsiteX1" y="connsiteY1"/>
                  </a:cxn>
                </a:cxnLst>
                <a:rect l="l" t="t" r="r" b="b"/>
                <a:pathLst>
                  <a:path w="58782" h="17647">
                    <a:moveTo>
                      <a:pt x="0" y="0"/>
                    </a:moveTo>
                    <a:lnTo>
                      <a:pt x="58783" y="0"/>
                    </a:lnTo>
                  </a:path>
                </a:pathLst>
              </a:custGeom>
              <a:ln w="9638" cap="sq">
                <a:solidFill>
                  <a:srgbClr val="787878"/>
                </a:solidFill>
                <a:prstDash val="solid"/>
                <a:miter/>
              </a:ln>
            </p:spPr>
            <p:txBody>
              <a:bodyPr rtlCol="0" anchor="ctr"/>
              <a:lstStyle/>
              <a:p>
                <a:endParaRPr lang="en-US" sz="1800" dirty="0"/>
              </a:p>
            </p:txBody>
          </p:sp>
          <p:sp>
            <p:nvSpPr>
              <p:cNvPr id="737" name="Freeform 736">
                <a:extLst>
                  <a:ext uri="{FF2B5EF4-FFF2-40B4-BE49-F238E27FC236}">
                    <a16:creationId xmlns:a16="http://schemas.microsoft.com/office/drawing/2014/main" id="{2E54D0DB-3266-B5F6-E115-408CA1316D37}"/>
                  </a:ext>
                </a:extLst>
              </p:cNvPr>
              <p:cNvSpPr/>
              <p:nvPr/>
            </p:nvSpPr>
            <p:spPr>
              <a:xfrm>
                <a:off x="8766447" y="3031882"/>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787878"/>
                </a:solidFill>
                <a:prstDash val="solid"/>
                <a:miter/>
              </a:ln>
            </p:spPr>
            <p:txBody>
              <a:bodyPr rtlCol="0" anchor="ctr"/>
              <a:lstStyle/>
              <a:p>
                <a:endParaRPr lang="en-US" sz="1800" dirty="0"/>
              </a:p>
            </p:txBody>
          </p:sp>
          <p:sp>
            <p:nvSpPr>
              <p:cNvPr id="738" name="Freeform 737">
                <a:extLst>
                  <a:ext uri="{FF2B5EF4-FFF2-40B4-BE49-F238E27FC236}">
                    <a16:creationId xmlns:a16="http://schemas.microsoft.com/office/drawing/2014/main" id="{D27964E3-9EA9-8326-DA14-77B8547B0922}"/>
                  </a:ext>
                </a:extLst>
              </p:cNvPr>
              <p:cNvSpPr/>
              <p:nvPr/>
            </p:nvSpPr>
            <p:spPr>
              <a:xfrm>
                <a:off x="8884277" y="3158076"/>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787878"/>
                </a:solidFill>
                <a:prstDash val="solid"/>
                <a:miter/>
              </a:ln>
            </p:spPr>
            <p:txBody>
              <a:bodyPr rtlCol="0" anchor="ctr"/>
              <a:lstStyle/>
              <a:p>
                <a:endParaRPr lang="en-US" sz="1800" dirty="0"/>
              </a:p>
            </p:txBody>
          </p:sp>
          <p:sp>
            <p:nvSpPr>
              <p:cNvPr id="739" name="Freeform 738">
                <a:extLst>
                  <a:ext uri="{FF2B5EF4-FFF2-40B4-BE49-F238E27FC236}">
                    <a16:creationId xmlns:a16="http://schemas.microsoft.com/office/drawing/2014/main" id="{50DFFDDC-4065-8423-81DD-22C8BA6E6039}"/>
                  </a:ext>
                </a:extLst>
              </p:cNvPr>
              <p:cNvSpPr/>
              <p:nvPr/>
            </p:nvSpPr>
            <p:spPr>
              <a:xfrm>
                <a:off x="8913677" y="3129594"/>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787878"/>
                </a:solidFill>
                <a:prstDash val="solid"/>
                <a:miter/>
              </a:ln>
            </p:spPr>
            <p:txBody>
              <a:bodyPr rtlCol="0" anchor="ctr"/>
              <a:lstStyle/>
              <a:p>
                <a:endParaRPr lang="en-US" sz="1800" dirty="0"/>
              </a:p>
            </p:txBody>
          </p:sp>
          <p:sp>
            <p:nvSpPr>
              <p:cNvPr id="740" name="Freeform 739">
                <a:extLst>
                  <a:ext uri="{FF2B5EF4-FFF2-40B4-BE49-F238E27FC236}">
                    <a16:creationId xmlns:a16="http://schemas.microsoft.com/office/drawing/2014/main" id="{47E19C8B-328A-22E4-8292-662558AE3A61}"/>
                  </a:ext>
                </a:extLst>
              </p:cNvPr>
              <p:cNvSpPr/>
              <p:nvPr/>
            </p:nvSpPr>
            <p:spPr>
              <a:xfrm>
                <a:off x="8937200" y="3158076"/>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787878"/>
                </a:solidFill>
                <a:prstDash val="solid"/>
                <a:miter/>
              </a:ln>
            </p:spPr>
            <p:txBody>
              <a:bodyPr rtlCol="0" anchor="ctr"/>
              <a:lstStyle/>
              <a:p>
                <a:endParaRPr lang="en-US" sz="1800" dirty="0"/>
              </a:p>
            </p:txBody>
          </p:sp>
          <p:sp>
            <p:nvSpPr>
              <p:cNvPr id="741" name="Freeform 740">
                <a:extLst>
                  <a:ext uri="{FF2B5EF4-FFF2-40B4-BE49-F238E27FC236}">
                    <a16:creationId xmlns:a16="http://schemas.microsoft.com/office/drawing/2014/main" id="{53C087D6-BC78-108B-6512-127A5B1F29A4}"/>
                  </a:ext>
                </a:extLst>
              </p:cNvPr>
              <p:cNvSpPr/>
              <p:nvPr/>
            </p:nvSpPr>
            <p:spPr>
              <a:xfrm>
                <a:off x="8966582" y="3129594"/>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787878"/>
                </a:solidFill>
                <a:prstDash val="solid"/>
                <a:miter/>
              </a:ln>
            </p:spPr>
            <p:txBody>
              <a:bodyPr rtlCol="0" anchor="ctr"/>
              <a:lstStyle/>
              <a:p>
                <a:endParaRPr lang="en-US" sz="1800" dirty="0"/>
              </a:p>
            </p:txBody>
          </p:sp>
          <p:sp>
            <p:nvSpPr>
              <p:cNvPr id="742" name="Freeform 741">
                <a:extLst>
                  <a:ext uri="{FF2B5EF4-FFF2-40B4-BE49-F238E27FC236}">
                    <a16:creationId xmlns:a16="http://schemas.microsoft.com/office/drawing/2014/main" id="{42C9A685-6AC8-58A0-C008-671EF87CA8DE}"/>
                  </a:ext>
                </a:extLst>
              </p:cNvPr>
              <p:cNvSpPr/>
              <p:nvPr/>
            </p:nvSpPr>
            <p:spPr>
              <a:xfrm>
                <a:off x="9107935" y="3158076"/>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787878"/>
                </a:solidFill>
                <a:prstDash val="solid"/>
                <a:miter/>
              </a:ln>
            </p:spPr>
            <p:txBody>
              <a:bodyPr rtlCol="0" anchor="ctr"/>
              <a:lstStyle/>
              <a:p>
                <a:endParaRPr lang="en-US" sz="1800" dirty="0"/>
              </a:p>
            </p:txBody>
          </p:sp>
          <p:sp>
            <p:nvSpPr>
              <p:cNvPr id="743" name="Freeform 742">
                <a:extLst>
                  <a:ext uri="{FF2B5EF4-FFF2-40B4-BE49-F238E27FC236}">
                    <a16:creationId xmlns:a16="http://schemas.microsoft.com/office/drawing/2014/main" id="{6A7AC4BF-753E-4B5B-7EE9-38BDE288A58B}"/>
                  </a:ext>
                </a:extLst>
              </p:cNvPr>
              <p:cNvSpPr/>
              <p:nvPr/>
            </p:nvSpPr>
            <p:spPr>
              <a:xfrm>
                <a:off x="9137335" y="3129594"/>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787878"/>
                </a:solidFill>
                <a:prstDash val="solid"/>
                <a:miter/>
              </a:ln>
            </p:spPr>
            <p:txBody>
              <a:bodyPr rtlCol="0" anchor="ctr"/>
              <a:lstStyle/>
              <a:p>
                <a:endParaRPr lang="en-US" sz="1800" dirty="0"/>
              </a:p>
            </p:txBody>
          </p:sp>
          <p:sp>
            <p:nvSpPr>
              <p:cNvPr id="744" name="Freeform 743">
                <a:extLst>
                  <a:ext uri="{FF2B5EF4-FFF2-40B4-BE49-F238E27FC236}">
                    <a16:creationId xmlns:a16="http://schemas.microsoft.com/office/drawing/2014/main" id="{AB3C0490-5567-4B3E-F0DE-699B0DA1EEBE}"/>
                  </a:ext>
                </a:extLst>
              </p:cNvPr>
              <p:cNvSpPr/>
              <p:nvPr/>
            </p:nvSpPr>
            <p:spPr>
              <a:xfrm>
                <a:off x="9178488" y="3158076"/>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787878"/>
                </a:solidFill>
                <a:prstDash val="solid"/>
                <a:miter/>
              </a:ln>
            </p:spPr>
            <p:txBody>
              <a:bodyPr rtlCol="0" anchor="ctr"/>
              <a:lstStyle/>
              <a:p>
                <a:endParaRPr lang="en-US" sz="1800" dirty="0"/>
              </a:p>
            </p:txBody>
          </p:sp>
          <p:sp>
            <p:nvSpPr>
              <p:cNvPr id="745" name="Freeform 744">
                <a:extLst>
                  <a:ext uri="{FF2B5EF4-FFF2-40B4-BE49-F238E27FC236}">
                    <a16:creationId xmlns:a16="http://schemas.microsoft.com/office/drawing/2014/main" id="{29C1F5EA-609D-7D1C-0186-726E7A054A57}"/>
                  </a:ext>
                </a:extLst>
              </p:cNvPr>
              <p:cNvSpPr/>
              <p:nvPr/>
            </p:nvSpPr>
            <p:spPr>
              <a:xfrm>
                <a:off x="9207888" y="3129594"/>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787878"/>
                </a:solidFill>
                <a:prstDash val="solid"/>
                <a:miter/>
              </a:ln>
            </p:spPr>
            <p:txBody>
              <a:bodyPr rtlCol="0" anchor="ctr"/>
              <a:lstStyle/>
              <a:p>
                <a:endParaRPr lang="en-US" sz="1800" dirty="0"/>
              </a:p>
            </p:txBody>
          </p:sp>
          <p:sp>
            <p:nvSpPr>
              <p:cNvPr id="746" name="Freeform 745">
                <a:extLst>
                  <a:ext uri="{FF2B5EF4-FFF2-40B4-BE49-F238E27FC236}">
                    <a16:creationId xmlns:a16="http://schemas.microsoft.com/office/drawing/2014/main" id="{4079A5D3-0501-99BB-372E-D1665899A997}"/>
                  </a:ext>
                </a:extLst>
              </p:cNvPr>
              <p:cNvSpPr/>
              <p:nvPr/>
            </p:nvSpPr>
            <p:spPr>
              <a:xfrm>
                <a:off x="9196258" y="3158076"/>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787878"/>
                </a:solidFill>
                <a:prstDash val="solid"/>
                <a:miter/>
              </a:ln>
            </p:spPr>
            <p:txBody>
              <a:bodyPr rtlCol="0" anchor="ctr"/>
              <a:lstStyle/>
              <a:p>
                <a:endParaRPr lang="en-US" sz="1800" dirty="0"/>
              </a:p>
            </p:txBody>
          </p:sp>
          <p:sp>
            <p:nvSpPr>
              <p:cNvPr id="747" name="Freeform 746">
                <a:extLst>
                  <a:ext uri="{FF2B5EF4-FFF2-40B4-BE49-F238E27FC236}">
                    <a16:creationId xmlns:a16="http://schemas.microsoft.com/office/drawing/2014/main" id="{0C6F706A-D88A-240E-29C9-B07D69BF286A}"/>
                  </a:ext>
                </a:extLst>
              </p:cNvPr>
              <p:cNvSpPr/>
              <p:nvPr/>
            </p:nvSpPr>
            <p:spPr>
              <a:xfrm>
                <a:off x="9225658" y="3129594"/>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787878"/>
                </a:solidFill>
                <a:prstDash val="solid"/>
                <a:miter/>
              </a:ln>
            </p:spPr>
            <p:txBody>
              <a:bodyPr rtlCol="0" anchor="ctr"/>
              <a:lstStyle/>
              <a:p>
                <a:endParaRPr lang="en-US" sz="1800" dirty="0"/>
              </a:p>
            </p:txBody>
          </p:sp>
          <p:sp>
            <p:nvSpPr>
              <p:cNvPr id="748" name="Freeform 747">
                <a:extLst>
                  <a:ext uri="{FF2B5EF4-FFF2-40B4-BE49-F238E27FC236}">
                    <a16:creationId xmlns:a16="http://schemas.microsoft.com/office/drawing/2014/main" id="{77176374-AC68-D648-7656-7F43FBF9528E}"/>
                  </a:ext>
                </a:extLst>
              </p:cNvPr>
              <p:cNvSpPr/>
              <p:nvPr/>
            </p:nvSpPr>
            <p:spPr>
              <a:xfrm>
                <a:off x="9237411" y="3158076"/>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787878"/>
                </a:solidFill>
                <a:prstDash val="solid"/>
                <a:miter/>
              </a:ln>
            </p:spPr>
            <p:txBody>
              <a:bodyPr rtlCol="0" anchor="ctr"/>
              <a:lstStyle/>
              <a:p>
                <a:endParaRPr lang="en-US" sz="1800" dirty="0"/>
              </a:p>
            </p:txBody>
          </p:sp>
          <p:sp>
            <p:nvSpPr>
              <p:cNvPr id="749" name="Freeform 748">
                <a:extLst>
                  <a:ext uri="{FF2B5EF4-FFF2-40B4-BE49-F238E27FC236}">
                    <a16:creationId xmlns:a16="http://schemas.microsoft.com/office/drawing/2014/main" id="{52B377B2-B81C-D48C-1E8F-F13BD6B48028}"/>
                  </a:ext>
                </a:extLst>
              </p:cNvPr>
              <p:cNvSpPr/>
              <p:nvPr/>
            </p:nvSpPr>
            <p:spPr>
              <a:xfrm>
                <a:off x="9266811" y="3129594"/>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787878"/>
                </a:solidFill>
                <a:prstDash val="solid"/>
                <a:miter/>
              </a:ln>
            </p:spPr>
            <p:txBody>
              <a:bodyPr rtlCol="0" anchor="ctr"/>
              <a:lstStyle/>
              <a:p>
                <a:endParaRPr lang="en-US" sz="1800" dirty="0"/>
              </a:p>
            </p:txBody>
          </p:sp>
          <p:sp>
            <p:nvSpPr>
              <p:cNvPr id="750" name="Freeform 749">
                <a:extLst>
                  <a:ext uri="{FF2B5EF4-FFF2-40B4-BE49-F238E27FC236}">
                    <a16:creationId xmlns:a16="http://schemas.microsoft.com/office/drawing/2014/main" id="{C0798405-DDD4-D077-21E0-3EBA95E3F68F}"/>
                  </a:ext>
                </a:extLst>
              </p:cNvPr>
              <p:cNvSpPr/>
              <p:nvPr/>
            </p:nvSpPr>
            <p:spPr>
              <a:xfrm>
                <a:off x="9249164" y="3158076"/>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787878"/>
                </a:solidFill>
                <a:prstDash val="solid"/>
                <a:miter/>
              </a:ln>
            </p:spPr>
            <p:txBody>
              <a:bodyPr rtlCol="0" anchor="ctr"/>
              <a:lstStyle/>
              <a:p>
                <a:endParaRPr lang="en-US" sz="1800" dirty="0"/>
              </a:p>
            </p:txBody>
          </p:sp>
          <p:sp>
            <p:nvSpPr>
              <p:cNvPr id="751" name="Freeform 750">
                <a:extLst>
                  <a:ext uri="{FF2B5EF4-FFF2-40B4-BE49-F238E27FC236}">
                    <a16:creationId xmlns:a16="http://schemas.microsoft.com/office/drawing/2014/main" id="{9073A73B-7221-F525-D050-784E5556C399}"/>
                  </a:ext>
                </a:extLst>
              </p:cNvPr>
              <p:cNvSpPr/>
              <p:nvPr/>
            </p:nvSpPr>
            <p:spPr>
              <a:xfrm>
                <a:off x="9278564" y="3129594"/>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787878"/>
                </a:solidFill>
                <a:prstDash val="solid"/>
                <a:miter/>
              </a:ln>
            </p:spPr>
            <p:txBody>
              <a:bodyPr rtlCol="0" anchor="ctr"/>
              <a:lstStyle/>
              <a:p>
                <a:endParaRPr lang="en-US" sz="1800" dirty="0"/>
              </a:p>
            </p:txBody>
          </p:sp>
          <p:sp>
            <p:nvSpPr>
              <p:cNvPr id="752" name="Freeform 751">
                <a:extLst>
                  <a:ext uri="{FF2B5EF4-FFF2-40B4-BE49-F238E27FC236}">
                    <a16:creationId xmlns:a16="http://schemas.microsoft.com/office/drawing/2014/main" id="{034B4EBB-28F9-E5EA-BE81-4D55F97379C4}"/>
                  </a:ext>
                </a:extLst>
              </p:cNvPr>
              <p:cNvSpPr/>
              <p:nvPr/>
            </p:nvSpPr>
            <p:spPr>
              <a:xfrm>
                <a:off x="9284441" y="3158076"/>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787878"/>
                </a:solidFill>
                <a:prstDash val="solid"/>
                <a:miter/>
              </a:ln>
            </p:spPr>
            <p:txBody>
              <a:bodyPr rtlCol="0" anchor="ctr"/>
              <a:lstStyle/>
              <a:p>
                <a:endParaRPr lang="en-US" sz="1800" dirty="0"/>
              </a:p>
            </p:txBody>
          </p:sp>
          <p:sp>
            <p:nvSpPr>
              <p:cNvPr id="753" name="Freeform 752">
                <a:extLst>
                  <a:ext uri="{FF2B5EF4-FFF2-40B4-BE49-F238E27FC236}">
                    <a16:creationId xmlns:a16="http://schemas.microsoft.com/office/drawing/2014/main" id="{F7819ABA-9016-688F-FB2C-47E3DEADF177}"/>
                  </a:ext>
                </a:extLst>
              </p:cNvPr>
              <p:cNvSpPr/>
              <p:nvPr/>
            </p:nvSpPr>
            <p:spPr>
              <a:xfrm>
                <a:off x="9313841" y="3129594"/>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787878"/>
                </a:solidFill>
                <a:prstDash val="solid"/>
                <a:miter/>
              </a:ln>
            </p:spPr>
            <p:txBody>
              <a:bodyPr rtlCol="0" anchor="ctr"/>
              <a:lstStyle/>
              <a:p>
                <a:endParaRPr lang="en-US" sz="1800" dirty="0"/>
              </a:p>
            </p:txBody>
          </p:sp>
          <p:sp>
            <p:nvSpPr>
              <p:cNvPr id="754" name="Freeform 753">
                <a:extLst>
                  <a:ext uri="{FF2B5EF4-FFF2-40B4-BE49-F238E27FC236}">
                    <a16:creationId xmlns:a16="http://schemas.microsoft.com/office/drawing/2014/main" id="{06D9A82B-B8D3-DF0E-8DA0-93552BBA725C}"/>
                  </a:ext>
                </a:extLst>
              </p:cNvPr>
              <p:cNvSpPr/>
              <p:nvPr/>
            </p:nvSpPr>
            <p:spPr>
              <a:xfrm>
                <a:off x="9449317" y="3158076"/>
                <a:ext cx="58782" cy="17647"/>
              </a:xfrm>
              <a:custGeom>
                <a:avLst/>
                <a:gdLst>
                  <a:gd name="connsiteX0" fmla="*/ 0 w 58782"/>
                  <a:gd name="connsiteY0" fmla="*/ 0 h 17647"/>
                  <a:gd name="connsiteX1" fmla="*/ 58783 w 58782"/>
                  <a:gd name="connsiteY1" fmla="*/ 0 h 17647"/>
                </a:gdLst>
                <a:ahLst/>
                <a:cxnLst>
                  <a:cxn ang="0">
                    <a:pos x="connsiteX0" y="connsiteY0"/>
                  </a:cxn>
                  <a:cxn ang="0">
                    <a:pos x="connsiteX1" y="connsiteY1"/>
                  </a:cxn>
                </a:cxnLst>
                <a:rect l="l" t="t" r="r" b="b"/>
                <a:pathLst>
                  <a:path w="58782" h="17647">
                    <a:moveTo>
                      <a:pt x="0" y="0"/>
                    </a:moveTo>
                    <a:lnTo>
                      <a:pt x="58783" y="0"/>
                    </a:lnTo>
                  </a:path>
                </a:pathLst>
              </a:custGeom>
              <a:ln w="9638" cap="sq">
                <a:solidFill>
                  <a:srgbClr val="787878"/>
                </a:solidFill>
                <a:prstDash val="solid"/>
                <a:miter/>
              </a:ln>
            </p:spPr>
            <p:txBody>
              <a:bodyPr rtlCol="0" anchor="ctr"/>
              <a:lstStyle/>
              <a:p>
                <a:endParaRPr lang="en-US" sz="1800" dirty="0"/>
              </a:p>
            </p:txBody>
          </p:sp>
          <p:sp>
            <p:nvSpPr>
              <p:cNvPr id="755" name="Freeform 754">
                <a:extLst>
                  <a:ext uri="{FF2B5EF4-FFF2-40B4-BE49-F238E27FC236}">
                    <a16:creationId xmlns:a16="http://schemas.microsoft.com/office/drawing/2014/main" id="{F41F4E03-CAD3-CAC3-1DAA-31688E4AFE5F}"/>
                  </a:ext>
                </a:extLst>
              </p:cNvPr>
              <p:cNvSpPr/>
              <p:nvPr/>
            </p:nvSpPr>
            <p:spPr>
              <a:xfrm>
                <a:off x="9478717" y="3129594"/>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787878"/>
                </a:solidFill>
                <a:prstDash val="solid"/>
                <a:miter/>
              </a:ln>
            </p:spPr>
            <p:txBody>
              <a:bodyPr rtlCol="0" anchor="ctr"/>
              <a:lstStyle/>
              <a:p>
                <a:endParaRPr lang="en-US" sz="1800" dirty="0"/>
              </a:p>
            </p:txBody>
          </p:sp>
          <p:sp>
            <p:nvSpPr>
              <p:cNvPr id="756" name="Freeform 755">
                <a:extLst>
                  <a:ext uri="{FF2B5EF4-FFF2-40B4-BE49-F238E27FC236}">
                    <a16:creationId xmlns:a16="http://schemas.microsoft.com/office/drawing/2014/main" id="{A3874D0D-665D-FE63-6C87-B53644A6BAE2}"/>
                  </a:ext>
                </a:extLst>
              </p:cNvPr>
              <p:cNvSpPr/>
              <p:nvPr/>
            </p:nvSpPr>
            <p:spPr>
              <a:xfrm>
                <a:off x="9625946" y="3158076"/>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787878"/>
                </a:solidFill>
                <a:prstDash val="solid"/>
                <a:miter/>
              </a:ln>
            </p:spPr>
            <p:txBody>
              <a:bodyPr rtlCol="0" anchor="ctr"/>
              <a:lstStyle/>
              <a:p>
                <a:endParaRPr lang="en-US" sz="1800" dirty="0"/>
              </a:p>
            </p:txBody>
          </p:sp>
          <p:sp>
            <p:nvSpPr>
              <p:cNvPr id="757" name="Freeform 756">
                <a:extLst>
                  <a:ext uri="{FF2B5EF4-FFF2-40B4-BE49-F238E27FC236}">
                    <a16:creationId xmlns:a16="http://schemas.microsoft.com/office/drawing/2014/main" id="{59BFEB37-98AF-4347-92AF-1255B6839B03}"/>
                  </a:ext>
                </a:extLst>
              </p:cNvPr>
              <p:cNvSpPr/>
              <p:nvPr/>
            </p:nvSpPr>
            <p:spPr>
              <a:xfrm>
                <a:off x="9655346" y="3129594"/>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787878"/>
                </a:solidFill>
                <a:prstDash val="solid"/>
                <a:miter/>
              </a:ln>
            </p:spPr>
            <p:txBody>
              <a:bodyPr rtlCol="0" anchor="ctr"/>
              <a:lstStyle/>
              <a:p>
                <a:endParaRPr lang="en-US" sz="1800" dirty="0"/>
              </a:p>
            </p:txBody>
          </p:sp>
          <p:sp>
            <p:nvSpPr>
              <p:cNvPr id="758" name="Freeform 757">
                <a:extLst>
                  <a:ext uri="{FF2B5EF4-FFF2-40B4-BE49-F238E27FC236}">
                    <a16:creationId xmlns:a16="http://schemas.microsoft.com/office/drawing/2014/main" id="{9AEFFDBA-1390-A4AB-B930-37323ECB7E50}"/>
                  </a:ext>
                </a:extLst>
              </p:cNvPr>
              <p:cNvSpPr/>
              <p:nvPr/>
            </p:nvSpPr>
            <p:spPr>
              <a:xfrm>
                <a:off x="9725899" y="3158076"/>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787878"/>
                </a:solidFill>
                <a:prstDash val="solid"/>
                <a:miter/>
              </a:ln>
            </p:spPr>
            <p:txBody>
              <a:bodyPr rtlCol="0" anchor="ctr"/>
              <a:lstStyle/>
              <a:p>
                <a:endParaRPr lang="en-US" sz="1800" dirty="0"/>
              </a:p>
            </p:txBody>
          </p:sp>
          <p:sp>
            <p:nvSpPr>
              <p:cNvPr id="759" name="Freeform 758">
                <a:extLst>
                  <a:ext uri="{FF2B5EF4-FFF2-40B4-BE49-F238E27FC236}">
                    <a16:creationId xmlns:a16="http://schemas.microsoft.com/office/drawing/2014/main" id="{796A5490-E453-45B4-3968-4D09CE085FEB}"/>
                  </a:ext>
                </a:extLst>
              </p:cNvPr>
              <p:cNvSpPr/>
              <p:nvPr/>
            </p:nvSpPr>
            <p:spPr>
              <a:xfrm>
                <a:off x="9755281" y="3129594"/>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787878"/>
                </a:solidFill>
                <a:prstDash val="solid"/>
                <a:miter/>
              </a:ln>
            </p:spPr>
            <p:txBody>
              <a:bodyPr rtlCol="0" anchor="ctr"/>
              <a:lstStyle/>
              <a:p>
                <a:endParaRPr lang="en-US" sz="1800" dirty="0"/>
              </a:p>
            </p:txBody>
          </p:sp>
          <p:sp>
            <p:nvSpPr>
              <p:cNvPr id="760" name="Freeform 759">
                <a:extLst>
                  <a:ext uri="{FF2B5EF4-FFF2-40B4-BE49-F238E27FC236}">
                    <a16:creationId xmlns:a16="http://schemas.microsoft.com/office/drawing/2014/main" id="{458D4351-87AD-3CAB-47E4-7273098624BF}"/>
                  </a:ext>
                </a:extLst>
              </p:cNvPr>
              <p:cNvSpPr/>
              <p:nvPr/>
            </p:nvSpPr>
            <p:spPr>
              <a:xfrm>
                <a:off x="9943804" y="3158076"/>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787878"/>
                </a:solidFill>
                <a:prstDash val="solid"/>
                <a:miter/>
              </a:ln>
            </p:spPr>
            <p:txBody>
              <a:bodyPr rtlCol="0" anchor="ctr"/>
              <a:lstStyle/>
              <a:p>
                <a:endParaRPr lang="en-US" sz="1800" dirty="0"/>
              </a:p>
            </p:txBody>
          </p:sp>
          <p:sp>
            <p:nvSpPr>
              <p:cNvPr id="761" name="Freeform 760">
                <a:extLst>
                  <a:ext uri="{FF2B5EF4-FFF2-40B4-BE49-F238E27FC236}">
                    <a16:creationId xmlns:a16="http://schemas.microsoft.com/office/drawing/2014/main" id="{3A7C183E-0D0E-09FA-C7C9-30F14A34C96D}"/>
                  </a:ext>
                </a:extLst>
              </p:cNvPr>
              <p:cNvSpPr/>
              <p:nvPr/>
            </p:nvSpPr>
            <p:spPr>
              <a:xfrm>
                <a:off x="9973204" y="3129594"/>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787878"/>
                </a:solidFill>
                <a:prstDash val="solid"/>
                <a:miter/>
              </a:ln>
            </p:spPr>
            <p:txBody>
              <a:bodyPr rtlCol="0" anchor="ctr"/>
              <a:lstStyle/>
              <a:p>
                <a:endParaRPr lang="en-US" sz="1800" dirty="0"/>
              </a:p>
            </p:txBody>
          </p:sp>
          <p:sp>
            <p:nvSpPr>
              <p:cNvPr id="762" name="Freeform 761">
                <a:extLst>
                  <a:ext uri="{FF2B5EF4-FFF2-40B4-BE49-F238E27FC236}">
                    <a16:creationId xmlns:a16="http://schemas.microsoft.com/office/drawing/2014/main" id="{C3E67747-92ED-ECA4-1C17-EA17313ED22E}"/>
                  </a:ext>
                </a:extLst>
              </p:cNvPr>
              <p:cNvSpPr/>
              <p:nvPr/>
            </p:nvSpPr>
            <p:spPr>
              <a:xfrm>
                <a:off x="10079157" y="3158076"/>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787878"/>
                </a:solidFill>
                <a:prstDash val="solid"/>
                <a:miter/>
              </a:ln>
            </p:spPr>
            <p:txBody>
              <a:bodyPr rtlCol="0" anchor="ctr"/>
              <a:lstStyle/>
              <a:p>
                <a:endParaRPr lang="en-US" sz="1800" dirty="0"/>
              </a:p>
            </p:txBody>
          </p:sp>
          <p:sp>
            <p:nvSpPr>
              <p:cNvPr id="763" name="Freeform 762">
                <a:extLst>
                  <a:ext uri="{FF2B5EF4-FFF2-40B4-BE49-F238E27FC236}">
                    <a16:creationId xmlns:a16="http://schemas.microsoft.com/office/drawing/2014/main" id="{FB419E09-AA23-9DEF-274C-F407C6C4A002}"/>
                  </a:ext>
                </a:extLst>
              </p:cNvPr>
              <p:cNvSpPr/>
              <p:nvPr/>
            </p:nvSpPr>
            <p:spPr>
              <a:xfrm>
                <a:off x="10108539" y="3129594"/>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787878"/>
                </a:solidFill>
                <a:prstDash val="solid"/>
                <a:miter/>
              </a:ln>
            </p:spPr>
            <p:txBody>
              <a:bodyPr rtlCol="0" anchor="ctr"/>
              <a:lstStyle/>
              <a:p>
                <a:endParaRPr lang="en-US" sz="1800" dirty="0"/>
              </a:p>
            </p:txBody>
          </p:sp>
          <p:sp>
            <p:nvSpPr>
              <p:cNvPr id="764" name="Freeform 763">
                <a:extLst>
                  <a:ext uri="{FF2B5EF4-FFF2-40B4-BE49-F238E27FC236}">
                    <a16:creationId xmlns:a16="http://schemas.microsoft.com/office/drawing/2014/main" id="{0ABB3AD0-8FB3-67D6-2511-BECE065C7E8C}"/>
                  </a:ext>
                </a:extLst>
              </p:cNvPr>
              <p:cNvSpPr/>
              <p:nvPr/>
            </p:nvSpPr>
            <p:spPr>
              <a:xfrm>
                <a:off x="10132063" y="3158076"/>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787878"/>
                </a:solidFill>
                <a:prstDash val="solid"/>
                <a:miter/>
              </a:ln>
            </p:spPr>
            <p:txBody>
              <a:bodyPr rtlCol="0" anchor="ctr"/>
              <a:lstStyle/>
              <a:p>
                <a:endParaRPr lang="en-US" sz="1800" dirty="0"/>
              </a:p>
            </p:txBody>
          </p:sp>
          <p:sp>
            <p:nvSpPr>
              <p:cNvPr id="765" name="Freeform 764">
                <a:extLst>
                  <a:ext uri="{FF2B5EF4-FFF2-40B4-BE49-F238E27FC236}">
                    <a16:creationId xmlns:a16="http://schemas.microsoft.com/office/drawing/2014/main" id="{97A74CAF-3844-C90B-74FA-2079D843B116}"/>
                  </a:ext>
                </a:extLst>
              </p:cNvPr>
              <p:cNvSpPr/>
              <p:nvPr/>
            </p:nvSpPr>
            <p:spPr>
              <a:xfrm>
                <a:off x="10161463" y="3129594"/>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787878"/>
                </a:solidFill>
                <a:prstDash val="solid"/>
                <a:miter/>
              </a:ln>
            </p:spPr>
            <p:txBody>
              <a:bodyPr rtlCol="0" anchor="ctr"/>
              <a:lstStyle/>
              <a:p>
                <a:endParaRPr lang="en-US" sz="1800" dirty="0"/>
              </a:p>
            </p:txBody>
          </p:sp>
          <p:sp>
            <p:nvSpPr>
              <p:cNvPr id="766" name="Freeform 765">
                <a:extLst>
                  <a:ext uri="{FF2B5EF4-FFF2-40B4-BE49-F238E27FC236}">
                    <a16:creationId xmlns:a16="http://schemas.microsoft.com/office/drawing/2014/main" id="{FF06B0B9-D15F-31AE-B275-074AE47A0E2A}"/>
                  </a:ext>
                </a:extLst>
              </p:cNvPr>
              <p:cNvSpPr/>
              <p:nvPr/>
            </p:nvSpPr>
            <p:spPr>
              <a:xfrm>
                <a:off x="10538227" y="3158076"/>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787878"/>
                </a:solidFill>
                <a:prstDash val="solid"/>
                <a:miter/>
              </a:ln>
            </p:spPr>
            <p:txBody>
              <a:bodyPr rtlCol="0" anchor="ctr"/>
              <a:lstStyle/>
              <a:p>
                <a:endParaRPr lang="en-US" sz="1800" dirty="0"/>
              </a:p>
            </p:txBody>
          </p:sp>
          <p:sp>
            <p:nvSpPr>
              <p:cNvPr id="767" name="Freeform 766">
                <a:extLst>
                  <a:ext uri="{FF2B5EF4-FFF2-40B4-BE49-F238E27FC236}">
                    <a16:creationId xmlns:a16="http://schemas.microsoft.com/office/drawing/2014/main" id="{9D82DC9A-9158-BF8A-E124-205ED2962FF8}"/>
                  </a:ext>
                </a:extLst>
              </p:cNvPr>
              <p:cNvSpPr/>
              <p:nvPr/>
            </p:nvSpPr>
            <p:spPr>
              <a:xfrm>
                <a:off x="10567627" y="3129594"/>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787878"/>
                </a:solidFill>
                <a:prstDash val="solid"/>
                <a:miter/>
              </a:ln>
            </p:spPr>
            <p:txBody>
              <a:bodyPr rtlCol="0" anchor="ctr"/>
              <a:lstStyle/>
              <a:p>
                <a:endParaRPr lang="en-US" sz="1800" dirty="0"/>
              </a:p>
            </p:txBody>
          </p:sp>
        </p:grpSp>
        <p:grpSp>
          <p:nvGrpSpPr>
            <p:cNvPr id="768" name="Graphic 4">
              <a:extLst>
                <a:ext uri="{FF2B5EF4-FFF2-40B4-BE49-F238E27FC236}">
                  <a16:creationId xmlns:a16="http://schemas.microsoft.com/office/drawing/2014/main" id="{886599EC-351F-F268-731E-3CE1DB98CA06}"/>
                </a:ext>
              </a:extLst>
            </p:cNvPr>
            <p:cNvGrpSpPr/>
            <p:nvPr/>
          </p:nvGrpSpPr>
          <p:grpSpPr>
            <a:xfrm>
              <a:off x="2195466" y="1049582"/>
              <a:ext cx="8316202" cy="3431276"/>
              <a:chOff x="2184177" y="1101509"/>
              <a:chExt cx="8605202" cy="3655529"/>
            </a:xfrm>
            <a:noFill/>
          </p:grpSpPr>
          <p:sp>
            <p:nvSpPr>
              <p:cNvPr id="770" name="Freeform 769">
                <a:extLst>
                  <a:ext uri="{FF2B5EF4-FFF2-40B4-BE49-F238E27FC236}">
                    <a16:creationId xmlns:a16="http://schemas.microsoft.com/office/drawing/2014/main" id="{4BF1B46D-9D9B-A3E4-0DE9-149B42955D1F}"/>
                  </a:ext>
                </a:extLst>
              </p:cNvPr>
              <p:cNvSpPr/>
              <p:nvPr/>
            </p:nvSpPr>
            <p:spPr>
              <a:xfrm>
                <a:off x="2247018" y="4696544"/>
                <a:ext cx="8542361" cy="17647"/>
              </a:xfrm>
              <a:custGeom>
                <a:avLst/>
                <a:gdLst>
                  <a:gd name="connsiteX0" fmla="*/ 0 w 8542361"/>
                  <a:gd name="connsiteY0" fmla="*/ 0 h 17647"/>
                  <a:gd name="connsiteX1" fmla="*/ 8542361 w 8542361"/>
                  <a:gd name="connsiteY1" fmla="*/ 0 h 17647"/>
                </a:gdLst>
                <a:ahLst/>
                <a:cxnLst>
                  <a:cxn ang="0">
                    <a:pos x="connsiteX0" y="connsiteY0"/>
                  </a:cxn>
                  <a:cxn ang="0">
                    <a:pos x="connsiteX1" y="connsiteY1"/>
                  </a:cxn>
                </a:cxnLst>
                <a:rect l="l" t="t" r="r" b="b"/>
                <a:pathLst>
                  <a:path w="8542361" h="17647">
                    <a:moveTo>
                      <a:pt x="0" y="0"/>
                    </a:moveTo>
                    <a:lnTo>
                      <a:pt x="8542361" y="0"/>
                    </a:lnTo>
                  </a:path>
                </a:pathLst>
              </a:custGeom>
              <a:ln w="9624" cap="flat">
                <a:solidFill>
                  <a:srgbClr val="000000"/>
                </a:solidFill>
                <a:prstDash val="solid"/>
                <a:miter/>
              </a:ln>
            </p:spPr>
            <p:txBody>
              <a:bodyPr rtlCol="0" anchor="ctr"/>
              <a:lstStyle/>
              <a:p>
                <a:endParaRPr lang="en-US" sz="1800" dirty="0"/>
              </a:p>
            </p:txBody>
          </p:sp>
          <p:sp>
            <p:nvSpPr>
              <p:cNvPr id="771" name="Freeform 770">
                <a:extLst>
                  <a:ext uri="{FF2B5EF4-FFF2-40B4-BE49-F238E27FC236}">
                    <a16:creationId xmlns:a16="http://schemas.microsoft.com/office/drawing/2014/main" id="{55CB25E7-0BEE-2387-A42D-F0BCCFBE5A67}"/>
                  </a:ext>
                </a:extLst>
              </p:cNvPr>
              <p:cNvSpPr/>
              <p:nvPr/>
            </p:nvSpPr>
            <p:spPr>
              <a:xfrm>
                <a:off x="2247018" y="1101509"/>
                <a:ext cx="17647" cy="3595034"/>
              </a:xfrm>
              <a:custGeom>
                <a:avLst/>
                <a:gdLst>
                  <a:gd name="connsiteX0" fmla="*/ 0 w 17647"/>
                  <a:gd name="connsiteY0" fmla="*/ 3595035 h 3595034"/>
                  <a:gd name="connsiteX1" fmla="*/ 0 w 17647"/>
                  <a:gd name="connsiteY1" fmla="*/ 0 h 3595034"/>
                </a:gdLst>
                <a:ahLst/>
                <a:cxnLst>
                  <a:cxn ang="0">
                    <a:pos x="connsiteX0" y="connsiteY0"/>
                  </a:cxn>
                  <a:cxn ang="0">
                    <a:pos x="connsiteX1" y="connsiteY1"/>
                  </a:cxn>
                </a:cxnLst>
                <a:rect l="l" t="t" r="r" b="b"/>
                <a:pathLst>
                  <a:path w="17647" h="3595034">
                    <a:moveTo>
                      <a:pt x="0" y="3595035"/>
                    </a:moveTo>
                    <a:lnTo>
                      <a:pt x="0" y="0"/>
                    </a:lnTo>
                  </a:path>
                </a:pathLst>
              </a:custGeom>
              <a:ln w="9624" cap="flat">
                <a:solidFill>
                  <a:srgbClr val="000000"/>
                </a:solidFill>
                <a:prstDash val="solid"/>
                <a:miter/>
              </a:ln>
            </p:spPr>
            <p:txBody>
              <a:bodyPr rtlCol="0" anchor="ctr"/>
              <a:lstStyle/>
              <a:p>
                <a:endParaRPr lang="en-US" sz="1800" dirty="0"/>
              </a:p>
            </p:txBody>
          </p:sp>
          <p:sp>
            <p:nvSpPr>
              <p:cNvPr id="772" name="Freeform 771">
                <a:extLst>
                  <a:ext uri="{FF2B5EF4-FFF2-40B4-BE49-F238E27FC236}">
                    <a16:creationId xmlns:a16="http://schemas.microsoft.com/office/drawing/2014/main" id="{27AAD1AA-0579-88F0-99A0-95DC671DA024}"/>
                  </a:ext>
                </a:extLst>
              </p:cNvPr>
              <p:cNvSpPr/>
              <p:nvPr/>
            </p:nvSpPr>
            <p:spPr>
              <a:xfrm>
                <a:off x="2393964" y="469654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endParaRPr lang="en-US" sz="1800" dirty="0"/>
              </a:p>
            </p:txBody>
          </p:sp>
          <p:sp>
            <p:nvSpPr>
              <p:cNvPr id="773" name="Freeform 772">
                <a:extLst>
                  <a:ext uri="{FF2B5EF4-FFF2-40B4-BE49-F238E27FC236}">
                    <a16:creationId xmlns:a16="http://schemas.microsoft.com/office/drawing/2014/main" id="{B365DA92-4106-B9B3-A317-D7C274373FD5}"/>
                  </a:ext>
                </a:extLst>
              </p:cNvPr>
              <p:cNvSpPr/>
              <p:nvPr/>
            </p:nvSpPr>
            <p:spPr>
              <a:xfrm>
                <a:off x="2573276" y="469654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endParaRPr lang="en-US" sz="1800" dirty="0"/>
              </a:p>
            </p:txBody>
          </p:sp>
          <p:sp>
            <p:nvSpPr>
              <p:cNvPr id="774" name="Freeform 773">
                <a:extLst>
                  <a:ext uri="{FF2B5EF4-FFF2-40B4-BE49-F238E27FC236}">
                    <a16:creationId xmlns:a16="http://schemas.microsoft.com/office/drawing/2014/main" id="{2EA0A8B1-30A8-38F8-73A1-63B2FE73CC32}"/>
                  </a:ext>
                </a:extLst>
              </p:cNvPr>
              <p:cNvSpPr/>
              <p:nvPr/>
            </p:nvSpPr>
            <p:spPr>
              <a:xfrm>
                <a:off x="2752587" y="469654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endParaRPr lang="en-US" sz="1800" dirty="0"/>
              </a:p>
            </p:txBody>
          </p:sp>
          <p:sp>
            <p:nvSpPr>
              <p:cNvPr id="775" name="Freeform 774">
                <a:extLst>
                  <a:ext uri="{FF2B5EF4-FFF2-40B4-BE49-F238E27FC236}">
                    <a16:creationId xmlns:a16="http://schemas.microsoft.com/office/drawing/2014/main" id="{CE8FDC0C-FE42-1740-441C-F059C622C62D}"/>
                  </a:ext>
                </a:extLst>
              </p:cNvPr>
              <p:cNvSpPr/>
              <p:nvPr/>
            </p:nvSpPr>
            <p:spPr>
              <a:xfrm>
                <a:off x="2931828" y="469654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endParaRPr lang="en-US" sz="1800" dirty="0"/>
              </a:p>
            </p:txBody>
          </p:sp>
          <p:sp>
            <p:nvSpPr>
              <p:cNvPr id="776" name="Freeform 775">
                <a:extLst>
                  <a:ext uri="{FF2B5EF4-FFF2-40B4-BE49-F238E27FC236}">
                    <a16:creationId xmlns:a16="http://schemas.microsoft.com/office/drawing/2014/main" id="{1ACA6884-C815-0333-0793-88895B73B026}"/>
                  </a:ext>
                </a:extLst>
              </p:cNvPr>
              <p:cNvSpPr/>
              <p:nvPr/>
            </p:nvSpPr>
            <p:spPr>
              <a:xfrm>
                <a:off x="3111228" y="469654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endParaRPr lang="en-US" sz="1800" dirty="0"/>
              </a:p>
            </p:txBody>
          </p:sp>
          <p:sp>
            <p:nvSpPr>
              <p:cNvPr id="777" name="Freeform 776">
                <a:extLst>
                  <a:ext uri="{FF2B5EF4-FFF2-40B4-BE49-F238E27FC236}">
                    <a16:creationId xmlns:a16="http://schemas.microsoft.com/office/drawing/2014/main" id="{2A4CEED9-41CC-87BE-6750-12A2E5C10589}"/>
                  </a:ext>
                </a:extLst>
              </p:cNvPr>
              <p:cNvSpPr/>
              <p:nvPr/>
            </p:nvSpPr>
            <p:spPr>
              <a:xfrm>
                <a:off x="3290504" y="469654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endParaRPr lang="en-US" sz="1800" dirty="0"/>
              </a:p>
            </p:txBody>
          </p:sp>
          <p:sp>
            <p:nvSpPr>
              <p:cNvPr id="778" name="Freeform 777">
                <a:extLst>
                  <a:ext uri="{FF2B5EF4-FFF2-40B4-BE49-F238E27FC236}">
                    <a16:creationId xmlns:a16="http://schemas.microsoft.com/office/drawing/2014/main" id="{0AEF2DBB-121A-3C43-0D8D-D13D171073E3}"/>
                  </a:ext>
                </a:extLst>
              </p:cNvPr>
              <p:cNvSpPr/>
              <p:nvPr/>
            </p:nvSpPr>
            <p:spPr>
              <a:xfrm>
                <a:off x="3469904" y="469654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endParaRPr lang="en-US" sz="1800" dirty="0"/>
              </a:p>
            </p:txBody>
          </p:sp>
          <p:sp>
            <p:nvSpPr>
              <p:cNvPr id="779" name="Freeform 778">
                <a:extLst>
                  <a:ext uri="{FF2B5EF4-FFF2-40B4-BE49-F238E27FC236}">
                    <a16:creationId xmlns:a16="http://schemas.microsoft.com/office/drawing/2014/main" id="{1D3CDD4C-0567-BABD-C1AE-1398B53EA829}"/>
                  </a:ext>
                </a:extLst>
              </p:cNvPr>
              <p:cNvSpPr/>
              <p:nvPr/>
            </p:nvSpPr>
            <p:spPr>
              <a:xfrm>
                <a:off x="3649162" y="469654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endParaRPr lang="en-US" sz="1800" dirty="0"/>
              </a:p>
            </p:txBody>
          </p:sp>
          <p:sp>
            <p:nvSpPr>
              <p:cNvPr id="780" name="Freeform 779">
                <a:extLst>
                  <a:ext uri="{FF2B5EF4-FFF2-40B4-BE49-F238E27FC236}">
                    <a16:creationId xmlns:a16="http://schemas.microsoft.com/office/drawing/2014/main" id="{48F01967-DA56-9764-EA8D-D8272AE6AD6F}"/>
                  </a:ext>
                </a:extLst>
              </p:cNvPr>
              <p:cNvSpPr/>
              <p:nvPr/>
            </p:nvSpPr>
            <p:spPr>
              <a:xfrm>
                <a:off x="3828438" y="469654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endParaRPr lang="en-US" sz="1800" dirty="0"/>
              </a:p>
            </p:txBody>
          </p:sp>
          <p:sp>
            <p:nvSpPr>
              <p:cNvPr id="781" name="Freeform 780">
                <a:extLst>
                  <a:ext uri="{FF2B5EF4-FFF2-40B4-BE49-F238E27FC236}">
                    <a16:creationId xmlns:a16="http://schemas.microsoft.com/office/drawing/2014/main" id="{D618AFCA-B888-6948-E959-FA5A3D1B699A}"/>
                  </a:ext>
                </a:extLst>
              </p:cNvPr>
              <p:cNvSpPr/>
              <p:nvPr/>
            </p:nvSpPr>
            <p:spPr>
              <a:xfrm>
                <a:off x="4007820" y="469654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endParaRPr lang="en-US" sz="1800" dirty="0"/>
              </a:p>
            </p:txBody>
          </p:sp>
          <p:sp>
            <p:nvSpPr>
              <p:cNvPr id="782" name="Freeform 781">
                <a:extLst>
                  <a:ext uri="{FF2B5EF4-FFF2-40B4-BE49-F238E27FC236}">
                    <a16:creationId xmlns:a16="http://schemas.microsoft.com/office/drawing/2014/main" id="{C0C1B9C5-F9DA-3A77-7E14-229EEE694A2D}"/>
                  </a:ext>
                </a:extLst>
              </p:cNvPr>
              <p:cNvSpPr/>
              <p:nvPr/>
            </p:nvSpPr>
            <p:spPr>
              <a:xfrm>
                <a:off x="4187097" y="469654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endParaRPr lang="en-US" sz="1800" dirty="0"/>
              </a:p>
            </p:txBody>
          </p:sp>
          <p:sp>
            <p:nvSpPr>
              <p:cNvPr id="783" name="Freeform 782">
                <a:extLst>
                  <a:ext uri="{FF2B5EF4-FFF2-40B4-BE49-F238E27FC236}">
                    <a16:creationId xmlns:a16="http://schemas.microsoft.com/office/drawing/2014/main" id="{A38A0DFF-745E-12D9-2FD8-4DCE1523C245}"/>
                  </a:ext>
                </a:extLst>
              </p:cNvPr>
              <p:cNvSpPr/>
              <p:nvPr/>
            </p:nvSpPr>
            <p:spPr>
              <a:xfrm>
                <a:off x="4366355" y="469654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endParaRPr lang="en-US" sz="1800" dirty="0"/>
              </a:p>
            </p:txBody>
          </p:sp>
          <p:sp>
            <p:nvSpPr>
              <p:cNvPr id="784" name="Freeform 783">
                <a:extLst>
                  <a:ext uri="{FF2B5EF4-FFF2-40B4-BE49-F238E27FC236}">
                    <a16:creationId xmlns:a16="http://schemas.microsoft.com/office/drawing/2014/main" id="{373008E8-4F94-02D9-E9EC-CBC5799576A3}"/>
                  </a:ext>
                </a:extLst>
              </p:cNvPr>
              <p:cNvSpPr/>
              <p:nvPr/>
            </p:nvSpPr>
            <p:spPr>
              <a:xfrm>
                <a:off x="4545755" y="469654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endParaRPr lang="en-US" sz="1800" dirty="0"/>
              </a:p>
            </p:txBody>
          </p:sp>
          <p:sp>
            <p:nvSpPr>
              <p:cNvPr id="785" name="Freeform 784">
                <a:extLst>
                  <a:ext uri="{FF2B5EF4-FFF2-40B4-BE49-F238E27FC236}">
                    <a16:creationId xmlns:a16="http://schemas.microsoft.com/office/drawing/2014/main" id="{F0407D60-4549-8256-ABD0-73A12DCAF4DC}"/>
                  </a:ext>
                </a:extLst>
              </p:cNvPr>
              <p:cNvSpPr/>
              <p:nvPr/>
            </p:nvSpPr>
            <p:spPr>
              <a:xfrm>
                <a:off x="4725031" y="469654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endParaRPr lang="en-US" sz="1800" dirty="0"/>
              </a:p>
            </p:txBody>
          </p:sp>
          <p:sp>
            <p:nvSpPr>
              <p:cNvPr id="786" name="Freeform 785">
                <a:extLst>
                  <a:ext uri="{FF2B5EF4-FFF2-40B4-BE49-F238E27FC236}">
                    <a16:creationId xmlns:a16="http://schemas.microsoft.com/office/drawing/2014/main" id="{0A65D4E3-6E91-0035-E191-D8C382C2244A}"/>
                  </a:ext>
                </a:extLst>
              </p:cNvPr>
              <p:cNvSpPr/>
              <p:nvPr/>
            </p:nvSpPr>
            <p:spPr>
              <a:xfrm>
                <a:off x="4904431" y="469654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endParaRPr lang="en-US" sz="1800" dirty="0"/>
              </a:p>
            </p:txBody>
          </p:sp>
          <p:sp>
            <p:nvSpPr>
              <p:cNvPr id="787" name="Freeform 786">
                <a:extLst>
                  <a:ext uri="{FF2B5EF4-FFF2-40B4-BE49-F238E27FC236}">
                    <a16:creationId xmlns:a16="http://schemas.microsoft.com/office/drawing/2014/main" id="{466A9F9B-DBE7-60C3-5712-0BE6F069A58E}"/>
                  </a:ext>
                </a:extLst>
              </p:cNvPr>
              <p:cNvSpPr/>
              <p:nvPr/>
            </p:nvSpPr>
            <p:spPr>
              <a:xfrm>
                <a:off x="5083689" y="469654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endParaRPr lang="en-US" sz="1800" dirty="0"/>
              </a:p>
            </p:txBody>
          </p:sp>
          <p:sp>
            <p:nvSpPr>
              <p:cNvPr id="788" name="Freeform 787">
                <a:extLst>
                  <a:ext uri="{FF2B5EF4-FFF2-40B4-BE49-F238E27FC236}">
                    <a16:creationId xmlns:a16="http://schemas.microsoft.com/office/drawing/2014/main" id="{0EDA8744-A275-15CF-2B72-17EAB384C233}"/>
                  </a:ext>
                </a:extLst>
              </p:cNvPr>
              <p:cNvSpPr/>
              <p:nvPr/>
            </p:nvSpPr>
            <p:spPr>
              <a:xfrm>
                <a:off x="5262965" y="469654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endParaRPr lang="en-US" sz="1800" dirty="0"/>
              </a:p>
            </p:txBody>
          </p:sp>
          <p:sp>
            <p:nvSpPr>
              <p:cNvPr id="789" name="Freeform 788">
                <a:extLst>
                  <a:ext uri="{FF2B5EF4-FFF2-40B4-BE49-F238E27FC236}">
                    <a16:creationId xmlns:a16="http://schemas.microsoft.com/office/drawing/2014/main" id="{D4170636-3E8C-576D-A660-8412EBE05D2F}"/>
                  </a:ext>
                </a:extLst>
              </p:cNvPr>
              <p:cNvSpPr/>
              <p:nvPr/>
            </p:nvSpPr>
            <p:spPr>
              <a:xfrm>
                <a:off x="5442365" y="469654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endParaRPr lang="en-US" sz="1800" dirty="0"/>
              </a:p>
            </p:txBody>
          </p:sp>
          <p:sp>
            <p:nvSpPr>
              <p:cNvPr id="790" name="Freeform 789">
                <a:extLst>
                  <a:ext uri="{FF2B5EF4-FFF2-40B4-BE49-F238E27FC236}">
                    <a16:creationId xmlns:a16="http://schemas.microsoft.com/office/drawing/2014/main" id="{04242D56-9FA5-A671-570D-D05852E2D2CA}"/>
                  </a:ext>
                </a:extLst>
              </p:cNvPr>
              <p:cNvSpPr/>
              <p:nvPr/>
            </p:nvSpPr>
            <p:spPr>
              <a:xfrm>
                <a:off x="5621623" y="469654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endParaRPr lang="en-US" sz="1800" dirty="0"/>
              </a:p>
            </p:txBody>
          </p:sp>
          <p:sp>
            <p:nvSpPr>
              <p:cNvPr id="791" name="Freeform 790">
                <a:extLst>
                  <a:ext uri="{FF2B5EF4-FFF2-40B4-BE49-F238E27FC236}">
                    <a16:creationId xmlns:a16="http://schemas.microsoft.com/office/drawing/2014/main" id="{FAD2E931-FBF9-8597-BFE1-9713C095E162}"/>
                  </a:ext>
                </a:extLst>
              </p:cNvPr>
              <p:cNvSpPr/>
              <p:nvPr/>
            </p:nvSpPr>
            <p:spPr>
              <a:xfrm>
                <a:off x="5800882" y="469654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endParaRPr lang="en-US" sz="1800" dirty="0"/>
              </a:p>
            </p:txBody>
          </p:sp>
          <p:sp>
            <p:nvSpPr>
              <p:cNvPr id="792" name="Freeform 791">
                <a:extLst>
                  <a:ext uri="{FF2B5EF4-FFF2-40B4-BE49-F238E27FC236}">
                    <a16:creationId xmlns:a16="http://schemas.microsoft.com/office/drawing/2014/main" id="{F349DB1B-D822-8450-F752-FCCAFEC6DB49}"/>
                  </a:ext>
                </a:extLst>
              </p:cNvPr>
              <p:cNvSpPr/>
              <p:nvPr/>
            </p:nvSpPr>
            <p:spPr>
              <a:xfrm>
                <a:off x="5980282" y="469654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endParaRPr lang="en-US" sz="1800" dirty="0"/>
              </a:p>
            </p:txBody>
          </p:sp>
          <p:sp>
            <p:nvSpPr>
              <p:cNvPr id="793" name="Freeform 792">
                <a:extLst>
                  <a:ext uri="{FF2B5EF4-FFF2-40B4-BE49-F238E27FC236}">
                    <a16:creationId xmlns:a16="http://schemas.microsoft.com/office/drawing/2014/main" id="{E70DD799-D39B-9C6C-98DF-69A2D282DC94}"/>
                  </a:ext>
                </a:extLst>
              </p:cNvPr>
              <p:cNvSpPr/>
              <p:nvPr/>
            </p:nvSpPr>
            <p:spPr>
              <a:xfrm>
                <a:off x="6159558" y="469654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endParaRPr lang="en-US" sz="1800" dirty="0"/>
              </a:p>
            </p:txBody>
          </p:sp>
          <p:sp>
            <p:nvSpPr>
              <p:cNvPr id="794" name="Freeform 793">
                <a:extLst>
                  <a:ext uri="{FF2B5EF4-FFF2-40B4-BE49-F238E27FC236}">
                    <a16:creationId xmlns:a16="http://schemas.microsoft.com/office/drawing/2014/main" id="{7F09E1C8-095C-CA17-6136-2D86C214C8F7}"/>
                  </a:ext>
                </a:extLst>
              </p:cNvPr>
              <p:cNvSpPr/>
              <p:nvPr/>
            </p:nvSpPr>
            <p:spPr>
              <a:xfrm>
                <a:off x="6338816" y="469654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endParaRPr lang="en-US" sz="1800" dirty="0"/>
              </a:p>
            </p:txBody>
          </p:sp>
          <p:sp>
            <p:nvSpPr>
              <p:cNvPr id="795" name="Freeform 794">
                <a:extLst>
                  <a:ext uri="{FF2B5EF4-FFF2-40B4-BE49-F238E27FC236}">
                    <a16:creationId xmlns:a16="http://schemas.microsoft.com/office/drawing/2014/main" id="{0902DCF6-88C3-5A5D-1B5E-202C061143C2}"/>
                  </a:ext>
                </a:extLst>
              </p:cNvPr>
              <p:cNvSpPr/>
              <p:nvPr/>
            </p:nvSpPr>
            <p:spPr>
              <a:xfrm>
                <a:off x="6518216" y="469654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endParaRPr lang="en-US" sz="1800" dirty="0"/>
              </a:p>
            </p:txBody>
          </p:sp>
          <p:sp>
            <p:nvSpPr>
              <p:cNvPr id="796" name="Freeform 795">
                <a:extLst>
                  <a:ext uri="{FF2B5EF4-FFF2-40B4-BE49-F238E27FC236}">
                    <a16:creationId xmlns:a16="http://schemas.microsoft.com/office/drawing/2014/main" id="{F1723CB3-2451-E2CB-7377-046F97C8B06F}"/>
                  </a:ext>
                </a:extLst>
              </p:cNvPr>
              <p:cNvSpPr/>
              <p:nvPr/>
            </p:nvSpPr>
            <p:spPr>
              <a:xfrm>
                <a:off x="6697492" y="469654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endParaRPr lang="en-US" sz="1800" dirty="0"/>
              </a:p>
            </p:txBody>
          </p:sp>
          <p:sp>
            <p:nvSpPr>
              <p:cNvPr id="797" name="Freeform 796">
                <a:extLst>
                  <a:ext uri="{FF2B5EF4-FFF2-40B4-BE49-F238E27FC236}">
                    <a16:creationId xmlns:a16="http://schemas.microsoft.com/office/drawing/2014/main" id="{6A0FF2BC-EAC2-B253-72C5-8A9FC8063FF9}"/>
                  </a:ext>
                </a:extLst>
              </p:cNvPr>
              <p:cNvSpPr/>
              <p:nvPr/>
            </p:nvSpPr>
            <p:spPr>
              <a:xfrm>
                <a:off x="6876892" y="469654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endParaRPr lang="en-US" sz="1800" dirty="0"/>
              </a:p>
            </p:txBody>
          </p:sp>
          <p:sp>
            <p:nvSpPr>
              <p:cNvPr id="798" name="Freeform 797">
                <a:extLst>
                  <a:ext uri="{FF2B5EF4-FFF2-40B4-BE49-F238E27FC236}">
                    <a16:creationId xmlns:a16="http://schemas.microsoft.com/office/drawing/2014/main" id="{6DBA41DD-747A-6CD2-1307-61C3239CF5B6}"/>
                  </a:ext>
                </a:extLst>
              </p:cNvPr>
              <p:cNvSpPr/>
              <p:nvPr/>
            </p:nvSpPr>
            <p:spPr>
              <a:xfrm>
                <a:off x="7056150" y="469654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endParaRPr lang="en-US" sz="1800" dirty="0"/>
              </a:p>
            </p:txBody>
          </p:sp>
          <p:sp>
            <p:nvSpPr>
              <p:cNvPr id="799" name="Freeform 798">
                <a:extLst>
                  <a:ext uri="{FF2B5EF4-FFF2-40B4-BE49-F238E27FC236}">
                    <a16:creationId xmlns:a16="http://schemas.microsoft.com/office/drawing/2014/main" id="{187E402A-0CB6-C0B4-994B-FCE1E3041A64}"/>
                  </a:ext>
                </a:extLst>
              </p:cNvPr>
              <p:cNvSpPr/>
              <p:nvPr/>
            </p:nvSpPr>
            <p:spPr>
              <a:xfrm>
                <a:off x="7235427" y="469654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endParaRPr lang="en-US" sz="1800" dirty="0"/>
              </a:p>
            </p:txBody>
          </p:sp>
          <p:sp>
            <p:nvSpPr>
              <p:cNvPr id="800" name="Freeform 799">
                <a:extLst>
                  <a:ext uri="{FF2B5EF4-FFF2-40B4-BE49-F238E27FC236}">
                    <a16:creationId xmlns:a16="http://schemas.microsoft.com/office/drawing/2014/main" id="{1BBD5F8C-DB7D-2832-F288-0943EDC3DA01}"/>
                  </a:ext>
                </a:extLst>
              </p:cNvPr>
              <p:cNvSpPr/>
              <p:nvPr/>
            </p:nvSpPr>
            <p:spPr>
              <a:xfrm>
                <a:off x="7414809" y="469654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endParaRPr lang="en-US" sz="1800" dirty="0"/>
              </a:p>
            </p:txBody>
          </p:sp>
          <p:sp>
            <p:nvSpPr>
              <p:cNvPr id="801" name="Freeform 800">
                <a:extLst>
                  <a:ext uri="{FF2B5EF4-FFF2-40B4-BE49-F238E27FC236}">
                    <a16:creationId xmlns:a16="http://schemas.microsoft.com/office/drawing/2014/main" id="{18B52930-37B0-3B5B-2133-F39495129CB0}"/>
                  </a:ext>
                </a:extLst>
              </p:cNvPr>
              <p:cNvSpPr/>
              <p:nvPr/>
            </p:nvSpPr>
            <p:spPr>
              <a:xfrm>
                <a:off x="7594085" y="469654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endParaRPr lang="en-US" sz="1800" dirty="0"/>
              </a:p>
            </p:txBody>
          </p:sp>
          <p:sp>
            <p:nvSpPr>
              <p:cNvPr id="802" name="Freeform 801">
                <a:extLst>
                  <a:ext uri="{FF2B5EF4-FFF2-40B4-BE49-F238E27FC236}">
                    <a16:creationId xmlns:a16="http://schemas.microsoft.com/office/drawing/2014/main" id="{63BA8CDF-EF54-FC14-C61C-4CA4D0D85080}"/>
                  </a:ext>
                </a:extLst>
              </p:cNvPr>
              <p:cNvSpPr/>
              <p:nvPr/>
            </p:nvSpPr>
            <p:spPr>
              <a:xfrm>
                <a:off x="7773343" y="469654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endParaRPr lang="en-US" sz="1800" dirty="0"/>
              </a:p>
            </p:txBody>
          </p:sp>
          <p:sp>
            <p:nvSpPr>
              <p:cNvPr id="803" name="Freeform 802">
                <a:extLst>
                  <a:ext uri="{FF2B5EF4-FFF2-40B4-BE49-F238E27FC236}">
                    <a16:creationId xmlns:a16="http://schemas.microsoft.com/office/drawing/2014/main" id="{2C4FA827-FCCF-9624-20ED-36419762D126}"/>
                  </a:ext>
                </a:extLst>
              </p:cNvPr>
              <p:cNvSpPr/>
              <p:nvPr/>
            </p:nvSpPr>
            <p:spPr>
              <a:xfrm>
                <a:off x="7952743" y="469654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endParaRPr lang="en-US" sz="1800" dirty="0"/>
              </a:p>
            </p:txBody>
          </p:sp>
          <p:sp>
            <p:nvSpPr>
              <p:cNvPr id="804" name="Freeform 803">
                <a:extLst>
                  <a:ext uri="{FF2B5EF4-FFF2-40B4-BE49-F238E27FC236}">
                    <a16:creationId xmlns:a16="http://schemas.microsoft.com/office/drawing/2014/main" id="{2B15D7D7-4436-F1F7-0488-B6296E4FCCE7}"/>
                  </a:ext>
                </a:extLst>
              </p:cNvPr>
              <p:cNvSpPr/>
              <p:nvPr/>
            </p:nvSpPr>
            <p:spPr>
              <a:xfrm>
                <a:off x="8132019" y="469654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endParaRPr lang="en-US" sz="1800" dirty="0"/>
              </a:p>
            </p:txBody>
          </p:sp>
          <p:sp>
            <p:nvSpPr>
              <p:cNvPr id="805" name="Freeform 804">
                <a:extLst>
                  <a:ext uri="{FF2B5EF4-FFF2-40B4-BE49-F238E27FC236}">
                    <a16:creationId xmlns:a16="http://schemas.microsoft.com/office/drawing/2014/main" id="{0ED60891-CB55-808E-C502-66630F5498AA}"/>
                  </a:ext>
                </a:extLst>
              </p:cNvPr>
              <p:cNvSpPr/>
              <p:nvPr/>
            </p:nvSpPr>
            <p:spPr>
              <a:xfrm>
                <a:off x="8311278" y="469654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endParaRPr lang="en-US" sz="1800" dirty="0"/>
              </a:p>
            </p:txBody>
          </p:sp>
          <p:sp>
            <p:nvSpPr>
              <p:cNvPr id="806" name="Freeform 805">
                <a:extLst>
                  <a:ext uri="{FF2B5EF4-FFF2-40B4-BE49-F238E27FC236}">
                    <a16:creationId xmlns:a16="http://schemas.microsoft.com/office/drawing/2014/main" id="{936F8F57-4AA8-0F7A-FEDC-56818A564B34}"/>
                  </a:ext>
                </a:extLst>
              </p:cNvPr>
              <p:cNvSpPr/>
              <p:nvPr/>
            </p:nvSpPr>
            <p:spPr>
              <a:xfrm>
                <a:off x="8490677" y="469654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endParaRPr lang="en-US" sz="1800" dirty="0"/>
              </a:p>
            </p:txBody>
          </p:sp>
          <p:sp>
            <p:nvSpPr>
              <p:cNvPr id="807" name="Freeform 806">
                <a:extLst>
                  <a:ext uri="{FF2B5EF4-FFF2-40B4-BE49-F238E27FC236}">
                    <a16:creationId xmlns:a16="http://schemas.microsoft.com/office/drawing/2014/main" id="{4C3CA824-A572-BAEF-5CFE-FC70851D84A9}"/>
                  </a:ext>
                </a:extLst>
              </p:cNvPr>
              <p:cNvSpPr/>
              <p:nvPr/>
            </p:nvSpPr>
            <p:spPr>
              <a:xfrm>
                <a:off x="8669953" y="469654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endParaRPr lang="en-US" sz="1800" dirty="0"/>
              </a:p>
            </p:txBody>
          </p:sp>
          <p:sp>
            <p:nvSpPr>
              <p:cNvPr id="808" name="Freeform 807">
                <a:extLst>
                  <a:ext uri="{FF2B5EF4-FFF2-40B4-BE49-F238E27FC236}">
                    <a16:creationId xmlns:a16="http://schemas.microsoft.com/office/drawing/2014/main" id="{5376A003-35CA-4F5A-D181-BA154F05E580}"/>
                  </a:ext>
                </a:extLst>
              </p:cNvPr>
              <p:cNvSpPr/>
              <p:nvPr/>
            </p:nvSpPr>
            <p:spPr>
              <a:xfrm>
                <a:off x="8849335" y="469654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endParaRPr lang="en-US" sz="1800" dirty="0"/>
              </a:p>
            </p:txBody>
          </p:sp>
          <p:sp>
            <p:nvSpPr>
              <p:cNvPr id="809" name="Freeform 808">
                <a:extLst>
                  <a:ext uri="{FF2B5EF4-FFF2-40B4-BE49-F238E27FC236}">
                    <a16:creationId xmlns:a16="http://schemas.microsoft.com/office/drawing/2014/main" id="{B0B150B4-7FA0-458D-A0C6-7F36C491AFAE}"/>
                  </a:ext>
                </a:extLst>
              </p:cNvPr>
              <p:cNvSpPr/>
              <p:nvPr/>
            </p:nvSpPr>
            <p:spPr>
              <a:xfrm>
                <a:off x="9028612" y="469654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endParaRPr lang="en-US" sz="1800" dirty="0"/>
              </a:p>
            </p:txBody>
          </p:sp>
          <p:sp>
            <p:nvSpPr>
              <p:cNvPr id="810" name="Freeform 809">
                <a:extLst>
                  <a:ext uri="{FF2B5EF4-FFF2-40B4-BE49-F238E27FC236}">
                    <a16:creationId xmlns:a16="http://schemas.microsoft.com/office/drawing/2014/main" id="{F7E814FB-FCC9-5EA1-5C16-F36D21983A2E}"/>
                  </a:ext>
                </a:extLst>
              </p:cNvPr>
              <p:cNvSpPr/>
              <p:nvPr/>
            </p:nvSpPr>
            <p:spPr>
              <a:xfrm>
                <a:off x="9207870" y="469654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endParaRPr lang="en-US" sz="1800" dirty="0"/>
              </a:p>
            </p:txBody>
          </p:sp>
          <p:sp>
            <p:nvSpPr>
              <p:cNvPr id="811" name="Freeform 810">
                <a:extLst>
                  <a:ext uri="{FF2B5EF4-FFF2-40B4-BE49-F238E27FC236}">
                    <a16:creationId xmlns:a16="http://schemas.microsoft.com/office/drawing/2014/main" id="{6125AF4A-9677-F9AD-5B15-C06C576D0443}"/>
                  </a:ext>
                </a:extLst>
              </p:cNvPr>
              <p:cNvSpPr/>
              <p:nvPr/>
            </p:nvSpPr>
            <p:spPr>
              <a:xfrm>
                <a:off x="9387270" y="469654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endParaRPr lang="en-US" sz="1800" dirty="0"/>
              </a:p>
            </p:txBody>
          </p:sp>
          <p:sp>
            <p:nvSpPr>
              <p:cNvPr id="812" name="Freeform 811">
                <a:extLst>
                  <a:ext uri="{FF2B5EF4-FFF2-40B4-BE49-F238E27FC236}">
                    <a16:creationId xmlns:a16="http://schemas.microsoft.com/office/drawing/2014/main" id="{CD859268-FB1D-20DE-2121-AAD14B7963A7}"/>
                  </a:ext>
                </a:extLst>
              </p:cNvPr>
              <p:cNvSpPr/>
              <p:nvPr/>
            </p:nvSpPr>
            <p:spPr>
              <a:xfrm>
                <a:off x="9566546" y="469654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endParaRPr lang="en-US" sz="1800" dirty="0"/>
              </a:p>
            </p:txBody>
          </p:sp>
          <p:sp>
            <p:nvSpPr>
              <p:cNvPr id="813" name="Freeform 812">
                <a:extLst>
                  <a:ext uri="{FF2B5EF4-FFF2-40B4-BE49-F238E27FC236}">
                    <a16:creationId xmlns:a16="http://schemas.microsoft.com/office/drawing/2014/main" id="{60BD11F1-8548-67CE-899F-C0FEC69E7EDC}"/>
                  </a:ext>
                </a:extLst>
              </p:cNvPr>
              <p:cNvSpPr/>
              <p:nvPr/>
            </p:nvSpPr>
            <p:spPr>
              <a:xfrm>
                <a:off x="9745804" y="469654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endParaRPr lang="en-US" sz="1800" dirty="0"/>
              </a:p>
            </p:txBody>
          </p:sp>
          <p:sp>
            <p:nvSpPr>
              <p:cNvPr id="814" name="Freeform 813">
                <a:extLst>
                  <a:ext uri="{FF2B5EF4-FFF2-40B4-BE49-F238E27FC236}">
                    <a16:creationId xmlns:a16="http://schemas.microsoft.com/office/drawing/2014/main" id="{F65D2D08-EDC9-97C4-8F47-166CD5A1ACDD}"/>
                  </a:ext>
                </a:extLst>
              </p:cNvPr>
              <p:cNvSpPr/>
              <p:nvPr/>
            </p:nvSpPr>
            <p:spPr>
              <a:xfrm>
                <a:off x="9925204" y="469654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endParaRPr lang="en-US" sz="1800" dirty="0"/>
              </a:p>
            </p:txBody>
          </p:sp>
          <p:sp>
            <p:nvSpPr>
              <p:cNvPr id="815" name="Freeform 814">
                <a:extLst>
                  <a:ext uri="{FF2B5EF4-FFF2-40B4-BE49-F238E27FC236}">
                    <a16:creationId xmlns:a16="http://schemas.microsoft.com/office/drawing/2014/main" id="{827C0425-27C3-E0B8-033C-12AFFBC4244F}"/>
                  </a:ext>
                </a:extLst>
              </p:cNvPr>
              <p:cNvSpPr/>
              <p:nvPr/>
            </p:nvSpPr>
            <p:spPr>
              <a:xfrm>
                <a:off x="10104480" y="469654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endParaRPr lang="en-US" sz="1800" dirty="0"/>
              </a:p>
            </p:txBody>
          </p:sp>
          <p:sp>
            <p:nvSpPr>
              <p:cNvPr id="816" name="Freeform 815">
                <a:extLst>
                  <a:ext uri="{FF2B5EF4-FFF2-40B4-BE49-F238E27FC236}">
                    <a16:creationId xmlns:a16="http://schemas.microsoft.com/office/drawing/2014/main" id="{E84666F1-31D9-F624-FFA8-383363E8EEBE}"/>
                  </a:ext>
                </a:extLst>
              </p:cNvPr>
              <p:cNvSpPr/>
              <p:nvPr/>
            </p:nvSpPr>
            <p:spPr>
              <a:xfrm>
                <a:off x="10283862" y="469654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endParaRPr lang="en-US" sz="1800" dirty="0"/>
              </a:p>
            </p:txBody>
          </p:sp>
          <p:sp>
            <p:nvSpPr>
              <p:cNvPr id="817" name="Freeform 816">
                <a:extLst>
                  <a:ext uri="{FF2B5EF4-FFF2-40B4-BE49-F238E27FC236}">
                    <a16:creationId xmlns:a16="http://schemas.microsoft.com/office/drawing/2014/main" id="{A1917807-B8AE-6B03-62B2-0855D488F950}"/>
                  </a:ext>
                </a:extLst>
              </p:cNvPr>
              <p:cNvSpPr/>
              <p:nvPr/>
            </p:nvSpPr>
            <p:spPr>
              <a:xfrm>
                <a:off x="10463139" y="469654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endParaRPr lang="en-US" sz="1800" dirty="0"/>
              </a:p>
            </p:txBody>
          </p:sp>
          <p:sp>
            <p:nvSpPr>
              <p:cNvPr id="818" name="Freeform 817">
                <a:extLst>
                  <a:ext uri="{FF2B5EF4-FFF2-40B4-BE49-F238E27FC236}">
                    <a16:creationId xmlns:a16="http://schemas.microsoft.com/office/drawing/2014/main" id="{65751370-05DD-A962-1264-FBDF071E8458}"/>
                  </a:ext>
                </a:extLst>
              </p:cNvPr>
              <p:cNvSpPr/>
              <p:nvPr/>
            </p:nvSpPr>
            <p:spPr>
              <a:xfrm>
                <a:off x="10642397" y="469654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endParaRPr lang="en-US" sz="1800" dirty="0"/>
              </a:p>
            </p:txBody>
          </p:sp>
          <p:sp>
            <p:nvSpPr>
              <p:cNvPr id="820" name="Freeform 819">
                <a:extLst>
                  <a:ext uri="{FF2B5EF4-FFF2-40B4-BE49-F238E27FC236}">
                    <a16:creationId xmlns:a16="http://schemas.microsoft.com/office/drawing/2014/main" id="{B5F8DC09-CFFC-16B8-6AE1-DC9406D6B6DA}"/>
                  </a:ext>
                </a:extLst>
              </p:cNvPr>
              <p:cNvSpPr/>
              <p:nvPr/>
            </p:nvSpPr>
            <p:spPr>
              <a:xfrm>
                <a:off x="2215588" y="4276615"/>
                <a:ext cx="31429" cy="17647"/>
              </a:xfrm>
              <a:custGeom>
                <a:avLst/>
                <a:gdLst>
                  <a:gd name="connsiteX0" fmla="*/ 31429 w 31429"/>
                  <a:gd name="connsiteY0" fmla="*/ 0 h 17647"/>
                  <a:gd name="connsiteX1" fmla="*/ 0 w 31429"/>
                  <a:gd name="connsiteY1" fmla="*/ 0 h 17647"/>
                </a:gdLst>
                <a:ahLst/>
                <a:cxnLst>
                  <a:cxn ang="0">
                    <a:pos x="connsiteX0" y="connsiteY0"/>
                  </a:cxn>
                  <a:cxn ang="0">
                    <a:pos x="connsiteX1" y="connsiteY1"/>
                  </a:cxn>
                </a:cxnLst>
                <a:rect l="l" t="t" r="r" b="b"/>
                <a:pathLst>
                  <a:path w="31429" h="17647">
                    <a:moveTo>
                      <a:pt x="31429" y="0"/>
                    </a:moveTo>
                    <a:lnTo>
                      <a:pt x="0" y="0"/>
                    </a:lnTo>
                  </a:path>
                </a:pathLst>
              </a:custGeom>
              <a:ln w="9624" cap="flat">
                <a:solidFill>
                  <a:srgbClr val="000000"/>
                </a:solidFill>
                <a:prstDash val="solid"/>
                <a:miter/>
              </a:ln>
            </p:spPr>
            <p:txBody>
              <a:bodyPr rtlCol="0" anchor="ctr"/>
              <a:lstStyle/>
              <a:p>
                <a:endParaRPr lang="en-US" sz="1800" dirty="0"/>
              </a:p>
            </p:txBody>
          </p:sp>
          <p:sp>
            <p:nvSpPr>
              <p:cNvPr id="821" name="Freeform 820">
                <a:extLst>
                  <a:ext uri="{FF2B5EF4-FFF2-40B4-BE49-F238E27FC236}">
                    <a16:creationId xmlns:a16="http://schemas.microsoft.com/office/drawing/2014/main" id="{48D950EB-7C66-874A-154E-B476182EA460}"/>
                  </a:ext>
                </a:extLst>
              </p:cNvPr>
              <p:cNvSpPr/>
              <p:nvPr/>
            </p:nvSpPr>
            <p:spPr>
              <a:xfrm>
                <a:off x="2215588" y="3587852"/>
                <a:ext cx="31429" cy="17647"/>
              </a:xfrm>
              <a:custGeom>
                <a:avLst/>
                <a:gdLst>
                  <a:gd name="connsiteX0" fmla="*/ 31429 w 31429"/>
                  <a:gd name="connsiteY0" fmla="*/ 0 h 17647"/>
                  <a:gd name="connsiteX1" fmla="*/ 0 w 31429"/>
                  <a:gd name="connsiteY1" fmla="*/ 0 h 17647"/>
                </a:gdLst>
                <a:ahLst/>
                <a:cxnLst>
                  <a:cxn ang="0">
                    <a:pos x="connsiteX0" y="connsiteY0"/>
                  </a:cxn>
                  <a:cxn ang="0">
                    <a:pos x="connsiteX1" y="connsiteY1"/>
                  </a:cxn>
                </a:cxnLst>
                <a:rect l="l" t="t" r="r" b="b"/>
                <a:pathLst>
                  <a:path w="31429" h="17647">
                    <a:moveTo>
                      <a:pt x="31429" y="0"/>
                    </a:moveTo>
                    <a:lnTo>
                      <a:pt x="0" y="0"/>
                    </a:lnTo>
                  </a:path>
                </a:pathLst>
              </a:custGeom>
              <a:ln w="9624" cap="flat">
                <a:solidFill>
                  <a:srgbClr val="000000"/>
                </a:solidFill>
                <a:prstDash val="solid"/>
                <a:miter/>
              </a:ln>
            </p:spPr>
            <p:txBody>
              <a:bodyPr rtlCol="0" anchor="ctr"/>
              <a:lstStyle/>
              <a:p>
                <a:endParaRPr lang="en-US" sz="1800" dirty="0"/>
              </a:p>
            </p:txBody>
          </p:sp>
          <p:sp>
            <p:nvSpPr>
              <p:cNvPr id="822" name="Freeform 821">
                <a:extLst>
                  <a:ext uri="{FF2B5EF4-FFF2-40B4-BE49-F238E27FC236}">
                    <a16:creationId xmlns:a16="http://schemas.microsoft.com/office/drawing/2014/main" id="{792A7466-B8F5-72D6-DF77-D27C04DD4059}"/>
                  </a:ext>
                </a:extLst>
              </p:cNvPr>
              <p:cNvSpPr/>
              <p:nvPr/>
            </p:nvSpPr>
            <p:spPr>
              <a:xfrm>
                <a:off x="2215588" y="2898965"/>
                <a:ext cx="31429" cy="17647"/>
              </a:xfrm>
              <a:custGeom>
                <a:avLst/>
                <a:gdLst>
                  <a:gd name="connsiteX0" fmla="*/ 31429 w 31429"/>
                  <a:gd name="connsiteY0" fmla="*/ 0 h 17647"/>
                  <a:gd name="connsiteX1" fmla="*/ 0 w 31429"/>
                  <a:gd name="connsiteY1" fmla="*/ 0 h 17647"/>
                </a:gdLst>
                <a:ahLst/>
                <a:cxnLst>
                  <a:cxn ang="0">
                    <a:pos x="connsiteX0" y="connsiteY0"/>
                  </a:cxn>
                  <a:cxn ang="0">
                    <a:pos x="connsiteX1" y="connsiteY1"/>
                  </a:cxn>
                </a:cxnLst>
                <a:rect l="l" t="t" r="r" b="b"/>
                <a:pathLst>
                  <a:path w="31429" h="17647">
                    <a:moveTo>
                      <a:pt x="31429" y="0"/>
                    </a:moveTo>
                    <a:lnTo>
                      <a:pt x="0" y="0"/>
                    </a:lnTo>
                  </a:path>
                </a:pathLst>
              </a:custGeom>
              <a:ln w="9624" cap="flat">
                <a:solidFill>
                  <a:srgbClr val="000000"/>
                </a:solidFill>
                <a:prstDash val="solid"/>
                <a:miter/>
              </a:ln>
            </p:spPr>
            <p:txBody>
              <a:bodyPr rtlCol="0" anchor="ctr"/>
              <a:lstStyle/>
              <a:p>
                <a:endParaRPr lang="en-US" sz="1800" dirty="0"/>
              </a:p>
            </p:txBody>
          </p:sp>
          <p:sp>
            <p:nvSpPr>
              <p:cNvPr id="823" name="Freeform 822">
                <a:extLst>
                  <a:ext uri="{FF2B5EF4-FFF2-40B4-BE49-F238E27FC236}">
                    <a16:creationId xmlns:a16="http://schemas.microsoft.com/office/drawing/2014/main" id="{BA36E5DF-921D-9D2E-9D9F-18DA65A23F4E}"/>
                  </a:ext>
                </a:extLst>
              </p:cNvPr>
              <p:cNvSpPr/>
              <p:nvPr/>
            </p:nvSpPr>
            <p:spPr>
              <a:xfrm>
                <a:off x="2215588" y="2210184"/>
                <a:ext cx="31429" cy="17647"/>
              </a:xfrm>
              <a:custGeom>
                <a:avLst/>
                <a:gdLst>
                  <a:gd name="connsiteX0" fmla="*/ 31429 w 31429"/>
                  <a:gd name="connsiteY0" fmla="*/ 0 h 17647"/>
                  <a:gd name="connsiteX1" fmla="*/ 0 w 31429"/>
                  <a:gd name="connsiteY1" fmla="*/ 0 h 17647"/>
                </a:gdLst>
                <a:ahLst/>
                <a:cxnLst>
                  <a:cxn ang="0">
                    <a:pos x="connsiteX0" y="connsiteY0"/>
                  </a:cxn>
                  <a:cxn ang="0">
                    <a:pos x="connsiteX1" y="connsiteY1"/>
                  </a:cxn>
                </a:cxnLst>
                <a:rect l="l" t="t" r="r" b="b"/>
                <a:pathLst>
                  <a:path w="31429" h="17647">
                    <a:moveTo>
                      <a:pt x="31429" y="0"/>
                    </a:moveTo>
                    <a:lnTo>
                      <a:pt x="0" y="0"/>
                    </a:lnTo>
                  </a:path>
                </a:pathLst>
              </a:custGeom>
              <a:ln w="9624" cap="flat">
                <a:solidFill>
                  <a:srgbClr val="000000"/>
                </a:solidFill>
                <a:prstDash val="solid"/>
                <a:miter/>
              </a:ln>
            </p:spPr>
            <p:txBody>
              <a:bodyPr rtlCol="0" anchor="ctr"/>
              <a:lstStyle/>
              <a:p>
                <a:endParaRPr lang="en-US" sz="1800" dirty="0"/>
              </a:p>
            </p:txBody>
          </p:sp>
          <p:sp>
            <p:nvSpPr>
              <p:cNvPr id="824" name="Freeform 823">
                <a:extLst>
                  <a:ext uri="{FF2B5EF4-FFF2-40B4-BE49-F238E27FC236}">
                    <a16:creationId xmlns:a16="http://schemas.microsoft.com/office/drawing/2014/main" id="{9597893C-ED18-E0C5-20DC-67D6B2D014D9}"/>
                  </a:ext>
                </a:extLst>
              </p:cNvPr>
              <p:cNvSpPr/>
              <p:nvPr/>
            </p:nvSpPr>
            <p:spPr>
              <a:xfrm>
                <a:off x="2215588" y="1521420"/>
                <a:ext cx="31429" cy="17647"/>
              </a:xfrm>
              <a:custGeom>
                <a:avLst/>
                <a:gdLst>
                  <a:gd name="connsiteX0" fmla="*/ 31429 w 31429"/>
                  <a:gd name="connsiteY0" fmla="*/ 0 h 17647"/>
                  <a:gd name="connsiteX1" fmla="*/ 0 w 31429"/>
                  <a:gd name="connsiteY1" fmla="*/ 0 h 17647"/>
                </a:gdLst>
                <a:ahLst/>
                <a:cxnLst>
                  <a:cxn ang="0">
                    <a:pos x="connsiteX0" y="connsiteY0"/>
                  </a:cxn>
                  <a:cxn ang="0">
                    <a:pos x="connsiteX1" y="connsiteY1"/>
                  </a:cxn>
                </a:cxnLst>
                <a:rect l="l" t="t" r="r" b="b"/>
                <a:pathLst>
                  <a:path w="31429" h="17647">
                    <a:moveTo>
                      <a:pt x="31429" y="0"/>
                    </a:moveTo>
                    <a:lnTo>
                      <a:pt x="0" y="0"/>
                    </a:lnTo>
                  </a:path>
                </a:pathLst>
              </a:custGeom>
              <a:ln w="9624" cap="flat">
                <a:solidFill>
                  <a:srgbClr val="000000"/>
                </a:solidFill>
                <a:prstDash val="solid"/>
                <a:miter/>
              </a:ln>
            </p:spPr>
            <p:txBody>
              <a:bodyPr rtlCol="0" anchor="ctr"/>
              <a:lstStyle/>
              <a:p>
                <a:endParaRPr lang="en-US" sz="1800" dirty="0"/>
              </a:p>
            </p:txBody>
          </p:sp>
          <p:sp>
            <p:nvSpPr>
              <p:cNvPr id="825" name="Freeform 824">
                <a:extLst>
                  <a:ext uri="{FF2B5EF4-FFF2-40B4-BE49-F238E27FC236}">
                    <a16:creationId xmlns:a16="http://schemas.microsoft.com/office/drawing/2014/main" id="{CC28D967-CDBF-1018-A1BC-E381A8F582C4}"/>
                  </a:ext>
                </a:extLst>
              </p:cNvPr>
              <p:cNvSpPr/>
              <p:nvPr/>
            </p:nvSpPr>
            <p:spPr>
              <a:xfrm>
                <a:off x="2184177" y="4620997"/>
                <a:ext cx="62841" cy="17647"/>
              </a:xfrm>
              <a:custGeom>
                <a:avLst/>
                <a:gdLst>
                  <a:gd name="connsiteX0" fmla="*/ 62841 w 62841"/>
                  <a:gd name="connsiteY0" fmla="*/ 0 h 17647"/>
                  <a:gd name="connsiteX1" fmla="*/ 0 w 62841"/>
                  <a:gd name="connsiteY1" fmla="*/ 0 h 17647"/>
                </a:gdLst>
                <a:ahLst/>
                <a:cxnLst>
                  <a:cxn ang="0">
                    <a:pos x="connsiteX0" y="connsiteY0"/>
                  </a:cxn>
                  <a:cxn ang="0">
                    <a:pos x="connsiteX1" y="connsiteY1"/>
                  </a:cxn>
                </a:cxnLst>
                <a:rect l="l" t="t" r="r" b="b"/>
                <a:pathLst>
                  <a:path w="62841" h="17647">
                    <a:moveTo>
                      <a:pt x="62841" y="0"/>
                    </a:moveTo>
                    <a:lnTo>
                      <a:pt x="0" y="0"/>
                    </a:lnTo>
                  </a:path>
                </a:pathLst>
              </a:custGeom>
              <a:ln w="9624" cap="flat">
                <a:solidFill>
                  <a:srgbClr val="000000"/>
                </a:solidFill>
                <a:prstDash val="solid"/>
                <a:miter/>
              </a:ln>
            </p:spPr>
            <p:txBody>
              <a:bodyPr rtlCol="0" anchor="ctr"/>
              <a:lstStyle/>
              <a:p>
                <a:endParaRPr lang="en-US" sz="1800" dirty="0"/>
              </a:p>
            </p:txBody>
          </p:sp>
          <p:sp>
            <p:nvSpPr>
              <p:cNvPr id="826" name="Freeform 825">
                <a:extLst>
                  <a:ext uri="{FF2B5EF4-FFF2-40B4-BE49-F238E27FC236}">
                    <a16:creationId xmlns:a16="http://schemas.microsoft.com/office/drawing/2014/main" id="{CDC58387-3802-DF69-5399-6A3F2E392419}"/>
                  </a:ext>
                </a:extLst>
              </p:cNvPr>
              <p:cNvSpPr/>
              <p:nvPr/>
            </p:nvSpPr>
            <p:spPr>
              <a:xfrm>
                <a:off x="2184177" y="3932234"/>
                <a:ext cx="62841" cy="17647"/>
              </a:xfrm>
              <a:custGeom>
                <a:avLst/>
                <a:gdLst>
                  <a:gd name="connsiteX0" fmla="*/ 62841 w 62841"/>
                  <a:gd name="connsiteY0" fmla="*/ 0 h 17647"/>
                  <a:gd name="connsiteX1" fmla="*/ 0 w 62841"/>
                  <a:gd name="connsiteY1" fmla="*/ 0 h 17647"/>
                </a:gdLst>
                <a:ahLst/>
                <a:cxnLst>
                  <a:cxn ang="0">
                    <a:pos x="connsiteX0" y="connsiteY0"/>
                  </a:cxn>
                  <a:cxn ang="0">
                    <a:pos x="connsiteX1" y="connsiteY1"/>
                  </a:cxn>
                </a:cxnLst>
                <a:rect l="l" t="t" r="r" b="b"/>
                <a:pathLst>
                  <a:path w="62841" h="17647">
                    <a:moveTo>
                      <a:pt x="62841" y="0"/>
                    </a:moveTo>
                    <a:lnTo>
                      <a:pt x="0" y="0"/>
                    </a:lnTo>
                  </a:path>
                </a:pathLst>
              </a:custGeom>
              <a:ln w="9624" cap="flat">
                <a:solidFill>
                  <a:srgbClr val="000000"/>
                </a:solidFill>
                <a:prstDash val="solid"/>
                <a:miter/>
              </a:ln>
            </p:spPr>
            <p:txBody>
              <a:bodyPr rtlCol="0" anchor="ctr"/>
              <a:lstStyle/>
              <a:p>
                <a:endParaRPr lang="en-US" sz="1800" dirty="0"/>
              </a:p>
            </p:txBody>
          </p:sp>
          <p:sp>
            <p:nvSpPr>
              <p:cNvPr id="827" name="Freeform 826">
                <a:extLst>
                  <a:ext uri="{FF2B5EF4-FFF2-40B4-BE49-F238E27FC236}">
                    <a16:creationId xmlns:a16="http://schemas.microsoft.com/office/drawing/2014/main" id="{1B55E6F2-0112-829F-8CE8-6E32F4698495}"/>
                  </a:ext>
                </a:extLst>
              </p:cNvPr>
              <p:cNvSpPr/>
              <p:nvPr/>
            </p:nvSpPr>
            <p:spPr>
              <a:xfrm>
                <a:off x="2184177" y="3243347"/>
                <a:ext cx="62841" cy="17647"/>
              </a:xfrm>
              <a:custGeom>
                <a:avLst/>
                <a:gdLst>
                  <a:gd name="connsiteX0" fmla="*/ 62841 w 62841"/>
                  <a:gd name="connsiteY0" fmla="*/ 0 h 17647"/>
                  <a:gd name="connsiteX1" fmla="*/ 0 w 62841"/>
                  <a:gd name="connsiteY1" fmla="*/ 0 h 17647"/>
                </a:gdLst>
                <a:ahLst/>
                <a:cxnLst>
                  <a:cxn ang="0">
                    <a:pos x="connsiteX0" y="connsiteY0"/>
                  </a:cxn>
                  <a:cxn ang="0">
                    <a:pos x="connsiteX1" y="connsiteY1"/>
                  </a:cxn>
                </a:cxnLst>
                <a:rect l="l" t="t" r="r" b="b"/>
                <a:pathLst>
                  <a:path w="62841" h="17647">
                    <a:moveTo>
                      <a:pt x="62841" y="0"/>
                    </a:moveTo>
                    <a:lnTo>
                      <a:pt x="0" y="0"/>
                    </a:lnTo>
                  </a:path>
                </a:pathLst>
              </a:custGeom>
              <a:ln w="9624" cap="flat">
                <a:solidFill>
                  <a:srgbClr val="000000"/>
                </a:solidFill>
                <a:prstDash val="solid"/>
                <a:miter/>
              </a:ln>
            </p:spPr>
            <p:txBody>
              <a:bodyPr rtlCol="0" anchor="ctr"/>
              <a:lstStyle/>
              <a:p>
                <a:endParaRPr lang="en-US" sz="1800" dirty="0"/>
              </a:p>
            </p:txBody>
          </p:sp>
          <p:sp>
            <p:nvSpPr>
              <p:cNvPr id="828" name="Freeform 827">
                <a:extLst>
                  <a:ext uri="{FF2B5EF4-FFF2-40B4-BE49-F238E27FC236}">
                    <a16:creationId xmlns:a16="http://schemas.microsoft.com/office/drawing/2014/main" id="{52779AD9-CEB8-D364-EC90-2867705DC7F4}"/>
                  </a:ext>
                </a:extLst>
              </p:cNvPr>
              <p:cNvSpPr/>
              <p:nvPr/>
            </p:nvSpPr>
            <p:spPr>
              <a:xfrm>
                <a:off x="2184177" y="2554583"/>
                <a:ext cx="62841" cy="17647"/>
              </a:xfrm>
              <a:custGeom>
                <a:avLst/>
                <a:gdLst>
                  <a:gd name="connsiteX0" fmla="*/ 62841 w 62841"/>
                  <a:gd name="connsiteY0" fmla="*/ 0 h 17647"/>
                  <a:gd name="connsiteX1" fmla="*/ 0 w 62841"/>
                  <a:gd name="connsiteY1" fmla="*/ 0 h 17647"/>
                </a:gdLst>
                <a:ahLst/>
                <a:cxnLst>
                  <a:cxn ang="0">
                    <a:pos x="connsiteX0" y="connsiteY0"/>
                  </a:cxn>
                  <a:cxn ang="0">
                    <a:pos x="connsiteX1" y="connsiteY1"/>
                  </a:cxn>
                </a:cxnLst>
                <a:rect l="l" t="t" r="r" b="b"/>
                <a:pathLst>
                  <a:path w="62841" h="17647">
                    <a:moveTo>
                      <a:pt x="62841" y="0"/>
                    </a:moveTo>
                    <a:lnTo>
                      <a:pt x="0" y="0"/>
                    </a:lnTo>
                  </a:path>
                </a:pathLst>
              </a:custGeom>
              <a:ln w="9624" cap="flat">
                <a:solidFill>
                  <a:srgbClr val="000000"/>
                </a:solidFill>
                <a:prstDash val="solid"/>
                <a:miter/>
              </a:ln>
            </p:spPr>
            <p:txBody>
              <a:bodyPr rtlCol="0" anchor="ctr"/>
              <a:lstStyle/>
              <a:p>
                <a:endParaRPr lang="en-US" sz="1800" dirty="0"/>
              </a:p>
            </p:txBody>
          </p:sp>
          <p:sp>
            <p:nvSpPr>
              <p:cNvPr id="829" name="Freeform 828">
                <a:extLst>
                  <a:ext uri="{FF2B5EF4-FFF2-40B4-BE49-F238E27FC236}">
                    <a16:creationId xmlns:a16="http://schemas.microsoft.com/office/drawing/2014/main" id="{E09495ED-903F-21B1-A2CF-60D92D757653}"/>
                  </a:ext>
                </a:extLst>
              </p:cNvPr>
              <p:cNvSpPr/>
              <p:nvPr/>
            </p:nvSpPr>
            <p:spPr>
              <a:xfrm>
                <a:off x="2184177" y="1865802"/>
                <a:ext cx="62841" cy="17647"/>
              </a:xfrm>
              <a:custGeom>
                <a:avLst/>
                <a:gdLst>
                  <a:gd name="connsiteX0" fmla="*/ 62841 w 62841"/>
                  <a:gd name="connsiteY0" fmla="*/ 0 h 17647"/>
                  <a:gd name="connsiteX1" fmla="*/ 0 w 62841"/>
                  <a:gd name="connsiteY1" fmla="*/ 0 h 17647"/>
                </a:gdLst>
                <a:ahLst/>
                <a:cxnLst>
                  <a:cxn ang="0">
                    <a:pos x="connsiteX0" y="connsiteY0"/>
                  </a:cxn>
                  <a:cxn ang="0">
                    <a:pos x="connsiteX1" y="connsiteY1"/>
                  </a:cxn>
                </a:cxnLst>
                <a:rect l="l" t="t" r="r" b="b"/>
                <a:pathLst>
                  <a:path w="62841" h="17647">
                    <a:moveTo>
                      <a:pt x="62841" y="0"/>
                    </a:moveTo>
                    <a:lnTo>
                      <a:pt x="0" y="0"/>
                    </a:lnTo>
                  </a:path>
                </a:pathLst>
              </a:custGeom>
              <a:ln w="9624" cap="flat">
                <a:solidFill>
                  <a:srgbClr val="000000"/>
                </a:solidFill>
                <a:prstDash val="solid"/>
                <a:miter/>
              </a:ln>
            </p:spPr>
            <p:txBody>
              <a:bodyPr rtlCol="0" anchor="ctr"/>
              <a:lstStyle/>
              <a:p>
                <a:endParaRPr lang="en-US" sz="1800" dirty="0"/>
              </a:p>
            </p:txBody>
          </p:sp>
          <p:sp>
            <p:nvSpPr>
              <p:cNvPr id="830" name="Freeform 829">
                <a:extLst>
                  <a:ext uri="{FF2B5EF4-FFF2-40B4-BE49-F238E27FC236}">
                    <a16:creationId xmlns:a16="http://schemas.microsoft.com/office/drawing/2014/main" id="{9ECCA68C-3333-2044-1FAB-DC28F7966022}"/>
                  </a:ext>
                </a:extLst>
              </p:cNvPr>
              <p:cNvSpPr/>
              <p:nvPr/>
            </p:nvSpPr>
            <p:spPr>
              <a:xfrm>
                <a:off x="2184177" y="1177038"/>
                <a:ext cx="62841" cy="17647"/>
              </a:xfrm>
              <a:custGeom>
                <a:avLst/>
                <a:gdLst>
                  <a:gd name="connsiteX0" fmla="*/ 62841 w 62841"/>
                  <a:gd name="connsiteY0" fmla="*/ 0 h 17647"/>
                  <a:gd name="connsiteX1" fmla="*/ 0 w 62841"/>
                  <a:gd name="connsiteY1" fmla="*/ 0 h 17647"/>
                </a:gdLst>
                <a:ahLst/>
                <a:cxnLst>
                  <a:cxn ang="0">
                    <a:pos x="connsiteX0" y="connsiteY0"/>
                  </a:cxn>
                  <a:cxn ang="0">
                    <a:pos x="connsiteX1" y="connsiteY1"/>
                  </a:cxn>
                </a:cxnLst>
                <a:rect l="l" t="t" r="r" b="b"/>
                <a:pathLst>
                  <a:path w="62841" h="17647">
                    <a:moveTo>
                      <a:pt x="62841" y="0"/>
                    </a:moveTo>
                    <a:lnTo>
                      <a:pt x="0" y="0"/>
                    </a:lnTo>
                  </a:path>
                </a:pathLst>
              </a:custGeom>
              <a:ln w="9624" cap="flat">
                <a:solidFill>
                  <a:srgbClr val="000000"/>
                </a:solidFill>
                <a:prstDash val="solid"/>
                <a:miter/>
              </a:ln>
            </p:spPr>
            <p:txBody>
              <a:bodyPr rtlCol="0" anchor="ctr"/>
              <a:lstStyle/>
              <a:p>
                <a:endParaRPr lang="en-US" sz="1800" dirty="0"/>
              </a:p>
            </p:txBody>
          </p:sp>
        </p:grpSp>
        <p:grpSp>
          <p:nvGrpSpPr>
            <p:cNvPr id="831" name="Graphic 4">
              <a:extLst>
                <a:ext uri="{FF2B5EF4-FFF2-40B4-BE49-F238E27FC236}">
                  <a16:creationId xmlns:a16="http://schemas.microsoft.com/office/drawing/2014/main" id="{D63FFB6C-618B-478E-0A7A-9FE4D3CBE79A}"/>
                </a:ext>
              </a:extLst>
            </p:cNvPr>
            <p:cNvGrpSpPr/>
            <p:nvPr/>
          </p:nvGrpSpPr>
          <p:grpSpPr>
            <a:xfrm>
              <a:off x="1499761" y="1015409"/>
              <a:ext cx="9065920" cy="4534149"/>
              <a:chOff x="1496216" y="1047597"/>
              <a:chExt cx="9380973" cy="4830481"/>
            </a:xfrm>
            <a:solidFill>
              <a:srgbClr val="000000"/>
            </a:solidFill>
          </p:grpSpPr>
          <p:sp>
            <p:nvSpPr>
              <p:cNvPr id="832" name="TextBox 831">
                <a:extLst>
                  <a:ext uri="{FF2B5EF4-FFF2-40B4-BE49-F238E27FC236}">
                    <a16:creationId xmlns:a16="http://schemas.microsoft.com/office/drawing/2014/main" id="{6180D72D-61AC-C772-98F6-E306F0A6FE29}"/>
                  </a:ext>
                </a:extLst>
              </p:cNvPr>
              <p:cNvSpPr txBox="1"/>
              <p:nvPr/>
            </p:nvSpPr>
            <p:spPr>
              <a:xfrm rot="16200000">
                <a:off x="302485" y="2665543"/>
                <a:ext cx="2810304" cy="348816"/>
              </a:xfrm>
              <a:prstGeom prst="rect">
                <a:avLst/>
              </a:prstGeom>
              <a:noFill/>
            </p:spPr>
            <p:txBody>
              <a:bodyPr wrap="none" rtlCol="0">
                <a:spAutoFit/>
              </a:bodyPr>
              <a:lstStyle/>
              <a:p>
                <a:pPr algn="l"/>
                <a:r>
                  <a:rPr lang="en-US" sz="1043" dirty="0">
                    <a:ln/>
                    <a:solidFill>
                      <a:srgbClr val="000000"/>
                    </a:solidFill>
                    <a:latin typeface="HelveticaNeueLTStd-Bd"/>
                    <a:sym typeface="HelveticaNeueLTStd-Bd"/>
                    <a:rtl val="0"/>
                  </a:rPr>
                  <a:t>Overall Survival Probability, %</a:t>
                </a:r>
              </a:p>
            </p:txBody>
          </p:sp>
          <p:sp>
            <p:nvSpPr>
              <p:cNvPr id="833" name="TextBox 832">
                <a:extLst>
                  <a:ext uri="{FF2B5EF4-FFF2-40B4-BE49-F238E27FC236}">
                    <a16:creationId xmlns:a16="http://schemas.microsoft.com/office/drawing/2014/main" id="{47C12B85-BBD0-C40A-485A-7F3C6BDCF22C}"/>
                  </a:ext>
                </a:extLst>
              </p:cNvPr>
              <p:cNvSpPr txBox="1"/>
              <p:nvPr/>
            </p:nvSpPr>
            <p:spPr>
              <a:xfrm>
                <a:off x="5823212" y="5091190"/>
                <a:ext cx="1371643" cy="359133"/>
              </a:xfrm>
              <a:prstGeom prst="rect">
                <a:avLst/>
              </a:prstGeom>
              <a:noFill/>
            </p:spPr>
            <p:txBody>
              <a:bodyPr wrap="none" rtlCol="0">
                <a:spAutoFit/>
              </a:bodyPr>
              <a:lstStyle/>
              <a:p>
                <a:pPr algn="l"/>
                <a:r>
                  <a:rPr lang="en-US" sz="1043" dirty="0">
                    <a:ln/>
                    <a:solidFill>
                      <a:srgbClr val="000000"/>
                    </a:solidFill>
                    <a:latin typeface="HelveticaNeueLTStd-Bd"/>
                    <a:sym typeface="HelveticaNeueLTStd-Bd"/>
                    <a:rtl val="0"/>
                  </a:rPr>
                  <a:t>Time, months</a:t>
                </a:r>
              </a:p>
            </p:txBody>
          </p:sp>
          <p:sp>
            <p:nvSpPr>
              <p:cNvPr id="834" name="TextBox 833">
                <a:extLst>
                  <a:ext uri="{FF2B5EF4-FFF2-40B4-BE49-F238E27FC236}">
                    <a16:creationId xmlns:a16="http://schemas.microsoft.com/office/drawing/2014/main" id="{D9D95FCD-D910-2DFE-7E24-4E1E6C2C167E}"/>
                  </a:ext>
                </a:extLst>
              </p:cNvPr>
              <p:cNvSpPr txBox="1"/>
              <p:nvPr/>
            </p:nvSpPr>
            <p:spPr>
              <a:xfrm>
                <a:off x="1523318" y="5163382"/>
                <a:ext cx="1482223" cy="313500"/>
              </a:xfrm>
              <a:prstGeom prst="rect">
                <a:avLst/>
              </a:prstGeom>
              <a:noFill/>
            </p:spPr>
            <p:txBody>
              <a:bodyPr wrap="none" rtlCol="0">
                <a:spAutoFit/>
              </a:bodyPr>
              <a:lstStyle/>
              <a:p>
                <a:pPr algn="l"/>
                <a:r>
                  <a:rPr lang="en-US" sz="834" dirty="0">
                    <a:ln/>
                    <a:solidFill>
                      <a:srgbClr val="000000"/>
                    </a:solidFill>
                    <a:latin typeface="HelveticaNeueLTStd-Bd"/>
                    <a:sym typeface="HelveticaNeueLTStd-Bd"/>
                    <a:rtl val="0"/>
                  </a:rPr>
                  <a:t>Patients still at risk</a:t>
                </a:r>
              </a:p>
            </p:txBody>
          </p:sp>
          <p:grpSp>
            <p:nvGrpSpPr>
              <p:cNvPr id="835" name="Graphic 4">
                <a:extLst>
                  <a:ext uri="{FF2B5EF4-FFF2-40B4-BE49-F238E27FC236}">
                    <a16:creationId xmlns:a16="http://schemas.microsoft.com/office/drawing/2014/main" id="{F0C22F33-4A70-D9BC-BF9E-12CBD3E9D438}"/>
                  </a:ext>
                </a:extLst>
              </p:cNvPr>
              <p:cNvGrpSpPr/>
              <p:nvPr/>
            </p:nvGrpSpPr>
            <p:grpSpPr>
              <a:xfrm>
                <a:off x="1496216" y="5420747"/>
                <a:ext cx="9300212" cy="457331"/>
                <a:chOff x="1496216" y="5420747"/>
                <a:chExt cx="9300212" cy="457331"/>
              </a:xfrm>
              <a:solidFill>
                <a:srgbClr val="000000"/>
              </a:solidFill>
            </p:grpSpPr>
            <p:sp>
              <p:nvSpPr>
                <p:cNvPr id="889" name="TextBox 888">
                  <a:extLst>
                    <a:ext uri="{FF2B5EF4-FFF2-40B4-BE49-F238E27FC236}">
                      <a16:creationId xmlns:a16="http://schemas.microsoft.com/office/drawing/2014/main" id="{75ECF095-F19E-E877-EF80-A31792B43140}"/>
                    </a:ext>
                  </a:extLst>
                </p:cNvPr>
                <p:cNvSpPr txBox="1"/>
                <p:nvPr/>
              </p:nvSpPr>
              <p:spPr>
                <a:xfrm rot="5636">
                  <a:off x="1601326" y="5605290"/>
                  <a:ext cx="783354" cy="272788"/>
                </a:xfrm>
                <a:prstGeom prst="rect">
                  <a:avLst/>
                </a:prstGeom>
                <a:noFill/>
              </p:spPr>
              <p:txBody>
                <a:bodyPr wrap="none" rtlCol="0">
                  <a:spAutoFit/>
                </a:bodyPr>
                <a:lstStyle/>
                <a:p>
                  <a:pPr algn="l"/>
                  <a:r>
                    <a:rPr lang="en-US" sz="648" dirty="0">
                      <a:ln/>
                      <a:solidFill>
                        <a:srgbClr val="000000"/>
                      </a:solidFill>
                      <a:latin typeface="HelveticaNeue"/>
                      <a:ea typeface="HelveticaNeue"/>
                      <a:cs typeface="HelveticaNeue"/>
                      <a:sym typeface="HelveticaNeue"/>
                      <a:rtl val="0"/>
                    </a:rPr>
                    <a:t>TPC (202)</a:t>
                  </a:r>
                </a:p>
              </p:txBody>
            </p:sp>
            <p:sp>
              <p:nvSpPr>
                <p:cNvPr id="890" name="TextBox 889">
                  <a:extLst>
                    <a:ext uri="{FF2B5EF4-FFF2-40B4-BE49-F238E27FC236}">
                      <a16:creationId xmlns:a16="http://schemas.microsoft.com/office/drawing/2014/main" id="{80D54026-409D-A0D8-EC87-4504CDDEABEC}"/>
                    </a:ext>
                  </a:extLst>
                </p:cNvPr>
                <p:cNvSpPr txBox="1"/>
                <p:nvPr/>
              </p:nvSpPr>
              <p:spPr>
                <a:xfrm rot="5636">
                  <a:off x="2189978" y="5626549"/>
                  <a:ext cx="414014" cy="249198"/>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202</a:t>
                  </a:r>
                </a:p>
              </p:txBody>
            </p:sp>
            <p:sp>
              <p:nvSpPr>
                <p:cNvPr id="891" name="TextBox 890">
                  <a:extLst>
                    <a:ext uri="{FF2B5EF4-FFF2-40B4-BE49-F238E27FC236}">
                      <a16:creationId xmlns:a16="http://schemas.microsoft.com/office/drawing/2014/main" id="{BEDA963B-E944-F0E4-92A9-60C1030F852C}"/>
                    </a:ext>
                  </a:extLst>
                </p:cNvPr>
                <p:cNvSpPr txBox="1"/>
                <p:nvPr/>
              </p:nvSpPr>
              <p:spPr>
                <a:xfrm rot="5636">
                  <a:off x="2369240" y="5626549"/>
                  <a:ext cx="414014" cy="249198"/>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192</a:t>
                  </a:r>
                </a:p>
              </p:txBody>
            </p:sp>
            <p:sp>
              <p:nvSpPr>
                <p:cNvPr id="892" name="TextBox 891">
                  <a:extLst>
                    <a:ext uri="{FF2B5EF4-FFF2-40B4-BE49-F238E27FC236}">
                      <a16:creationId xmlns:a16="http://schemas.microsoft.com/office/drawing/2014/main" id="{4B943440-B326-243A-DCF2-B06E2F6179B8}"/>
                    </a:ext>
                  </a:extLst>
                </p:cNvPr>
                <p:cNvSpPr txBox="1"/>
                <p:nvPr/>
              </p:nvSpPr>
              <p:spPr>
                <a:xfrm rot="5636">
                  <a:off x="2548502" y="5626549"/>
                  <a:ext cx="414014" cy="249198"/>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187</a:t>
                  </a:r>
                </a:p>
              </p:txBody>
            </p:sp>
            <p:sp>
              <p:nvSpPr>
                <p:cNvPr id="893" name="TextBox 892">
                  <a:extLst>
                    <a:ext uri="{FF2B5EF4-FFF2-40B4-BE49-F238E27FC236}">
                      <a16:creationId xmlns:a16="http://schemas.microsoft.com/office/drawing/2014/main" id="{1C9D69C4-94A4-8295-EEA0-01FEE522C9E3}"/>
                    </a:ext>
                  </a:extLst>
                </p:cNvPr>
                <p:cNvSpPr txBox="1"/>
                <p:nvPr/>
              </p:nvSpPr>
              <p:spPr>
                <a:xfrm rot="5636">
                  <a:off x="2727745" y="5626549"/>
                  <a:ext cx="414014" cy="249198"/>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182</a:t>
                  </a:r>
                </a:p>
              </p:txBody>
            </p:sp>
            <p:sp>
              <p:nvSpPr>
                <p:cNvPr id="894" name="TextBox 893">
                  <a:extLst>
                    <a:ext uri="{FF2B5EF4-FFF2-40B4-BE49-F238E27FC236}">
                      <a16:creationId xmlns:a16="http://schemas.microsoft.com/office/drawing/2014/main" id="{7000D2DE-EFE5-42D8-80F8-C7049F6BD3A5}"/>
                    </a:ext>
                  </a:extLst>
                </p:cNvPr>
                <p:cNvSpPr txBox="1"/>
                <p:nvPr/>
              </p:nvSpPr>
              <p:spPr>
                <a:xfrm rot="5636">
                  <a:off x="2907007" y="5626549"/>
                  <a:ext cx="414014" cy="249198"/>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178</a:t>
                  </a:r>
                </a:p>
              </p:txBody>
            </p:sp>
            <p:sp>
              <p:nvSpPr>
                <p:cNvPr id="895" name="TextBox 894">
                  <a:extLst>
                    <a:ext uri="{FF2B5EF4-FFF2-40B4-BE49-F238E27FC236}">
                      <a16:creationId xmlns:a16="http://schemas.microsoft.com/office/drawing/2014/main" id="{229F99F2-1F5C-E1B2-7AE8-12A4D2BCA94B}"/>
                    </a:ext>
                  </a:extLst>
                </p:cNvPr>
                <p:cNvSpPr txBox="1"/>
                <p:nvPr/>
              </p:nvSpPr>
              <p:spPr>
                <a:xfrm rot="5636">
                  <a:off x="3086270" y="5626549"/>
                  <a:ext cx="414014" cy="249198"/>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173</a:t>
                  </a:r>
                </a:p>
              </p:txBody>
            </p:sp>
            <p:sp>
              <p:nvSpPr>
                <p:cNvPr id="896" name="TextBox 895">
                  <a:extLst>
                    <a:ext uri="{FF2B5EF4-FFF2-40B4-BE49-F238E27FC236}">
                      <a16:creationId xmlns:a16="http://schemas.microsoft.com/office/drawing/2014/main" id="{861E4E80-E565-D88F-5C62-232120E2A7FD}"/>
                    </a:ext>
                  </a:extLst>
                </p:cNvPr>
                <p:cNvSpPr txBox="1"/>
                <p:nvPr/>
              </p:nvSpPr>
              <p:spPr>
                <a:xfrm rot="5636">
                  <a:off x="3265532" y="5626549"/>
                  <a:ext cx="414014" cy="249198"/>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167</a:t>
                  </a:r>
                </a:p>
              </p:txBody>
            </p:sp>
            <p:sp>
              <p:nvSpPr>
                <p:cNvPr id="897" name="TextBox 896">
                  <a:extLst>
                    <a:ext uri="{FF2B5EF4-FFF2-40B4-BE49-F238E27FC236}">
                      <a16:creationId xmlns:a16="http://schemas.microsoft.com/office/drawing/2014/main" id="{2B37A229-15E5-9D77-BE87-9C0DFF2257D0}"/>
                    </a:ext>
                  </a:extLst>
                </p:cNvPr>
                <p:cNvSpPr txBox="1"/>
                <p:nvPr/>
              </p:nvSpPr>
              <p:spPr>
                <a:xfrm rot="5636">
                  <a:off x="3444777" y="5626549"/>
                  <a:ext cx="414014" cy="249198"/>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161</a:t>
                  </a:r>
                </a:p>
              </p:txBody>
            </p:sp>
            <p:sp>
              <p:nvSpPr>
                <p:cNvPr id="898" name="TextBox 897">
                  <a:extLst>
                    <a:ext uri="{FF2B5EF4-FFF2-40B4-BE49-F238E27FC236}">
                      <a16:creationId xmlns:a16="http://schemas.microsoft.com/office/drawing/2014/main" id="{C5782BBC-D616-DED9-5205-9B53416F91F1}"/>
                    </a:ext>
                  </a:extLst>
                </p:cNvPr>
                <p:cNvSpPr txBox="1"/>
                <p:nvPr/>
              </p:nvSpPr>
              <p:spPr>
                <a:xfrm rot="5636">
                  <a:off x="3624040" y="5626549"/>
                  <a:ext cx="414014" cy="249198"/>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157</a:t>
                  </a:r>
                </a:p>
              </p:txBody>
            </p:sp>
            <p:sp>
              <p:nvSpPr>
                <p:cNvPr id="899" name="TextBox 898">
                  <a:extLst>
                    <a:ext uri="{FF2B5EF4-FFF2-40B4-BE49-F238E27FC236}">
                      <a16:creationId xmlns:a16="http://schemas.microsoft.com/office/drawing/2014/main" id="{DFDF1B80-4847-1072-2EE0-7823B82D9F77}"/>
                    </a:ext>
                  </a:extLst>
                </p:cNvPr>
                <p:cNvSpPr txBox="1"/>
                <p:nvPr/>
              </p:nvSpPr>
              <p:spPr>
                <a:xfrm rot="5636">
                  <a:off x="3803303" y="5626549"/>
                  <a:ext cx="414014" cy="249198"/>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151</a:t>
                  </a:r>
                </a:p>
              </p:txBody>
            </p:sp>
            <p:sp>
              <p:nvSpPr>
                <p:cNvPr id="900" name="TextBox 899">
                  <a:extLst>
                    <a:ext uri="{FF2B5EF4-FFF2-40B4-BE49-F238E27FC236}">
                      <a16:creationId xmlns:a16="http://schemas.microsoft.com/office/drawing/2014/main" id="{11143D71-0713-C586-8BE9-EA4B8C53B75B}"/>
                    </a:ext>
                  </a:extLst>
                </p:cNvPr>
                <p:cNvSpPr txBox="1"/>
                <p:nvPr/>
              </p:nvSpPr>
              <p:spPr>
                <a:xfrm rot="5636">
                  <a:off x="3982565" y="5626549"/>
                  <a:ext cx="414014" cy="249198"/>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142</a:t>
                  </a:r>
                </a:p>
              </p:txBody>
            </p:sp>
            <p:sp>
              <p:nvSpPr>
                <p:cNvPr id="901" name="TextBox 900">
                  <a:extLst>
                    <a:ext uri="{FF2B5EF4-FFF2-40B4-BE49-F238E27FC236}">
                      <a16:creationId xmlns:a16="http://schemas.microsoft.com/office/drawing/2014/main" id="{4AEC9522-1B6C-5CC7-54A7-0C9B03E020CA}"/>
                    </a:ext>
                  </a:extLst>
                </p:cNvPr>
                <p:cNvSpPr txBox="1"/>
                <p:nvPr/>
              </p:nvSpPr>
              <p:spPr>
                <a:xfrm rot="5636">
                  <a:off x="4161828" y="5626549"/>
                  <a:ext cx="414014" cy="249198"/>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136</a:t>
                  </a:r>
                </a:p>
              </p:txBody>
            </p:sp>
            <p:sp>
              <p:nvSpPr>
                <p:cNvPr id="902" name="TextBox 901">
                  <a:extLst>
                    <a:ext uri="{FF2B5EF4-FFF2-40B4-BE49-F238E27FC236}">
                      <a16:creationId xmlns:a16="http://schemas.microsoft.com/office/drawing/2014/main" id="{F1A39DB6-061D-344E-4A49-B5B4D3B264DA}"/>
                    </a:ext>
                  </a:extLst>
                </p:cNvPr>
                <p:cNvSpPr txBox="1"/>
                <p:nvPr/>
              </p:nvSpPr>
              <p:spPr>
                <a:xfrm rot="5636">
                  <a:off x="4341088" y="5626549"/>
                  <a:ext cx="414014" cy="249198"/>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130</a:t>
                  </a:r>
                </a:p>
              </p:txBody>
            </p:sp>
            <p:sp>
              <p:nvSpPr>
                <p:cNvPr id="903" name="TextBox 902">
                  <a:extLst>
                    <a:ext uri="{FF2B5EF4-FFF2-40B4-BE49-F238E27FC236}">
                      <a16:creationId xmlns:a16="http://schemas.microsoft.com/office/drawing/2014/main" id="{FD55893A-B1F1-60DC-DD96-D0DACDEAE10B}"/>
                    </a:ext>
                  </a:extLst>
                </p:cNvPr>
                <p:cNvSpPr txBox="1"/>
                <p:nvPr/>
              </p:nvSpPr>
              <p:spPr>
                <a:xfrm rot="5636">
                  <a:off x="4520350" y="5626549"/>
                  <a:ext cx="414014" cy="249198"/>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124</a:t>
                  </a:r>
                </a:p>
              </p:txBody>
            </p:sp>
            <p:sp>
              <p:nvSpPr>
                <p:cNvPr id="904" name="TextBox 903">
                  <a:extLst>
                    <a:ext uri="{FF2B5EF4-FFF2-40B4-BE49-F238E27FC236}">
                      <a16:creationId xmlns:a16="http://schemas.microsoft.com/office/drawing/2014/main" id="{3EED5332-DFE7-C0EB-4A40-9F1E5D593B5D}"/>
                    </a:ext>
                  </a:extLst>
                </p:cNvPr>
                <p:cNvSpPr txBox="1"/>
                <p:nvPr/>
              </p:nvSpPr>
              <p:spPr>
                <a:xfrm rot="5636">
                  <a:off x="4699577" y="5626549"/>
                  <a:ext cx="414014" cy="249198"/>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118</a:t>
                  </a:r>
                </a:p>
              </p:txBody>
            </p:sp>
            <p:sp>
              <p:nvSpPr>
                <p:cNvPr id="905" name="TextBox 904">
                  <a:extLst>
                    <a:ext uri="{FF2B5EF4-FFF2-40B4-BE49-F238E27FC236}">
                      <a16:creationId xmlns:a16="http://schemas.microsoft.com/office/drawing/2014/main" id="{E784DB76-6084-84F5-60B4-A141C3A695DA}"/>
                    </a:ext>
                  </a:extLst>
                </p:cNvPr>
                <p:cNvSpPr txBox="1"/>
                <p:nvPr/>
              </p:nvSpPr>
              <p:spPr>
                <a:xfrm rot="5636">
                  <a:off x="4878839" y="5626549"/>
                  <a:ext cx="414014" cy="249198"/>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114</a:t>
                  </a:r>
                </a:p>
              </p:txBody>
            </p:sp>
            <p:sp>
              <p:nvSpPr>
                <p:cNvPr id="906" name="TextBox 905">
                  <a:extLst>
                    <a:ext uri="{FF2B5EF4-FFF2-40B4-BE49-F238E27FC236}">
                      <a16:creationId xmlns:a16="http://schemas.microsoft.com/office/drawing/2014/main" id="{DAD32FBA-1076-0C18-162D-3D764E3EC06D}"/>
                    </a:ext>
                  </a:extLst>
                </p:cNvPr>
                <p:cNvSpPr txBox="1"/>
                <p:nvPr/>
              </p:nvSpPr>
              <p:spPr>
                <a:xfrm rot="5636">
                  <a:off x="5058102" y="5626549"/>
                  <a:ext cx="414014" cy="249198"/>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111</a:t>
                  </a:r>
                </a:p>
              </p:txBody>
            </p:sp>
            <p:sp>
              <p:nvSpPr>
                <p:cNvPr id="907" name="TextBox 906">
                  <a:extLst>
                    <a:ext uri="{FF2B5EF4-FFF2-40B4-BE49-F238E27FC236}">
                      <a16:creationId xmlns:a16="http://schemas.microsoft.com/office/drawing/2014/main" id="{7230C0F1-9810-5530-2C1E-7941FC4FCC38}"/>
                    </a:ext>
                  </a:extLst>
                </p:cNvPr>
                <p:cNvSpPr txBox="1"/>
                <p:nvPr/>
              </p:nvSpPr>
              <p:spPr>
                <a:xfrm rot="5636">
                  <a:off x="5237364" y="5626549"/>
                  <a:ext cx="414014" cy="249198"/>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110</a:t>
                  </a:r>
                </a:p>
              </p:txBody>
            </p:sp>
            <p:sp>
              <p:nvSpPr>
                <p:cNvPr id="908" name="TextBox 907">
                  <a:extLst>
                    <a:ext uri="{FF2B5EF4-FFF2-40B4-BE49-F238E27FC236}">
                      <a16:creationId xmlns:a16="http://schemas.microsoft.com/office/drawing/2014/main" id="{8B4452E6-1198-942F-3D5F-C2D2661A0107}"/>
                    </a:ext>
                  </a:extLst>
                </p:cNvPr>
                <p:cNvSpPr txBox="1"/>
                <p:nvPr/>
              </p:nvSpPr>
              <p:spPr>
                <a:xfrm rot="5636">
                  <a:off x="5416626" y="5626549"/>
                  <a:ext cx="414014" cy="249198"/>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106</a:t>
                  </a:r>
                </a:p>
              </p:txBody>
            </p:sp>
            <p:sp>
              <p:nvSpPr>
                <p:cNvPr id="909" name="TextBox 908">
                  <a:extLst>
                    <a:ext uri="{FF2B5EF4-FFF2-40B4-BE49-F238E27FC236}">
                      <a16:creationId xmlns:a16="http://schemas.microsoft.com/office/drawing/2014/main" id="{D65113E8-7EF4-6505-12ED-1D95597DE595}"/>
                    </a:ext>
                  </a:extLst>
                </p:cNvPr>
                <p:cNvSpPr txBox="1"/>
                <p:nvPr/>
              </p:nvSpPr>
              <p:spPr>
                <a:xfrm rot="5636">
                  <a:off x="5622245" y="5626503"/>
                  <a:ext cx="360935" cy="249198"/>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95</a:t>
                  </a:r>
                </a:p>
              </p:txBody>
            </p:sp>
            <p:sp>
              <p:nvSpPr>
                <p:cNvPr id="910" name="TextBox 909">
                  <a:extLst>
                    <a:ext uri="{FF2B5EF4-FFF2-40B4-BE49-F238E27FC236}">
                      <a16:creationId xmlns:a16="http://schemas.microsoft.com/office/drawing/2014/main" id="{3A8D0AA6-E9DB-E459-CC0C-1AAEA91D449D}"/>
                    </a:ext>
                  </a:extLst>
                </p:cNvPr>
                <p:cNvSpPr txBox="1"/>
                <p:nvPr/>
              </p:nvSpPr>
              <p:spPr>
                <a:xfrm rot="5636">
                  <a:off x="5801506" y="5626503"/>
                  <a:ext cx="360935" cy="249198"/>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89</a:t>
                  </a:r>
                </a:p>
              </p:txBody>
            </p:sp>
            <p:sp>
              <p:nvSpPr>
                <p:cNvPr id="911" name="TextBox 910">
                  <a:extLst>
                    <a:ext uri="{FF2B5EF4-FFF2-40B4-BE49-F238E27FC236}">
                      <a16:creationId xmlns:a16="http://schemas.microsoft.com/office/drawing/2014/main" id="{268B3999-2DEA-ECD2-2E79-4F6DDF03A660}"/>
                    </a:ext>
                  </a:extLst>
                </p:cNvPr>
                <p:cNvSpPr txBox="1"/>
                <p:nvPr/>
              </p:nvSpPr>
              <p:spPr>
                <a:xfrm rot="5636">
                  <a:off x="6016063" y="5626503"/>
                  <a:ext cx="360935" cy="249198"/>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79</a:t>
                  </a:r>
                </a:p>
              </p:txBody>
            </p:sp>
            <p:sp>
              <p:nvSpPr>
                <p:cNvPr id="912" name="TextBox 911">
                  <a:extLst>
                    <a:ext uri="{FF2B5EF4-FFF2-40B4-BE49-F238E27FC236}">
                      <a16:creationId xmlns:a16="http://schemas.microsoft.com/office/drawing/2014/main" id="{477F494D-1CC5-7872-5661-32FD33A6D46D}"/>
                    </a:ext>
                  </a:extLst>
                </p:cNvPr>
                <p:cNvSpPr txBox="1"/>
                <p:nvPr/>
              </p:nvSpPr>
              <p:spPr>
                <a:xfrm rot="5636">
                  <a:off x="6195324" y="5626503"/>
                  <a:ext cx="360935" cy="249198"/>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76</a:t>
                  </a:r>
                </a:p>
              </p:txBody>
            </p:sp>
            <p:sp>
              <p:nvSpPr>
                <p:cNvPr id="913" name="TextBox 912">
                  <a:extLst>
                    <a:ext uri="{FF2B5EF4-FFF2-40B4-BE49-F238E27FC236}">
                      <a16:creationId xmlns:a16="http://schemas.microsoft.com/office/drawing/2014/main" id="{B600D22E-2BBC-84D6-6EF1-325FFCBE9D2F}"/>
                    </a:ext>
                  </a:extLst>
                </p:cNvPr>
                <p:cNvSpPr txBox="1"/>
                <p:nvPr/>
              </p:nvSpPr>
              <p:spPr>
                <a:xfrm rot="5636">
                  <a:off x="6374588" y="5626503"/>
                  <a:ext cx="360935" cy="249198"/>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72</a:t>
                  </a:r>
                </a:p>
              </p:txBody>
            </p:sp>
            <p:sp>
              <p:nvSpPr>
                <p:cNvPr id="914" name="TextBox 913">
                  <a:extLst>
                    <a:ext uri="{FF2B5EF4-FFF2-40B4-BE49-F238E27FC236}">
                      <a16:creationId xmlns:a16="http://schemas.microsoft.com/office/drawing/2014/main" id="{DB4E7E9F-A906-D014-8BE4-CE540389E7A6}"/>
                    </a:ext>
                  </a:extLst>
                </p:cNvPr>
                <p:cNvSpPr txBox="1"/>
                <p:nvPr/>
              </p:nvSpPr>
              <p:spPr>
                <a:xfrm rot="5636">
                  <a:off x="6553813" y="5626503"/>
                  <a:ext cx="360935" cy="249198"/>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61</a:t>
                  </a:r>
                </a:p>
              </p:txBody>
            </p:sp>
            <p:sp>
              <p:nvSpPr>
                <p:cNvPr id="915" name="TextBox 914">
                  <a:extLst>
                    <a:ext uri="{FF2B5EF4-FFF2-40B4-BE49-F238E27FC236}">
                      <a16:creationId xmlns:a16="http://schemas.microsoft.com/office/drawing/2014/main" id="{4248D17A-638A-5C8F-BAC7-766DAB9856E0}"/>
                    </a:ext>
                  </a:extLst>
                </p:cNvPr>
                <p:cNvSpPr txBox="1"/>
                <p:nvPr/>
              </p:nvSpPr>
              <p:spPr>
                <a:xfrm rot="5636">
                  <a:off x="6733075" y="5626503"/>
                  <a:ext cx="360935" cy="249198"/>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53</a:t>
                  </a:r>
                </a:p>
              </p:txBody>
            </p:sp>
            <p:sp>
              <p:nvSpPr>
                <p:cNvPr id="916" name="TextBox 915">
                  <a:extLst>
                    <a:ext uri="{FF2B5EF4-FFF2-40B4-BE49-F238E27FC236}">
                      <a16:creationId xmlns:a16="http://schemas.microsoft.com/office/drawing/2014/main" id="{5AD776B6-FB8E-0921-DE67-3AC4737C6B12}"/>
                    </a:ext>
                  </a:extLst>
                </p:cNvPr>
                <p:cNvSpPr txBox="1"/>
                <p:nvPr/>
              </p:nvSpPr>
              <p:spPr>
                <a:xfrm rot="5636">
                  <a:off x="6929984" y="5626503"/>
                  <a:ext cx="360935" cy="249198"/>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50</a:t>
                  </a:r>
                </a:p>
              </p:txBody>
            </p:sp>
            <p:sp>
              <p:nvSpPr>
                <p:cNvPr id="917" name="TextBox 916">
                  <a:extLst>
                    <a:ext uri="{FF2B5EF4-FFF2-40B4-BE49-F238E27FC236}">
                      <a16:creationId xmlns:a16="http://schemas.microsoft.com/office/drawing/2014/main" id="{33CB36D1-3163-614E-DDDD-0C479B99130F}"/>
                    </a:ext>
                  </a:extLst>
                </p:cNvPr>
                <p:cNvSpPr txBox="1"/>
                <p:nvPr/>
              </p:nvSpPr>
              <p:spPr>
                <a:xfrm rot="5636">
                  <a:off x="7109246" y="5626503"/>
                  <a:ext cx="360935" cy="249198"/>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46</a:t>
                  </a:r>
                </a:p>
              </p:txBody>
            </p:sp>
            <p:sp>
              <p:nvSpPr>
                <p:cNvPr id="918" name="TextBox 917">
                  <a:extLst>
                    <a:ext uri="{FF2B5EF4-FFF2-40B4-BE49-F238E27FC236}">
                      <a16:creationId xmlns:a16="http://schemas.microsoft.com/office/drawing/2014/main" id="{596A8A13-DEAC-91BB-2F52-EE520BC61011}"/>
                    </a:ext>
                  </a:extLst>
                </p:cNvPr>
                <p:cNvSpPr txBox="1"/>
                <p:nvPr/>
              </p:nvSpPr>
              <p:spPr>
                <a:xfrm rot="5636">
                  <a:off x="7270860" y="5626503"/>
                  <a:ext cx="360935" cy="249198"/>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38</a:t>
                  </a:r>
                </a:p>
              </p:txBody>
            </p:sp>
            <p:sp>
              <p:nvSpPr>
                <p:cNvPr id="919" name="TextBox 918">
                  <a:extLst>
                    <a:ext uri="{FF2B5EF4-FFF2-40B4-BE49-F238E27FC236}">
                      <a16:creationId xmlns:a16="http://schemas.microsoft.com/office/drawing/2014/main" id="{C969D0AD-657D-DE4A-526E-8AB5A22489DC}"/>
                    </a:ext>
                  </a:extLst>
                </p:cNvPr>
                <p:cNvSpPr txBox="1"/>
                <p:nvPr/>
              </p:nvSpPr>
              <p:spPr>
                <a:xfrm rot="5636">
                  <a:off x="7432476" y="5626503"/>
                  <a:ext cx="360935" cy="249198"/>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33</a:t>
                  </a:r>
                </a:p>
              </p:txBody>
            </p:sp>
            <p:sp>
              <p:nvSpPr>
                <p:cNvPr id="920" name="TextBox 919">
                  <a:extLst>
                    <a:ext uri="{FF2B5EF4-FFF2-40B4-BE49-F238E27FC236}">
                      <a16:creationId xmlns:a16="http://schemas.microsoft.com/office/drawing/2014/main" id="{B1D1E40E-60A5-3D87-5F35-AEB473A06D5B}"/>
                    </a:ext>
                  </a:extLst>
                </p:cNvPr>
                <p:cNvSpPr txBox="1"/>
                <p:nvPr/>
              </p:nvSpPr>
              <p:spPr>
                <a:xfrm rot="5636">
                  <a:off x="7594093" y="5626503"/>
                  <a:ext cx="360935" cy="249198"/>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29</a:t>
                  </a:r>
                </a:p>
              </p:txBody>
            </p:sp>
            <p:sp>
              <p:nvSpPr>
                <p:cNvPr id="921" name="TextBox 920">
                  <a:extLst>
                    <a:ext uri="{FF2B5EF4-FFF2-40B4-BE49-F238E27FC236}">
                      <a16:creationId xmlns:a16="http://schemas.microsoft.com/office/drawing/2014/main" id="{2861CB92-9FE8-EA70-406C-89CDBD1B201B}"/>
                    </a:ext>
                  </a:extLst>
                </p:cNvPr>
                <p:cNvSpPr txBox="1"/>
                <p:nvPr/>
              </p:nvSpPr>
              <p:spPr>
                <a:xfrm rot="5636">
                  <a:off x="7773355" y="5626503"/>
                  <a:ext cx="360935" cy="249198"/>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28</a:t>
                  </a:r>
                </a:p>
              </p:txBody>
            </p:sp>
            <p:sp>
              <p:nvSpPr>
                <p:cNvPr id="922" name="TextBox 921">
                  <a:extLst>
                    <a:ext uri="{FF2B5EF4-FFF2-40B4-BE49-F238E27FC236}">
                      <a16:creationId xmlns:a16="http://schemas.microsoft.com/office/drawing/2014/main" id="{B3F7170F-5A56-34CD-2543-D5FDBDA2D6AF}"/>
                    </a:ext>
                  </a:extLst>
                </p:cNvPr>
                <p:cNvSpPr txBox="1"/>
                <p:nvPr/>
              </p:nvSpPr>
              <p:spPr>
                <a:xfrm rot="5636">
                  <a:off x="7952618" y="5626503"/>
                  <a:ext cx="360935" cy="249198"/>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25</a:t>
                  </a:r>
                </a:p>
              </p:txBody>
            </p:sp>
            <p:sp>
              <p:nvSpPr>
                <p:cNvPr id="923" name="TextBox 922">
                  <a:extLst>
                    <a:ext uri="{FF2B5EF4-FFF2-40B4-BE49-F238E27FC236}">
                      <a16:creationId xmlns:a16="http://schemas.microsoft.com/office/drawing/2014/main" id="{1729D721-6C9F-91EA-2937-71136AAE2E7D}"/>
                    </a:ext>
                  </a:extLst>
                </p:cNvPr>
                <p:cNvSpPr txBox="1"/>
                <p:nvPr/>
              </p:nvSpPr>
              <p:spPr>
                <a:xfrm rot="5636">
                  <a:off x="8131844" y="5626503"/>
                  <a:ext cx="360935" cy="249198"/>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22</a:t>
                  </a:r>
                </a:p>
              </p:txBody>
            </p:sp>
            <p:sp>
              <p:nvSpPr>
                <p:cNvPr id="924" name="TextBox 923">
                  <a:extLst>
                    <a:ext uri="{FF2B5EF4-FFF2-40B4-BE49-F238E27FC236}">
                      <a16:creationId xmlns:a16="http://schemas.microsoft.com/office/drawing/2014/main" id="{16A6E885-F424-D8E7-F14B-12B90639497B}"/>
                    </a:ext>
                  </a:extLst>
                </p:cNvPr>
                <p:cNvSpPr txBox="1"/>
                <p:nvPr/>
              </p:nvSpPr>
              <p:spPr>
                <a:xfrm rot="5636">
                  <a:off x="8311107" y="5626503"/>
                  <a:ext cx="360935" cy="249198"/>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22</a:t>
                  </a:r>
                </a:p>
              </p:txBody>
            </p:sp>
            <p:sp>
              <p:nvSpPr>
                <p:cNvPr id="925" name="TextBox 924">
                  <a:extLst>
                    <a:ext uri="{FF2B5EF4-FFF2-40B4-BE49-F238E27FC236}">
                      <a16:creationId xmlns:a16="http://schemas.microsoft.com/office/drawing/2014/main" id="{29D190FE-F660-2681-4976-616D533E36C2}"/>
                    </a:ext>
                  </a:extLst>
                </p:cNvPr>
                <p:cNvSpPr txBox="1"/>
                <p:nvPr/>
              </p:nvSpPr>
              <p:spPr>
                <a:xfrm rot="5636">
                  <a:off x="8490369" y="5626503"/>
                  <a:ext cx="360935" cy="249198"/>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18</a:t>
                  </a:r>
                </a:p>
              </p:txBody>
            </p:sp>
            <p:sp>
              <p:nvSpPr>
                <p:cNvPr id="926" name="TextBox 925">
                  <a:extLst>
                    <a:ext uri="{FF2B5EF4-FFF2-40B4-BE49-F238E27FC236}">
                      <a16:creationId xmlns:a16="http://schemas.microsoft.com/office/drawing/2014/main" id="{75D36A3D-D09A-BCCE-573B-111CB4EE89E1}"/>
                    </a:ext>
                  </a:extLst>
                </p:cNvPr>
                <p:cNvSpPr txBox="1"/>
                <p:nvPr/>
              </p:nvSpPr>
              <p:spPr>
                <a:xfrm rot="5636">
                  <a:off x="8669630" y="5626503"/>
                  <a:ext cx="360935" cy="249198"/>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15</a:t>
                  </a:r>
                </a:p>
              </p:txBody>
            </p:sp>
            <p:sp>
              <p:nvSpPr>
                <p:cNvPr id="927" name="TextBox 926">
                  <a:extLst>
                    <a:ext uri="{FF2B5EF4-FFF2-40B4-BE49-F238E27FC236}">
                      <a16:creationId xmlns:a16="http://schemas.microsoft.com/office/drawing/2014/main" id="{6D16E650-42F6-0892-EAD5-00D96E271A2F}"/>
                    </a:ext>
                  </a:extLst>
                </p:cNvPr>
                <p:cNvSpPr txBox="1"/>
                <p:nvPr/>
              </p:nvSpPr>
              <p:spPr>
                <a:xfrm rot="5636">
                  <a:off x="8848892" y="5626503"/>
                  <a:ext cx="360935" cy="249198"/>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13</a:t>
                  </a:r>
                </a:p>
              </p:txBody>
            </p:sp>
            <p:sp>
              <p:nvSpPr>
                <p:cNvPr id="928" name="TextBox 927">
                  <a:extLst>
                    <a:ext uri="{FF2B5EF4-FFF2-40B4-BE49-F238E27FC236}">
                      <a16:creationId xmlns:a16="http://schemas.microsoft.com/office/drawing/2014/main" id="{38904F3B-FCA6-4E35-6DF6-CC0307857B00}"/>
                    </a:ext>
                  </a:extLst>
                </p:cNvPr>
                <p:cNvSpPr txBox="1"/>
                <p:nvPr/>
              </p:nvSpPr>
              <p:spPr>
                <a:xfrm rot="5636">
                  <a:off x="9081096" y="5626503"/>
                  <a:ext cx="360935" cy="249198"/>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12</a:t>
                  </a:r>
                </a:p>
              </p:txBody>
            </p:sp>
            <p:sp>
              <p:nvSpPr>
                <p:cNvPr id="929" name="TextBox 928">
                  <a:extLst>
                    <a:ext uri="{FF2B5EF4-FFF2-40B4-BE49-F238E27FC236}">
                      <a16:creationId xmlns:a16="http://schemas.microsoft.com/office/drawing/2014/main" id="{5DA279A5-2923-0942-0F2B-7715457B0BF5}"/>
                    </a:ext>
                  </a:extLst>
                </p:cNvPr>
                <p:cNvSpPr txBox="1"/>
                <p:nvPr/>
              </p:nvSpPr>
              <p:spPr>
                <a:xfrm rot="5636">
                  <a:off x="9269065" y="5626458"/>
                  <a:ext cx="307856" cy="249198"/>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7</a:t>
                  </a:r>
                </a:p>
              </p:txBody>
            </p:sp>
            <p:sp>
              <p:nvSpPr>
                <p:cNvPr id="930" name="TextBox 929">
                  <a:extLst>
                    <a:ext uri="{FF2B5EF4-FFF2-40B4-BE49-F238E27FC236}">
                      <a16:creationId xmlns:a16="http://schemas.microsoft.com/office/drawing/2014/main" id="{DDAAF9EB-420A-E63E-F29E-3518856F1A99}"/>
                    </a:ext>
                  </a:extLst>
                </p:cNvPr>
                <p:cNvSpPr txBox="1"/>
                <p:nvPr/>
              </p:nvSpPr>
              <p:spPr>
                <a:xfrm rot="5636">
                  <a:off x="9413036" y="5626458"/>
                  <a:ext cx="307856" cy="249198"/>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6</a:t>
                  </a:r>
                </a:p>
              </p:txBody>
            </p:sp>
            <p:sp>
              <p:nvSpPr>
                <p:cNvPr id="931" name="TextBox 930">
                  <a:extLst>
                    <a:ext uri="{FF2B5EF4-FFF2-40B4-BE49-F238E27FC236}">
                      <a16:creationId xmlns:a16="http://schemas.microsoft.com/office/drawing/2014/main" id="{BFF27615-9801-C0F2-2CA6-F672B0749857}"/>
                    </a:ext>
                  </a:extLst>
                </p:cNvPr>
                <p:cNvSpPr txBox="1"/>
                <p:nvPr/>
              </p:nvSpPr>
              <p:spPr>
                <a:xfrm rot="5636">
                  <a:off x="9592296" y="5626458"/>
                  <a:ext cx="307856" cy="249198"/>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5</a:t>
                  </a:r>
                </a:p>
              </p:txBody>
            </p:sp>
            <p:sp>
              <p:nvSpPr>
                <p:cNvPr id="932" name="TextBox 931">
                  <a:extLst>
                    <a:ext uri="{FF2B5EF4-FFF2-40B4-BE49-F238E27FC236}">
                      <a16:creationId xmlns:a16="http://schemas.microsoft.com/office/drawing/2014/main" id="{6B891CC3-CE5F-38E9-1554-365716EEAC95}"/>
                    </a:ext>
                  </a:extLst>
                </p:cNvPr>
                <p:cNvSpPr txBox="1"/>
                <p:nvPr/>
              </p:nvSpPr>
              <p:spPr>
                <a:xfrm rot="5636">
                  <a:off x="9771525" y="5626458"/>
                  <a:ext cx="307856" cy="249198"/>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4</a:t>
                  </a:r>
                </a:p>
              </p:txBody>
            </p:sp>
            <p:sp>
              <p:nvSpPr>
                <p:cNvPr id="933" name="TextBox 932">
                  <a:extLst>
                    <a:ext uri="{FF2B5EF4-FFF2-40B4-BE49-F238E27FC236}">
                      <a16:creationId xmlns:a16="http://schemas.microsoft.com/office/drawing/2014/main" id="{FF603DC2-F44F-875B-2C51-1B13BA45E6C8}"/>
                    </a:ext>
                  </a:extLst>
                </p:cNvPr>
                <p:cNvSpPr txBox="1"/>
                <p:nvPr/>
              </p:nvSpPr>
              <p:spPr>
                <a:xfrm rot="5636">
                  <a:off x="9950786" y="5626458"/>
                  <a:ext cx="307856" cy="249198"/>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3</a:t>
                  </a:r>
                </a:p>
              </p:txBody>
            </p:sp>
            <p:sp>
              <p:nvSpPr>
                <p:cNvPr id="934" name="TextBox 933">
                  <a:extLst>
                    <a:ext uri="{FF2B5EF4-FFF2-40B4-BE49-F238E27FC236}">
                      <a16:creationId xmlns:a16="http://schemas.microsoft.com/office/drawing/2014/main" id="{9C15BC1F-4AEC-5599-5222-41B6BBD54A32}"/>
                    </a:ext>
                  </a:extLst>
                </p:cNvPr>
                <p:cNvSpPr txBox="1"/>
                <p:nvPr/>
              </p:nvSpPr>
              <p:spPr>
                <a:xfrm rot="5636">
                  <a:off x="10130047" y="5626458"/>
                  <a:ext cx="307856" cy="249198"/>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1</a:t>
                  </a:r>
                </a:p>
              </p:txBody>
            </p:sp>
            <p:sp>
              <p:nvSpPr>
                <p:cNvPr id="935" name="TextBox 934">
                  <a:extLst>
                    <a:ext uri="{FF2B5EF4-FFF2-40B4-BE49-F238E27FC236}">
                      <a16:creationId xmlns:a16="http://schemas.microsoft.com/office/drawing/2014/main" id="{DA8D7149-4176-312C-688E-DA7F4A6FE7BF}"/>
                    </a:ext>
                  </a:extLst>
                </p:cNvPr>
                <p:cNvSpPr txBox="1"/>
                <p:nvPr/>
              </p:nvSpPr>
              <p:spPr>
                <a:xfrm rot="5636">
                  <a:off x="10309310" y="5626458"/>
                  <a:ext cx="307856" cy="249198"/>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1</a:t>
                  </a:r>
                </a:p>
              </p:txBody>
            </p:sp>
            <p:sp>
              <p:nvSpPr>
                <p:cNvPr id="936" name="TextBox 935">
                  <a:extLst>
                    <a:ext uri="{FF2B5EF4-FFF2-40B4-BE49-F238E27FC236}">
                      <a16:creationId xmlns:a16="http://schemas.microsoft.com/office/drawing/2014/main" id="{667B0E4F-5071-F72C-B5E9-BC8E8AB85E0B}"/>
                    </a:ext>
                  </a:extLst>
                </p:cNvPr>
                <p:cNvSpPr txBox="1"/>
                <p:nvPr/>
              </p:nvSpPr>
              <p:spPr>
                <a:xfrm rot="5636">
                  <a:off x="10488572" y="5626458"/>
                  <a:ext cx="307856" cy="249198"/>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0</a:t>
                  </a:r>
                </a:p>
              </p:txBody>
            </p:sp>
            <p:sp>
              <p:nvSpPr>
                <p:cNvPr id="937" name="TextBox 936">
                  <a:extLst>
                    <a:ext uri="{FF2B5EF4-FFF2-40B4-BE49-F238E27FC236}">
                      <a16:creationId xmlns:a16="http://schemas.microsoft.com/office/drawing/2014/main" id="{66AC06B0-BC1D-C8B8-F2F8-563E8C7F76F4}"/>
                    </a:ext>
                  </a:extLst>
                </p:cNvPr>
                <p:cNvSpPr txBox="1"/>
                <p:nvPr/>
              </p:nvSpPr>
              <p:spPr>
                <a:xfrm rot="5636">
                  <a:off x="1496216" y="5420747"/>
                  <a:ext cx="885088" cy="272788"/>
                </a:xfrm>
                <a:prstGeom prst="rect">
                  <a:avLst/>
                </a:prstGeom>
                <a:noFill/>
              </p:spPr>
              <p:txBody>
                <a:bodyPr wrap="none" rtlCol="0">
                  <a:spAutoFit/>
                </a:bodyPr>
                <a:lstStyle/>
                <a:p>
                  <a:pPr algn="l"/>
                  <a:r>
                    <a:rPr lang="en-US" sz="648" dirty="0">
                      <a:ln/>
                      <a:solidFill>
                        <a:srgbClr val="000000"/>
                      </a:solidFill>
                      <a:latin typeface="HelveticaNeue"/>
                      <a:ea typeface="HelveticaNeue"/>
                      <a:cs typeface="HelveticaNeue"/>
                      <a:sym typeface="HelveticaNeue"/>
                      <a:rtl val="0"/>
                    </a:rPr>
                    <a:t>T-DXd (406)</a:t>
                  </a:r>
                </a:p>
              </p:txBody>
            </p:sp>
            <p:sp>
              <p:nvSpPr>
                <p:cNvPr id="938" name="TextBox 937">
                  <a:extLst>
                    <a:ext uri="{FF2B5EF4-FFF2-40B4-BE49-F238E27FC236}">
                      <a16:creationId xmlns:a16="http://schemas.microsoft.com/office/drawing/2014/main" id="{AECAA3D5-853D-2EBB-9F93-43A7615296B0}"/>
                    </a:ext>
                  </a:extLst>
                </p:cNvPr>
                <p:cNvSpPr txBox="1"/>
                <p:nvPr/>
              </p:nvSpPr>
              <p:spPr>
                <a:xfrm rot="5636">
                  <a:off x="2369343" y="5442091"/>
                  <a:ext cx="414014" cy="249198"/>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404</a:t>
                  </a:r>
                </a:p>
              </p:txBody>
            </p:sp>
            <p:sp>
              <p:nvSpPr>
                <p:cNvPr id="939" name="TextBox 938">
                  <a:extLst>
                    <a:ext uri="{FF2B5EF4-FFF2-40B4-BE49-F238E27FC236}">
                      <a16:creationId xmlns:a16="http://schemas.microsoft.com/office/drawing/2014/main" id="{E35888BB-979B-BA41-8B89-2449105A77DF}"/>
                    </a:ext>
                  </a:extLst>
                </p:cNvPr>
                <p:cNvSpPr txBox="1"/>
                <p:nvPr/>
              </p:nvSpPr>
              <p:spPr>
                <a:xfrm rot="5636">
                  <a:off x="2186395" y="5442091"/>
                  <a:ext cx="414014" cy="249198"/>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406</a:t>
                  </a:r>
                </a:p>
              </p:txBody>
            </p:sp>
            <p:sp>
              <p:nvSpPr>
                <p:cNvPr id="940" name="TextBox 939">
                  <a:extLst>
                    <a:ext uri="{FF2B5EF4-FFF2-40B4-BE49-F238E27FC236}">
                      <a16:creationId xmlns:a16="http://schemas.microsoft.com/office/drawing/2014/main" id="{2A66EA79-7B24-B5A5-1765-09964244C339}"/>
                    </a:ext>
                  </a:extLst>
                </p:cNvPr>
                <p:cNvSpPr txBox="1"/>
                <p:nvPr/>
              </p:nvSpPr>
              <p:spPr>
                <a:xfrm rot="5636">
                  <a:off x="2548605" y="5442091"/>
                  <a:ext cx="414014" cy="249198"/>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400</a:t>
                  </a:r>
                </a:p>
              </p:txBody>
            </p:sp>
            <p:sp>
              <p:nvSpPr>
                <p:cNvPr id="941" name="TextBox 940">
                  <a:extLst>
                    <a:ext uri="{FF2B5EF4-FFF2-40B4-BE49-F238E27FC236}">
                      <a16:creationId xmlns:a16="http://schemas.microsoft.com/office/drawing/2014/main" id="{34E4097F-FA71-7401-FFEA-0E2CC7C98991}"/>
                    </a:ext>
                  </a:extLst>
                </p:cNvPr>
                <p:cNvSpPr txBox="1"/>
                <p:nvPr/>
              </p:nvSpPr>
              <p:spPr>
                <a:xfrm rot="5636">
                  <a:off x="2727850" y="5442091"/>
                  <a:ext cx="414014" cy="249198"/>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390</a:t>
                  </a:r>
                </a:p>
              </p:txBody>
            </p:sp>
            <p:sp>
              <p:nvSpPr>
                <p:cNvPr id="942" name="TextBox 941">
                  <a:extLst>
                    <a:ext uri="{FF2B5EF4-FFF2-40B4-BE49-F238E27FC236}">
                      <a16:creationId xmlns:a16="http://schemas.microsoft.com/office/drawing/2014/main" id="{1110E475-715E-9A39-398F-92F9FA4BD620}"/>
                    </a:ext>
                  </a:extLst>
                </p:cNvPr>
                <p:cNvSpPr txBox="1"/>
                <p:nvPr/>
              </p:nvSpPr>
              <p:spPr>
                <a:xfrm rot="5636">
                  <a:off x="2907112" y="5442091"/>
                  <a:ext cx="414014" cy="249198"/>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385</a:t>
                  </a:r>
                </a:p>
              </p:txBody>
            </p:sp>
            <p:sp>
              <p:nvSpPr>
                <p:cNvPr id="943" name="TextBox 942">
                  <a:extLst>
                    <a:ext uri="{FF2B5EF4-FFF2-40B4-BE49-F238E27FC236}">
                      <a16:creationId xmlns:a16="http://schemas.microsoft.com/office/drawing/2014/main" id="{F31C2D74-0DCC-4249-9E36-984B7789D686}"/>
                    </a:ext>
                  </a:extLst>
                </p:cNvPr>
                <p:cNvSpPr txBox="1"/>
                <p:nvPr/>
              </p:nvSpPr>
              <p:spPr>
                <a:xfrm rot="5636">
                  <a:off x="3086374" y="5442091"/>
                  <a:ext cx="414014" cy="249198"/>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382</a:t>
                  </a:r>
                </a:p>
              </p:txBody>
            </p:sp>
            <p:sp>
              <p:nvSpPr>
                <p:cNvPr id="944" name="TextBox 943">
                  <a:extLst>
                    <a:ext uri="{FF2B5EF4-FFF2-40B4-BE49-F238E27FC236}">
                      <a16:creationId xmlns:a16="http://schemas.microsoft.com/office/drawing/2014/main" id="{C4B54857-C160-98FF-BAFA-A8DC85FF8FE7}"/>
                    </a:ext>
                  </a:extLst>
                </p:cNvPr>
                <p:cNvSpPr txBox="1"/>
                <p:nvPr/>
              </p:nvSpPr>
              <p:spPr>
                <a:xfrm rot="5636">
                  <a:off x="3265620" y="5442091"/>
                  <a:ext cx="414014" cy="249198"/>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374</a:t>
                  </a:r>
                </a:p>
              </p:txBody>
            </p:sp>
            <p:sp>
              <p:nvSpPr>
                <p:cNvPr id="945" name="TextBox 944">
                  <a:extLst>
                    <a:ext uri="{FF2B5EF4-FFF2-40B4-BE49-F238E27FC236}">
                      <a16:creationId xmlns:a16="http://schemas.microsoft.com/office/drawing/2014/main" id="{3F261DB1-02F0-FD94-2BD3-866BA1FD47B3}"/>
                    </a:ext>
                  </a:extLst>
                </p:cNvPr>
                <p:cNvSpPr txBox="1"/>
                <p:nvPr/>
              </p:nvSpPr>
              <p:spPr>
                <a:xfrm rot="5636">
                  <a:off x="3444881" y="5442091"/>
                  <a:ext cx="414014" cy="249198"/>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366</a:t>
                  </a:r>
                </a:p>
              </p:txBody>
            </p:sp>
            <p:sp>
              <p:nvSpPr>
                <p:cNvPr id="946" name="TextBox 945">
                  <a:extLst>
                    <a:ext uri="{FF2B5EF4-FFF2-40B4-BE49-F238E27FC236}">
                      <a16:creationId xmlns:a16="http://schemas.microsoft.com/office/drawing/2014/main" id="{6CF2E539-7CCA-3058-CFEE-C7F203ED6515}"/>
                    </a:ext>
                  </a:extLst>
                </p:cNvPr>
                <p:cNvSpPr txBox="1"/>
                <p:nvPr/>
              </p:nvSpPr>
              <p:spPr>
                <a:xfrm rot="5636">
                  <a:off x="3624142" y="5442091"/>
                  <a:ext cx="414014" cy="249198"/>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357</a:t>
                  </a:r>
                </a:p>
              </p:txBody>
            </p:sp>
            <p:sp>
              <p:nvSpPr>
                <p:cNvPr id="947" name="TextBox 946">
                  <a:extLst>
                    <a:ext uri="{FF2B5EF4-FFF2-40B4-BE49-F238E27FC236}">
                      <a16:creationId xmlns:a16="http://schemas.microsoft.com/office/drawing/2014/main" id="{09B036B2-113E-AF6B-0BEA-33399227AE81}"/>
                    </a:ext>
                  </a:extLst>
                </p:cNvPr>
                <p:cNvSpPr txBox="1"/>
                <p:nvPr/>
              </p:nvSpPr>
              <p:spPr>
                <a:xfrm rot="5636">
                  <a:off x="3803389" y="5442091"/>
                  <a:ext cx="414014" cy="249198"/>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352</a:t>
                  </a:r>
                </a:p>
              </p:txBody>
            </p:sp>
            <p:sp>
              <p:nvSpPr>
                <p:cNvPr id="948" name="TextBox 947">
                  <a:extLst>
                    <a:ext uri="{FF2B5EF4-FFF2-40B4-BE49-F238E27FC236}">
                      <a16:creationId xmlns:a16="http://schemas.microsoft.com/office/drawing/2014/main" id="{29A2DFED-7DEE-726E-739D-C6AD49E2EE1B}"/>
                    </a:ext>
                  </a:extLst>
                </p:cNvPr>
                <p:cNvSpPr txBox="1"/>
                <p:nvPr/>
              </p:nvSpPr>
              <p:spPr>
                <a:xfrm rot="5636">
                  <a:off x="3982652" y="5442091"/>
                  <a:ext cx="414014" cy="249198"/>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350</a:t>
                  </a:r>
                </a:p>
              </p:txBody>
            </p:sp>
            <p:sp>
              <p:nvSpPr>
                <p:cNvPr id="949" name="TextBox 948">
                  <a:extLst>
                    <a:ext uri="{FF2B5EF4-FFF2-40B4-BE49-F238E27FC236}">
                      <a16:creationId xmlns:a16="http://schemas.microsoft.com/office/drawing/2014/main" id="{DBF519C8-2139-5730-DB49-ACC6B199FEDC}"/>
                    </a:ext>
                  </a:extLst>
                </p:cNvPr>
                <p:cNvSpPr txBox="1"/>
                <p:nvPr/>
              </p:nvSpPr>
              <p:spPr>
                <a:xfrm rot="5636">
                  <a:off x="4161894" y="5442091"/>
                  <a:ext cx="414014" cy="249198"/>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346</a:t>
                  </a:r>
                </a:p>
              </p:txBody>
            </p:sp>
            <p:sp>
              <p:nvSpPr>
                <p:cNvPr id="950" name="TextBox 949">
                  <a:extLst>
                    <a:ext uri="{FF2B5EF4-FFF2-40B4-BE49-F238E27FC236}">
                      <a16:creationId xmlns:a16="http://schemas.microsoft.com/office/drawing/2014/main" id="{B762AD53-1CE1-A495-8F78-3A03FDEABC35}"/>
                    </a:ext>
                  </a:extLst>
                </p:cNvPr>
                <p:cNvSpPr txBox="1"/>
                <p:nvPr/>
              </p:nvSpPr>
              <p:spPr>
                <a:xfrm rot="5636">
                  <a:off x="4341156" y="5442091"/>
                  <a:ext cx="414014" cy="249198"/>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339</a:t>
                  </a:r>
                </a:p>
              </p:txBody>
            </p:sp>
            <p:sp>
              <p:nvSpPr>
                <p:cNvPr id="951" name="TextBox 950">
                  <a:extLst>
                    <a:ext uri="{FF2B5EF4-FFF2-40B4-BE49-F238E27FC236}">
                      <a16:creationId xmlns:a16="http://schemas.microsoft.com/office/drawing/2014/main" id="{D5053920-B722-D2F1-0E2A-EB5DB6D41808}"/>
                    </a:ext>
                  </a:extLst>
                </p:cNvPr>
                <p:cNvSpPr txBox="1"/>
                <p:nvPr/>
              </p:nvSpPr>
              <p:spPr>
                <a:xfrm rot="5636">
                  <a:off x="4520419" y="5442091"/>
                  <a:ext cx="414014" cy="249198"/>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331</a:t>
                  </a:r>
                </a:p>
              </p:txBody>
            </p:sp>
            <p:sp>
              <p:nvSpPr>
                <p:cNvPr id="952" name="TextBox 951">
                  <a:extLst>
                    <a:ext uri="{FF2B5EF4-FFF2-40B4-BE49-F238E27FC236}">
                      <a16:creationId xmlns:a16="http://schemas.microsoft.com/office/drawing/2014/main" id="{7D2AF095-3F91-46EB-180A-C54BC0A7BB59}"/>
                    </a:ext>
                  </a:extLst>
                </p:cNvPr>
                <p:cNvSpPr txBox="1"/>
                <p:nvPr/>
              </p:nvSpPr>
              <p:spPr>
                <a:xfrm rot="5636">
                  <a:off x="4699682" y="5442091"/>
                  <a:ext cx="414014" cy="249198"/>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317</a:t>
                  </a:r>
                </a:p>
              </p:txBody>
            </p:sp>
            <p:sp>
              <p:nvSpPr>
                <p:cNvPr id="953" name="TextBox 952">
                  <a:extLst>
                    <a:ext uri="{FF2B5EF4-FFF2-40B4-BE49-F238E27FC236}">
                      <a16:creationId xmlns:a16="http://schemas.microsoft.com/office/drawing/2014/main" id="{1867F2D1-18B0-1511-AD40-F79943BFED52}"/>
                    </a:ext>
                  </a:extLst>
                </p:cNvPr>
                <p:cNvSpPr txBox="1"/>
                <p:nvPr/>
              </p:nvSpPr>
              <p:spPr>
                <a:xfrm rot="5636">
                  <a:off x="4878944" y="5442091"/>
                  <a:ext cx="414014" cy="249198"/>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306</a:t>
                  </a:r>
                </a:p>
              </p:txBody>
            </p:sp>
            <p:sp>
              <p:nvSpPr>
                <p:cNvPr id="954" name="TextBox 953">
                  <a:extLst>
                    <a:ext uri="{FF2B5EF4-FFF2-40B4-BE49-F238E27FC236}">
                      <a16:creationId xmlns:a16="http://schemas.microsoft.com/office/drawing/2014/main" id="{73C8B54F-9800-5AE4-BE10-8C183FDD8613}"/>
                    </a:ext>
                  </a:extLst>
                </p:cNvPr>
                <p:cNvSpPr txBox="1"/>
                <p:nvPr/>
              </p:nvSpPr>
              <p:spPr>
                <a:xfrm rot="5636">
                  <a:off x="5058170" y="5442091"/>
                  <a:ext cx="414014" cy="249198"/>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295</a:t>
                  </a:r>
                </a:p>
              </p:txBody>
            </p:sp>
            <p:sp>
              <p:nvSpPr>
                <p:cNvPr id="955" name="TextBox 954">
                  <a:extLst>
                    <a:ext uri="{FF2B5EF4-FFF2-40B4-BE49-F238E27FC236}">
                      <a16:creationId xmlns:a16="http://schemas.microsoft.com/office/drawing/2014/main" id="{2B04FF6E-BBD7-ED44-5F54-8DC3C11D5AD9}"/>
                    </a:ext>
                  </a:extLst>
                </p:cNvPr>
                <p:cNvSpPr txBox="1"/>
                <p:nvPr/>
              </p:nvSpPr>
              <p:spPr>
                <a:xfrm rot="5636">
                  <a:off x="5237433" y="5442091"/>
                  <a:ext cx="414014" cy="249198"/>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282</a:t>
                  </a:r>
                </a:p>
              </p:txBody>
            </p:sp>
            <p:sp>
              <p:nvSpPr>
                <p:cNvPr id="956" name="TextBox 955">
                  <a:extLst>
                    <a:ext uri="{FF2B5EF4-FFF2-40B4-BE49-F238E27FC236}">
                      <a16:creationId xmlns:a16="http://schemas.microsoft.com/office/drawing/2014/main" id="{8C3EE979-1CF9-ABAE-73EB-17D3F3C7BA67}"/>
                    </a:ext>
                  </a:extLst>
                </p:cNvPr>
                <p:cNvSpPr txBox="1"/>
                <p:nvPr/>
              </p:nvSpPr>
              <p:spPr>
                <a:xfrm rot="5636">
                  <a:off x="5416696" y="5442091"/>
                  <a:ext cx="414014" cy="249198"/>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277</a:t>
                  </a:r>
                </a:p>
              </p:txBody>
            </p:sp>
            <p:sp>
              <p:nvSpPr>
                <p:cNvPr id="957" name="TextBox 956">
                  <a:extLst>
                    <a:ext uri="{FF2B5EF4-FFF2-40B4-BE49-F238E27FC236}">
                      <a16:creationId xmlns:a16="http://schemas.microsoft.com/office/drawing/2014/main" id="{FA75CE90-2EBE-1D09-A904-A9F81F1F2163}"/>
                    </a:ext>
                  </a:extLst>
                </p:cNvPr>
                <p:cNvSpPr txBox="1"/>
                <p:nvPr/>
              </p:nvSpPr>
              <p:spPr>
                <a:xfrm rot="5636">
                  <a:off x="5595959" y="5442091"/>
                  <a:ext cx="414014" cy="249198"/>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257</a:t>
                  </a:r>
                </a:p>
              </p:txBody>
            </p:sp>
            <p:sp>
              <p:nvSpPr>
                <p:cNvPr id="958" name="TextBox 957">
                  <a:extLst>
                    <a:ext uri="{FF2B5EF4-FFF2-40B4-BE49-F238E27FC236}">
                      <a16:creationId xmlns:a16="http://schemas.microsoft.com/office/drawing/2014/main" id="{FC88E2DE-226D-73A9-B272-722889E254FC}"/>
                    </a:ext>
                  </a:extLst>
                </p:cNvPr>
                <p:cNvSpPr txBox="1"/>
                <p:nvPr/>
              </p:nvSpPr>
              <p:spPr>
                <a:xfrm rot="5636">
                  <a:off x="5775219" y="5442091"/>
                  <a:ext cx="414014" cy="249198"/>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234</a:t>
                  </a:r>
                </a:p>
              </p:txBody>
            </p:sp>
            <p:sp>
              <p:nvSpPr>
                <p:cNvPr id="959" name="TextBox 958">
                  <a:extLst>
                    <a:ext uri="{FF2B5EF4-FFF2-40B4-BE49-F238E27FC236}">
                      <a16:creationId xmlns:a16="http://schemas.microsoft.com/office/drawing/2014/main" id="{5766F5CD-139C-6E7C-6EAA-FE0DE91DA6B2}"/>
                    </a:ext>
                  </a:extLst>
                </p:cNvPr>
                <p:cNvSpPr txBox="1"/>
                <p:nvPr/>
              </p:nvSpPr>
              <p:spPr>
                <a:xfrm rot="5636">
                  <a:off x="5981710" y="5442091"/>
                  <a:ext cx="414014" cy="249198"/>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215</a:t>
                  </a:r>
                </a:p>
              </p:txBody>
            </p:sp>
            <p:sp>
              <p:nvSpPr>
                <p:cNvPr id="960" name="TextBox 959">
                  <a:extLst>
                    <a:ext uri="{FF2B5EF4-FFF2-40B4-BE49-F238E27FC236}">
                      <a16:creationId xmlns:a16="http://schemas.microsoft.com/office/drawing/2014/main" id="{43A32325-102A-808E-7E32-7F34A14C5404}"/>
                    </a:ext>
                  </a:extLst>
                </p:cNvPr>
                <p:cNvSpPr txBox="1"/>
                <p:nvPr/>
              </p:nvSpPr>
              <p:spPr>
                <a:xfrm rot="5636">
                  <a:off x="6160972" y="5442091"/>
                  <a:ext cx="414014" cy="249198"/>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196</a:t>
                  </a:r>
                </a:p>
              </p:txBody>
            </p:sp>
            <p:sp>
              <p:nvSpPr>
                <p:cNvPr id="961" name="TextBox 960">
                  <a:extLst>
                    <a:ext uri="{FF2B5EF4-FFF2-40B4-BE49-F238E27FC236}">
                      <a16:creationId xmlns:a16="http://schemas.microsoft.com/office/drawing/2014/main" id="{B602BFA4-8649-CE23-FD4A-0B4C5C0D4643}"/>
                    </a:ext>
                  </a:extLst>
                </p:cNvPr>
                <p:cNvSpPr txBox="1"/>
                <p:nvPr/>
              </p:nvSpPr>
              <p:spPr>
                <a:xfrm rot="5636">
                  <a:off x="6340235" y="5442091"/>
                  <a:ext cx="414014" cy="249198"/>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183</a:t>
                  </a:r>
                </a:p>
              </p:txBody>
            </p:sp>
            <p:sp>
              <p:nvSpPr>
                <p:cNvPr id="962" name="TextBox 961">
                  <a:extLst>
                    <a:ext uri="{FF2B5EF4-FFF2-40B4-BE49-F238E27FC236}">
                      <a16:creationId xmlns:a16="http://schemas.microsoft.com/office/drawing/2014/main" id="{E5617CCB-8152-A1C7-5A1F-C954473BAB8B}"/>
                    </a:ext>
                  </a:extLst>
                </p:cNvPr>
                <p:cNvSpPr txBox="1"/>
                <p:nvPr/>
              </p:nvSpPr>
              <p:spPr>
                <a:xfrm rot="5636">
                  <a:off x="6519495" y="5442091"/>
                  <a:ext cx="414014" cy="249198"/>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160</a:t>
                  </a:r>
                </a:p>
              </p:txBody>
            </p:sp>
            <p:sp>
              <p:nvSpPr>
                <p:cNvPr id="963" name="TextBox 962">
                  <a:extLst>
                    <a:ext uri="{FF2B5EF4-FFF2-40B4-BE49-F238E27FC236}">
                      <a16:creationId xmlns:a16="http://schemas.microsoft.com/office/drawing/2014/main" id="{767746ED-256A-8108-1242-A033F2D9696F}"/>
                    </a:ext>
                  </a:extLst>
                </p:cNvPr>
                <p:cNvSpPr txBox="1"/>
                <p:nvPr/>
              </p:nvSpPr>
              <p:spPr>
                <a:xfrm rot="5636">
                  <a:off x="6698757" y="5442091"/>
                  <a:ext cx="414014" cy="249198"/>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144</a:t>
                  </a:r>
                </a:p>
              </p:txBody>
            </p:sp>
            <p:sp>
              <p:nvSpPr>
                <p:cNvPr id="964" name="TextBox 963">
                  <a:extLst>
                    <a:ext uri="{FF2B5EF4-FFF2-40B4-BE49-F238E27FC236}">
                      <a16:creationId xmlns:a16="http://schemas.microsoft.com/office/drawing/2014/main" id="{495B7E1C-38EE-DAEE-20B8-014A26D3C42B}"/>
                    </a:ext>
                  </a:extLst>
                </p:cNvPr>
                <p:cNvSpPr txBox="1"/>
                <p:nvPr/>
              </p:nvSpPr>
              <p:spPr>
                <a:xfrm rot="5636">
                  <a:off x="6878020" y="5442091"/>
                  <a:ext cx="414014" cy="249198"/>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139</a:t>
                  </a:r>
                </a:p>
              </p:txBody>
            </p:sp>
            <p:sp>
              <p:nvSpPr>
                <p:cNvPr id="965" name="TextBox 964">
                  <a:extLst>
                    <a:ext uri="{FF2B5EF4-FFF2-40B4-BE49-F238E27FC236}">
                      <a16:creationId xmlns:a16="http://schemas.microsoft.com/office/drawing/2014/main" id="{14D4DD04-CD08-FE5C-0FF9-02CF2346E758}"/>
                    </a:ext>
                  </a:extLst>
                </p:cNvPr>
                <p:cNvSpPr txBox="1"/>
                <p:nvPr/>
              </p:nvSpPr>
              <p:spPr>
                <a:xfrm rot="5636">
                  <a:off x="7057249" y="5442091"/>
                  <a:ext cx="414014" cy="249198"/>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122</a:t>
                  </a:r>
                </a:p>
              </p:txBody>
            </p:sp>
            <p:sp>
              <p:nvSpPr>
                <p:cNvPr id="966" name="TextBox 965">
                  <a:extLst>
                    <a:ext uri="{FF2B5EF4-FFF2-40B4-BE49-F238E27FC236}">
                      <a16:creationId xmlns:a16="http://schemas.microsoft.com/office/drawing/2014/main" id="{52DFDEF7-C76F-3359-9A9E-3C9D8D0B2F9B}"/>
                    </a:ext>
                  </a:extLst>
                </p:cNvPr>
                <p:cNvSpPr txBox="1"/>
                <p:nvPr/>
              </p:nvSpPr>
              <p:spPr>
                <a:xfrm rot="5636">
                  <a:off x="7236511" y="5442091"/>
                  <a:ext cx="414014" cy="249198"/>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104</a:t>
                  </a:r>
                </a:p>
              </p:txBody>
            </p:sp>
            <p:sp>
              <p:nvSpPr>
                <p:cNvPr id="967" name="TextBox 966">
                  <a:extLst>
                    <a:ext uri="{FF2B5EF4-FFF2-40B4-BE49-F238E27FC236}">
                      <a16:creationId xmlns:a16="http://schemas.microsoft.com/office/drawing/2014/main" id="{755A1A56-7DD2-B3B8-0B92-BCEC564A6ED1}"/>
                    </a:ext>
                  </a:extLst>
                </p:cNvPr>
                <p:cNvSpPr txBox="1"/>
                <p:nvPr/>
              </p:nvSpPr>
              <p:spPr>
                <a:xfrm rot="5636">
                  <a:off x="7432512" y="5442047"/>
                  <a:ext cx="360935" cy="249198"/>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93</a:t>
                  </a:r>
                </a:p>
              </p:txBody>
            </p:sp>
            <p:sp>
              <p:nvSpPr>
                <p:cNvPr id="968" name="TextBox 967">
                  <a:extLst>
                    <a:ext uri="{FF2B5EF4-FFF2-40B4-BE49-F238E27FC236}">
                      <a16:creationId xmlns:a16="http://schemas.microsoft.com/office/drawing/2014/main" id="{4602A923-847B-34F8-0927-83D31A911799}"/>
                    </a:ext>
                  </a:extLst>
                </p:cNvPr>
                <p:cNvSpPr txBox="1"/>
                <p:nvPr/>
              </p:nvSpPr>
              <p:spPr>
                <a:xfrm rot="5636">
                  <a:off x="7594128" y="5442047"/>
                  <a:ext cx="360935" cy="249198"/>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82</a:t>
                  </a:r>
                </a:p>
              </p:txBody>
            </p:sp>
            <p:sp>
              <p:nvSpPr>
                <p:cNvPr id="969" name="TextBox 968">
                  <a:extLst>
                    <a:ext uri="{FF2B5EF4-FFF2-40B4-BE49-F238E27FC236}">
                      <a16:creationId xmlns:a16="http://schemas.microsoft.com/office/drawing/2014/main" id="{D822E2D4-F675-4BCC-D8AC-112AB5F8CA51}"/>
                    </a:ext>
                  </a:extLst>
                </p:cNvPr>
                <p:cNvSpPr txBox="1"/>
                <p:nvPr/>
              </p:nvSpPr>
              <p:spPr>
                <a:xfrm rot="5636">
                  <a:off x="7773389" y="5442047"/>
                  <a:ext cx="360935" cy="249198"/>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72</a:t>
                  </a:r>
                </a:p>
              </p:txBody>
            </p:sp>
            <p:sp>
              <p:nvSpPr>
                <p:cNvPr id="970" name="TextBox 969">
                  <a:extLst>
                    <a:ext uri="{FF2B5EF4-FFF2-40B4-BE49-F238E27FC236}">
                      <a16:creationId xmlns:a16="http://schemas.microsoft.com/office/drawing/2014/main" id="{A7FA0783-6AC5-E964-5FAD-55F9DE6ED7E0}"/>
                    </a:ext>
                  </a:extLst>
                </p:cNvPr>
                <p:cNvSpPr txBox="1"/>
                <p:nvPr/>
              </p:nvSpPr>
              <p:spPr>
                <a:xfrm rot="5636">
                  <a:off x="7952618" y="5442047"/>
                  <a:ext cx="360935" cy="249198"/>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63</a:t>
                  </a:r>
                </a:p>
              </p:txBody>
            </p:sp>
            <p:sp>
              <p:nvSpPr>
                <p:cNvPr id="971" name="TextBox 970">
                  <a:extLst>
                    <a:ext uri="{FF2B5EF4-FFF2-40B4-BE49-F238E27FC236}">
                      <a16:creationId xmlns:a16="http://schemas.microsoft.com/office/drawing/2014/main" id="{EFE90B9F-E12A-9024-611E-8033157CC787}"/>
                    </a:ext>
                  </a:extLst>
                </p:cNvPr>
                <p:cNvSpPr txBox="1"/>
                <p:nvPr/>
              </p:nvSpPr>
              <p:spPr>
                <a:xfrm rot="5636">
                  <a:off x="8131880" y="5442047"/>
                  <a:ext cx="360935" cy="249198"/>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51</a:t>
                  </a:r>
                </a:p>
              </p:txBody>
            </p:sp>
            <p:sp>
              <p:nvSpPr>
                <p:cNvPr id="972" name="TextBox 971">
                  <a:extLst>
                    <a:ext uri="{FF2B5EF4-FFF2-40B4-BE49-F238E27FC236}">
                      <a16:creationId xmlns:a16="http://schemas.microsoft.com/office/drawing/2014/main" id="{7C12E7BB-E601-9523-C7F6-EDDC73BBF03B}"/>
                    </a:ext>
                  </a:extLst>
                </p:cNvPr>
                <p:cNvSpPr txBox="1"/>
                <p:nvPr/>
              </p:nvSpPr>
              <p:spPr>
                <a:xfrm rot="5636">
                  <a:off x="8311141" y="5442047"/>
                  <a:ext cx="360935" cy="249198"/>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40</a:t>
                  </a:r>
                </a:p>
              </p:txBody>
            </p:sp>
            <p:sp>
              <p:nvSpPr>
                <p:cNvPr id="973" name="TextBox 972">
                  <a:extLst>
                    <a:ext uri="{FF2B5EF4-FFF2-40B4-BE49-F238E27FC236}">
                      <a16:creationId xmlns:a16="http://schemas.microsoft.com/office/drawing/2014/main" id="{ABC742BC-8256-1CF6-8D36-CBA6C3ED852D}"/>
                    </a:ext>
                  </a:extLst>
                </p:cNvPr>
                <p:cNvSpPr txBox="1"/>
                <p:nvPr/>
              </p:nvSpPr>
              <p:spPr>
                <a:xfrm rot="5636">
                  <a:off x="8490403" y="5442047"/>
                  <a:ext cx="360935" cy="249198"/>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34</a:t>
                  </a:r>
                </a:p>
              </p:txBody>
            </p:sp>
            <p:sp>
              <p:nvSpPr>
                <p:cNvPr id="974" name="TextBox 973">
                  <a:extLst>
                    <a:ext uri="{FF2B5EF4-FFF2-40B4-BE49-F238E27FC236}">
                      <a16:creationId xmlns:a16="http://schemas.microsoft.com/office/drawing/2014/main" id="{4DE8B814-1AD6-C05D-A011-42EF46E9060E}"/>
                    </a:ext>
                  </a:extLst>
                </p:cNvPr>
                <p:cNvSpPr txBox="1"/>
                <p:nvPr/>
              </p:nvSpPr>
              <p:spPr>
                <a:xfrm rot="5636">
                  <a:off x="8669666" y="5442047"/>
                  <a:ext cx="360935" cy="249198"/>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29</a:t>
                  </a:r>
                </a:p>
              </p:txBody>
            </p:sp>
            <p:sp>
              <p:nvSpPr>
                <p:cNvPr id="975" name="TextBox 974">
                  <a:extLst>
                    <a:ext uri="{FF2B5EF4-FFF2-40B4-BE49-F238E27FC236}">
                      <a16:creationId xmlns:a16="http://schemas.microsoft.com/office/drawing/2014/main" id="{086FA4E8-3B8E-F97E-058A-4A7238A819F5}"/>
                    </a:ext>
                  </a:extLst>
                </p:cNvPr>
                <p:cNvSpPr txBox="1"/>
                <p:nvPr/>
              </p:nvSpPr>
              <p:spPr>
                <a:xfrm rot="5636">
                  <a:off x="8848928" y="5442047"/>
                  <a:ext cx="360935" cy="249198"/>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25</a:t>
                  </a:r>
                </a:p>
              </p:txBody>
            </p:sp>
            <p:sp>
              <p:nvSpPr>
                <p:cNvPr id="976" name="TextBox 975">
                  <a:extLst>
                    <a:ext uri="{FF2B5EF4-FFF2-40B4-BE49-F238E27FC236}">
                      <a16:creationId xmlns:a16="http://schemas.microsoft.com/office/drawing/2014/main" id="{8A8D7CAC-01D7-335E-A0D1-73A91622978C}"/>
                    </a:ext>
                  </a:extLst>
                </p:cNvPr>
                <p:cNvSpPr txBox="1"/>
                <p:nvPr/>
              </p:nvSpPr>
              <p:spPr>
                <a:xfrm rot="5636">
                  <a:off x="9055417" y="5442047"/>
                  <a:ext cx="360935" cy="249198"/>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19</a:t>
                  </a:r>
                </a:p>
              </p:txBody>
            </p:sp>
            <p:sp>
              <p:nvSpPr>
                <p:cNvPr id="977" name="TextBox 976">
                  <a:extLst>
                    <a:ext uri="{FF2B5EF4-FFF2-40B4-BE49-F238E27FC236}">
                      <a16:creationId xmlns:a16="http://schemas.microsoft.com/office/drawing/2014/main" id="{FE68DED2-4138-0B4B-5B9B-C5BCAF26492F}"/>
                    </a:ext>
                  </a:extLst>
                </p:cNvPr>
                <p:cNvSpPr txBox="1"/>
                <p:nvPr/>
              </p:nvSpPr>
              <p:spPr>
                <a:xfrm rot="5636">
                  <a:off x="9234679" y="5442047"/>
                  <a:ext cx="360935" cy="249198"/>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10</a:t>
                  </a:r>
                </a:p>
              </p:txBody>
            </p:sp>
            <p:sp>
              <p:nvSpPr>
                <p:cNvPr id="978" name="TextBox 977">
                  <a:extLst>
                    <a:ext uri="{FF2B5EF4-FFF2-40B4-BE49-F238E27FC236}">
                      <a16:creationId xmlns:a16="http://schemas.microsoft.com/office/drawing/2014/main" id="{D00BBE81-505D-92C6-B6A4-9DB3FE1488D1}"/>
                    </a:ext>
                  </a:extLst>
                </p:cNvPr>
                <p:cNvSpPr txBox="1"/>
                <p:nvPr/>
              </p:nvSpPr>
              <p:spPr>
                <a:xfrm rot="5636">
                  <a:off x="9413036" y="5442002"/>
                  <a:ext cx="307856" cy="249198"/>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8</a:t>
                  </a:r>
                </a:p>
              </p:txBody>
            </p:sp>
            <p:sp>
              <p:nvSpPr>
                <p:cNvPr id="979" name="TextBox 978">
                  <a:extLst>
                    <a:ext uri="{FF2B5EF4-FFF2-40B4-BE49-F238E27FC236}">
                      <a16:creationId xmlns:a16="http://schemas.microsoft.com/office/drawing/2014/main" id="{3FE131AF-D4A9-7E70-DE95-7904BD4D25B4}"/>
                    </a:ext>
                  </a:extLst>
                </p:cNvPr>
                <p:cNvSpPr txBox="1"/>
                <p:nvPr/>
              </p:nvSpPr>
              <p:spPr>
                <a:xfrm rot="5636">
                  <a:off x="9592296" y="5442002"/>
                  <a:ext cx="307856" cy="249198"/>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6</a:t>
                  </a:r>
                </a:p>
              </p:txBody>
            </p:sp>
            <p:sp>
              <p:nvSpPr>
                <p:cNvPr id="980" name="TextBox 979">
                  <a:extLst>
                    <a:ext uri="{FF2B5EF4-FFF2-40B4-BE49-F238E27FC236}">
                      <a16:creationId xmlns:a16="http://schemas.microsoft.com/office/drawing/2014/main" id="{BEFC8403-0BBB-B7B9-864A-98F486F96EFA}"/>
                    </a:ext>
                  </a:extLst>
                </p:cNvPr>
                <p:cNvSpPr txBox="1"/>
                <p:nvPr/>
              </p:nvSpPr>
              <p:spPr>
                <a:xfrm rot="5636">
                  <a:off x="9771559" y="5442002"/>
                  <a:ext cx="307856" cy="249198"/>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3</a:t>
                  </a:r>
                </a:p>
              </p:txBody>
            </p:sp>
            <p:sp>
              <p:nvSpPr>
                <p:cNvPr id="981" name="TextBox 980">
                  <a:extLst>
                    <a:ext uri="{FF2B5EF4-FFF2-40B4-BE49-F238E27FC236}">
                      <a16:creationId xmlns:a16="http://schemas.microsoft.com/office/drawing/2014/main" id="{52A19F5C-5D49-472A-98B3-A3E78FB39913}"/>
                    </a:ext>
                  </a:extLst>
                </p:cNvPr>
                <p:cNvSpPr txBox="1"/>
                <p:nvPr/>
              </p:nvSpPr>
              <p:spPr>
                <a:xfrm rot="5636">
                  <a:off x="9950821" y="5442002"/>
                  <a:ext cx="307856" cy="249198"/>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1</a:t>
                  </a:r>
                </a:p>
              </p:txBody>
            </p:sp>
            <p:sp>
              <p:nvSpPr>
                <p:cNvPr id="982" name="TextBox 981">
                  <a:extLst>
                    <a:ext uri="{FF2B5EF4-FFF2-40B4-BE49-F238E27FC236}">
                      <a16:creationId xmlns:a16="http://schemas.microsoft.com/office/drawing/2014/main" id="{C8DF2C8F-06D4-BF96-23CF-51042F95ED00}"/>
                    </a:ext>
                  </a:extLst>
                </p:cNvPr>
                <p:cNvSpPr txBox="1"/>
                <p:nvPr/>
              </p:nvSpPr>
              <p:spPr>
                <a:xfrm rot="5636">
                  <a:off x="10130047" y="5442002"/>
                  <a:ext cx="307856" cy="249198"/>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1</a:t>
                  </a:r>
                </a:p>
              </p:txBody>
            </p:sp>
            <p:sp>
              <p:nvSpPr>
                <p:cNvPr id="983" name="TextBox 982">
                  <a:extLst>
                    <a:ext uri="{FF2B5EF4-FFF2-40B4-BE49-F238E27FC236}">
                      <a16:creationId xmlns:a16="http://schemas.microsoft.com/office/drawing/2014/main" id="{B4C9611B-5986-7C10-A4DD-96C9D2D34749}"/>
                    </a:ext>
                  </a:extLst>
                </p:cNvPr>
                <p:cNvSpPr txBox="1"/>
                <p:nvPr/>
              </p:nvSpPr>
              <p:spPr>
                <a:xfrm rot="5636">
                  <a:off x="10309310" y="5442002"/>
                  <a:ext cx="307856" cy="249198"/>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1</a:t>
                  </a:r>
                </a:p>
              </p:txBody>
            </p:sp>
            <p:sp>
              <p:nvSpPr>
                <p:cNvPr id="984" name="TextBox 983">
                  <a:extLst>
                    <a:ext uri="{FF2B5EF4-FFF2-40B4-BE49-F238E27FC236}">
                      <a16:creationId xmlns:a16="http://schemas.microsoft.com/office/drawing/2014/main" id="{BC46A481-1318-B62D-149F-2028A244191D}"/>
                    </a:ext>
                  </a:extLst>
                </p:cNvPr>
                <p:cNvSpPr txBox="1"/>
                <p:nvPr/>
              </p:nvSpPr>
              <p:spPr>
                <a:xfrm rot="5636">
                  <a:off x="10488572" y="5442002"/>
                  <a:ext cx="307856" cy="249198"/>
                </a:xfrm>
                <a:prstGeom prst="rect">
                  <a:avLst/>
                </a:prstGeom>
                <a:noFill/>
              </p:spPr>
              <p:txBody>
                <a:bodyPr wrap="none" rtlCol="0">
                  <a:spAutoFit/>
                </a:bodyPr>
                <a:lstStyle/>
                <a:p>
                  <a:pPr algn="l"/>
                  <a:r>
                    <a:rPr lang="en-US" sz="540" dirty="0">
                      <a:ln/>
                      <a:solidFill>
                        <a:srgbClr val="000000"/>
                      </a:solidFill>
                      <a:latin typeface="HelveticaNeue"/>
                      <a:ea typeface="HelveticaNeue"/>
                      <a:cs typeface="HelveticaNeue"/>
                      <a:sym typeface="HelveticaNeue"/>
                      <a:rtl val="0"/>
                    </a:rPr>
                    <a:t>0</a:t>
                  </a:r>
                </a:p>
              </p:txBody>
            </p:sp>
          </p:grpSp>
          <p:sp>
            <p:nvSpPr>
              <p:cNvPr id="836" name="TextBox 835">
                <a:extLst>
                  <a:ext uri="{FF2B5EF4-FFF2-40B4-BE49-F238E27FC236}">
                    <a16:creationId xmlns:a16="http://schemas.microsoft.com/office/drawing/2014/main" id="{671A73E0-DC7B-4479-60F9-F7F708FBAC89}"/>
                  </a:ext>
                </a:extLst>
              </p:cNvPr>
              <p:cNvSpPr txBox="1"/>
              <p:nvPr/>
            </p:nvSpPr>
            <p:spPr>
              <a:xfrm>
                <a:off x="2267042" y="4743827"/>
                <a:ext cx="329973" cy="296652"/>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0</a:t>
                </a:r>
              </a:p>
            </p:txBody>
          </p:sp>
          <p:sp>
            <p:nvSpPr>
              <p:cNvPr id="837" name="TextBox 836">
                <a:extLst>
                  <a:ext uri="{FF2B5EF4-FFF2-40B4-BE49-F238E27FC236}">
                    <a16:creationId xmlns:a16="http://schemas.microsoft.com/office/drawing/2014/main" id="{01EA62B0-54A6-E5AE-E338-14292C31C2A8}"/>
                  </a:ext>
                </a:extLst>
              </p:cNvPr>
              <p:cNvSpPr txBox="1"/>
              <p:nvPr/>
            </p:nvSpPr>
            <p:spPr>
              <a:xfrm>
                <a:off x="2446187" y="4743827"/>
                <a:ext cx="329973" cy="296652"/>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1</a:t>
                </a:r>
              </a:p>
            </p:txBody>
          </p:sp>
          <p:sp>
            <p:nvSpPr>
              <p:cNvPr id="838" name="TextBox 837">
                <a:extLst>
                  <a:ext uri="{FF2B5EF4-FFF2-40B4-BE49-F238E27FC236}">
                    <a16:creationId xmlns:a16="http://schemas.microsoft.com/office/drawing/2014/main" id="{6505B63D-93CF-E5C0-2232-DFF88E4CF654}"/>
                  </a:ext>
                </a:extLst>
              </p:cNvPr>
              <p:cNvSpPr txBox="1"/>
              <p:nvPr/>
            </p:nvSpPr>
            <p:spPr>
              <a:xfrm>
                <a:off x="2625331" y="4743827"/>
                <a:ext cx="329973" cy="296652"/>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2</a:t>
                </a:r>
              </a:p>
            </p:txBody>
          </p:sp>
          <p:sp>
            <p:nvSpPr>
              <p:cNvPr id="839" name="TextBox 838">
                <a:extLst>
                  <a:ext uri="{FF2B5EF4-FFF2-40B4-BE49-F238E27FC236}">
                    <a16:creationId xmlns:a16="http://schemas.microsoft.com/office/drawing/2014/main" id="{32591BD6-6D2E-88C9-B54F-472D7769CD3D}"/>
                  </a:ext>
                </a:extLst>
              </p:cNvPr>
              <p:cNvSpPr txBox="1"/>
              <p:nvPr/>
            </p:nvSpPr>
            <p:spPr>
              <a:xfrm>
                <a:off x="2804473" y="4743827"/>
                <a:ext cx="329973" cy="296652"/>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3</a:t>
                </a:r>
              </a:p>
            </p:txBody>
          </p:sp>
          <p:sp>
            <p:nvSpPr>
              <p:cNvPr id="840" name="TextBox 839">
                <a:extLst>
                  <a:ext uri="{FF2B5EF4-FFF2-40B4-BE49-F238E27FC236}">
                    <a16:creationId xmlns:a16="http://schemas.microsoft.com/office/drawing/2014/main" id="{53437656-C830-25BB-75E5-4B7A25ABFBC6}"/>
                  </a:ext>
                </a:extLst>
              </p:cNvPr>
              <p:cNvSpPr txBox="1"/>
              <p:nvPr/>
            </p:nvSpPr>
            <p:spPr>
              <a:xfrm>
                <a:off x="2983617" y="4743827"/>
                <a:ext cx="329973" cy="296652"/>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4</a:t>
                </a:r>
              </a:p>
            </p:txBody>
          </p:sp>
          <p:sp>
            <p:nvSpPr>
              <p:cNvPr id="841" name="TextBox 840">
                <a:extLst>
                  <a:ext uri="{FF2B5EF4-FFF2-40B4-BE49-F238E27FC236}">
                    <a16:creationId xmlns:a16="http://schemas.microsoft.com/office/drawing/2014/main" id="{07282029-CA49-6448-7F50-185628C69ABD}"/>
                  </a:ext>
                </a:extLst>
              </p:cNvPr>
              <p:cNvSpPr txBox="1"/>
              <p:nvPr/>
            </p:nvSpPr>
            <p:spPr>
              <a:xfrm>
                <a:off x="3162760" y="4743827"/>
                <a:ext cx="329973" cy="296652"/>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5</a:t>
                </a:r>
              </a:p>
            </p:txBody>
          </p:sp>
          <p:sp>
            <p:nvSpPr>
              <p:cNvPr id="842" name="TextBox 841">
                <a:extLst>
                  <a:ext uri="{FF2B5EF4-FFF2-40B4-BE49-F238E27FC236}">
                    <a16:creationId xmlns:a16="http://schemas.microsoft.com/office/drawing/2014/main" id="{D8CFD633-3FE8-FE50-0999-99F165E5F86F}"/>
                  </a:ext>
                </a:extLst>
              </p:cNvPr>
              <p:cNvSpPr txBox="1"/>
              <p:nvPr/>
            </p:nvSpPr>
            <p:spPr>
              <a:xfrm>
                <a:off x="3341904" y="4743827"/>
                <a:ext cx="329973" cy="296652"/>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6</a:t>
                </a:r>
              </a:p>
            </p:txBody>
          </p:sp>
          <p:sp>
            <p:nvSpPr>
              <p:cNvPr id="843" name="TextBox 842">
                <a:extLst>
                  <a:ext uri="{FF2B5EF4-FFF2-40B4-BE49-F238E27FC236}">
                    <a16:creationId xmlns:a16="http://schemas.microsoft.com/office/drawing/2014/main" id="{BD352808-BF12-238A-E230-767A95F704FB}"/>
                  </a:ext>
                </a:extLst>
              </p:cNvPr>
              <p:cNvSpPr txBox="1"/>
              <p:nvPr/>
            </p:nvSpPr>
            <p:spPr>
              <a:xfrm>
                <a:off x="3521047" y="4743827"/>
                <a:ext cx="329973" cy="296652"/>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7</a:t>
                </a:r>
              </a:p>
            </p:txBody>
          </p:sp>
          <p:sp>
            <p:nvSpPr>
              <p:cNvPr id="844" name="TextBox 843">
                <a:extLst>
                  <a:ext uri="{FF2B5EF4-FFF2-40B4-BE49-F238E27FC236}">
                    <a16:creationId xmlns:a16="http://schemas.microsoft.com/office/drawing/2014/main" id="{8CDA367E-D159-5746-6D83-C8DC95E5FB3B}"/>
                  </a:ext>
                </a:extLst>
              </p:cNvPr>
              <p:cNvSpPr txBox="1"/>
              <p:nvPr/>
            </p:nvSpPr>
            <p:spPr>
              <a:xfrm>
                <a:off x="3700188" y="4743827"/>
                <a:ext cx="329973" cy="296652"/>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8</a:t>
                </a:r>
              </a:p>
            </p:txBody>
          </p:sp>
          <p:sp>
            <p:nvSpPr>
              <p:cNvPr id="845" name="TextBox 844">
                <a:extLst>
                  <a:ext uri="{FF2B5EF4-FFF2-40B4-BE49-F238E27FC236}">
                    <a16:creationId xmlns:a16="http://schemas.microsoft.com/office/drawing/2014/main" id="{45F09FB6-37B1-92C6-FC06-1AFEDBDE9DF7}"/>
                  </a:ext>
                </a:extLst>
              </p:cNvPr>
              <p:cNvSpPr txBox="1"/>
              <p:nvPr/>
            </p:nvSpPr>
            <p:spPr>
              <a:xfrm>
                <a:off x="3879331" y="4743827"/>
                <a:ext cx="329973" cy="296652"/>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9</a:t>
                </a:r>
              </a:p>
            </p:txBody>
          </p:sp>
          <p:sp>
            <p:nvSpPr>
              <p:cNvPr id="846" name="TextBox 845">
                <a:extLst>
                  <a:ext uri="{FF2B5EF4-FFF2-40B4-BE49-F238E27FC236}">
                    <a16:creationId xmlns:a16="http://schemas.microsoft.com/office/drawing/2014/main" id="{A9CEC7E6-A4BD-2529-8B74-C9810D67AF98}"/>
                  </a:ext>
                </a:extLst>
              </p:cNvPr>
              <p:cNvSpPr txBox="1"/>
              <p:nvPr/>
            </p:nvSpPr>
            <p:spPr>
              <a:xfrm>
                <a:off x="4022867" y="4743827"/>
                <a:ext cx="405167" cy="296652"/>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10</a:t>
                </a:r>
              </a:p>
            </p:txBody>
          </p:sp>
          <p:sp>
            <p:nvSpPr>
              <p:cNvPr id="847" name="TextBox 846">
                <a:extLst>
                  <a:ext uri="{FF2B5EF4-FFF2-40B4-BE49-F238E27FC236}">
                    <a16:creationId xmlns:a16="http://schemas.microsoft.com/office/drawing/2014/main" id="{C6E3A07C-5B24-7C4F-C228-531CC731E903}"/>
                  </a:ext>
                </a:extLst>
              </p:cNvPr>
              <p:cNvSpPr txBox="1"/>
              <p:nvPr/>
            </p:nvSpPr>
            <p:spPr>
              <a:xfrm>
                <a:off x="4202012" y="4743827"/>
                <a:ext cx="405167" cy="296652"/>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11</a:t>
                </a:r>
              </a:p>
            </p:txBody>
          </p:sp>
          <p:sp>
            <p:nvSpPr>
              <p:cNvPr id="848" name="TextBox 847">
                <a:extLst>
                  <a:ext uri="{FF2B5EF4-FFF2-40B4-BE49-F238E27FC236}">
                    <a16:creationId xmlns:a16="http://schemas.microsoft.com/office/drawing/2014/main" id="{A9291D95-40B7-7269-5676-89EB7CB33B0C}"/>
                  </a:ext>
                </a:extLst>
              </p:cNvPr>
              <p:cNvSpPr txBox="1"/>
              <p:nvPr/>
            </p:nvSpPr>
            <p:spPr>
              <a:xfrm>
                <a:off x="4381150" y="4743827"/>
                <a:ext cx="405167" cy="296652"/>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12</a:t>
                </a:r>
              </a:p>
            </p:txBody>
          </p:sp>
          <p:sp>
            <p:nvSpPr>
              <p:cNvPr id="849" name="TextBox 848">
                <a:extLst>
                  <a:ext uri="{FF2B5EF4-FFF2-40B4-BE49-F238E27FC236}">
                    <a16:creationId xmlns:a16="http://schemas.microsoft.com/office/drawing/2014/main" id="{47574A1B-3A56-9830-FA08-8BB76CD0C056}"/>
                  </a:ext>
                </a:extLst>
              </p:cNvPr>
              <p:cNvSpPr txBox="1"/>
              <p:nvPr/>
            </p:nvSpPr>
            <p:spPr>
              <a:xfrm>
                <a:off x="4560296" y="4743827"/>
                <a:ext cx="405167" cy="296652"/>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13</a:t>
                </a:r>
              </a:p>
            </p:txBody>
          </p:sp>
          <p:sp>
            <p:nvSpPr>
              <p:cNvPr id="850" name="TextBox 849">
                <a:extLst>
                  <a:ext uri="{FF2B5EF4-FFF2-40B4-BE49-F238E27FC236}">
                    <a16:creationId xmlns:a16="http://schemas.microsoft.com/office/drawing/2014/main" id="{E7AF1215-1F1A-4E50-6479-B913A014849C}"/>
                  </a:ext>
                </a:extLst>
              </p:cNvPr>
              <p:cNvSpPr txBox="1"/>
              <p:nvPr/>
            </p:nvSpPr>
            <p:spPr>
              <a:xfrm>
                <a:off x="4739435" y="4743827"/>
                <a:ext cx="405167" cy="296652"/>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14</a:t>
                </a:r>
              </a:p>
            </p:txBody>
          </p:sp>
          <p:sp>
            <p:nvSpPr>
              <p:cNvPr id="851" name="TextBox 850">
                <a:extLst>
                  <a:ext uri="{FF2B5EF4-FFF2-40B4-BE49-F238E27FC236}">
                    <a16:creationId xmlns:a16="http://schemas.microsoft.com/office/drawing/2014/main" id="{7603717E-67BD-0497-9F75-C6F8DEA93F06}"/>
                  </a:ext>
                </a:extLst>
              </p:cNvPr>
              <p:cNvSpPr txBox="1"/>
              <p:nvPr/>
            </p:nvSpPr>
            <p:spPr>
              <a:xfrm>
                <a:off x="4918580" y="4743827"/>
                <a:ext cx="405167" cy="296652"/>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15</a:t>
                </a:r>
              </a:p>
            </p:txBody>
          </p:sp>
          <p:sp>
            <p:nvSpPr>
              <p:cNvPr id="852" name="TextBox 851">
                <a:extLst>
                  <a:ext uri="{FF2B5EF4-FFF2-40B4-BE49-F238E27FC236}">
                    <a16:creationId xmlns:a16="http://schemas.microsoft.com/office/drawing/2014/main" id="{6A46FF2B-49F0-AC2D-94A4-1CDA15497595}"/>
                  </a:ext>
                </a:extLst>
              </p:cNvPr>
              <p:cNvSpPr txBox="1"/>
              <p:nvPr/>
            </p:nvSpPr>
            <p:spPr>
              <a:xfrm>
                <a:off x="5097728" y="4743827"/>
                <a:ext cx="405167" cy="296652"/>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16</a:t>
                </a:r>
              </a:p>
            </p:txBody>
          </p:sp>
          <p:sp>
            <p:nvSpPr>
              <p:cNvPr id="853" name="TextBox 852">
                <a:extLst>
                  <a:ext uri="{FF2B5EF4-FFF2-40B4-BE49-F238E27FC236}">
                    <a16:creationId xmlns:a16="http://schemas.microsoft.com/office/drawing/2014/main" id="{DEDC6824-D90B-F245-024D-3195240FF6EC}"/>
                  </a:ext>
                </a:extLst>
              </p:cNvPr>
              <p:cNvSpPr txBox="1"/>
              <p:nvPr/>
            </p:nvSpPr>
            <p:spPr>
              <a:xfrm>
                <a:off x="5276867" y="4743827"/>
                <a:ext cx="405167" cy="296652"/>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17</a:t>
                </a:r>
              </a:p>
            </p:txBody>
          </p:sp>
          <p:sp>
            <p:nvSpPr>
              <p:cNvPr id="854" name="TextBox 853">
                <a:extLst>
                  <a:ext uri="{FF2B5EF4-FFF2-40B4-BE49-F238E27FC236}">
                    <a16:creationId xmlns:a16="http://schemas.microsoft.com/office/drawing/2014/main" id="{FF365574-0E5B-EDCB-9123-7A14EE2CB997}"/>
                  </a:ext>
                </a:extLst>
              </p:cNvPr>
              <p:cNvSpPr txBox="1"/>
              <p:nvPr/>
            </p:nvSpPr>
            <p:spPr>
              <a:xfrm>
                <a:off x="5456011" y="4743827"/>
                <a:ext cx="405167" cy="296652"/>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18</a:t>
                </a:r>
              </a:p>
            </p:txBody>
          </p:sp>
          <p:sp>
            <p:nvSpPr>
              <p:cNvPr id="855" name="TextBox 854">
                <a:extLst>
                  <a:ext uri="{FF2B5EF4-FFF2-40B4-BE49-F238E27FC236}">
                    <a16:creationId xmlns:a16="http://schemas.microsoft.com/office/drawing/2014/main" id="{1C23D10C-6679-D7A6-E631-EA6DDDCD3CCD}"/>
                  </a:ext>
                </a:extLst>
              </p:cNvPr>
              <p:cNvSpPr txBox="1"/>
              <p:nvPr/>
            </p:nvSpPr>
            <p:spPr>
              <a:xfrm>
                <a:off x="5635157" y="4743827"/>
                <a:ext cx="405167" cy="296652"/>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19</a:t>
                </a:r>
              </a:p>
            </p:txBody>
          </p:sp>
          <p:sp>
            <p:nvSpPr>
              <p:cNvPr id="856" name="TextBox 855">
                <a:extLst>
                  <a:ext uri="{FF2B5EF4-FFF2-40B4-BE49-F238E27FC236}">
                    <a16:creationId xmlns:a16="http://schemas.microsoft.com/office/drawing/2014/main" id="{0BEEAB08-2A7C-9020-3FF1-38FF403D4109}"/>
                  </a:ext>
                </a:extLst>
              </p:cNvPr>
              <p:cNvSpPr txBox="1"/>
              <p:nvPr/>
            </p:nvSpPr>
            <p:spPr>
              <a:xfrm>
                <a:off x="5814294" y="4743827"/>
                <a:ext cx="405167" cy="296652"/>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20</a:t>
                </a:r>
              </a:p>
            </p:txBody>
          </p:sp>
          <p:sp>
            <p:nvSpPr>
              <p:cNvPr id="857" name="TextBox 856">
                <a:extLst>
                  <a:ext uri="{FF2B5EF4-FFF2-40B4-BE49-F238E27FC236}">
                    <a16:creationId xmlns:a16="http://schemas.microsoft.com/office/drawing/2014/main" id="{501B63BD-8AAA-3A37-CFBE-02F1DC173D7B}"/>
                  </a:ext>
                </a:extLst>
              </p:cNvPr>
              <p:cNvSpPr txBox="1"/>
              <p:nvPr/>
            </p:nvSpPr>
            <p:spPr>
              <a:xfrm>
                <a:off x="5993442" y="4743827"/>
                <a:ext cx="405167" cy="296652"/>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21</a:t>
                </a:r>
              </a:p>
            </p:txBody>
          </p:sp>
          <p:sp>
            <p:nvSpPr>
              <p:cNvPr id="858" name="TextBox 857">
                <a:extLst>
                  <a:ext uri="{FF2B5EF4-FFF2-40B4-BE49-F238E27FC236}">
                    <a16:creationId xmlns:a16="http://schemas.microsoft.com/office/drawing/2014/main" id="{BE432DAA-24EB-B7D4-F52C-A6D24B2082A5}"/>
                  </a:ext>
                </a:extLst>
              </p:cNvPr>
              <p:cNvSpPr txBox="1"/>
              <p:nvPr/>
            </p:nvSpPr>
            <p:spPr>
              <a:xfrm>
                <a:off x="6172579" y="4743827"/>
                <a:ext cx="405167" cy="296652"/>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22</a:t>
                </a:r>
              </a:p>
            </p:txBody>
          </p:sp>
          <p:sp>
            <p:nvSpPr>
              <p:cNvPr id="859" name="TextBox 858">
                <a:extLst>
                  <a:ext uri="{FF2B5EF4-FFF2-40B4-BE49-F238E27FC236}">
                    <a16:creationId xmlns:a16="http://schemas.microsoft.com/office/drawing/2014/main" id="{4E4DE175-FE6D-6AB4-83EA-B3BFF2B2E6CC}"/>
                  </a:ext>
                </a:extLst>
              </p:cNvPr>
              <p:cNvSpPr txBox="1"/>
              <p:nvPr/>
            </p:nvSpPr>
            <p:spPr>
              <a:xfrm>
                <a:off x="6351735" y="4743827"/>
                <a:ext cx="405167" cy="296652"/>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23</a:t>
                </a:r>
              </a:p>
            </p:txBody>
          </p:sp>
          <p:sp>
            <p:nvSpPr>
              <p:cNvPr id="860" name="TextBox 859">
                <a:extLst>
                  <a:ext uri="{FF2B5EF4-FFF2-40B4-BE49-F238E27FC236}">
                    <a16:creationId xmlns:a16="http://schemas.microsoft.com/office/drawing/2014/main" id="{05BC910B-92A3-8969-63C2-2007C5DACAC0}"/>
                  </a:ext>
                </a:extLst>
              </p:cNvPr>
              <p:cNvSpPr txBox="1"/>
              <p:nvPr/>
            </p:nvSpPr>
            <p:spPr>
              <a:xfrm>
                <a:off x="6530872" y="4743827"/>
                <a:ext cx="405167" cy="296652"/>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24</a:t>
                </a:r>
              </a:p>
            </p:txBody>
          </p:sp>
          <p:sp>
            <p:nvSpPr>
              <p:cNvPr id="861" name="TextBox 860">
                <a:extLst>
                  <a:ext uri="{FF2B5EF4-FFF2-40B4-BE49-F238E27FC236}">
                    <a16:creationId xmlns:a16="http://schemas.microsoft.com/office/drawing/2014/main" id="{3F2BC3E3-6022-DA1E-BC3C-E71E15C02E99}"/>
                  </a:ext>
                </a:extLst>
              </p:cNvPr>
              <p:cNvSpPr txBox="1"/>
              <p:nvPr/>
            </p:nvSpPr>
            <p:spPr>
              <a:xfrm>
                <a:off x="6710008" y="4743827"/>
                <a:ext cx="405167" cy="296652"/>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25</a:t>
                </a:r>
              </a:p>
            </p:txBody>
          </p:sp>
          <p:sp>
            <p:nvSpPr>
              <p:cNvPr id="862" name="TextBox 861">
                <a:extLst>
                  <a:ext uri="{FF2B5EF4-FFF2-40B4-BE49-F238E27FC236}">
                    <a16:creationId xmlns:a16="http://schemas.microsoft.com/office/drawing/2014/main" id="{B8249AB5-D95E-B52B-B166-3D6E7C9584B6}"/>
                  </a:ext>
                </a:extLst>
              </p:cNvPr>
              <p:cNvSpPr txBox="1"/>
              <p:nvPr/>
            </p:nvSpPr>
            <p:spPr>
              <a:xfrm>
                <a:off x="6889149" y="4743827"/>
                <a:ext cx="405167" cy="296652"/>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26</a:t>
                </a:r>
              </a:p>
            </p:txBody>
          </p:sp>
          <p:sp>
            <p:nvSpPr>
              <p:cNvPr id="863" name="TextBox 862">
                <a:extLst>
                  <a:ext uri="{FF2B5EF4-FFF2-40B4-BE49-F238E27FC236}">
                    <a16:creationId xmlns:a16="http://schemas.microsoft.com/office/drawing/2014/main" id="{378E4835-E503-D424-2AE0-2BB4D5A1F612}"/>
                  </a:ext>
                </a:extLst>
              </p:cNvPr>
              <p:cNvSpPr txBox="1"/>
              <p:nvPr/>
            </p:nvSpPr>
            <p:spPr>
              <a:xfrm>
                <a:off x="7068301" y="4743827"/>
                <a:ext cx="405167" cy="296652"/>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27</a:t>
                </a:r>
              </a:p>
            </p:txBody>
          </p:sp>
          <p:sp>
            <p:nvSpPr>
              <p:cNvPr id="864" name="TextBox 863">
                <a:extLst>
                  <a:ext uri="{FF2B5EF4-FFF2-40B4-BE49-F238E27FC236}">
                    <a16:creationId xmlns:a16="http://schemas.microsoft.com/office/drawing/2014/main" id="{E9B90296-813E-1752-7C9E-2BA82DBCABF1}"/>
                  </a:ext>
                </a:extLst>
              </p:cNvPr>
              <p:cNvSpPr txBox="1"/>
              <p:nvPr/>
            </p:nvSpPr>
            <p:spPr>
              <a:xfrm>
                <a:off x="7247439" y="4743827"/>
                <a:ext cx="405167" cy="296652"/>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28</a:t>
                </a:r>
              </a:p>
            </p:txBody>
          </p:sp>
          <p:sp>
            <p:nvSpPr>
              <p:cNvPr id="865" name="TextBox 864">
                <a:extLst>
                  <a:ext uri="{FF2B5EF4-FFF2-40B4-BE49-F238E27FC236}">
                    <a16:creationId xmlns:a16="http://schemas.microsoft.com/office/drawing/2014/main" id="{2B6BA47C-6B15-EA9A-C15C-37C57A37F6D8}"/>
                  </a:ext>
                </a:extLst>
              </p:cNvPr>
              <p:cNvSpPr txBox="1"/>
              <p:nvPr/>
            </p:nvSpPr>
            <p:spPr>
              <a:xfrm>
                <a:off x="7426576" y="4743827"/>
                <a:ext cx="405167" cy="296652"/>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29</a:t>
                </a:r>
              </a:p>
            </p:txBody>
          </p:sp>
          <p:sp>
            <p:nvSpPr>
              <p:cNvPr id="866" name="TextBox 865">
                <a:extLst>
                  <a:ext uri="{FF2B5EF4-FFF2-40B4-BE49-F238E27FC236}">
                    <a16:creationId xmlns:a16="http://schemas.microsoft.com/office/drawing/2014/main" id="{A378BEE1-D0C8-738B-A747-9173BB43D3D1}"/>
                  </a:ext>
                </a:extLst>
              </p:cNvPr>
              <p:cNvSpPr txBox="1"/>
              <p:nvPr/>
            </p:nvSpPr>
            <p:spPr>
              <a:xfrm>
                <a:off x="7605732" y="4743827"/>
                <a:ext cx="405167" cy="296652"/>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30</a:t>
                </a:r>
              </a:p>
            </p:txBody>
          </p:sp>
          <p:sp>
            <p:nvSpPr>
              <p:cNvPr id="867" name="TextBox 866">
                <a:extLst>
                  <a:ext uri="{FF2B5EF4-FFF2-40B4-BE49-F238E27FC236}">
                    <a16:creationId xmlns:a16="http://schemas.microsoft.com/office/drawing/2014/main" id="{39AC2CC6-E638-DBE1-7624-81D0E78749C8}"/>
                  </a:ext>
                </a:extLst>
              </p:cNvPr>
              <p:cNvSpPr txBox="1"/>
              <p:nvPr/>
            </p:nvSpPr>
            <p:spPr>
              <a:xfrm>
                <a:off x="7784870" y="4743827"/>
                <a:ext cx="405167" cy="296652"/>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31</a:t>
                </a:r>
              </a:p>
            </p:txBody>
          </p:sp>
          <p:sp>
            <p:nvSpPr>
              <p:cNvPr id="868" name="TextBox 867">
                <a:extLst>
                  <a:ext uri="{FF2B5EF4-FFF2-40B4-BE49-F238E27FC236}">
                    <a16:creationId xmlns:a16="http://schemas.microsoft.com/office/drawing/2014/main" id="{3AC0D834-2FB3-E49F-6DA5-6590E8ABD8C3}"/>
                  </a:ext>
                </a:extLst>
              </p:cNvPr>
              <p:cNvSpPr txBox="1"/>
              <p:nvPr/>
            </p:nvSpPr>
            <p:spPr>
              <a:xfrm>
                <a:off x="7964007" y="4743827"/>
                <a:ext cx="405167" cy="296652"/>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32</a:t>
                </a:r>
              </a:p>
            </p:txBody>
          </p:sp>
          <p:sp>
            <p:nvSpPr>
              <p:cNvPr id="869" name="TextBox 868">
                <a:extLst>
                  <a:ext uri="{FF2B5EF4-FFF2-40B4-BE49-F238E27FC236}">
                    <a16:creationId xmlns:a16="http://schemas.microsoft.com/office/drawing/2014/main" id="{DFD7EFA2-01A7-9357-2B65-451D48A5DCCB}"/>
                  </a:ext>
                </a:extLst>
              </p:cNvPr>
              <p:cNvSpPr txBox="1"/>
              <p:nvPr/>
            </p:nvSpPr>
            <p:spPr>
              <a:xfrm>
                <a:off x="8143161" y="4743827"/>
                <a:ext cx="405167" cy="296652"/>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33</a:t>
                </a:r>
              </a:p>
            </p:txBody>
          </p:sp>
          <p:sp>
            <p:nvSpPr>
              <p:cNvPr id="870" name="TextBox 869">
                <a:extLst>
                  <a:ext uri="{FF2B5EF4-FFF2-40B4-BE49-F238E27FC236}">
                    <a16:creationId xmlns:a16="http://schemas.microsoft.com/office/drawing/2014/main" id="{94C1DDBD-5877-666F-2EAC-6104091B3372}"/>
                  </a:ext>
                </a:extLst>
              </p:cNvPr>
              <p:cNvSpPr txBox="1"/>
              <p:nvPr/>
            </p:nvSpPr>
            <p:spPr>
              <a:xfrm>
                <a:off x="8322300" y="4743827"/>
                <a:ext cx="405167" cy="296652"/>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34</a:t>
                </a:r>
              </a:p>
            </p:txBody>
          </p:sp>
          <p:sp>
            <p:nvSpPr>
              <p:cNvPr id="871" name="TextBox 870">
                <a:extLst>
                  <a:ext uri="{FF2B5EF4-FFF2-40B4-BE49-F238E27FC236}">
                    <a16:creationId xmlns:a16="http://schemas.microsoft.com/office/drawing/2014/main" id="{2BE7BA10-82EF-FD8C-285E-7CFE0033A40A}"/>
                  </a:ext>
                </a:extLst>
              </p:cNvPr>
              <p:cNvSpPr txBox="1"/>
              <p:nvPr/>
            </p:nvSpPr>
            <p:spPr>
              <a:xfrm>
                <a:off x="8501438" y="4743827"/>
                <a:ext cx="405167" cy="296652"/>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35</a:t>
                </a:r>
              </a:p>
            </p:txBody>
          </p:sp>
          <p:sp>
            <p:nvSpPr>
              <p:cNvPr id="872" name="TextBox 871">
                <a:extLst>
                  <a:ext uri="{FF2B5EF4-FFF2-40B4-BE49-F238E27FC236}">
                    <a16:creationId xmlns:a16="http://schemas.microsoft.com/office/drawing/2014/main" id="{2D92BA96-59C1-1ACA-F374-804CC81A7AF9}"/>
                  </a:ext>
                </a:extLst>
              </p:cNvPr>
              <p:cNvSpPr txBox="1"/>
              <p:nvPr/>
            </p:nvSpPr>
            <p:spPr>
              <a:xfrm>
                <a:off x="8680593" y="4743827"/>
                <a:ext cx="405167" cy="296652"/>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36</a:t>
                </a:r>
              </a:p>
            </p:txBody>
          </p:sp>
          <p:sp>
            <p:nvSpPr>
              <p:cNvPr id="873" name="TextBox 872">
                <a:extLst>
                  <a:ext uri="{FF2B5EF4-FFF2-40B4-BE49-F238E27FC236}">
                    <a16:creationId xmlns:a16="http://schemas.microsoft.com/office/drawing/2014/main" id="{152F76D8-E4D2-E040-3EE0-C62E325BFE5D}"/>
                  </a:ext>
                </a:extLst>
              </p:cNvPr>
              <p:cNvSpPr txBox="1"/>
              <p:nvPr/>
            </p:nvSpPr>
            <p:spPr>
              <a:xfrm>
                <a:off x="8859729" y="4743827"/>
                <a:ext cx="405167" cy="296652"/>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37</a:t>
                </a:r>
              </a:p>
            </p:txBody>
          </p:sp>
          <p:sp>
            <p:nvSpPr>
              <p:cNvPr id="874" name="TextBox 873">
                <a:extLst>
                  <a:ext uri="{FF2B5EF4-FFF2-40B4-BE49-F238E27FC236}">
                    <a16:creationId xmlns:a16="http://schemas.microsoft.com/office/drawing/2014/main" id="{4DD75F52-235F-1FAD-6844-A2A66DEA6640}"/>
                  </a:ext>
                </a:extLst>
              </p:cNvPr>
              <p:cNvSpPr txBox="1"/>
              <p:nvPr/>
            </p:nvSpPr>
            <p:spPr>
              <a:xfrm>
                <a:off x="9038868" y="4743827"/>
                <a:ext cx="405167" cy="296652"/>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38</a:t>
                </a:r>
              </a:p>
            </p:txBody>
          </p:sp>
          <p:sp>
            <p:nvSpPr>
              <p:cNvPr id="875" name="TextBox 874">
                <a:extLst>
                  <a:ext uri="{FF2B5EF4-FFF2-40B4-BE49-F238E27FC236}">
                    <a16:creationId xmlns:a16="http://schemas.microsoft.com/office/drawing/2014/main" id="{3F11CBFC-81DF-3C47-B940-6A2990D9067F}"/>
                  </a:ext>
                </a:extLst>
              </p:cNvPr>
              <p:cNvSpPr txBox="1"/>
              <p:nvPr/>
            </p:nvSpPr>
            <p:spPr>
              <a:xfrm>
                <a:off x="9218022" y="4743827"/>
                <a:ext cx="405167" cy="296652"/>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39</a:t>
                </a:r>
              </a:p>
            </p:txBody>
          </p:sp>
          <p:sp>
            <p:nvSpPr>
              <p:cNvPr id="876" name="TextBox 875">
                <a:extLst>
                  <a:ext uri="{FF2B5EF4-FFF2-40B4-BE49-F238E27FC236}">
                    <a16:creationId xmlns:a16="http://schemas.microsoft.com/office/drawing/2014/main" id="{2192734D-02A6-5B10-B362-3EFC0E4AAAA6}"/>
                  </a:ext>
                </a:extLst>
              </p:cNvPr>
              <p:cNvSpPr txBox="1"/>
              <p:nvPr/>
            </p:nvSpPr>
            <p:spPr>
              <a:xfrm>
                <a:off x="9397161" y="4743827"/>
                <a:ext cx="405167" cy="296652"/>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40</a:t>
                </a:r>
              </a:p>
            </p:txBody>
          </p:sp>
          <p:sp>
            <p:nvSpPr>
              <p:cNvPr id="877" name="TextBox 876">
                <a:extLst>
                  <a:ext uri="{FF2B5EF4-FFF2-40B4-BE49-F238E27FC236}">
                    <a16:creationId xmlns:a16="http://schemas.microsoft.com/office/drawing/2014/main" id="{CF78DB2B-A0EB-85DE-CEF5-EB7186067210}"/>
                  </a:ext>
                </a:extLst>
              </p:cNvPr>
              <p:cNvSpPr txBox="1"/>
              <p:nvPr/>
            </p:nvSpPr>
            <p:spPr>
              <a:xfrm>
                <a:off x="9576297" y="4743827"/>
                <a:ext cx="405167" cy="296652"/>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41</a:t>
                </a:r>
              </a:p>
            </p:txBody>
          </p:sp>
          <p:sp>
            <p:nvSpPr>
              <p:cNvPr id="878" name="TextBox 877">
                <a:extLst>
                  <a:ext uri="{FF2B5EF4-FFF2-40B4-BE49-F238E27FC236}">
                    <a16:creationId xmlns:a16="http://schemas.microsoft.com/office/drawing/2014/main" id="{4AB63744-7AA8-3FAC-D1E8-6C5D49C5F3C7}"/>
                  </a:ext>
                </a:extLst>
              </p:cNvPr>
              <p:cNvSpPr txBox="1"/>
              <p:nvPr/>
            </p:nvSpPr>
            <p:spPr>
              <a:xfrm>
                <a:off x="9755436" y="4743827"/>
                <a:ext cx="405167" cy="296652"/>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42</a:t>
                </a:r>
              </a:p>
            </p:txBody>
          </p:sp>
          <p:sp>
            <p:nvSpPr>
              <p:cNvPr id="879" name="TextBox 878">
                <a:extLst>
                  <a:ext uri="{FF2B5EF4-FFF2-40B4-BE49-F238E27FC236}">
                    <a16:creationId xmlns:a16="http://schemas.microsoft.com/office/drawing/2014/main" id="{6AA84925-9CE5-72D4-D9BE-70182C010A53}"/>
                  </a:ext>
                </a:extLst>
              </p:cNvPr>
              <p:cNvSpPr txBox="1"/>
              <p:nvPr/>
            </p:nvSpPr>
            <p:spPr>
              <a:xfrm>
                <a:off x="9934590" y="4743827"/>
                <a:ext cx="405167" cy="296652"/>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43</a:t>
                </a:r>
              </a:p>
            </p:txBody>
          </p:sp>
          <p:sp>
            <p:nvSpPr>
              <p:cNvPr id="880" name="TextBox 879">
                <a:extLst>
                  <a:ext uri="{FF2B5EF4-FFF2-40B4-BE49-F238E27FC236}">
                    <a16:creationId xmlns:a16="http://schemas.microsoft.com/office/drawing/2014/main" id="{22ED8132-D44D-2619-836B-D34C87E827D7}"/>
                  </a:ext>
                </a:extLst>
              </p:cNvPr>
              <p:cNvSpPr txBox="1"/>
              <p:nvPr/>
            </p:nvSpPr>
            <p:spPr>
              <a:xfrm>
                <a:off x="10113729" y="4743827"/>
                <a:ext cx="405167" cy="296652"/>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44</a:t>
                </a:r>
              </a:p>
            </p:txBody>
          </p:sp>
          <p:sp>
            <p:nvSpPr>
              <p:cNvPr id="881" name="TextBox 880">
                <a:extLst>
                  <a:ext uri="{FF2B5EF4-FFF2-40B4-BE49-F238E27FC236}">
                    <a16:creationId xmlns:a16="http://schemas.microsoft.com/office/drawing/2014/main" id="{9C08214E-891C-B6ED-436D-DE71CB32A97E}"/>
                  </a:ext>
                </a:extLst>
              </p:cNvPr>
              <p:cNvSpPr txBox="1"/>
              <p:nvPr/>
            </p:nvSpPr>
            <p:spPr>
              <a:xfrm>
                <a:off x="10292866" y="4743827"/>
                <a:ext cx="405167" cy="296652"/>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45</a:t>
                </a:r>
              </a:p>
            </p:txBody>
          </p:sp>
          <p:sp>
            <p:nvSpPr>
              <p:cNvPr id="882" name="TextBox 881">
                <a:extLst>
                  <a:ext uri="{FF2B5EF4-FFF2-40B4-BE49-F238E27FC236}">
                    <a16:creationId xmlns:a16="http://schemas.microsoft.com/office/drawing/2014/main" id="{562994E5-FA00-CCAD-342B-5B0BAB5A7010}"/>
                  </a:ext>
                </a:extLst>
              </p:cNvPr>
              <p:cNvSpPr txBox="1"/>
              <p:nvPr/>
            </p:nvSpPr>
            <p:spPr>
              <a:xfrm>
                <a:off x="10472022" y="4743827"/>
                <a:ext cx="405167" cy="296652"/>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46</a:t>
                </a:r>
              </a:p>
            </p:txBody>
          </p:sp>
          <p:sp>
            <p:nvSpPr>
              <p:cNvPr id="883" name="TextBox 882">
                <a:extLst>
                  <a:ext uri="{FF2B5EF4-FFF2-40B4-BE49-F238E27FC236}">
                    <a16:creationId xmlns:a16="http://schemas.microsoft.com/office/drawing/2014/main" id="{A01DF741-0435-6CB0-7DB0-16F8522D8B11}"/>
                  </a:ext>
                </a:extLst>
              </p:cNvPr>
              <p:cNvSpPr txBox="1"/>
              <p:nvPr/>
            </p:nvSpPr>
            <p:spPr>
              <a:xfrm>
                <a:off x="1994610" y="4494372"/>
                <a:ext cx="329973" cy="296652"/>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0</a:t>
                </a:r>
              </a:p>
            </p:txBody>
          </p:sp>
          <p:sp>
            <p:nvSpPr>
              <p:cNvPr id="884" name="TextBox 883">
                <a:extLst>
                  <a:ext uri="{FF2B5EF4-FFF2-40B4-BE49-F238E27FC236}">
                    <a16:creationId xmlns:a16="http://schemas.microsoft.com/office/drawing/2014/main" id="{BEB692E6-7234-A5F6-718A-9AC7F8B4DBAD}"/>
                  </a:ext>
                </a:extLst>
              </p:cNvPr>
              <p:cNvSpPr txBox="1"/>
              <p:nvPr/>
            </p:nvSpPr>
            <p:spPr>
              <a:xfrm>
                <a:off x="1856928" y="1047597"/>
                <a:ext cx="480362" cy="296652"/>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100</a:t>
                </a:r>
              </a:p>
            </p:txBody>
          </p:sp>
          <p:sp>
            <p:nvSpPr>
              <p:cNvPr id="885" name="TextBox 884">
                <a:extLst>
                  <a:ext uri="{FF2B5EF4-FFF2-40B4-BE49-F238E27FC236}">
                    <a16:creationId xmlns:a16="http://schemas.microsoft.com/office/drawing/2014/main" id="{EFFBC469-44BF-7FF8-35DF-9D17E3AB94BB}"/>
                  </a:ext>
                </a:extLst>
              </p:cNvPr>
              <p:cNvSpPr txBox="1"/>
              <p:nvPr/>
            </p:nvSpPr>
            <p:spPr>
              <a:xfrm>
                <a:off x="1928146" y="1734114"/>
                <a:ext cx="405167" cy="296652"/>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80</a:t>
                </a:r>
              </a:p>
            </p:txBody>
          </p:sp>
          <p:sp>
            <p:nvSpPr>
              <p:cNvPr id="886" name="TextBox 885">
                <a:extLst>
                  <a:ext uri="{FF2B5EF4-FFF2-40B4-BE49-F238E27FC236}">
                    <a16:creationId xmlns:a16="http://schemas.microsoft.com/office/drawing/2014/main" id="{1A500FFD-EF5A-9EEE-F6FF-F9B2A32EB547}"/>
                  </a:ext>
                </a:extLst>
              </p:cNvPr>
              <p:cNvSpPr txBox="1"/>
              <p:nvPr/>
            </p:nvSpPr>
            <p:spPr>
              <a:xfrm>
                <a:off x="1928146" y="2433738"/>
                <a:ext cx="405167" cy="296652"/>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60</a:t>
                </a:r>
              </a:p>
            </p:txBody>
          </p:sp>
          <p:sp>
            <p:nvSpPr>
              <p:cNvPr id="887" name="TextBox 886">
                <a:extLst>
                  <a:ext uri="{FF2B5EF4-FFF2-40B4-BE49-F238E27FC236}">
                    <a16:creationId xmlns:a16="http://schemas.microsoft.com/office/drawing/2014/main" id="{FD5D9DF3-81E7-3BD7-EE32-B1F5CC57BC49}"/>
                  </a:ext>
                </a:extLst>
              </p:cNvPr>
              <p:cNvSpPr txBox="1"/>
              <p:nvPr/>
            </p:nvSpPr>
            <p:spPr>
              <a:xfrm>
                <a:off x="1928146" y="3114574"/>
                <a:ext cx="405167" cy="296652"/>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40</a:t>
                </a:r>
              </a:p>
            </p:txBody>
          </p:sp>
          <p:sp>
            <p:nvSpPr>
              <p:cNvPr id="888" name="TextBox 887">
                <a:extLst>
                  <a:ext uri="{FF2B5EF4-FFF2-40B4-BE49-F238E27FC236}">
                    <a16:creationId xmlns:a16="http://schemas.microsoft.com/office/drawing/2014/main" id="{96BAAA5D-1CD8-912B-3630-EFB29587FA19}"/>
                  </a:ext>
                </a:extLst>
              </p:cNvPr>
              <p:cNvSpPr txBox="1"/>
              <p:nvPr/>
            </p:nvSpPr>
            <p:spPr>
              <a:xfrm>
                <a:off x="1928146" y="3798278"/>
                <a:ext cx="405167" cy="296652"/>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20</a:t>
                </a:r>
              </a:p>
            </p:txBody>
          </p:sp>
        </p:grpSp>
        <p:grpSp>
          <p:nvGrpSpPr>
            <p:cNvPr id="985" name="Graphic 4">
              <a:extLst>
                <a:ext uri="{FF2B5EF4-FFF2-40B4-BE49-F238E27FC236}">
                  <a16:creationId xmlns:a16="http://schemas.microsoft.com/office/drawing/2014/main" id="{AEE8336C-8B65-6890-6D8C-85E9071B6D06}"/>
                </a:ext>
              </a:extLst>
            </p:cNvPr>
            <p:cNvGrpSpPr/>
            <p:nvPr/>
          </p:nvGrpSpPr>
          <p:grpSpPr>
            <a:xfrm>
              <a:off x="2586933" y="3940660"/>
              <a:ext cx="1612696" cy="543327"/>
              <a:chOff x="2586935" y="3972855"/>
              <a:chExt cx="1668741" cy="578838"/>
            </a:xfrm>
            <a:solidFill>
              <a:srgbClr val="000000"/>
            </a:solidFill>
          </p:grpSpPr>
          <p:sp>
            <p:nvSpPr>
              <p:cNvPr id="986" name="TextBox 985">
                <a:extLst>
                  <a:ext uri="{FF2B5EF4-FFF2-40B4-BE49-F238E27FC236}">
                    <a16:creationId xmlns:a16="http://schemas.microsoft.com/office/drawing/2014/main" id="{81E7E98D-786C-897E-5682-00CAA71D4E51}"/>
                  </a:ext>
                </a:extLst>
              </p:cNvPr>
              <p:cNvSpPr txBox="1"/>
              <p:nvPr/>
            </p:nvSpPr>
            <p:spPr>
              <a:xfrm>
                <a:off x="3034421" y="3972855"/>
                <a:ext cx="688255" cy="296652"/>
              </a:xfrm>
              <a:prstGeom prst="rect">
                <a:avLst/>
              </a:prstGeom>
              <a:noFill/>
            </p:spPr>
            <p:txBody>
              <a:bodyPr wrap="none" rtlCol="0">
                <a:spAutoFit/>
              </a:bodyPr>
              <a:lstStyle/>
              <a:p>
                <a:pPr algn="l"/>
                <a:r>
                  <a:rPr lang="en-US" sz="757" dirty="0">
                    <a:ln/>
                    <a:solidFill>
                      <a:srgbClr val="000000"/>
                    </a:solidFill>
                    <a:latin typeface="HelveticaNeue"/>
                    <a:ea typeface="HelveticaNeue"/>
                    <a:cs typeface="HelveticaNeue"/>
                    <a:sym typeface="HelveticaNeue"/>
                    <a:rtl val="0"/>
                  </a:rPr>
                  <a:t>Censor</a:t>
                </a:r>
              </a:p>
            </p:txBody>
          </p:sp>
          <p:sp>
            <p:nvSpPr>
              <p:cNvPr id="987" name="TextBox 986">
                <a:extLst>
                  <a:ext uri="{FF2B5EF4-FFF2-40B4-BE49-F238E27FC236}">
                    <a16:creationId xmlns:a16="http://schemas.microsoft.com/office/drawing/2014/main" id="{7B000149-7533-0569-8ADF-81803E121A73}"/>
                  </a:ext>
                </a:extLst>
              </p:cNvPr>
              <p:cNvSpPr txBox="1"/>
              <p:nvPr/>
            </p:nvSpPr>
            <p:spPr>
              <a:xfrm>
                <a:off x="3034421" y="4103422"/>
                <a:ext cx="1221255" cy="296652"/>
              </a:xfrm>
              <a:prstGeom prst="rect">
                <a:avLst/>
              </a:prstGeom>
              <a:noFill/>
            </p:spPr>
            <p:txBody>
              <a:bodyPr wrap="none" rtlCol="0">
                <a:spAutoFit/>
              </a:bodyPr>
              <a:lstStyle/>
              <a:p>
                <a:pPr algn="l"/>
                <a:r>
                  <a:rPr lang="en-US" sz="757" dirty="0">
                    <a:ln/>
                    <a:latin typeface="HelveticaNeue"/>
                    <a:ea typeface="HelveticaNeue"/>
                    <a:cs typeface="HelveticaNeue"/>
                    <a:sym typeface="HelveticaNeue"/>
                    <a:rtl val="0"/>
                  </a:rPr>
                  <a:t>T-DXd (n = 406)</a:t>
                </a:r>
              </a:p>
            </p:txBody>
          </p:sp>
          <p:sp>
            <p:nvSpPr>
              <p:cNvPr id="988" name="TextBox 987">
                <a:extLst>
                  <a:ext uri="{FF2B5EF4-FFF2-40B4-BE49-F238E27FC236}">
                    <a16:creationId xmlns:a16="http://schemas.microsoft.com/office/drawing/2014/main" id="{2F6FDC0E-385C-460F-1200-092881297116}"/>
                  </a:ext>
                </a:extLst>
              </p:cNvPr>
              <p:cNvSpPr txBox="1"/>
              <p:nvPr/>
            </p:nvSpPr>
            <p:spPr>
              <a:xfrm>
                <a:off x="3034421" y="4255041"/>
                <a:ext cx="1101828" cy="296652"/>
              </a:xfrm>
              <a:prstGeom prst="rect">
                <a:avLst/>
              </a:prstGeom>
              <a:noFill/>
            </p:spPr>
            <p:txBody>
              <a:bodyPr wrap="none" rtlCol="0">
                <a:spAutoFit/>
              </a:bodyPr>
              <a:lstStyle/>
              <a:p>
                <a:pPr algn="l"/>
                <a:r>
                  <a:rPr lang="en-US" sz="757" dirty="0">
                    <a:ln/>
                    <a:latin typeface="HelveticaNeue"/>
                    <a:ea typeface="HelveticaNeue"/>
                    <a:cs typeface="HelveticaNeue"/>
                    <a:sym typeface="HelveticaNeue"/>
                    <a:rtl val="0"/>
                  </a:rPr>
                  <a:t>TPC (n = 202)</a:t>
                </a:r>
              </a:p>
            </p:txBody>
          </p:sp>
          <p:sp>
            <p:nvSpPr>
              <p:cNvPr id="989" name="Freeform 988">
                <a:extLst>
                  <a:ext uri="{FF2B5EF4-FFF2-40B4-BE49-F238E27FC236}">
                    <a16:creationId xmlns:a16="http://schemas.microsoft.com/office/drawing/2014/main" id="{DBFD3D45-D06E-AEA8-4CC7-EBBEE0C1FA32}"/>
                  </a:ext>
                </a:extLst>
              </p:cNvPr>
              <p:cNvSpPr/>
              <p:nvPr/>
            </p:nvSpPr>
            <p:spPr>
              <a:xfrm>
                <a:off x="2586935" y="4395256"/>
                <a:ext cx="460922" cy="17647"/>
              </a:xfrm>
              <a:custGeom>
                <a:avLst/>
                <a:gdLst>
                  <a:gd name="connsiteX0" fmla="*/ 0 w 460922"/>
                  <a:gd name="connsiteY0" fmla="*/ 0 h 17647"/>
                  <a:gd name="connsiteX1" fmla="*/ 460923 w 460922"/>
                  <a:gd name="connsiteY1" fmla="*/ 0 h 17647"/>
                </a:gdLst>
                <a:ahLst/>
                <a:cxnLst>
                  <a:cxn ang="0">
                    <a:pos x="connsiteX0" y="connsiteY0"/>
                  </a:cxn>
                  <a:cxn ang="0">
                    <a:pos x="connsiteX1" y="connsiteY1"/>
                  </a:cxn>
                </a:cxnLst>
                <a:rect l="l" t="t" r="r" b="b"/>
                <a:pathLst>
                  <a:path w="460922" h="17647">
                    <a:moveTo>
                      <a:pt x="0" y="0"/>
                    </a:moveTo>
                    <a:lnTo>
                      <a:pt x="460923" y="0"/>
                    </a:lnTo>
                  </a:path>
                </a:pathLst>
              </a:custGeom>
              <a:ln w="9624" cap="flat">
                <a:solidFill>
                  <a:srgbClr val="787878"/>
                </a:solidFill>
                <a:custDash>
                  <a:ds d="491160" sp="163718"/>
                </a:custDash>
                <a:miter/>
              </a:ln>
            </p:spPr>
            <p:txBody>
              <a:bodyPr rtlCol="0" anchor="ctr"/>
              <a:lstStyle/>
              <a:p>
                <a:endParaRPr lang="en-US" sz="1800" dirty="0"/>
              </a:p>
            </p:txBody>
          </p:sp>
          <p:sp>
            <p:nvSpPr>
              <p:cNvPr id="990" name="Freeform 989">
                <a:extLst>
                  <a:ext uri="{FF2B5EF4-FFF2-40B4-BE49-F238E27FC236}">
                    <a16:creationId xmlns:a16="http://schemas.microsoft.com/office/drawing/2014/main" id="{A8FE1285-DC6A-C537-ADA8-9EB3386C4D54}"/>
                  </a:ext>
                </a:extLst>
              </p:cNvPr>
              <p:cNvSpPr/>
              <p:nvPr/>
            </p:nvSpPr>
            <p:spPr>
              <a:xfrm>
                <a:off x="2787987" y="4395256"/>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787878"/>
                </a:solidFill>
                <a:prstDash val="solid"/>
                <a:miter/>
              </a:ln>
            </p:spPr>
            <p:txBody>
              <a:bodyPr rtlCol="0" anchor="ctr"/>
              <a:lstStyle/>
              <a:p>
                <a:endParaRPr lang="en-US" sz="1800" dirty="0"/>
              </a:p>
            </p:txBody>
          </p:sp>
          <p:sp>
            <p:nvSpPr>
              <p:cNvPr id="991" name="Freeform 990">
                <a:extLst>
                  <a:ext uri="{FF2B5EF4-FFF2-40B4-BE49-F238E27FC236}">
                    <a16:creationId xmlns:a16="http://schemas.microsoft.com/office/drawing/2014/main" id="{B6D231BA-661A-3B8F-C5EB-C57077FF1EF3}"/>
                  </a:ext>
                </a:extLst>
              </p:cNvPr>
              <p:cNvSpPr/>
              <p:nvPr/>
            </p:nvSpPr>
            <p:spPr>
              <a:xfrm>
                <a:off x="2817405" y="4366880"/>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787878"/>
                </a:solidFill>
                <a:prstDash val="solid"/>
                <a:miter/>
              </a:ln>
            </p:spPr>
            <p:txBody>
              <a:bodyPr rtlCol="0" anchor="ctr"/>
              <a:lstStyle/>
              <a:p>
                <a:endParaRPr lang="en-US" sz="1800" dirty="0"/>
              </a:p>
            </p:txBody>
          </p:sp>
          <p:sp>
            <p:nvSpPr>
              <p:cNvPr id="992" name="Freeform 991">
                <a:extLst>
                  <a:ext uri="{FF2B5EF4-FFF2-40B4-BE49-F238E27FC236}">
                    <a16:creationId xmlns:a16="http://schemas.microsoft.com/office/drawing/2014/main" id="{BCE85AF4-3424-956C-09A2-86F5D273F3DB}"/>
                  </a:ext>
                </a:extLst>
              </p:cNvPr>
              <p:cNvSpPr/>
              <p:nvPr/>
            </p:nvSpPr>
            <p:spPr>
              <a:xfrm>
                <a:off x="2586935" y="4253392"/>
                <a:ext cx="460922" cy="17647"/>
              </a:xfrm>
              <a:custGeom>
                <a:avLst/>
                <a:gdLst>
                  <a:gd name="connsiteX0" fmla="*/ 0 w 460922"/>
                  <a:gd name="connsiteY0" fmla="*/ 0 h 17647"/>
                  <a:gd name="connsiteX1" fmla="*/ 460923 w 460922"/>
                  <a:gd name="connsiteY1" fmla="*/ 0 h 17647"/>
                </a:gdLst>
                <a:ahLst/>
                <a:cxnLst>
                  <a:cxn ang="0">
                    <a:pos x="connsiteX0" y="connsiteY0"/>
                  </a:cxn>
                  <a:cxn ang="0">
                    <a:pos x="connsiteX1" y="connsiteY1"/>
                  </a:cxn>
                </a:cxnLst>
                <a:rect l="l" t="t" r="r" b="b"/>
                <a:pathLst>
                  <a:path w="460922" h="17647">
                    <a:moveTo>
                      <a:pt x="0" y="0"/>
                    </a:moveTo>
                    <a:lnTo>
                      <a:pt x="460923" y="0"/>
                    </a:lnTo>
                  </a:path>
                </a:pathLst>
              </a:custGeom>
              <a:ln w="9624" cap="sq">
                <a:solidFill>
                  <a:srgbClr val="27377D"/>
                </a:solidFill>
                <a:prstDash val="solid"/>
                <a:miter/>
              </a:ln>
            </p:spPr>
            <p:txBody>
              <a:bodyPr rtlCol="0" anchor="ctr"/>
              <a:lstStyle/>
              <a:p>
                <a:endParaRPr lang="en-US" sz="1800" dirty="0"/>
              </a:p>
            </p:txBody>
          </p:sp>
          <p:sp>
            <p:nvSpPr>
              <p:cNvPr id="993" name="Freeform 992">
                <a:extLst>
                  <a:ext uri="{FF2B5EF4-FFF2-40B4-BE49-F238E27FC236}">
                    <a16:creationId xmlns:a16="http://schemas.microsoft.com/office/drawing/2014/main" id="{186E76E2-7865-2FBA-A4D0-886AB353BF81}"/>
                  </a:ext>
                </a:extLst>
              </p:cNvPr>
              <p:cNvSpPr/>
              <p:nvPr/>
            </p:nvSpPr>
            <p:spPr>
              <a:xfrm>
                <a:off x="2787987" y="4253392"/>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endParaRPr lang="en-US" sz="1800" dirty="0"/>
              </a:p>
            </p:txBody>
          </p:sp>
          <p:sp>
            <p:nvSpPr>
              <p:cNvPr id="994" name="Freeform 993">
                <a:extLst>
                  <a:ext uri="{FF2B5EF4-FFF2-40B4-BE49-F238E27FC236}">
                    <a16:creationId xmlns:a16="http://schemas.microsoft.com/office/drawing/2014/main" id="{397AB7B9-DB56-E5E3-55E7-7B43DCFFF2DA}"/>
                  </a:ext>
                </a:extLst>
              </p:cNvPr>
              <p:cNvSpPr/>
              <p:nvPr/>
            </p:nvSpPr>
            <p:spPr>
              <a:xfrm>
                <a:off x="2817405" y="4225015"/>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endParaRPr lang="en-US" sz="1800" dirty="0"/>
              </a:p>
            </p:txBody>
          </p:sp>
          <p:sp>
            <p:nvSpPr>
              <p:cNvPr id="995" name="TextBox 994">
                <a:extLst>
                  <a:ext uri="{FF2B5EF4-FFF2-40B4-BE49-F238E27FC236}">
                    <a16:creationId xmlns:a16="http://schemas.microsoft.com/office/drawing/2014/main" id="{7EF340B0-C77A-49E5-93A4-C252B362E67C}"/>
                  </a:ext>
                </a:extLst>
              </p:cNvPr>
              <p:cNvSpPr txBox="1"/>
              <p:nvPr/>
            </p:nvSpPr>
            <p:spPr>
              <a:xfrm>
                <a:off x="2693599" y="4007216"/>
                <a:ext cx="321126" cy="272789"/>
              </a:xfrm>
              <a:prstGeom prst="rect">
                <a:avLst/>
              </a:prstGeom>
              <a:noFill/>
            </p:spPr>
            <p:txBody>
              <a:bodyPr wrap="none" rtlCol="0">
                <a:spAutoFit/>
              </a:bodyPr>
              <a:lstStyle/>
              <a:p>
                <a:pPr algn="l"/>
                <a:r>
                  <a:rPr lang="en-US" sz="648" dirty="0">
                    <a:ln/>
                    <a:solidFill>
                      <a:srgbClr val="000000"/>
                    </a:solidFill>
                    <a:latin typeface="HelveticaNeue"/>
                    <a:ea typeface="HelveticaNeue"/>
                    <a:cs typeface="HelveticaNeue"/>
                    <a:sym typeface="HelveticaNeue"/>
                    <a:rtl val="0"/>
                  </a:rPr>
                  <a:t>+</a:t>
                </a:r>
              </a:p>
            </p:txBody>
          </p:sp>
        </p:grpSp>
        <p:sp>
          <p:nvSpPr>
            <p:cNvPr id="1058" name="Rectangle 1057">
              <a:extLst>
                <a:ext uri="{FF2B5EF4-FFF2-40B4-BE49-F238E27FC236}">
                  <a16:creationId xmlns:a16="http://schemas.microsoft.com/office/drawing/2014/main" id="{77FB85AE-A3F3-8ADB-D9AD-2F7212EA651E}"/>
                </a:ext>
              </a:extLst>
            </p:cNvPr>
            <p:cNvSpPr/>
            <p:nvPr/>
          </p:nvSpPr>
          <p:spPr>
            <a:xfrm>
              <a:off x="4352309" y="1092202"/>
              <a:ext cx="2251194" cy="3895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750" b="1" dirty="0">
                  <a:solidFill>
                    <a:srgbClr val="002985"/>
                  </a:solidFill>
                  <a:latin typeface="Arial" panose="020B0604020202020204" pitchFamily="34" charset="0"/>
                  <a:cs typeface="Arial" panose="020B0604020202020204" pitchFamily="34" charset="0"/>
                </a:rPr>
                <a:t>T-DXd</a:t>
              </a:r>
              <a:r>
                <a:rPr lang="en-US" sz="750" b="1" dirty="0">
                  <a:solidFill>
                    <a:schemeClr val="tx1"/>
                  </a:solidFill>
                  <a:latin typeface="Arial" panose="020B0604020202020204" pitchFamily="34" charset="0"/>
                  <a:cs typeface="Arial" panose="020B0604020202020204" pitchFamily="34" charset="0"/>
                </a:rPr>
                <a:t>:</a:t>
              </a:r>
              <a:r>
                <a:rPr lang="en-US" sz="750" dirty="0">
                  <a:solidFill>
                    <a:schemeClr val="tx1"/>
                  </a:solidFill>
                  <a:latin typeface="Arial" panose="020B0604020202020204" pitchFamily="34" charset="0"/>
                  <a:cs typeface="Arial" panose="020B0604020202020204" pitchFamily="34" charset="0"/>
                </a:rPr>
                <a:t> </a:t>
              </a:r>
              <a:r>
                <a:rPr lang="en-US" sz="750" b="1" dirty="0">
                  <a:solidFill>
                    <a:srgbClr val="002985"/>
                  </a:solidFill>
                  <a:latin typeface="Arial" panose="020B0604020202020204" pitchFamily="34" charset="0"/>
                  <a:cs typeface="Arial" panose="020B0604020202020204" pitchFamily="34" charset="0"/>
                </a:rPr>
                <a:t>89.4% </a:t>
              </a:r>
              <a:r>
                <a:rPr lang="en-US" sz="750" dirty="0">
                  <a:solidFill>
                    <a:srgbClr val="002985"/>
                  </a:solidFill>
                  <a:latin typeface="Arial" panose="020B0604020202020204" pitchFamily="34" charset="0"/>
                  <a:cs typeface="Arial" panose="020B0604020202020204" pitchFamily="34" charset="0"/>
                </a:rPr>
                <a:t>(95% CI, 85.9-92.1) </a:t>
              </a:r>
            </a:p>
            <a:p>
              <a:r>
                <a:rPr lang="en-US" sz="750" b="1" dirty="0">
                  <a:solidFill>
                    <a:srgbClr val="787878"/>
                  </a:solidFill>
                  <a:latin typeface="Arial" panose="020B0604020202020204" pitchFamily="34" charset="0"/>
                  <a:cs typeface="Arial" panose="020B0604020202020204" pitchFamily="34" charset="0"/>
                </a:rPr>
                <a:t>TPC: 74.7% </a:t>
              </a:r>
              <a:r>
                <a:rPr lang="en-US" sz="750" dirty="0">
                  <a:solidFill>
                    <a:srgbClr val="787878"/>
                  </a:solidFill>
                  <a:latin typeface="Arial" panose="020B0604020202020204" pitchFamily="34" charset="0"/>
                  <a:cs typeface="Arial" panose="020B0604020202020204" pitchFamily="34" charset="0"/>
                </a:rPr>
                <a:t>(95% CI, 67.4-80.4) </a:t>
              </a:r>
            </a:p>
          </p:txBody>
        </p:sp>
        <p:sp>
          <p:nvSpPr>
            <p:cNvPr id="1059" name="Rectangle 1058">
              <a:extLst>
                <a:ext uri="{FF2B5EF4-FFF2-40B4-BE49-F238E27FC236}">
                  <a16:creationId xmlns:a16="http://schemas.microsoft.com/office/drawing/2014/main" id="{760D8D57-DEE3-8177-6244-B68A1C4D489F}"/>
                </a:ext>
              </a:extLst>
            </p:cNvPr>
            <p:cNvSpPr/>
            <p:nvPr/>
          </p:nvSpPr>
          <p:spPr>
            <a:xfrm>
              <a:off x="6458475" y="1799388"/>
              <a:ext cx="2251194" cy="3895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750" b="1" dirty="0">
                  <a:solidFill>
                    <a:srgbClr val="002985"/>
                  </a:solidFill>
                  <a:latin typeface="Arial" panose="020B0604020202020204" pitchFamily="34" charset="0"/>
                  <a:cs typeface="Arial" panose="020B0604020202020204" pitchFamily="34" charset="0"/>
                </a:rPr>
                <a:t>T-DXd:</a:t>
              </a:r>
              <a:r>
                <a:rPr lang="en-US" sz="750" dirty="0">
                  <a:solidFill>
                    <a:srgbClr val="002985"/>
                  </a:solidFill>
                  <a:latin typeface="Arial" panose="020B0604020202020204" pitchFamily="34" charset="0"/>
                  <a:cs typeface="Arial" panose="020B0604020202020204" pitchFamily="34" charset="0"/>
                </a:rPr>
                <a:t> </a:t>
              </a:r>
              <a:r>
                <a:rPr lang="en-US" sz="750" b="1" dirty="0">
                  <a:solidFill>
                    <a:srgbClr val="002985"/>
                  </a:solidFill>
                  <a:latin typeface="Arial" panose="020B0604020202020204" pitchFamily="34" charset="0"/>
                  <a:cs typeface="Arial" panose="020B0604020202020204" pitchFamily="34" charset="0"/>
                </a:rPr>
                <a:t>65.9% </a:t>
              </a:r>
              <a:r>
                <a:rPr lang="en-US" sz="750" dirty="0">
                  <a:solidFill>
                    <a:srgbClr val="002985"/>
                  </a:solidFill>
                  <a:latin typeface="Arial" panose="020B0604020202020204" pitchFamily="34" charset="0"/>
                  <a:cs typeface="Arial" panose="020B0604020202020204" pitchFamily="34" charset="0"/>
                </a:rPr>
                <a:t>(95% CI, 60.7-70.7) </a:t>
              </a:r>
            </a:p>
            <a:p>
              <a:r>
                <a:rPr lang="en-US" sz="750" b="1" dirty="0">
                  <a:solidFill>
                    <a:srgbClr val="787878"/>
                  </a:solidFill>
                  <a:latin typeface="Arial" panose="020B0604020202020204" pitchFamily="34" charset="0"/>
                  <a:cs typeface="Arial" panose="020B0604020202020204" pitchFamily="34" charset="0"/>
                </a:rPr>
                <a:t>TPC: 54.3% </a:t>
              </a:r>
              <a:r>
                <a:rPr lang="en-US" sz="750" dirty="0">
                  <a:solidFill>
                    <a:srgbClr val="787878"/>
                  </a:solidFill>
                  <a:latin typeface="Arial" panose="020B0604020202020204" pitchFamily="34" charset="0"/>
                  <a:cs typeface="Arial" panose="020B0604020202020204" pitchFamily="34" charset="0"/>
                </a:rPr>
                <a:t>(95% CI, 46.3-61.6) </a:t>
              </a:r>
            </a:p>
          </p:txBody>
        </p:sp>
        <p:cxnSp>
          <p:nvCxnSpPr>
            <p:cNvPr id="1060" name="Straight Connector 1059">
              <a:extLst>
                <a:ext uri="{FF2B5EF4-FFF2-40B4-BE49-F238E27FC236}">
                  <a16:creationId xmlns:a16="http://schemas.microsoft.com/office/drawing/2014/main" id="{9790D842-0736-E82E-9F05-CA1CF8414E98}"/>
                </a:ext>
              </a:extLst>
            </p:cNvPr>
            <p:cNvCxnSpPr>
              <a:cxnSpLocks/>
            </p:cNvCxnSpPr>
            <p:nvPr/>
          </p:nvCxnSpPr>
          <p:spPr>
            <a:xfrm flipH="1" flipV="1">
              <a:off x="4478658" y="1464433"/>
              <a:ext cx="0" cy="2958365"/>
            </a:xfrm>
            <a:prstGeom prst="line">
              <a:avLst/>
            </a:prstGeom>
            <a:ln w="19050"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062" name="Straight Connector 1061">
              <a:extLst>
                <a:ext uri="{FF2B5EF4-FFF2-40B4-BE49-F238E27FC236}">
                  <a16:creationId xmlns:a16="http://schemas.microsoft.com/office/drawing/2014/main" id="{C6563346-7FE0-1142-18D4-ADA9BD8809B2}"/>
                </a:ext>
              </a:extLst>
            </p:cNvPr>
            <p:cNvCxnSpPr>
              <a:cxnSpLocks/>
            </p:cNvCxnSpPr>
            <p:nvPr/>
          </p:nvCxnSpPr>
          <p:spPr>
            <a:xfrm flipH="1" flipV="1">
              <a:off x="6560831" y="2262839"/>
              <a:ext cx="0" cy="2159959"/>
            </a:xfrm>
            <a:prstGeom prst="line">
              <a:avLst/>
            </a:prstGeom>
            <a:ln w="19050"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nvGrpSpPr>
            <p:cNvPr id="1066" name="Graphic 4">
              <a:extLst>
                <a:ext uri="{FF2B5EF4-FFF2-40B4-BE49-F238E27FC236}">
                  <a16:creationId xmlns:a16="http://schemas.microsoft.com/office/drawing/2014/main" id="{5FF02EF5-63A5-06CB-F67E-4C0599BBA5DE}"/>
                </a:ext>
              </a:extLst>
            </p:cNvPr>
            <p:cNvGrpSpPr/>
            <p:nvPr/>
          </p:nvGrpSpPr>
          <p:grpSpPr>
            <a:xfrm>
              <a:off x="9037170" y="3430369"/>
              <a:ext cx="474105" cy="292388"/>
              <a:chOff x="9154389" y="1261475"/>
              <a:chExt cx="515478" cy="268919"/>
            </a:xfrm>
          </p:grpSpPr>
          <p:sp>
            <p:nvSpPr>
              <p:cNvPr id="1076" name="TextBox 1075">
                <a:extLst>
                  <a:ext uri="{FF2B5EF4-FFF2-40B4-BE49-F238E27FC236}">
                    <a16:creationId xmlns:a16="http://schemas.microsoft.com/office/drawing/2014/main" id="{C468BB5E-0AEF-AEB4-FB12-3145DEAC9ECB}"/>
                  </a:ext>
                </a:extLst>
              </p:cNvPr>
              <p:cNvSpPr txBox="1"/>
              <p:nvPr/>
            </p:nvSpPr>
            <p:spPr>
              <a:xfrm>
                <a:off x="9154389" y="1261475"/>
                <a:ext cx="309537" cy="268919"/>
              </a:xfrm>
              <a:prstGeom prst="rect">
                <a:avLst/>
              </a:prstGeom>
              <a:noFill/>
            </p:spPr>
            <p:txBody>
              <a:bodyPr wrap="none" rtlCol="0">
                <a:spAutoFit/>
              </a:bodyPr>
              <a:lstStyle/>
              <a:p>
                <a:pPr algn="l"/>
                <a:r>
                  <a:rPr lang="en-US" sz="825" dirty="0">
                    <a:ln/>
                    <a:latin typeface="HelveticaNeue"/>
                    <a:ea typeface="HelveticaNeue"/>
                    <a:cs typeface="HelveticaNeue"/>
                    <a:sym typeface="HelveticaNeue"/>
                    <a:rtl val="0"/>
                  </a:rPr>
                  <a:t> </a:t>
                </a:r>
              </a:p>
            </p:txBody>
          </p:sp>
          <p:sp>
            <p:nvSpPr>
              <p:cNvPr id="1081" name="TextBox 1080">
                <a:extLst>
                  <a:ext uri="{FF2B5EF4-FFF2-40B4-BE49-F238E27FC236}">
                    <a16:creationId xmlns:a16="http://schemas.microsoft.com/office/drawing/2014/main" id="{7C027EE1-4DF7-BB95-DCC1-766FA6363CB5}"/>
                  </a:ext>
                </a:extLst>
              </p:cNvPr>
              <p:cNvSpPr txBox="1"/>
              <p:nvPr/>
            </p:nvSpPr>
            <p:spPr>
              <a:xfrm>
                <a:off x="9360330" y="1261475"/>
                <a:ext cx="309537" cy="268919"/>
              </a:xfrm>
              <a:prstGeom prst="rect">
                <a:avLst/>
              </a:prstGeom>
              <a:noFill/>
            </p:spPr>
            <p:txBody>
              <a:bodyPr wrap="none" rtlCol="0">
                <a:spAutoFit/>
              </a:bodyPr>
              <a:lstStyle/>
              <a:p>
                <a:pPr algn="l"/>
                <a:r>
                  <a:rPr lang="en-US" sz="825" dirty="0">
                    <a:ln/>
                    <a:latin typeface="HelveticaNeue"/>
                    <a:ea typeface="HelveticaNeue"/>
                    <a:cs typeface="HelveticaNeue"/>
                    <a:sym typeface="HelveticaNeue"/>
                    <a:rtl val="0"/>
                  </a:rPr>
                  <a:t> </a:t>
                </a:r>
              </a:p>
            </p:txBody>
          </p:sp>
        </p:grpSp>
      </p:grpSp>
      <p:sp>
        <p:nvSpPr>
          <p:cNvPr id="1121" name="TextBox 1120">
            <a:extLst>
              <a:ext uri="{FF2B5EF4-FFF2-40B4-BE49-F238E27FC236}">
                <a16:creationId xmlns:a16="http://schemas.microsoft.com/office/drawing/2014/main" id="{89C5EF63-45B9-9931-4BB7-E648ED6EB853}"/>
              </a:ext>
            </a:extLst>
          </p:cNvPr>
          <p:cNvSpPr txBox="1"/>
          <p:nvPr/>
        </p:nvSpPr>
        <p:spPr>
          <a:xfrm>
            <a:off x="5054378" y="311191"/>
            <a:ext cx="4004813" cy="861774"/>
          </a:xfrm>
          <a:prstGeom prst="rect">
            <a:avLst/>
          </a:prstGeom>
          <a:solidFill>
            <a:srgbClr val="F2F2F2"/>
          </a:solidFill>
        </p:spPr>
        <p:txBody>
          <a:bodyPr wrap="square" rtlCol="0">
            <a:spAutoFit/>
          </a:bodyPr>
          <a:lstStyle/>
          <a:p>
            <a:r>
              <a:rPr lang="en-US" sz="1000" b="1" dirty="0">
                <a:solidFill>
                  <a:schemeClr val="accent4"/>
                </a:solidFill>
                <a:latin typeface="Arial" panose="020B0604020202020204" pitchFamily="34" charset="0"/>
                <a:cs typeface="Arial" panose="020B0604020202020204" pitchFamily="34" charset="0"/>
              </a:rPr>
              <a:t>In the TPC arm</a:t>
            </a:r>
          </a:p>
          <a:p>
            <a:pPr marL="214313" indent="-214313">
              <a:buFont typeface="Arial" panose="020B0604020202020204" pitchFamily="34" charset="0"/>
              <a:buChar char="•"/>
            </a:pPr>
            <a:r>
              <a:rPr lang="en-US" sz="1000" b="1" dirty="0">
                <a:solidFill>
                  <a:srgbClr val="002985"/>
                </a:solidFill>
                <a:latin typeface="Arial" panose="020B0604020202020204" pitchFamily="34" charset="0"/>
                <a:cs typeface="Arial" panose="020B0604020202020204" pitchFamily="34" charset="0"/>
              </a:rPr>
              <a:t>69.3% (140/202) </a:t>
            </a:r>
            <a:r>
              <a:rPr lang="en-US" sz="1000" b="1" dirty="0">
                <a:solidFill>
                  <a:schemeClr val="accent4"/>
                </a:solidFill>
                <a:latin typeface="Arial" panose="020B0604020202020204" pitchFamily="34" charset="0"/>
                <a:cs typeface="Arial" panose="020B0604020202020204" pitchFamily="34" charset="0"/>
              </a:rPr>
              <a:t>of patients received a new systemic anticancer treatment</a:t>
            </a:r>
          </a:p>
          <a:p>
            <a:pPr marL="214313" indent="-214313">
              <a:buFont typeface="Arial" panose="020B0604020202020204" pitchFamily="34" charset="0"/>
              <a:buChar char="•"/>
            </a:pPr>
            <a:r>
              <a:rPr lang="en-US" sz="1000" b="1" dirty="0">
                <a:solidFill>
                  <a:srgbClr val="002985"/>
                </a:solidFill>
                <a:latin typeface="Arial" panose="020B0604020202020204" pitchFamily="34" charset="0"/>
                <a:cs typeface="Arial" panose="020B0604020202020204" pitchFamily="34" charset="0"/>
              </a:rPr>
              <a:t>25.7% (52/202) </a:t>
            </a:r>
            <a:r>
              <a:rPr lang="en-US" sz="1000" b="1" dirty="0">
                <a:solidFill>
                  <a:schemeClr val="accent4"/>
                </a:solidFill>
                <a:latin typeface="Arial" panose="020B0604020202020204" pitchFamily="34" charset="0"/>
                <a:cs typeface="Arial" panose="020B0604020202020204" pitchFamily="34" charset="0"/>
              </a:rPr>
              <a:t>of patients received T-DXd in the post-trial setting</a:t>
            </a:r>
          </a:p>
        </p:txBody>
      </p:sp>
      <p:grpSp>
        <p:nvGrpSpPr>
          <p:cNvPr id="819" name="Graphic 4">
            <a:extLst>
              <a:ext uri="{FF2B5EF4-FFF2-40B4-BE49-F238E27FC236}">
                <a16:creationId xmlns:a16="http://schemas.microsoft.com/office/drawing/2014/main" id="{89902167-35AF-BA40-23E7-E22D474D8BBA}"/>
              </a:ext>
            </a:extLst>
          </p:cNvPr>
          <p:cNvGrpSpPr/>
          <p:nvPr/>
        </p:nvGrpSpPr>
        <p:grpSpPr>
          <a:xfrm>
            <a:off x="5951230" y="2382762"/>
            <a:ext cx="1989647" cy="906227"/>
            <a:chOff x="7955992" y="1025535"/>
            <a:chExt cx="2884361" cy="1111315"/>
          </a:xfrm>
        </p:grpSpPr>
        <p:sp>
          <p:nvSpPr>
            <p:cNvPr id="1001" name="TextBox 1000">
              <a:extLst>
                <a:ext uri="{FF2B5EF4-FFF2-40B4-BE49-F238E27FC236}">
                  <a16:creationId xmlns:a16="http://schemas.microsoft.com/office/drawing/2014/main" id="{5880E96D-C96F-B272-824C-4B31271D3118}"/>
                </a:ext>
              </a:extLst>
            </p:cNvPr>
            <p:cNvSpPr txBox="1"/>
            <p:nvPr/>
          </p:nvSpPr>
          <p:spPr>
            <a:xfrm>
              <a:off x="8848000" y="1867931"/>
              <a:ext cx="1029930" cy="268919"/>
            </a:xfrm>
            <a:prstGeom prst="rect">
              <a:avLst/>
            </a:prstGeom>
            <a:noFill/>
          </p:spPr>
          <p:txBody>
            <a:bodyPr wrap="none" rtlCol="0">
              <a:spAutoFit/>
            </a:bodyPr>
            <a:lstStyle/>
            <a:p>
              <a:pPr algn="l"/>
              <a:r>
                <a:rPr lang="en-US" sz="825" b="1" i="1" dirty="0">
                  <a:ln/>
                  <a:latin typeface="HelveticaNeue"/>
                  <a:ea typeface="HelveticaNeue"/>
                  <a:cs typeface="HelveticaNeue"/>
                  <a:sym typeface="HelveticaNeue"/>
                  <a:rtl val="0"/>
                </a:rPr>
                <a:t>P</a:t>
              </a:r>
              <a:r>
                <a:rPr lang="en-US" sz="825" b="1" dirty="0">
                  <a:ln/>
                  <a:latin typeface="HelveticaNeue"/>
                  <a:ea typeface="HelveticaNeue"/>
                  <a:cs typeface="HelveticaNeue"/>
                  <a:sym typeface="HelveticaNeue"/>
                  <a:rtl val="0"/>
                </a:rPr>
                <a:t> =0.0021</a:t>
              </a:r>
              <a:r>
                <a:rPr lang="en-US" sz="825" b="1" baseline="30000" dirty="0">
                  <a:ln/>
                  <a:latin typeface="HelveticaNeue"/>
                  <a:ea typeface="HelveticaNeue"/>
                  <a:cs typeface="HelveticaNeue"/>
                  <a:sym typeface="HelveticaNeue"/>
                  <a:rtl val="0"/>
                </a:rPr>
                <a:t>a</a:t>
              </a:r>
            </a:p>
          </p:txBody>
        </p:sp>
        <p:sp>
          <p:nvSpPr>
            <p:cNvPr id="1040" name="Freeform 844">
              <a:extLst>
                <a:ext uri="{FF2B5EF4-FFF2-40B4-BE49-F238E27FC236}">
                  <a16:creationId xmlns:a16="http://schemas.microsoft.com/office/drawing/2014/main" id="{9C4A399F-2433-01B7-5389-FAFE98C4D758}"/>
                </a:ext>
              </a:extLst>
            </p:cNvPr>
            <p:cNvSpPr/>
            <p:nvPr/>
          </p:nvSpPr>
          <p:spPr>
            <a:xfrm>
              <a:off x="8050878" y="1743639"/>
              <a:ext cx="2582808" cy="42049"/>
            </a:xfrm>
            <a:custGeom>
              <a:avLst/>
              <a:gdLst>
                <a:gd name="connsiteX0" fmla="*/ 0 w 4586921"/>
                <a:gd name="connsiteY0" fmla="*/ 0 h 17647"/>
                <a:gd name="connsiteX1" fmla="*/ 4586922 w 4586921"/>
                <a:gd name="connsiteY1" fmla="*/ 0 h 17647"/>
              </a:gdLst>
              <a:ahLst/>
              <a:cxnLst>
                <a:cxn ang="0">
                  <a:pos x="connsiteX0" y="connsiteY0"/>
                </a:cxn>
                <a:cxn ang="0">
                  <a:pos x="connsiteX1" y="connsiteY1"/>
                </a:cxn>
              </a:cxnLst>
              <a:rect l="l" t="t" r="r" b="b"/>
              <a:pathLst>
                <a:path w="4586921" h="17647">
                  <a:moveTo>
                    <a:pt x="0" y="0"/>
                  </a:moveTo>
                  <a:lnTo>
                    <a:pt x="4586922" y="0"/>
                  </a:lnTo>
                </a:path>
              </a:pathLst>
            </a:custGeom>
            <a:ln w="9624" cap="flat">
              <a:solidFill>
                <a:srgbClr val="000000"/>
              </a:solidFill>
              <a:prstDash val="solid"/>
              <a:miter/>
            </a:ln>
          </p:spPr>
          <p:txBody>
            <a:bodyPr rtlCol="0" anchor="ctr"/>
            <a:lstStyle/>
            <a:p>
              <a:endParaRPr lang="en-US" sz="825" dirty="0"/>
            </a:p>
          </p:txBody>
        </p:sp>
        <p:sp>
          <p:nvSpPr>
            <p:cNvPr id="1044" name="TextBox 1043">
              <a:extLst>
                <a:ext uri="{FF2B5EF4-FFF2-40B4-BE49-F238E27FC236}">
                  <a16:creationId xmlns:a16="http://schemas.microsoft.com/office/drawing/2014/main" id="{E1D6F20E-8FAE-447E-F749-7056D2C51A7C}"/>
                </a:ext>
              </a:extLst>
            </p:cNvPr>
            <p:cNvSpPr txBox="1"/>
            <p:nvPr/>
          </p:nvSpPr>
          <p:spPr>
            <a:xfrm>
              <a:off x="8041864" y="1025535"/>
              <a:ext cx="2575290" cy="311380"/>
            </a:xfrm>
            <a:prstGeom prst="rect">
              <a:avLst/>
            </a:prstGeom>
            <a:noFill/>
          </p:spPr>
          <p:txBody>
            <a:bodyPr wrap="none" rtlCol="0">
              <a:spAutoFit/>
            </a:bodyPr>
            <a:lstStyle/>
            <a:p>
              <a:pPr algn="l"/>
              <a:r>
                <a:rPr lang="en-US" sz="1050" b="1" dirty="0">
                  <a:ln/>
                  <a:latin typeface="HelveticaNeue-Bold"/>
                  <a:ea typeface="HelveticaNeue-Bold"/>
                  <a:cs typeface="HelveticaNeue-Bold"/>
                  <a:sym typeface="HelveticaNeue-Bold"/>
                  <a:rtl val="0"/>
                </a:rPr>
                <a:t>Median (95% CI), months</a:t>
              </a:r>
            </a:p>
          </p:txBody>
        </p:sp>
        <p:sp>
          <p:nvSpPr>
            <p:cNvPr id="1045" name="TextBox 1044">
              <a:extLst>
                <a:ext uri="{FF2B5EF4-FFF2-40B4-BE49-F238E27FC236}">
                  <a16:creationId xmlns:a16="http://schemas.microsoft.com/office/drawing/2014/main" id="{C59DC311-FB69-4F21-C942-8F55997CFC41}"/>
                </a:ext>
              </a:extLst>
            </p:cNvPr>
            <p:cNvSpPr txBox="1"/>
            <p:nvPr/>
          </p:nvSpPr>
          <p:spPr>
            <a:xfrm>
              <a:off x="8086630" y="1503028"/>
              <a:ext cx="1276258" cy="268919"/>
            </a:xfrm>
            <a:prstGeom prst="rect">
              <a:avLst/>
            </a:prstGeom>
            <a:noFill/>
          </p:spPr>
          <p:txBody>
            <a:bodyPr wrap="none" rtlCol="0">
              <a:spAutoFit/>
            </a:bodyPr>
            <a:lstStyle/>
            <a:p>
              <a:pPr algn="l"/>
              <a:r>
                <a:rPr lang="en-US" sz="825" b="1" dirty="0">
                  <a:ln/>
                  <a:latin typeface="HelveticaNeue"/>
                  <a:ea typeface="HelveticaNeue"/>
                  <a:cs typeface="HelveticaNeue"/>
                  <a:sym typeface="HelveticaNeue"/>
                  <a:rtl val="0"/>
                </a:rPr>
                <a:t>39.2</a:t>
              </a:r>
              <a:r>
                <a:rPr lang="en-US" sz="825" dirty="0">
                  <a:ln/>
                  <a:latin typeface="HelveticaNeue"/>
                  <a:ea typeface="HelveticaNeue"/>
                  <a:cs typeface="HelveticaNeue"/>
                  <a:sym typeface="HelveticaNeue"/>
                  <a:rtl val="0"/>
                </a:rPr>
                <a:t> (32.7-NE)</a:t>
              </a:r>
            </a:p>
          </p:txBody>
        </p:sp>
        <p:sp>
          <p:nvSpPr>
            <p:cNvPr id="1046" name="TextBox 1045">
              <a:extLst>
                <a:ext uri="{FF2B5EF4-FFF2-40B4-BE49-F238E27FC236}">
                  <a16:creationId xmlns:a16="http://schemas.microsoft.com/office/drawing/2014/main" id="{0B6ED53F-8E2E-385D-5610-6F9AFD046D89}"/>
                </a:ext>
              </a:extLst>
            </p:cNvPr>
            <p:cNvSpPr txBox="1"/>
            <p:nvPr/>
          </p:nvSpPr>
          <p:spPr>
            <a:xfrm>
              <a:off x="7955992" y="1731870"/>
              <a:ext cx="2884361" cy="268919"/>
            </a:xfrm>
            <a:prstGeom prst="rect">
              <a:avLst/>
            </a:prstGeom>
            <a:noFill/>
          </p:spPr>
          <p:txBody>
            <a:bodyPr wrap="none" rtlCol="0">
              <a:spAutoFit/>
            </a:bodyPr>
            <a:lstStyle/>
            <a:p>
              <a:pPr algn="l"/>
              <a:r>
                <a:rPr lang="en-US" sz="825" b="1" dirty="0">
                  <a:ln/>
                  <a:latin typeface="HelveticaNeue"/>
                  <a:ea typeface="HelveticaNeue"/>
                  <a:cs typeface="HelveticaNeue"/>
                  <a:sym typeface="HelveticaNeue"/>
                  <a:rtl val="0"/>
                </a:rPr>
                <a:t>HR (95% CI): 0.6575 (0.5023-0.8605) </a:t>
              </a:r>
            </a:p>
          </p:txBody>
        </p:sp>
        <p:sp>
          <p:nvSpPr>
            <p:cNvPr id="1047" name="TextBox 1046">
              <a:extLst>
                <a:ext uri="{FF2B5EF4-FFF2-40B4-BE49-F238E27FC236}">
                  <a16:creationId xmlns:a16="http://schemas.microsoft.com/office/drawing/2014/main" id="{5AE95F46-B2CB-6E7F-8412-3834A455F781}"/>
                </a:ext>
              </a:extLst>
            </p:cNvPr>
            <p:cNvSpPr txBox="1"/>
            <p:nvPr/>
          </p:nvSpPr>
          <p:spPr>
            <a:xfrm>
              <a:off x="9404562" y="1508461"/>
              <a:ext cx="1276258" cy="268919"/>
            </a:xfrm>
            <a:prstGeom prst="rect">
              <a:avLst/>
            </a:prstGeom>
            <a:noFill/>
          </p:spPr>
          <p:txBody>
            <a:bodyPr wrap="none" rtlCol="0">
              <a:spAutoFit/>
            </a:bodyPr>
            <a:lstStyle/>
            <a:p>
              <a:pPr algn="l"/>
              <a:r>
                <a:rPr lang="en-US" sz="825" b="1" dirty="0">
                  <a:ln/>
                  <a:latin typeface="HelveticaNeue"/>
                  <a:ea typeface="HelveticaNeue"/>
                  <a:cs typeface="HelveticaNeue"/>
                  <a:sym typeface="HelveticaNeue"/>
                  <a:rtl val="0"/>
                </a:rPr>
                <a:t>26.5</a:t>
              </a:r>
              <a:r>
                <a:rPr lang="en-US" sz="825" dirty="0">
                  <a:ln/>
                  <a:latin typeface="HelveticaNeue"/>
                  <a:ea typeface="HelveticaNeue"/>
                  <a:cs typeface="HelveticaNeue"/>
                  <a:sym typeface="HelveticaNeue"/>
                  <a:rtl val="0"/>
                </a:rPr>
                <a:t> (21.0-NE)</a:t>
              </a:r>
            </a:p>
          </p:txBody>
        </p:sp>
      </p:grpSp>
      <p:sp>
        <p:nvSpPr>
          <p:cNvPr id="1048" name="Freeform 844">
            <a:extLst>
              <a:ext uri="{FF2B5EF4-FFF2-40B4-BE49-F238E27FC236}">
                <a16:creationId xmlns:a16="http://schemas.microsoft.com/office/drawing/2014/main" id="{F298F267-B035-D13D-BA88-8F556A505C76}"/>
              </a:ext>
            </a:extLst>
          </p:cNvPr>
          <p:cNvSpPr/>
          <p:nvPr/>
        </p:nvSpPr>
        <p:spPr>
          <a:xfrm>
            <a:off x="6014323" y="3237324"/>
            <a:ext cx="1781635" cy="34289"/>
          </a:xfrm>
          <a:custGeom>
            <a:avLst/>
            <a:gdLst>
              <a:gd name="connsiteX0" fmla="*/ 0 w 4586921"/>
              <a:gd name="connsiteY0" fmla="*/ 0 h 17647"/>
              <a:gd name="connsiteX1" fmla="*/ 4586922 w 4586921"/>
              <a:gd name="connsiteY1" fmla="*/ 0 h 17647"/>
            </a:gdLst>
            <a:ahLst/>
            <a:cxnLst>
              <a:cxn ang="0">
                <a:pos x="connsiteX0" y="connsiteY0"/>
              </a:cxn>
              <a:cxn ang="0">
                <a:pos x="connsiteX1" y="connsiteY1"/>
              </a:cxn>
            </a:cxnLst>
            <a:rect l="l" t="t" r="r" b="b"/>
            <a:pathLst>
              <a:path w="4586921" h="17647">
                <a:moveTo>
                  <a:pt x="0" y="0"/>
                </a:moveTo>
                <a:lnTo>
                  <a:pt x="4586922" y="0"/>
                </a:lnTo>
              </a:path>
            </a:pathLst>
          </a:custGeom>
          <a:ln w="9624" cap="flat">
            <a:solidFill>
              <a:srgbClr val="000000"/>
            </a:solidFill>
            <a:prstDash val="solid"/>
            <a:miter/>
          </a:ln>
        </p:spPr>
        <p:txBody>
          <a:bodyPr rtlCol="0" anchor="ctr"/>
          <a:lstStyle/>
          <a:p>
            <a:endParaRPr lang="en-US" sz="825" dirty="0"/>
          </a:p>
        </p:txBody>
      </p:sp>
      <p:sp>
        <p:nvSpPr>
          <p:cNvPr id="769" name="Freeform 839">
            <a:extLst>
              <a:ext uri="{FF2B5EF4-FFF2-40B4-BE49-F238E27FC236}">
                <a16:creationId xmlns:a16="http://schemas.microsoft.com/office/drawing/2014/main" id="{DD10426A-6063-739C-6CED-B2411A3CA96E}"/>
              </a:ext>
            </a:extLst>
          </p:cNvPr>
          <p:cNvSpPr/>
          <p:nvPr/>
        </p:nvSpPr>
        <p:spPr>
          <a:xfrm>
            <a:off x="6022807" y="2591732"/>
            <a:ext cx="890504" cy="188096"/>
          </a:xfrm>
          <a:custGeom>
            <a:avLst/>
            <a:gdLst>
              <a:gd name="connsiteX0" fmla="*/ 0 w 1290950"/>
              <a:gd name="connsiteY0" fmla="*/ 0 h 230664"/>
              <a:gd name="connsiteX1" fmla="*/ 1290950 w 1290950"/>
              <a:gd name="connsiteY1" fmla="*/ 0 h 230664"/>
              <a:gd name="connsiteX2" fmla="*/ 1290950 w 1290950"/>
              <a:gd name="connsiteY2" fmla="*/ 230664 h 230664"/>
              <a:gd name="connsiteX3" fmla="*/ 0 w 1290950"/>
              <a:gd name="connsiteY3" fmla="*/ 230664 h 230664"/>
            </a:gdLst>
            <a:ahLst/>
            <a:cxnLst>
              <a:cxn ang="0">
                <a:pos x="connsiteX0" y="connsiteY0"/>
              </a:cxn>
              <a:cxn ang="0">
                <a:pos x="connsiteX1" y="connsiteY1"/>
              </a:cxn>
              <a:cxn ang="0">
                <a:pos x="connsiteX2" y="connsiteY2"/>
              </a:cxn>
              <a:cxn ang="0">
                <a:pos x="connsiteX3" y="connsiteY3"/>
              </a:cxn>
            </a:cxnLst>
            <a:rect l="l" t="t" r="r" b="b"/>
            <a:pathLst>
              <a:path w="1290950" h="230664">
                <a:moveTo>
                  <a:pt x="0" y="0"/>
                </a:moveTo>
                <a:lnTo>
                  <a:pt x="1290950" y="0"/>
                </a:lnTo>
                <a:lnTo>
                  <a:pt x="1290950" y="230664"/>
                </a:lnTo>
                <a:lnTo>
                  <a:pt x="0" y="230664"/>
                </a:lnTo>
                <a:close/>
              </a:path>
            </a:pathLst>
          </a:custGeom>
          <a:solidFill>
            <a:srgbClr val="27377D"/>
          </a:solidFill>
          <a:ln w="17636" cap="flat">
            <a:noFill/>
            <a:prstDash val="solid"/>
            <a:miter/>
          </a:ln>
        </p:spPr>
        <p:txBody>
          <a:bodyPr rtlCol="0" anchor="ctr"/>
          <a:lstStyle/>
          <a:p>
            <a:endParaRPr lang="en-US" sz="825" dirty="0"/>
          </a:p>
        </p:txBody>
      </p:sp>
      <p:sp>
        <p:nvSpPr>
          <p:cNvPr id="997" name="Freeform 840">
            <a:extLst>
              <a:ext uri="{FF2B5EF4-FFF2-40B4-BE49-F238E27FC236}">
                <a16:creationId xmlns:a16="http://schemas.microsoft.com/office/drawing/2014/main" id="{6B2FDF9E-74FE-1C19-CD7E-91E602E8D9E7}"/>
              </a:ext>
            </a:extLst>
          </p:cNvPr>
          <p:cNvSpPr/>
          <p:nvPr/>
        </p:nvSpPr>
        <p:spPr>
          <a:xfrm>
            <a:off x="6913311" y="2590872"/>
            <a:ext cx="890504" cy="188096"/>
          </a:xfrm>
          <a:custGeom>
            <a:avLst/>
            <a:gdLst>
              <a:gd name="connsiteX0" fmla="*/ 0 w 1290950"/>
              <a:gd name="connsiteY0" fmla="*/ 0 h 230664"/>
              <a:gd name="connsiteX1" fmla="*/ 1290951 w 1290950"/>
              <a:gd name="connsiteY1" fmla="*/ 0 h 230664"/>
              <a:gd name="connsiteX2" fmla="*/ 1290951 w 1290950"/>
              <a:gd name="connsiteY2" fmla="*/ 230664 h 230664"/>
              <a:gd name="connsiteX3" fmla="*/ 0 w 1290950"/>
              <a:gd name="connsiteY3" fmla="*/ 230664 h 230664"/>
            </a:gdLst>
            <a:ahLst/>
            <a:cxnLst>
              <a:cxn ang="0">
                <a:pos x="connsiteX0" y="connsiteY0"/>
              </a:cxn>
              <a:cxn ang="0">
                <a:pos x="connsiteX1" y="connsiteY1"/>
              </a:cxn>
              <a:cxn ang="0">
                <a:pos x="connsiteX2" y="connsiteY2"/>
              </a:cxn>
              <a:cxn ang="0">
                <a:pos x="connsiteX3" y="connsiteY3"/>
              </a:cxn>
            </a:cxnLst>
            <a:rect l="l" t="t" r="r" b="b"/>
            <a:pathLst>
              <a:path w="1290950" h="230664">
                <a:moveTo>
                  <a:pt x="0" y="0"/>
                </a:moveTo>
                <a:lnTo>
                  <a:pt x="1290951" y="0"/>
                </a:lnTo>
                <a:lnTo>
                  <a:pt x="1290951" y="230664"/>
                </a:lnTo>
                <a:lnTo>
                  <a:pt x="0" y="230664"/>
                </a:lnTo>
                <a:close/>
              </a:path>
            </a:pathLst>
          </a:custGeom>
          <a:solidFill>
            <a:srgbClr val="787878"/>
          </a:solidFill>
          <a:ln w="17636" cap="flat">
            <a:noFill/>
            <a:prstDash val="solid"/>
            <a:miter/>
          </a:ln>
        </p:spPr>
        <p:txBody>
          <a:bodyPr rtlCol="0" anchor="ctr"/>
          <a:lstStyle/>
          <a:p>
            <a:endParaRPr lang="en-US" sz="825" dirty="0"/>
          </a:p>
        </p:txBody>
      </p:sp>
      <p:sp>
        <p:nvSpPr>
          <p:cNvPr id="998" name="TextBox 997">
            <a:extLst>
              <a:ext uri="{FF2B5EF4-FFF2-40B4-BE49-F238E27FC236}">
                <a16:creationId xmlns:a16="http://schemas.microsoft.com/office/drawing/2014/main" id="{BA8B1176-5E31-1840-B615-581637461C02}"/>
              </a:ext>
            </a:extLst>
          </p:cNvPr>
          <p:cNvSpPr txBox="1"/>
          <p:nvPr/>
        </p:nvSpPr>
        <p:spPr>
          <a:xfrm>
            <a:off x="6219819" y="2559533"/>
            <a:ext cx="630301" cy="265457"/>
          </a:xfrm>
          <a:prstGeom prst="rect">
            <a:avLst/>
          </a:prstGeom>
          <a:noFill/>
        </p:spPr>
        <p:txBody>
          <a:bodyPr wrap="none" rtlCol="0">
            <a:spAutoFit/>
          </a:bodyPr>
          <a:lstStyle/>
          <a:p>
            <a:pPr algn="l"/>
            <a:r>
              <a:rPr lang="en-US" sz="1125" dirty="0">
                <a:ln/>
                <a:solidFill>
                  <a:schemeClr val="bg1"/>
                </a:solidFill>
                <a:latin typeface="HelveticaNeue-Bold"/>
                <a:ea typeface="HelveticaNeue-Bold"/>
                <a:cs typeface="HelveticaNeue-Bold"/>
                <a:sym typeface="HelveticaNeue-Bold"/>
                <a:rtl val="0"/>
              </a:rPr>
              <a:t>T-DXd</a:t>
            </a:r>
            <a:r>
              <a:rPr lang="en-US" sz="825" dirty="0">
                <a:ln/>
                <a:latin typeface="HelveticaNeue-Bold"/>
                <a:ea typeface="HelveticaNeue-Bold"/>
                <a:cs typeface="HelveticaNeue-Bold"/>
                <a:sym typeface="HelveticaNeue-Bold"/>
                <a:rtl val="0"/>
              </a:rPr>
              <a:t> </a:t>
            </a:r>
          </a:p>
        </p:txBody>
      </p:sp>
      <p:sp>
        <p:nvSpPr>
          <p:cNvPr id="999" name="TextBox 998">
            <a:extLst>
              <a:ext uri="{FF2B5EF4-FFF2-40B4-BE49-F238E27FC236}">
                <a16:creationId xmlns:a16="http://schemas.microsoft.com/office/drawing/2014/main" id="{27FBA067-9A03-6A71-922F-4C6D45C42F7D}"/>
              </a:ext>
            </a:extLst>
          </p:cNvPr>
          <p:cNvSpPr txBox="1"/>
          <p:nvPr/>
        </p:nvSpPr>
        <p:spPr>
          <a:xfrm>
            <a:off x="7147390" y="2568167"/>
            <a:ext cx="473206" cy="265457"/>
          </a:xfrm>
          <a:prstGeom prst="rect">
            <a:avLst/>
          </a:prstGeom>
          <a:noFill/>
        </p:spPr>
        <p:txBody>
          <a:bodyPr wrap="none" rtlCol="0">
            <a:spAutoFit/>
          </a:bodyPr>
          <a:lstStyle/>
          <a:p>
            <a:pPr algn="l"/>
            <a:r>
              <a:rPr lang="en-US" sz="1125" dirty="0">
                <a:ln/>
                <a:solidFill>
                  <a:schemeClr val="bg1"/>
                </a:solidFill>
                <a:latin typeface="HelveticaNeue-Bold"/>
                <a:ea typeface="HelveticaNeue-Bold"/>
                <a:cs typeface="HelveticaNeue-Bold"/>
                <a:sym typeface="HelveticaNeue-Bold"/>
                <a:rtl val="0"/>
              </a:rPr>
              <a:t>TPC</a:t>
            </a:r>
          </a:p>
        </p:txBody>
      </p:sp>
    </p:spTree>
    <p:extLst>
      <p:ext uri="{BB962C8B-B14F-4D97-AF65-F5344CB8AC3E}">
        <p14:creationId xmlns:p14="http://schemas.microsoft.com/office/powerpoint/2010/main" val="14477905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21" grpId="0" animBg="1"/>
    </p:bldLst>
  </p:timing>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A8BAB8-6961-461F-AAA4-E8D1D5ED7AF9}"/>
              </a:ext>
            </a:extLst>
          </p:cNvPr>
          <p:cNvSpPr>
            <a:spLocks noGrp="1"/>
          </p:cNvSpPr>
          <p:nvPr>
            <p:ph type="ctrTitle"/>
          </p:nvPr>
        </p:nvSpPr>
        <p:spPr>
          <a:xfrm>
            <a:off x="359999" y="450516"/>
            <a:ext cx="8409765" cy="432000"/>
          </a:xfrm>
        </p:spPr>
        <p:txBody>
          <a:bodyPr/>
          <a:lstStyle/>
          <a:p>
            <a:r>
              <a:rPr lang="en-US" sz="2100" dirty="0">
                <a:solidFill>
                  <a:schemeClr val="tx1"/>
                </a:solidFill>
              </a:rPr>
              <a:t>Overall Safety Summary</a:t>
            </a:r>
          </a:p>
        </p:txBody>
      </p:sp>
      <p:sp>
        <p:nvSpPr>
          <p:cNvPr id="7" name="TextBox 6">
            <a:extLst>
              <a:ext uri="{FF2B5EF4-FFF2-40B4-BE49-F238E27FC236}">
                <a16:creationId xmlns:a16="http://schemas.microsoft.com/office/drawing/2014/main" id="{5BC4647B-1088-9845-93D9-31AFCD825108}"/>
              </a:ext>
            </a:extLst>
          </p:cNvPr>
          <p:cNvSpPr txBox="1"/>
          <p:nvPr/>
        </p:nvSpPr>
        <p:spPr>
          <a:xfrm>
            <a:off x="-72712" y="3793591"/>
            <a:ext cx="8972550" cy="461665"/>
          </a:xfrm>
          <a:prstGeom prst="rect">
            <a:avLst/>
          </a:prstGeom>
          <a:noFill/>
        </p:spPr>
        <p:txBody>
          <a:bodyPr wrap="square" rtlCol="0" anchor="b">
            <a:spAutoFit/>
          </a:bodyPr>
          <a:lstStyle/>
          <a:p>
            <a:pPr eaLnBrk="0" fontAlgn="base" hangingPunct="0">
              <a:spcBef>
                <a:spcPct val="0"/>
              </a:spcBef>
              <a:spcAft>
                <a:spcPct val="0"/>
              </a:spcAft>
            </a:pPr>
            <a:r>
              <a:rPr lang="en-US" altLang="en-US" sz="600" dirty="0">
                <a:latin typeface="Arial" panose="020B0604020202020204" pitchFamily="34" charset="0"/>
                <a:ea typeface="Times New Roman" panose="02020603050405020304" pitchFamily="18" charset="0"/>
                <a:cs typeface="Arial" panose="020B0604020202020204" pitchFamily="34" charset="0"/>
              </a:rPr>
              <a:t>ILD, interstitial lung disease; TEAE, treatment-emergent adverse event; </a:t>
            </a:r>
            <a:r>
              <a:rPr lang="en-US" sz="600" dirty="0">
                <a:latin typeface="Arial" panose="020B0604020202020204" pitchFamily="34" charset="0"/>
                <a:cs typeface="Arial" panose="020B0604020202020204" pitchFamily="34" charset="0"/>
              </a:rPr>
              <a:t>T-DXd, trastuzumab deruxtecan; TPC, treatment of physician’s choice.</a:t>
            </a:r>
            <a:endParaRPr lang="en-US" altLang="en-US" sz="600" dirty="0">
              <a:latin typeface="Arial" panose="020B0604020202020204" pitchFamily="34" charset="0"/>
              <a:ea typeface="Times New Roman" panose="02020603050405020304" pitchFamily="18" charset="0"/>
              <a:cs typeface="Arial" panose="020B0604020202020204" pitchFamily="34" charset="0"/>
            </a:endParaRPr>
          </a:p>
          <a:p>
            <a:pPr defTabSz="685800" eaLnBrk="0" hangingPunct="0"/>
            <a:r>
              <a:rPr lang="en-US" altLang="en-US" sz="600" baseline="30000" dirty="0">
                <a:latin typeface="Arial" panose="020B0604020202020204" pitchFamily="34" charset="0"/>
                <a:ea typeface="Times New Roman" panose="02020603050405020304" pitchFamily="18" charset="0"/>
                <a:cs typeface="Arial" panose="020B0604020202020204" pitchFamily="34" charset="0"/>
              </a:rPr>
              <a:t>a</a:t>
            </a:r>
            <a:r>
              <a:rPr lang="en-US" altLang="en-US" sz="600" dirty="0">
                <a:latin typeface="Arial" panose="020B0604020202020204" pitchFamily="34" charset="0"/>
                <a:ea typeface="Times New Roman" panose="02020603050405020304" pitchFamily="18" charset="0"/>
                <a:cs typeface="Arial" panose="020B0604020202020204" pitchFamily="34" charset="0"/>
              </a:rPr>
              <a:t>The safety analysis set includes all randomized patients who received at least 1 dose of study treatment. </a:t>
            </a:r>
            <a:r>
              <a:rPr lang="en-US" altLang="en-US" sz="600" baseline="30000" dirty="0">
                <a:latin typeface="Arial" panose="020B0604020202020204" pitchFamily="34" charset="0"/>
                <a:ea typeface="Times New Roman" panose="02020603050405020304" pitchFamily="18" charset="0"/>
                <a:cs typeface="Arial" panose="020B0604020202020204" pitchFamily="34" charset="0"/>
              </a:rPr>
              <a:t>b</a:t>
            </a:r>
            <a:r>
              <a:rPr lang="en-US" altLang="en-US" sz="600" dirty="0">
                <a:latin typeface="Arial" panose="020B0604020202020204" pitchFamily="34" charset="0"/>
                <a:ea typeface="Times New Roman" panose="02020603050405020304" pitchFamily="18" charset="0"/>
                <a:cs typeface="Arial" panose="020B0604020202020204" pitchFamily="34" charset="0"/>
              </a:rPr>
              <a:t>TEAEs associated with an outcome of death included pneumonitis (n = 2), acute myeloid leukemia (n = 1), brain edema (n = 1), COVID-19 (n = 1), disease progression (n = 1), hemorrhage (n = 1), hepatitis B (n = 1), malignant pleural effusion (n = 1), pneumonia (n = 1), and vasogenic cerebral edema (n = 1). </a:t>
            </a:r>
            <a:r>
              <a:rPr lang="en-US" altLang="en-US" sz="600" baseline="30000" dirty="0">
                <a:latin typeface="Arial" panose="020B0604020202020204" pitchFamily="34" charset="0"/>
                <a:ea typeface="Times New Roman" panose="02020603050405020304" pitchFamily="18" charset="0"/>
                <a:cs typeface="Arial" panose="020B0604020202020204" pitchFamily="34" charset="0"/>
              </a:rPr>
              <a:t>c</a:t>
            </a:r>
            <a:r>
              <a:rPr lang="en-US" altLang="en-US" sz="600" dirty="0">
                <a:latin typeface="Arial" panose="020B0604020202020204" pitchFamily="34" charset="0"/>
                <a:ea typeface="Times New Roman" panose="02020603050405020304" pitchFamily="18" charset="0"/>
                <a:cs typeface="Arial" panose="020B0604020202020204" pitchFamily="34" charset="0"/>
              </a:rPr>
              <a:t>TEAEs associated with an outcome of death included disease progression (n = 4), cardiac arrest (n = 1), metastases to meninges (n = 1), and pericardial effusion (n = 1). </a:t>
            </a:r>
            <a:r>
              <a:rPr lang="en-US" altLang="en-US" sz="600" baseline="30000" dirty="0">
                <a:latin typeface="Arial" panose="020B0604020202020204" pitchFamily="34" charset="0"/>
                <a:ea typeface="Times New Roman" panose="02020603050405020304" pitchFamily="18" charset="0"/>
                <a:cs typeface="Arial" panose="020B0604020202020204" pitchFamily="34" charset="0"/>
              </a:rPr>
              <a:t>d</a:t>
            </a:r>
            <a:r>
              <a:rPr lang="en-US" altLang="en-US" sz="600" dirty="0">
                <a:latin typeface="Arial" panose="020B0604020202020204" pitchFamily="34" charset="0"/>
                <a:ea typeface="Times New Roman" panose="02020603050405020304" pitchFamily="18" charset="0"/>
                <a:cs typeface="Arial" panose="020B0604020202020204" pitchFamily="34" charset="0"/>
              </a:rPr>
              <a:t>Drug-related TEAEs associated with an outcome of death included pneumonitis (n = 2), acute myeloid leukemia (n = 1), and pneumonia (n = 1). </a:t>
            </a:r>
          </a:p>
        </p:txBody>
      </p:sp>
      <p:graphicFrame>
        <p:nvGraphicFramePr>
          <p:cNvPr id="4" name="Table 3">
            <a:extLst>
              <a:ext uri="{FF2B5EF4-FFF2-40B4-BE49-F238E27FC236}">
                <a16:creationId xmlns:a16="http://schemas.microsoft.com/office/drawing/2014/main" id="{9DB91C82-5CAE-D0A2-99BE-66FEEAA213C6}"/>
              </a:ext>
            </a:extLst>
          </p:cNvPr>
          <p:cNvGraphicFramePr>
            <a:graphicFrameLocks noGrp="1"/>
          </p:cNvGraphicFramePr>
          <p:nvPr/>
        </p:nvGraphicFramePr>
        <p:xfrm>
          <a:off x="249827" y="1132837"/>
          <a:ext cx="5616702" cy="2400300"/>
        </p:xfrm>
        <a:graphic>
          <a:graphicData uri="http://schemas.openxmlformats.org/drawingml/2006/table">
            <a:tbl>
              <a:tblPr firstRow="1" bandRow="1"/>
              <a:tblGrid>
                <a:gridCol w="2599182">
                  <a:extLst>
                    <a:ext uri="{9D8B030D-6E8A-4147-A177-3AD203B41FA5}">
                      <a16:colId xmlns:a16="http://schemas.microsoft.com/office/drawing/2014/main" val="3624223050"/>
                    </a:ext>
                  </a:extLst>
                </a:gridCol>
                <a:gridCol w="1508760">
                  <a:extLst>
                    <a:ext uri="{9D8B030D-6E8A-4147-A177-3AD203B41FA5}">
                      <a16:colId xmlns:a16="http://schemas.microsoft.com/office/drawing/2014/main" val="2753886849"/>
                    </a:ext>
                  </a:extLst>
                </a:gridCol>
                <a:gridCol w="1508760">
                  <a:extLst>
                    <a:ext uri="{9D8B030D-6E8A-4147-A177-3AD203B41FA5}">
                      <a16:colId xmlns:a16="http://schemas.microsoft.com/office/drawing/2014/main" val="3825376851"/>
                    </a:ext>
                  </a:extLst>
                </a:gridCol>
              </a:tblGrid>
              <a:tr h="384048">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a:lnSpc>
                          <a:spcPct val="100000"/>
                        </a:lnSpc>
                        <a:spcBef>
                          <a:spcPts val="0"/>
                        </a:spcBef>
                        <a:spcAft>
                          <a:spcPts val="0"/>
                        </a:spcAft>
                      </a:pPr>
                      <a:r>
                        <a:rPr lang="en-US" sz="1100" b="1" dirty="0">
                          <a:effectLst/>
                          <a:latin typeface="Arial" panose="020B0604020202020204" pitchFamily="34" charset="0"/>
                          <a:ea typeface="MS Mincho" panose="02020609040205080304" pitchFamily="49" charset="-128"/>
                          <a:cs typeface="Arial" panose="020B0604020202020204" pitchFamily="34" charset="0"/>
                        </a:rPr>
                        <a:t>Type of Adverse Event, n (%)</a:t>
                      </a:r>
                    </a:p>
                  </a:txBody>
                  <a:tcPr marL="51435" marR="51435" marT="0" marB="0" anchor="b">
                    <a:lnL>
                      <a:noFill/>
                    </a:lnL>
                    <a:lnR>
                      <a:noFill/>
                    </a:lnR>
                    <a:lnT>
                      <a:noFill/>
                    </a:lnT>
                    <a:lnB w="12700" cap="flat" cmpd="sng" algn="ctr">
                      <a:solidFill>
                        <a:srgbClr val="00447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algn="ctr">
                        <a:lnSpc>
                          <a:spcPct val="100000"/>
                        </a:lnSpc>
                        <a:spcBef>
                          <a:spcPts val="0"/>
                        </a:spcBef>
                        <a:spcAft>
                          <a:spcPts val="0"/>
                        </a:spcAft>
                      </a:pPr>
                      <a:r>
                        <a:rPr lang="en-US" sz="1100" b="1" dirty="0">
                          <a:solidFill>
                            <a:schemeClr val="bg1"/>
                          </a:solidFill>
                          <a:effectLst/>
                          <a:latin typeface="Arial" panose="020B0604020202020204" pitchFamily="34" charset="0"/>
                          <a:ea typeface="MS Mincho" panose="02020609040205080304" pitchFamily="49" charset="-128"/>
                          <a:cs typeface="Arial" panose="020B0604020202020204" pitchFamily="34" charset="0"/>
                        </a:rPr>
                        <a:t>T-DXd</a:t>
                      </a:r>
                      <a:r>
                        <a:rPr lang="en-NZ" sz="1100" b="1" dirty="0">
                          <a:solidFill>
                            <a:schemeClr val="bg1"/>
                          </a:solidFill>
                          <a:effectLst/>
                          <a:latin typeface="Arial" panose="020B0604020202020204" pitchFamily="34" charset="0"/>
                          <a:ea typeface="MS Mincho" panose="02020609040205080304" pitchFamily="49" charset="-128"/>
                          <a:cs typeface="Arial" panose="020B0604020202020204" pitchFamily="34" charset="0"/>
                        </a:rPr>
                        <a:t> </a:t>
                      </a:r>
                    </a:p>
                    <a:p>
                      <a:pPr marL="0" marR="0" algn="ctr">
                        <a:lnSpc>
                          <a:spcPct val="100000"/>
                        </a:lnSpc>
                        <a:spcBef>
                          <a:spcPts val="0"/>
                        </a:spcBef>
                        <a:spcAft>
                          <a:spcPts val="0"/>
                        </a:spcAft>
                      </a:pPr>
                      <a:r>
                        <a:rPr lang="en-NZ" sz="1100" b="1" dirty="0">
                          <a:solidFill>
                            <a:schemeClr val="bg1"/>
                          </a:solidFill>
                          <a:effectLst/>
                          <a:latin typeface="Arial" panose="020B0604020202020204" pitchFamily="34" charset="0"/>
                          <a:ea typeface="MS Mincho" panose="02020609040205080304" pitchFamily="49" charset="-128"/>
                          <a:cs typeface="Arial" panose="020B0604020202020204" pitchFamily="34" charset="0"/>
                        </a:rPr>
                        <a:t>n = 404</a:t>
                      </a:r>
                      <a:r>
                        <a:rPr lang="en-NZ" sz="1100" b="1" baseline="30000" dirty="0">
                          <a:solidFill>
                            <a:schemeClr val="bg1"/>
                          </a:solidFill>
                          <a:effectLst/>
                          <a:latin typeface="Arial" panose="020B0604020202020204" pitchFamily="34" charset="0"/>
                          <a:ea typeface="MS Mincho" panose="02020609040205080304" pitchFamily="49" charset="-128"/>
                          <a:cs typeface="Arial" panose="020B0604020202020204" pitchFamily="34" charset="0"/>
                        </a:rPr>
                        <a:t>a</a:t>
                      </a:r>
                      <a:endParaRPr lang="en-US" sz="1100" dirty="0">
                        <a:solidFill>
                          <a:schemeClr val="bg1"/>
                        </a:solidFill>
                        <a:effectLst/>
                        <a:latin typeface="Arial" panose="020B0604020202020204" pitchFamily="34" charset="0"/>
                        <a:ea typeface="MS Mincho" panose="02020609040205080304" pitchFamily="49" charset="-128"/>
                        <a:cs typeface="Arial" panose="020B0604020202020204" pitchFamily="34" charset="0"/>
                      </a:endParaRPr>
                    </a:p>
                  </a:txBody>
                  <a:tcPr marL="51435" marR="51435" marT="0" marB="0" anchor="ctr">
                    <a:lnL>
                      <a:noFill/>
                    </a:lnL>
                    <a:lnR>
                      <a:noFill/>
                    </a:lnR>
                    <a:lnT>
                      <a:noFill/>
                    </a:lnT>
                    <a:lnB w="12700" cap="flat" cmpd="sng" algn="ctr">
                      <a:solidFill>
                        <a:srgbClr val="00447C"/>
                      </a:solidFill>
                      <a:prstDash val="solid"/>
                      <a:round/>
                      <a:headEnd type="none" w="med" len="med"/>
                      <a:tailEnd type="none" w="med" len="med"/>
                    </a:lnB>
                    <a:lnTlToBr w="12700" cmpd="sng">
                      <a:noFill/>
                      <a:prstDash val="solid"/>
                    </a:lnTlToBr>
                    <a:lnBlToTr w="12700" cmpd="sng">
                      <a:noFill/>
                      <a:prstDash val="solid"/>
                    </a:lnBlToTr>
                    <a:solidFill>
                      <a:srgbClr val="002985"/>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algn="ctr">
                        <a:lnSpc>
                          <a:spcPct val="100000"/>
                        </a:lnSpc>
                        <a:spcBef>
                          <a:spcPts val="0"/>
                        </a:spcBef>
                        <a:spcAft>
                          <a:spcPts val="0"/>
                        </a:spcAft>
                      </a:pPr>
                      <a:r>
                        <a:rPr lang="en-NZ" sz="1100" b="1" dirty="0">
                          <a:solidFill>
                            <a:schemeClr val="bg1"/>
                          </a:solidFill>
                          <a:effectLst/>
                          <a:latin typeface="Arial" panose="020B0604020202020204" pitchFamily="34" charset="0"/>
                          <a:ea typeface="MS Mincho" panose="02020609040205080304" pitchFamily="49" charset="-128"/>
                          <a:cs typeface="Arial" panose="020B0604020202020204" pitchFamily="34" charset="0"/>
                        </a:rPr>
                        <a:t>TPC</a:t>
                      </a:r>
                    </a:p>
                    <a:p>
                      <a:pPr marL="0" marR="0" algn="ctr">
                        <a:lnSpc>
                          <a:spcPct val="100000"/>
                        </a:lnSpc>
                        <a:spcBef>
                          <a:spcPts val="0"/>
                        </a:spcBef>
                        <a:spcAft>
                          <a:spcPts val="0"/>
                        </a:spcAft>
                      </a:pPr>
                      <a:r>
                        <a:rPr lang="en-NZ" sz="1100" b="1" dirty="0">
                          <a:solidFill>
                            <a:schemeClr val="bg1"/>
                          </a:solidFill>
                          <a:effectLst/>
                          <a:latin typeface="Arial" panose="020B0604020202020204" pitchFamily="34" charset="0"/>
                          <a:ea typeface="MS Mincho" panose="02020609040205080304" pitchFamily="49" charset="-128"/>
                          <a:cs typeface="Arial" panose="020B0604020202020204" pitchFamily="34" charset="0"/>
                        </a:rPr>
                        <a:t>n = 195</a:t>
                      </a:r>
                      <a:r>
                        <a:rPr lang="en-NZ" sz="1100" b="1" baseline="30000" dirty="0">
                          <a:solidFill>
                            <a:schemeClr val="bg1"/>
                          </a:solidFill>
                          <a:effectLst/>
                          <a:latin typeface="Arial" panose="020B0604020202020204" pitchFamily="34" charset="0"/>
                          <a:ea typeface="MS Mincho" panose="02020609040205080304" pitchFamily="49" charset="-128"/>
                          <a:cs typeface="Arial" panose="020B0604020202020204" pitchFamily="34" charset="0"/>
                        </a:rPr>
                        <a:t>a</a:t>
                      </a:r>
                      <a:endParaRPr lang="en-US" sz="1100" dirty="0">
                        <a:solidFill>
                          <a:schemeClr val="bg1"/>
                        </a:solidFill>
                        <a:effectLst/>
                        <a:latin typeface="Arial" panose="020B0604020202020204" pitchFamily="34" charset="0"/>
                        <a:ea typeface="MS Mincho" panose="02020609040205080304" pitchFamily="49" charset="-128"/>
                        <a:cs typeface="Arial" panose="020B0604020202020204" pitchFamily="34" charset="0"/>
                      </a:endParaRPr>
                    </a:p>
                  </a:txBody>
                  <a:tcPr marL="51435" marR="51435" marT="0" marB="0" anchor="ctr">
                    <a:lnL>
                      <a:noFill/>
                    </a:lnL>
                    <a:lnR>
                      <a:noFill/>
                    </a:lnR>
                    <a:lnT>
                      <a:noFill/>
                    </a:lnT>
                    <a:lnB w="12700" cap="flat" cmpd="sng" algn="ctr">
                      <a:solidFill>
                        <a:srgbClr val="00447C"/>
                      </a:solidFill>
                      <a:prstDash val="solid"/>
                      <a:round/>
                      <a:headEnd type="none" w="med" len="med"/>
                      <a:tailEnd type="none" w="med" len="med"/>
                    </a:lnB>
                    <a:lnTlToBr w="12700" cmpd="sng">
                      <a:noFill/>
                      <a:prstDash val="solid"/>
                    </a:lnTlToBr>
                    <a:lnBlToTr w="12700" cmpd="sng">
                      <a:noFill/>
                      <a:prstDash val="solid"/>
                    </a:lnBlToTr>
                    <a:solidFill>
                      <a:srgbClr val="929294"/>
                    </a:solidFill>
                  </a:tcPr>
                </a:tc>
                <a:extLst>
                  <a:ext uri="{0D108BD9-81ED-4DB2-BD59-A6C34878D82A}">
                    <a16:rowId xmlns:a16="http://schemas.microsoft.com/office/drawing/2014/main" val="2304189290"/>
                  </a:ext>
                </a:extLst>
              </a:tr>
              <a:tr h="144018">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a:lnSpc>
                          <a:spcPct val="100000"/>
                        </a:lnSpc>
                        <a:spcBef>
                          <a:spcPts val="0"/>
                        </a:spcBef>
                        <a:spcAft>
                          <a:spcPts val="0"/>
                        </a:spcAft>
                      </a:pPr>
                      <a:r>
                        <a:rPr lang="en-NZ" sz="900" b="0" dirty="0">
                          <a:effectLst/>
                          <a:latin typeface="Arial" panose="020B0604020202020204" pitchFamily="34" charset="0"/>
                          <a:cs typeface="Arial" panose="020B0604020202020204" pitchFamily="34" charset="0"/>
                        </a:rPr>
                        <a:t>Any-grade TEAE </a:t>
                      </a:r>
                    </a:p>
                  </a:txBody>
                  <a:tcPr marL="51435" marR="51435" marT="0" marB="0" anchor="b">
                    <a:lnL>
                      <a:noFill/>
                    </a:lnL>
                    <a:lnR>
                      <a:noFill/>
                    </a:lnR>
                    <a:lnT w="12700" cap="flat" cmpd="sng" algn="ctr">
                      <a:solidFill>
                        <a:srgbClr val="00447C"/>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algn="ctr">
                        <a:lnSpc>
                          <a:spcPct val="107000"/>
                        </a:lnSpc>
                        <a:spcBef>
                          <a:spcPts val="0"/>
                        </a:spcBef>
                        <a:spcAft>
                          <a:spcPts val="0"/>
                        </a:spcAft>
                      </a:pPr>
                      <a:r>
                        <a:rPr lang="en-US" sz="900" dirty="0">
                          <a:solidFill>
                            <a:srgbClr val="000000"/>
                          </a:solidFill>
                          <a:effectLst/>
                          <a:latin typeface="Arial" panose="020B0604020202020204" pitchFamily="34" charset="0"/>
                          <a:ea typeface="Yu Mincho" panose="02020400000000000000" pitchFamily="18" charset="-128"/>
                          <a:cs typeface="Arial" panose="020B0604020202020204" pitchFamily="34" charset="0"/>
                        </a:rPr>
                        <a:t> 403 (99.8)</a:t>
                      </a:r>
                      <a:endParaRPr lang="en-US" sz="900" dirty="0">
                        <a:effectLst/>
                        <a:latin typeface="Arial" panose="020B0604020202020204" pitchFamily="34" charset="0"/>
                        <a:ea typeface="Yu Mincho" panose="02020400000000000000" pitchFamily="18" charset="-128"/>
                        <a:cs typeface="Arial" panose="020B0604020202020204" pitchFamily="34" charset="0"/>
                      </a:endParaRPr>
                    </a:p>
                  </a:txBody>
                  <a:tcPr marL="0" marR="0" marT="0" marB="0" anchor="ctr">
                    <a:lnL>
                      <a:noFill/>
                    </a:lnL>
                    <a:lnR>
                      <a:noFill/>
                    </a:lnR>
                    <a:lnT w="12700" cap="flat" cmpd="sng" algn="ctr">
                      <a:solidFill>
                        <a:srgbClr val="00447C"/>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DF1FB"/>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algn="ctr">
                        <a:lnSpc>
                          <a:spcPct val="107000"/>
                        </a:lnSpc>
                        <a:spcBef>
                          <a:spcPts val="0"/>
                        </a:spcBef>
                        <a:spcAft>
                          <a:spcPts val="0"/>
                        </a:spcAft>
                      </a:pPr>
                      <a:r>
                        <a:rPr lang="en-US" sz="900" dirty="0">
                          <a:solidFill>
                            <a:srgbClr val="000000"/>
                          </a:solidFill>
                          <a:effectLst/>
                          <a:latin typeface="Arial" panose="020B0604020202020204" pitchFamily="34" charset="0"/>
                          <a:ea typeface="Yu Mincho" panose="02020400000000000000" pitchFamily="18" charset="-128"/>
                          <a:cs typeface="Arial" panose="020B0604020202020204" pitchFamily="34" charset="0"/>
                        </a:rPr>
                        <a:t>  185 (94.9)</a:t>
                      </a:r>
                      <a:endParaRPr lang="en-US" sz="900" dirty="0">
                        <a:effectLst/>
                        <a:latin typeface="Arial" panose="020B0604020202020204" pitchFamily="34" charset="0"/>
                        <a:ea typeface="Yu Mincho" panose="02020400000000000000" pitchFamily="18" charset="-128"/>
                        <a:cs typeface="Arial" panose="020B0604020202020204" pitchFamily="34" charset="0"/>
                      </a:endParaRPr>
                    </a:p>
                  </a:txBody>
                  <a:tcPr marL="0" marR="0" marT="0" marB="0" anchor="ctr">
                    <a:lnL>
                      <a:noFill/>
                    </a:lnL>
                    <a:lnR>
                      <a:noFill/>
                    </a:lnR>
                    <a:lnT w="12700" cap="flat" cmpd="sng" algn="ctr">
                      <a:solidFill>
                        <a:srgbClr val="00447C"/>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319912476"/>
                  </a:ext>
                </a:extLst>
              </a:tr>
              <a:tr h="144018">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42913" marR="0" indent="0">
                        <a:lnSpc>
                          <a:spcPct val="100000"/>
                        </a:lnSpc>
                        <a:spcBef>
                          <a:spcPts val="0"/>
                        </a:spcBef>
                        <a:spcAft>
                          <a:spcPts val="0"/>
                        </a:spcAft>
                      </a:pPr>
                      <a:r>
                        <a:rPr lang="en-NZ" sz="900" b="1" dirty="0">
                          <a:effectLst/>
                          <a:latin typeface="Arial" panose="020B0604020202020204" pitchFamily="34" charset="0"/>
                          <a:cs typeface="Arial" panose="020B0604020202020204" pitchFamily="34" charset="0"/>
                        </a:rPr>
                        <a:t>Drug related</a:t>
                      </a:r>
                    </a:p>
                  </a:txBody>
                  <a:tcPr marL="51435" marR="51435" marT="0" marB="0" anchor="b">
                    <a:lnL>
                      <a:noFill/>
                    </a:lnL>
                    <a:lnR>
                      <a:noFill/>
                    </a:lnR>
                    <a:lnT w="12700" cap="flat" cmpd="sng" algn="ctr">
                      <a:noFill/>
                      <a:prstDash val="solid"/>
                      <a:round/>
                      <a:headEnd type="none" w="med" len="med"/>
                      <a:tailEnd type="none" w="med" len="med"/>
                    </a:lnT>
                    <a:lnB w="12700" cap="flat" cmpd="sng" algn="ctr">
                      <a:solidFill>
                        <a:srgbClr val="00447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pPr>
                      <a:r>
                        <a:rPr lang="en-US" sz="9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 394 (97.5)</a:t>
                      </a:r>
                      <a:endParaRPr lang="en-ZA" sz="900" dirty="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a:noFill/>
                    </a:lnL>
                    <a:lnR>
                      <a:noFill/>
                    </a:lnR>
                    <a:lnT w="12700" cap="flat" cmpd="sng" algn="ctr">
                      <a:noFill/>
                      <a:prstDash val="solid"/>
                      <a:round/>
                      <a:headEnd type="none" w="med" len="med"/>
                      <a:tailEnd type="none" w="med" len="med"/>
                    </a:lnT>
                    <a:lnB w="12700" cap="flat" cmpd="sng" algn="ctr">
                      <a:solidFill>
                        <a:srgbClr val="00447C"/>
                      </a:solidFill>
                      <a:prstDash val="solid"/>
                      <a:round/>
                      <a:headEnd type="none" w="med" len="med"/>
                      <a:tailEnd type="none" w="med" len="med"/>
                    </a:lnB>
                    <a:lnTlToBr w="12700" cmpd="sng">
                      <a:noFill/>
                      <a:prstDash val="solid"/>
                    </a:lnTlToBr>
                    <a:lnBlToTr w="12700" cmpd="sng">
                      <a:noFill/>
                      <a:prstDash val="solid"/>
                    </a:lnBlToTr>
                    <a:solidFill>
                      <a:srgbClr val="EDF1FB"/>
                    </a:solidFill>
                  </a:tcPr>
                </a:tc>
                <a:tc>
                  <a:txBody>
                    <a:bodyPr/>
                    <a:lstStyle/>
                    <a:p>
                      <a:pPr algn="ctr">
                        <a:lnSpc>
                          <a:spcPct val="107000"/>
                        </a:lnSpc>
                      </a:pPr>
                      <a:r>
                        <a:rPr lang="en-US" sz="9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  180 (92.3)</a:t>
                      </a:r>
                      <a:endParaRPr lang="en-ZA" sz="900" dirty="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a:noFill/>
                    </a:lnL>
                    <a:lnR>
                      <a:noFill/>
                    </a:lnR>
                    <a:lnT w="12700" cap="flat" cmpd="sng" algn="ctr">
                      <a:noFill/>
                      <a:prstDash val="solid"/>
                      <a:round/>
                      <a:headEnd type="none" w="med" len="med"/>
                      <a:tailEnd type="none" w="med" len="med"/>
                    </a:lnT>
                    <a:lnB w="12700" cap="flat" cmpd="sng" algn="ctr">
                      <a:solidFill>
                        <a:srgbClr val="00447C"/>
                      </a:solidFill>
                      <a:prstDash val="solid"/>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1909007850"/>
                  </a:ext>
                </a:extLst>
              </a:tr>
              <a:tr h="144018">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NZ" sz="900" b="0" dirty="0">
                          <a:effectLst/>
                          <a:latin typeface="Arial" panose="020B0604020202020204" pitchFamily="34" charset="0"/>
                          <a:ea typeface="MS Mincho" panose="02020609040205080304" pitchFamily="49" charset="-128"/>
                          <a:cs typeface="Arial" panose="020B0604020202020204" pitchFamily="34" charset="0"/>
                        </a:rPr>
                        <a:t>Grade ≥3 TEAEs</a:t>
                      </a:r>
                      <a:endParaRPr lang="en-US" sz="900" b="0" dirty="0">
                        <a:effectLst/>
                        <a:latin typeface="Arial" panose="020B0604020202020204" pitchFamily="34" charset="0"/>
                        <a:ea typeface="MS Mincho" panose="02020609040205080304" pitchFamily="49" charset="-128"/>
                        <a:cs typeface="Arial" panose="020B0604020202020204" pitchFamily="34" charset="0"/>
                      </a:endParaRPr>
                    </a:p>
                  </a:txBody>
                  <a:tcPr marL="51435" marR="51435" marT="0" marB="0" anchor="b">
                    <a:lnL>
                      <a:noFill/>
                    </a:lnL>
                    <a:lnR>
                      <a:noFill/>
                    </a:lnR>
                    <a:lnT w="12700" cap="flat" cmpd="sng" algn="ctr">
                      <a:solidFill>
                        <a:srgbClr val="00447C"/>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algn="ctr">
                        <a:lnSpc>
                          <a:spcPct val="107000"/>
                        </a:lnSpc>
                        <a:spcBef>
                          <a:spcPts val="0"/>
                        </a:spcBef>
                        <a:spcAft>
                          <a:spcPts val="0"/>
                        </a:spcAft>
                      </a:pPr>
                      <a:r>
                        <a:rPr lang="en-US" sz="900" dirty="0">
                          <a:solidFill>
                            <a:srgbClr val="000000"/>
                          </a:solidFill>
                          <a:effectLst/>
                          <a:latin typeface="Arial" panose="020B0604020202020204" pitchFamily="34" charset="0"/>
                          <a:ea typeface="Yu Mincho" panose="02020400000000000000" pitchFamily="18" charset="-128"/>
                          <a:cs typeface="Arial" panose="020B0604020202020204" pitchFamily="34" charset="0"/>
                        </a:rPr>
                        <a:t> 213 (52.7)</a:t>
                      </a:r>
                      <a:endParaRPr lang="en-US" sz="900" dirty="0">
                        <a:effectLst/>
                        <a:latin typeface="Arial" panose="020B0604020202020204" pitchFamily="34" charset="0"/>
                        <a:ea typeface="Yu Mincho" panose="02020400000000000000" pitchFamily="18" charset="-128"/>
                        <a:cs typeface="Arial" panose="020B0604020202020204" pitchFamily="34" charset="0"/>
                      </a:endParaRPr>
                    </a:p>
                  </a:txBody>
                  <a:tcPr marL="0" marR="0" marT="0" marB="0" anchor="ctr">
                    <a:lnL>
                      <a:noFill/>
                    </a:lnL>
                    <a:lnR>
                      <a:noFill/>
                    </a:lnR>
                    <a:lnT w="12700" cap="flat" cmpd="sng" algn="ctr">
                      <a:solidFill>
                        <a:srgbClr val="00447C"/>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DF1FB"/>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algn="ctr">
                        <a:lnSpc>
                          <a:spcPct val="107000"/>
                        </a:lnSpc>
                        <a:spcBef>
                          <a:spcPts val="0"/>
                        </a:spcBef>
                        <a:spcAft>
                          <a:spcPts val="0"/>
                        </a:spcAft>
                      </a:pPr>
                      <a:r>
                        <a:rPr lang="en-US" sz="900" dirty="0">
                          <a:solidFill>
                            <a:srgbClr val="000000"/>
                          </a:solidFill>
                          <a:effectLst/>
                          <a:latin typeface="Arial" panose="020B0604020202020204" pitchFamily="34" charset="0"/>
                          <a:ea typeface="Yu Mincho" panose="02020400000000000000" pitchFamily="18" charset="-128"/>
                          <a:cs typeface="Arial" panose="020B0604020202020204" pitchFamily="34" charset="0"/>
                        </a:rPr>
                        <a:t>   86 (44.1)</a:t>
                      </a:r>
                      <a:endParaRPr lang="en-US" sz="900" dirty="0">
                        <a:effectLst/>
                        <a:latin typeface="Arial" panose="020B0604020202020204" pitchFamily="34" charset="0"/>
                        <a:ea typeface="Yu Mincho" panose="02020400000000000000" pitchFamily="18" charset="-128"/>
                        <a:cs typeface="Arial" panose="020B0604020202020204" pitchFamily="34" charset="0"/>
                      </a:endParaRPr>
                    </a:p>
                  </a:txBody>
                  <a:tcPr marL="0" marR="0" marT="0" marB="0" anchor="ctr">
                    <a:lnL>
                      <a:noFill/>
                    </a:lnL>
                    <a:lnR>
                      <a:noFill/>
                    </a:lnR>
                    <a:lnT w="12700" cap="flat" cmpd="sng" algn="ctr">
                      <a:solidFill>
                        <a:srgbClr val="00447C"/>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892112264"/>
                  </a:ext>
                </a:extLst>
              </a:tr>
              <a:tr h="144018">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465138" marR="0" lvl="0" indent="0" algn="l" defTabSz="457200" rtl="0" eaLnBrk="1" fontAlgn="auto" latinLnBrk="0" hangingPunct="1">
                        <a:lnSpc>
                          <a:spcPct val="100000"/>
                        </a:lnSpc>
                        <a:spcBef>
                          <a:spcPts val="0"/>
                        </a:spcBef>
                        <a:spcAft>
                          <a:spcPts val="0"/>
                        </a:spcAft>
                        <a:buClrTx/>
                        <a:buSzTx/>
                        <a:buFontTx/>
                        <a:buNone/>
                        <a:tabLst/>
                        <a:defRPr/>
                      </a:pPr>
                      <a:r>
                        <a:rPr lang="en-NZ" sz="900" b="1" dirty="0">
                          <a:effectLst/>
                          <a:latin typeface="Arial" panose="020B0604020202020204" pitchFamily="34" charset="0"/>
                          <a:ea typeface="MS Mincho" panose="02020609040205080304" pitchFamily="49" charset="-128"/>
                          <a:cs typeface="Arial" panose="020B0604020202020204" pitchFamily="34" charset="0"/>
                        </a:rPr>
                        <a:t>Drug related</a:t>
                      </a:r>
                      <a:endParaRPr lang="en-US" sz="900" b="1" dirty="0">
                        <a:effectLst/>
                        <a:latin typeface="Arial" panose="020B0604020202020204" pitchFamily="34" charset="0"/>
                        <a:ea typeface="MS Mincho" panose="02020609040205080304" pitchFamily="49" charset="-128"/>
                        <a:cs typeface="Arial" panose="020B0604020202020204" pitchFamily="34" charset="0"/>
                      </a:endParaRPr>
                    </a:p>
                  </a:txBody>
                  <a:tcPr marL="51435" marR="51435" marT="0" marB="0" anchor="b">
                    <a:lnL>
                      <a:noFill/>
                    </a:lnL>
                    <a:lnR>
                      <a:noFill/>
                    </a:lnR>
                    <a:lnT w="12700" cap="flat" cmpd="sng" algn="ctr">
                      <a:noFill/>
                      <a:prstDash val="solid"/>
                      <a:round/>
                      <a:headEnd type="none" w="med" len="med"/>
                      <a:tailEnd type="none" w="med" len="med"/>
                    </a:lnT>
                    <a:lnB w="12700" cap="flat" cmpd="sng" algn="ctr">
                      <a:solidFill>
                        <a:srgbClr val="00447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pPr>
                      <a:r>
                        <a:rPr lang="en-US" sz="9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 167 (41.3)</a:t>
                      </a:r>
                      <a:endParaRPr lang="en-ZA" sz="900" dirty="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a:noFill/>
                    </a:lnL>
                    <a:lnR>
                      <a:noFill/>
                    </a:lnR>
                    <a:lnT w="12700" cap="flat" cmpd="sng" algn="ctr">
                      <a:noFill/>
                      <a:prstDash val="solid"/>
                      <a:round/>
                      <a:headEnd type="none" w="med" len="med"/>
                      <a:tailEnd type="none" w="med" len="med"/>
                    </a:lnT>
                    <a:lnB w="12700" cap="flat" cmpd="sng" algn="ctr">
                      <a:solidFill>
                        <a:srgbClr val="00447C"/>
                      </a:solidFill>
                      <a:prstDash val="solid"/>
                      <a:round/>
                      <a:headEnd type="none" w="med" len="med"/>
                      <a:tailEnd type="none" w="med" len="med"/>
                    </a:lnB>
                    <a:lnTlToBr w="12700" cmpd="sng">
                      <a:noFill/>
                      <a:prstDash val="solid"/>
                    </a:lnTlToBr>
                    <a:lnBlToTr w="12700" cmpd="sng">
                      <a:noFill/>
                      <a:prstDash val="solid"/>
                    </a:lnBlToTr>
                    <a:solidFill>
                      <a:srgbClr val="EDF1FB"/>
                    </a:solidFill>
                  </a:tcPr>
                </a:tc>
                <a:tc>
                  <a:txBody>
                    <a:bodyPr/>
                    <a:lstStyle/>
                    <a:p>
                      <a:pPr algn="ctr">
                        <a:lnSpc>
                          <a:spcPct val="107000"/>
                        </a:lnSpc>
                      </a:pPr>
                      <a:r>
                        <a:rPr lang="en-US" sz="9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   60 (30.8)</a:t>
                      </a:r>
                      <a:endParaRPr lang="en-ZA" sz="900" dirty="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a:noFill/>
                    </a:lnL>
                    <a:lnR>
                      <a:noFill/>
                    </a:lnR>
                    <a:lnT w="12700" cap="flat" cmpd="sng" algn="ctr">
                      <a:noFill/>
                      <a:prstDash val="solid"/>
                      <a:round/>
                      <a:headEnd type="none" w="med" len="med"/>
                      <a:tailEnd type="none" w="med" len="med"/>
                    </a:lnT>
                    <a:lnB w="12700" cap="flat" cmpd="sng" algn="ctr">
                      <a:solidFill>
                        <a:srgbClr val="00447C"/>
                      </a:solidFill>
                      <a:prstDash val="solid"/>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039599708"/>
                  </a:ext>
                </a:extLst>
              </a:tr>
              <a:tr h="144018">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a:lnSpc>
                          <a:spcPct val="100000"/>
                        </a:lnSpc>
                        <a:spcBef>
                          <a:spcPts val="0"/>
                        </a:spcBef>
                        <a:spcAft>
                          <a:spcPts val="0"/>
                        </a:spcAft>
                      </a:pPr>
                      <a:r>
                        <a:rPr lang="en-NZ" sz="900" b="0" dirty="0">
                          <a:effectLst/>
                          <a:latin typeface="Arial" panose="020B0604020202020204" pitchFamily="34" charset="0"/>
                          <a:cs typeface="Arial" panose="020B0604020202020204" pitchFamily="34" charset="0"/>
                        </a:rPr>
                        <a:t>Serious TEAEs</a:t>
                      </a:r>
                    </a:p>
                  </a:txBody>
                  <a:tcPr marL="51435" marR="51435" marT="0" marB="0" anchor="b">
                    <a:lnL>
                      <a:noFill/>
                    </a:lnL>
                    <a:lnR>
                      <a:noFill/>
                    </a:lnR>
                    <a:lnT w="12700" cap="flat" cmpd="sng" algn="ctr">
                      <a:solidFill>
                        <a:srgbClr val="00447C"/>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algn="ctr">
                        <a:lnSpc>
                          <a:spcPct val="107000"/>
                        </a:lnSpc>
                        <a:spcBef>
                          <a:spcPts val="0"/>
                        </a:spcBef>
                        <a:spcAft>
                          <a:spcPts val="0"/>
                        </a:spcAft>
                      </a:pPr>
                      <a:r>
                        <a:rPr lang="en-US" sz="900" dirty="0">
                          <a:solidFill>
                            <a:srgbClr val="000000"/>
                          </a:solidFill>
                          <a:effectLst/>
                          <a:latin typeface="Arial" panose="020B0604020202020204" pitchFamily="34" charset="0"/>
                          <a:ea typeface="Yu Mincho" panose="02020400000000000000" pitchFamily="18" charset="-128"/>
                          <a:cs typeface="Arial" panose="020B0604020202020204" pitchFamily="34" charset="0"/>
                        </a:rPr>
                        <a:t> 103 (25.5)</a:t>
                      </a:r>
                      <a:endParaRPr lang="en-US" sz="900" dirty="0">
                        <a:effectLst/>
                        <a:latin typeface="Arial" panose="020B0604020202020204" pitchFamily="34" charset="0"/>
                        <a:ea typeface="Yu Mincho" panose="02020400000000000000" pitchFamily="18" charset="-128"/>
                        <a:cs typeface="Arial" panose="020B0604020202020204" pitchFamily="34" charset="0"/>
                      </a:endParaRPr>
                    </a:p>
                  </a:txBody>
                  <a:tcPr marL="0" marR="0" marT="0" marB="0" anchor="ctr">
                    <a:lnL>
                      <a:noFill/>
                    </a:lnL>
                    <a:lnR>
                      <a:noFill/>
                    </a:lnR>
                    <a:lnT w="12700" cap="flat" cmpd="sng" algn="ctr">
                      <a:solidFill>
                        <a:srgbClr val="00447C"/>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DF1FB"/>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algn="ctr">
                        <a:lnSpc>
                          <a:spcPct val="107000"/>
                        </a:lnSpc>
                        <a:spcBef>
                          <a:spcPts val="0"/>
                        </a:spcBef>
                        <a:spcAft>
                          <a:spcPts val="0"/>
                        </a:spcAft>
                      </a:pPr>
                      <a:r>
                        <a:rPr lang="en-US" sz="900" dirty="0">
                          <a:solidFill>
                            <a:srgbClr val="000000"/>
                          </a:solidFill>
                          <a:effectLst/>
                          <a:latin typeface="Arial" panose="020B0604020202020204" pitchFamily="34" charset="0"/>
                          <a:ea typeface="Yu Mincho" panose="02020400000000000000" pitchFamily="18" charset="-128"/>
                          <a:cs typeface="Arial" panose="020B0604020202020204" pitchFamily="34" charset="0"/>
                        </a:rPr>
                        <a:t>   46 (23.6)</a:t>
                      </a:r>
                      <a:endParaRPr lang="en-US" sz="900" dirty="0">
                        <a:effectLst/>
                        <a:latin typeface="Arial" panose="020B0604020202020204" pitchFamily="34" charset="0"/>
                        <a:ea typeface="Yu Mincho" panose="02020400000000000000" pitchFamily="18" charset="-128"/>
                        <a:cs typeface="Arial" panose="020B0604020202020204" pitchFamily="34" charset="0"/>
                      </a:endParaRPr>
                    </a:p>
                  </a:txBody>
                  <a:tcPr marL="0" marR="0" marT="0" marB="0" anchor="ctr">
                    <a:lnL>
                      <a:noFill/>
                    </a:lnL>
                    <a:lnR>
                      <a:noFill/>
                    </a:lnR>
                    <a:lnT w="12700" cap="flat" cmpd="sng" algn="ctr">
                      <a:solidFill>
                        <a:srgbClr val="00447C"/>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704863766"/>
                  </a:ext>
                </a:extLst>
              </a:tr>
              <a:tr h="144018">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465138" marR="0" lvl="0" indent="0" algn="l" defTabSz="457200" rtl="0" eaLnBrk="1" fontAlgn="auto" latinLnBrk="0" hangingPunct="1">
                        <a:lnSpc>
                          <a:spcPct val="100000"/>
                        </a:lnSpc>
                        <a:spcBef>
                          <a:spcPts val="0"/>
                        </a:spcBef>
                        <a:spcAft>
                          <a:spcPts val="0"/>
                        </a:spcAft>
                        <a:buClrTx/>
                        <a:buSzTx/>
                        <a:buFontTx/>
                        <a:buNone/>
                        <a:tabLst/>
                        <a:defRPr/>
                      </a:pPr>
                      <a:r>
                        <a:rPr lang="en-NZ" sz="900" b="1" dirty="0">
                          <a:effectLst/>
                          <a:latin typeface="Arial" panose="020B0604020202020204" pitchFamily="34" charset="0"/>
                          <a:ea typeface="MS Mincho" panose="02020609040205080304" pitchFamily="49" charset="-128"/>
                          <a:cs typeface="Arial" panose="020B0604020202020204" pitchFamily="34" charset="0"/>
                        </a:rPr>
                        <a:t>Drug related</a:t>
                      </a:r>
                      <a:endParaRPr lang="en-US" sz="900" b="1" dirty="0">
                        <a:effectLst/>
                        <a:latin typeface="Arial" panose="020B0604020202020204" pitchFamily="34" charset="0"/>
                        <a:ea typeface="MS Mincho" panose="02020609040205080304" pitchFamily="49" charset="-128"/>
                        <a:cs typeface="Arial" panose="020B0604020202020204" pitchFamily="34" charset="0"/>
                      </a:endParaRPr>
                    </a:p>
                  </a:txBody>
                  <a:tcPr marL="51435" marR="51435" marT="0" marB="0" anchor="b">
                    <a:lnL>
                      <a:noFill/>
                    </a:lnL>
                    <a:lnR>
                      <a:noFill/>
                    </a:lnR>
                    <a:lnT w="12700" cap="flat" cmpd="sng" algn="ctr">
                      <a:noFill/>
                      <a:prstDash val="solid"/>
                      <a:round/>
                      <a:headEnd type="none" w="med" len="med"/>
                      <a:tailEnd type="none" w="med" len="med"/>
                    </a:lnT>
                    <a:lnB w="12700" cap="flat" cmpd="sng" algn="ctr">
                      <a:solidFill>
                        <a:srgbClr val="00447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pPr>
                      <a:r>
                        <a:rPr lang="en-US" sz="9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  46 (11.4)</a:t>
                      </a:r>
                      <a:endParaRPr lang="en-ZA" sz="900" dirty="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a:noFill/>
                    </a:lnL>
                    <a:lnR>
                      <a:noFill/>
                    </a:lnR>
                    <a:lnT w="12700" cap="flat" cmpd="sng" algn="ctr">
                      <a:noFill/>
                      <a:prstDash val="solid"/>
                      <a:round/>
                      <a:headEnd type="none" w="med" len="med"/>
                      <a:tailEnd type="none" w="med" len="med"/>
                    </a:lnT>
                    <a:lnB w="12700" cap="flat" cmpd="sng" algn="ctr">
                      <a:solidFill>
                        <a:srgbClr val="00447C"/>
                      </a:solidFill>
                      <a:prstDash val="solid"/>
                      <a:round/>
                      <a:headEnd type="none" w="med" len="med"/>
                      <a:tailEnd type="none" w="med" len="med"/>
                    </a:lnB>
                    <a:lnTlToBr w="12700" cmpd="sng">
                      <a:noFill/>
                      <a:prstDash val="solid"/>
                    </a:lnTlToBr>
                    <a:lnBlToTr w="12700" cmpd="sng">
                      <a:noFill/>
                      <a:prstDash val="solid"/>
                    </a:lnBlToTr>
                    <a:solidFill>
                      <a:srgbClr val="EDF1FB"/>
                    </a:solidFill>
                  </a:tcPr>
                </a:tc>
                <a:tc>
                  <a:txBody>
                    <a:bodyPr/>
                    <a:lstStyle/>
                    <a:p>
                      <a:pPr algn="ctr">
                        <a:lnSpc>
                          <a:spcPct val="107000"/>
                        </a:lnSpc>
                      </a:pPr>
                      <a:r>
                        <a:rPr lang="en-US" sz="9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   15 (7.7)</a:t>
                      </a:r>
                      <a:endParaRPr lang="en-ZA" sz="900" dirty="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a:noFill/>
                    </a:lnL>
                    <a:lnR>
                      <a:noFill/>
                    </a:lnR>
                    <a:lnT w="12700" cap="flat" cmpd="sng" algn="ctr">
                      <a:noFill/>
                      <a:prstDash val="solid"/>
                      <a:round/>
                      <a:headEnd type="none" w="med" len="med"/>
                      <a:tailEnd type="none" w="med" len="med"/>
                    </a:lnT>
                    <a:lnB w="12700" cap="flat" cmpd="sng" algn="ctr">
                      <a:solidFill>
                        <a:srgbClr val="00447C"/>
                      </a:solidFill>
                      <a:prstDash val="solid"/>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986640167"/>
                  </a:ext>
                </a:extLst>
              </a:tr>
              <a:tr h="144018">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a:lnSpc>
                          <a:spcPct val="100000"/>
                        </a:lnSpc>
                        <a:spcBef>
                          <a:spcPts val="0"/>
                        </a:spcBef>
                        <a:spcAft>
                          <a:spcPts val="0"/>
                        </a:spcAft>
                      </a:pPr>
                      <a:r>
                        <a:rPr lang="en-US" sz="900" b="0" dirty="0">
                          <a:effectLst/>
                          <a:latin typeface="Arial" panose="020B0604020202020204" pitchFamily="34" charset="0"/>
                          <a:cs typeface="Arial" panose="020B0604020202020204" pitchFamily="34" charset="0"/>
                        </a:rPr>
                        <a:t>TEAEs associated with </a:t>
                      </a:r>
                      <a:r>
                        <a:rPr lang="en-NZ" sz="900" b="0" dirty="0">
                          <a:solidFill>
                            <a:schemeClr val="tx1"/>
                          </a:solidFill>
                          <a:effectLst/>
                          <a:latin typeface="Arial" panose="020B0604020202020204" pitchFamily="34" charset="0"/>
                          <a:cs typeface="Arial" panose="020B0604020202020204" pitchFamily="34" charset="0"/>
                        </a:rPr>
                        <a:t>drug</a:t>
                      </a:r>
                      <a:r>
                        <a:rPr lang="en-NZ" sz="900" b="0" dirty="0">
                          <a:effectLst/>
                          <a:latin typeface="Arial" panose="020B0604020202020204" pitchFamily="34" charset="0"/>
                          <a:cs typeface="Arial" panose="020B0604020202020204" pitchFamily="34" charset="0"/>
                        </a:rPr>
                        <a:t> discontinuations</a:t>
                      </a:r>
                    </a:p>
                  </a:txBody>
                  <a:tcPr marL="51435" marR="51435" marT="0" marB="0" anchor="b">
                    <a:lnL>
                      <a:noFill/>
                    </a:lnL>
                    <a:lnR>
                      <a:noFill/>
                    </a:lnR>
                    <a:lnT w="12700" cap="flat" cmpd="sng" algn="ctr">
                      <a:solidFill>
                        <a:srgbClr val="00447C"/>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algn="ctr">
                        <a:lnSpc>
                          <a:spcPct val="107000"/>
                        </a:lnSpc>
                        <a:spcBef>
                          <a:spcPts val="0"/>
                        </a:spcBef>
                        <a:spcAft>
                          <a:spcPts val="0"/>
                        </a:spcAft>
                      </a:pPr>
                      <a:r>
                        <a:rPr lang="en-US" sz="900" dirty="0">
                          <a:solidFill>
                            <a:srgbClr val="000000"/>
                          </a:solidFill>
                          <a:effectLst/>
                          <a:latin typeface="Arial" panose="020B0604020202020204" pitchFamily="34" charset="0"/>
                          <a:ea typeface="Yu Mincho" panose="02020400000000000000" pitchFamily="18" charset="-128"/>
                          <a:cs typeface="Arial" panose="020B0604020202020204" pitchFamily="34" charset="0"/>
                        </a:rPr>
                        <a:t>  80 (19.8)</a:t>
                      </a:r>
                      <a:endParaRPr lang="en-US" sz="900" dirty="0">
                        <a:effectLst/>
                        <a:latin typeface="Arial" panose="020B0604020202020204" pitchFamily="34" charset="0"/>
                        <a:ea typeface="Yu Mincho" panose="02020400000000000000" pitchFamily="18" charset="-128"/>
                        <a:cs typeface="Arial" panose="020B0604020202020204" pitchFamily="34" charset="0"/>
                      </a:endParaRPr>
                    </a:p>
                  </a:txBody>
                  <a:tcPr marL="0" marR="0" marT="0" marB="0" anchor="b">
                    <a:lnL>
                      <a:noFill/>
                    </a:lnL>
                    <a:lnR>
                      <a:noFill/>
                    </a:lnR>
                    <a:lnT w="12700" cap="flat" cmpd="sng" algn="ctr">
                      <a:solidFill>
                        <a:srgbClr val="00447C"/>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DF1FB"/>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algn="ctr">
                        <a:lnSpc>
                          <a:spcPct val="107000"/>
                        </a:lnSpc>
                        <a:spcBef>
                          <a:spcPts val="0"/>
                        </a:spcBef>
                        <a:spcAft>
                          <a:spcPts val="0"/>
                        </a:spcAft>
                      </a:pPr>
                      <a:r>
                        <a:rPr lang="en-US" sz="900" dirty="0">
                          <a:solidFill>
                            <a:srgbClr val="000000"/>
                          </a:solidFill>
                          <a:effectLst/>
                          <a:latin typeface="Arial" panose="020B0604020202020204" pitchFamily="34" charset="0"/>
                          <a:ea typeface="Yu Mincho" panose="02020400000000000000" pitchFamily="18" charset="-128"/>
                          <a:cs typeface="Arial" panose="020B0604020202020204" pitchFamily="34" charset="0"/>
                        </a:rPr>
                        <a:t>   19 (9.7)</a:t>
                      </a:r>
                      <a:endParaRPr lang="en-US" sz="900" dirty="0">
                        <a:effectLst/>
                        <a:latin typeface="Arial" panose="020B0604020202020204" pitchFamily="34" charset="0"/>
                        <a:ea typeface="Yu Mincho" panose="02020400000000000000" pitchFamily="18" charset="-128"/>
                        <a:cs typeface="Arial" panose="020B0604020202020204" pitchFamily="34" charset="0"/>
                      </a:endParaRPr>
                    </a:p>
                  </a:txBody>
                  <a:tcPr marL="0" marR="0" marT="0" marB="0" anchor="b">
                    <a:lnL>
                      <a:noFill/>
                    </a:lnL>
                    <a:lnR>
                      <a:noFill/>
                    </a:lnR>
                    <a:lnT w="12700" cap="flat" cmpd="sng" algn="ctr">
                      <a:solidFill>
                        <a:srgbClr val="00447C"/>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120476181"/>
                  </a:ext>
                </a:extLst>
              </a:tr>
              <a:tr h="144018">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465138" marR="0" lvl="0" indent="0" algn="l" defTabSz="457200" rtl="0" eaLnBrk="1" fontAlgn="auto" latinLnBrk="0" hangingPunct="1">
                        <a:lnSpc>
                          <a:spcPct val="100000"/>
                        </a:lnSpc>
                        <a:spcBef>
                          <a:spcPts val="0"/>
                        </a:spcBef>
                        <a:spcAft>
                          <a:spcPts val="0"/>
                        </a:spcAft>
                        <a:buClrTx/>
                        <a:buSzTx/>
                        <a:buFontTx/>
                        <a:buNone/>
                        <a:tabLst/>
                        <a:defRPr/>
                      </a:pPr>
                      <a:r>
                        <a:rPr lang="en-NZ" sz="900" b="1" dirty="0">
                          <a:effectLst/>
                          <a:latin typeface="Arial" panose="020B0604020202020204" pitchFamily="34" charset="0"/>
                          <a:cs typeface="Arial" panose="020B0604020202020204" pitchFamily="34" charset="0"/>
                        </a:rPr>
                        <a:t>Drug related</a:t>
                      </a:r>
                    </a:p>
                  </a:txBody>
                  <a:tcPr marL="51435" marR="51435" marT="0" marB="0" anchor="b">
                    <a:lnL>
                      <a:noFill/>
                    </a:lnL>
                    <a:lnR>
                      <a:noFill/>
                    </a:lnR>
                    <a:lnT w="12700" cap="flat" cmpd="sng" algn="ctr">
                      <a:noFill/>
                      <a:prstDash val="solid"/>
                      <a:round/>
                      <a:headEnd type="none" w="med" len="med"/>
                      <a:tailEnd type="none" w="med" len="med"/>
                    </a:lnT>
                    <a:lnB w="12700" cap="flat" cmpd="sng" algn="ctr">
                      <a:solidFill>
                        <a:srgbClr val="00447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pPr>
                      <a:r>
                        <a:rPr lang="en-US" sz="9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  58 (14.4)</a:t>
                      </a:r>
                      <a:endParaRPr lang="en-ZA" sz="900" dirty="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a:noFill/>
                    </a:lnL>
                    <a:lnR>
                      <a:noFill/>
                    </a:lnR>
                    <a:lnT w="12700" cap="flat" cmpd="sng" algn="ctr">
                      <a:noFill/>
                      <a:prstDash val="solid"/>
                      <a:round/>
                      <a:headEnd type="none" w="med" len="med"/>
                      <a:tailEnd type="none" w="med" len="med"/>
                    </a:lnT>
                    <a:lnB w="12700" cap="flat" cmpd="sng" algn="ctr">
                      <a:solidFill>
                        <a:srgbClr val="00447C"/>
                      </a:solidFill>
                      <a:prstDash val="solid"/>
                      <a:round/>
                      <a:headEnd type="none" w="med" len="med"/>
                      <a:tailEnd type="none" w="med" len="med"/>
                    </a:lnB>
                    <a:lnTlToBr w="12700" cmpd="sng">
                      <a:noFill/>
                      <a:prstDash val="solid"/>
                    </a:lnTlToBr>
                    <a:lnBlToTr w="12700" cmpd="sng">
                      <a:noFill/>
                      <a:prstDash val="solid"/>
                    </a:lnBlToTr>
                    <a:solidFill>
                      <a:srgbClr val="EDF1FB"/>
                    </a:solidFill>
                  </a:tcPr>
                </a:tc>
                <a:tc>
                  <a:txBody>
                    <a:bodyPr/>
                    <a:lstStyle/>
                    <a:p>
                      <a:pPr algn="ctr">
                        <a:lnSpc>
                          <a:spcPct val="107000"/>
                        </a:lnSpc>
                      </a:pPr>
                      <a:r>
                        <a:rPr lang="en-US" sz="9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   10 (5.1)</a:t>
                      </a:r>
                      <a:endParaRPr lang="en-ZA" sz="900" dirty="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a:noFill/>
                    </a:lnL>
                    <a:lnR>
                      <a:noFill/>
                    </a:lnR>
                    <a:lnT w="12700" cap="flat" cmpd="sng" algn="ctr">
                      <a:noFill/>
                      <a:prstDash val="solid"/>
                      <a:round/>
                      <a:headEnd type="none" w="med" len="med"/>
                      <a:tailEnd type="none" w="med" len="med"/>
                    </a:lnT>
                    <a:lnB w="12700" cap="flat" cmpd="sng" algn="ctr">
                      <a:solidFill>
                        <a:srgbClr val="00447C"/>
                      </a:solidFill>
                      <a:prstDash val="solid"/>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3732492284"/>
                  </a:ext>
                </a:extLst>
              </a:tr>
              <a:tr h="144018">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a:lnSpc>
                          <a:spcPct val="100000"/>
                        </a:lnSpc>
                        <a:spcBef>
                          <a:spcPts val="0"/>
                        </a:spcBef>
                        <a:spcAft>
                          <a:spcPts val="0"/>
                        </a:spcAft>
                      </a:pPr>
                      <a:r>
                        <a:rPr lang="en-US" sz="900" b="0" dirty="0">
                          <a:effectLst/>
                          <a:latin typeface="Arial" panose="020B0604020202020204" pitchFamily="34" charset="0"/>
                          <a:cs typeface="Arial" panose="020B0604020202020204" pitchFamily="34" charset="0"/>
                        </a:rPr>
                        <a:t>TEAEs associated with </a:t>
                      </a:r>
                      <a:r>
                        <a:rPr lang="en-NZ" sz="900" b="0" dirty="0">
                          <a:solidFill>
                            <a:schemeClr val="tx1"/>
                          </a:solidFill>
                          <a:effectLst/>
                          <a:latin typeface="Arial" panose="020B0604020202020204" pitchFamily="34" charset="0"/>
                          <a:cs typeface="Arial" panose="020B0604020202020204" pitchFamily="34" charset="0"/>
                        </a:rPr>
                        <a:t>drug</a:t>
                      </a:r>
                      <a:r>
                        <a:rPr lang="en-NZ" sz="900" b="0" dirty="0">
                          <a:effectLst/>
                          <a:latin typeface="Arial" panose="020B0604020202020204" pitchFamily="34" charset="0"/>
                          <a:cs typeface="Arial" panose="020B0604020202020204" pitchFamily="34" charset="0"/>
                        </a:rPr>
                        <a:t> interruptions</a:t>
                      </a:r>
                    </a:p>
                  </a:txBody>
                  <a:tcPr marL="51435" marR="51435" marT="0" marB="0" anchor="b">
                    <a:lnL>
                      <a:noFill/>
                    </a:lnL>
                    <a:lnR>
                      <a:noFill/>
                    </a:lnR>
                    <a:lnT w="12700" cap="flat" cmpd="sng" algn="ctr">
                      <a:solidFill>
                        <a:srgbClr val="00447C"/>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algn="ctr">
                        <a:lnSpc>
                          <a:spcPct val="107000"/>
                        </a:lnSpc>
                        <a:spcBef>
                          <a:spcPts val="0"/>
                        </a:spcBef>
                        <a:spcAft>
                          <a:spcPts val="0"/>
                        </a:spcAft>
                      </a:pPr>
                      <a:r>
                        <a:rPr lang="en-US" sz="900" dirty="0">
                          <a:solidFill>
                            <a:srgbClr val="000000"/>
                          </a:solidFill>
                          <a:effectLst/>
                          <a:latin typeface="Arial" panose="020B0604020202020204" pitchFamily="34" charset="0"/>
                          <a:ea typeface="Yu Mincho" panose="02020400000000000000" pitchFamily="18" charset="-128"/>
                          <a:cs typeface="Arial" panose="020B0604020202020204" pitchFamily="34" charset="0"/>
                        </a:rPr>
                        <a:t> 183 (45.3)</a:t>
                      </a:r>
                      <a:endParaRPr lang="en-US" sz="900" dirty="0">
                        <a:effectLst/>
                        <a:latin typeface="Arial" panose="020B0604020202020204" pitchFamily="34" charset="0"/>
                        <a:ea typeface="Yu Mincho" panose="02020400000000000000" pitchFamily="18" charset="-128"/>
                        <a:cs typeface="Arial" panose="020B0604020202020204" pitchFamily="34" charset="0"/>
                      </a:endParaRPr>
                    </a:p>
                  </a:txBody>
                  <a:tcPr marL="0" marR="0" marT="0" marB="0" anchor="b">
                    <a:lnL>
                      <a:noFill/>
                    </a:lnL>
                    <a:lnR>
                      <a:noFill/>
                    </a:lnR>
                    <a:lnT w="12700" cap="flat" cmpd="sng" algn="ctr">
                      <a:solidFill>
                        <a:srgbClr val="00447C"/>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DF1FB"/>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algn="ctr">
                        <a:lnSpc>
                          <a:spcPct val="107000"/>
                        </a:lnSpc>
                        <a:spcBef>
                          <a:spcPts val="0"/>
                        </a:spcBef>
                        <a:spcAft>
                          <a:spcPts val="0"/>
                        </a:spcAft>
                      </a:pPr>
                      <a:r>
                        <a:rPr lang="en-US" sz="900" dirty="0">
                          <a:solidFill>
                            <a:srgbClr val="000000"/>
                          </a:solidFill>
                          <a:effectLst/>
                          <a:latin typeface="Arial" panose="020B0604020202020204" pitchFamily="34" charset="0"/>
                          <a:ea typeface="Yu Mincho" panose="02020400000000000000" pitchFamily="18" charset="-128"/>
                          <a:cs typeface="Arial" panose="020B0604020202020204" pitchFamily="34" charset="0"/>
                        </a:rPr>
                        <a:t>   90 (46.2)</a:t>
                      </a:r>
                      <a:endParaRPr lang="en-US" sz="900" dirty="0">
                        <a:effectLst/>
                        <a:latin typeface="Arial" panose="020B0604020202020204" pitchFamily="34" charset="0"/>
                        <a:ea typeface="Yu Mincho" panose="02020400000000000000" pitchFamily="18" charset="-128"/>
                        <a:cs typeface="Arial" panose="020B0604020202020204" pitchFamily="34" charset="0"/>
                      </a:endParaRPr>
                    </a:p>
                  </a:txBody>
                  <a:tcPr marL="0" marR="0" marT="0" marB="0" anchor="b">
                    <a:lnL>
                      <a:noFill/>
                    </a:lnL>
                    <a:lnR>
                      <a:noFill/>
                    </a:lnR>
                    <a:lnT w="12700" cap="flat" cmpd="sng" algn="ctr">
                      <a:solidFill>
                        <a:srgbClr val="00447C"/>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1658213012"/>
                  </a:ext>
                </a:extLst>
              </a:tr>
              <a:tr h="144018">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465138" marR="0" lvl="0" indent="0" algn="l" defTabSz="457200" rtl="0" eaLnBrk="1" fontAlgn="auto" latinLnBrk="0" hangingPunct="1">
                        <a:lnSpc>
                          <a:spcPct val="100000"/>
                        </a:lnSpc>
                        <a:spcBef>
                          <a:spcPts val="0"/>
                        </a:spcBef>
                        <a:spcAft>
                          <a:spcPts val="0"/>
                        </a:spcAft>
                        <a:buClrTx/>
                        <a:buSzTx/>
                        <a:buFontTx/>
                        <a:buNone/>
                        <a:tabLst/>
                        <a:defRPr/>
                      </a:pPr>
                      <a:r>
                        <a:rPr lang="en-NZ" sz="900" b="1" dirty="0">
                          <a:effectLst/>
                          <a:latin typeface="Arial" panose="020B0604020202020204" pitchFamily="34" charset="0"/>
                          <a:cs typeface="Arial" panose="020B0604020202020204" pitchFamily="34" charset="0"/>
                        </a:rPr>
                        <a:t>Drug related</a:t>
                      </a:r>
                    </a:p>
                  </a:txBody>
                  <a:tcPr marL="51435" marR="51435" marT="0" marB="0" anchor="b">
                    <a:lnL>
                      <a:noFill/>
                    </a:lnL>
                    <a:lnR>
                      <a:noFill/>
                    </a:lnR>
                    <a:lnT w="12700" cap="flat" cmpd="sng" algn="ctr">
                      <a:noFill/>
                      <a:prstDash val="solid"/>
                      <a:round/>
                      <a:headEnd type="none" w="med" len="med"/>
                      <a:tailEnd type="none" w="med" len="med"/>
                    </a:lnT>
                    <a:lnB w="12700" cap="flat" cmpd="sng" algn="ctr">
                      <a:solidFill>
                        <a:srgbClr val="00447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pPr>
                      <a:r>
                        <a:rPr lang="en-US" sz="9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 132 (32.7)</a:t>
                      </a:r>
                      <a:endParaRPr lang="en-ZA" sz="900" dirty="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a:noFill/>
                    </a:lnL>
                    <a:lnR>
                      <a:noFill/>
                    </a:lnR>
                    <a:lnT w="12700" cap="flat" cmpd="sng" algn="ctr">
                      <a:noFill/>
                      <a:prstDash val="solid"/>
                      <a:round/>
                      <a:headEnd type="none" w="med" len="med"/>
                      <a:tailEnd type="none" w="med" len="med"/>
                    </a:lnT>
                    <a:lnB w="12700" cap="flat" cmpd="sng" algn="ctr">
                      <a:solidFill>
                        <a:srgbClr val="00447C"/>
                      </a:solidFill>
                      <a:prstDash val="solid"/>
                      <a:round/>
                      <a:headEnd type="none" w="med" len="med"/>
                      <a:tailEnd type="none" w="med" len="med"/>
                    </a:lnB>
                    <a:lnTlToBr w="12700" cmpd="sng">
                      <a:noFill/>
                      <a:prstDash val="solid"/>
                    </a:lnTlToBr>
                    <a:lnBlToTr w="12700" cmpd="sng">
                      <a:noFill/>
                      <a:prstDash val="solid"/>
                    </a:lnBlToTr>
                    <a:solidFill>
                      <a:srgbClr val="EDF1FB"/>
                    </a:solidFill>
                  </a:tcPr>
                </a:tc>
                <a:tc>
                  <a:txBody>
                    <a:bodyPr/>
                    <a:lstStyle/>
                    <a:p>
                      <a:pPr algn="ctr">
                        <a:lnSpc>
                          <a:spcPct val="107000"/>
                        </a:lnSpc>
                      </a:pPr>
                      <a:r>
                        <a:rPr lang="en-US" sz="9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   76 (39.0)</a:t>
                      </a:r>
                      <a:endParaRPr lang="en-ZA" sz="900" dirty="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a:noFill/>
                    </a:lnL>
                    <a:lnR>
                      <a:noFill/>
                    </a:lnR>
                    <a:lnT w="12700" cap="flat" cmpd="sng" algn="ctr">
                      <a:noFill/>
                      <a:prstDash val="solid"/>
                      <a:round/>
                      <a:headEnd type="none" w="med" len="med"/>
                      <a:tailEnd type="none" w="med" len="med"/>
                    </a:lnT>
                    <a:lnB w="12700" cap="flat" cmpd="sng" algn="ctr">
                      <a:solidFill>
                        <a:srgbClr val="00447C"/>
                      </a:solidFill>
                      <a:prstDash val="solid"/>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3425951254"/>
                  </a:ext>
                </a:extLst>
              </a:tr>
              <a:tr h="144018">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a:lnSpc>
                          <a:spcPct val="100000"/>
                        </a:lnSpc>
                        <a:spcBef>
                          <a:spcPts val="0"/>
                        </a:spcBef>
                        <a:spcAft>
                          <a:spcPts val="0"/>
                        </a:spcAft>
                      </a:pPr>
                      <a:r>
                        <a:rPr lang="en-US" sz="900" b="0" dirty="0">
                          <a:effectLst/>
                          <a:latin typeface="Arial" panose="020B0604020202020204" pitchFamily="34" charset="0"/>
                          <a:cs typeface="Arial" panose="020B0604020202020204" pitchFamily="34" charset="0"/>
                        </a:rPr>
                        <a:t>TEAEs associated with </a:t>
                      </a:r>
                      <a:r>
                        <a:rPr lang="en-NZ" sz="900" b="0" dirty="0">
                          <a:effectLst/>
                          <a:latin typeface="Arial" panose="020B0604020202020204" pitchFamily="34" charset="0"/>
                          <a:cs typeface="Arial" panose="020B0604020202020204" pitchFamily="34" charset="0"/>
                        </a:rPr>
                        <a:t>dose reductions</a:t>
                      </a:r>
                    </a:p>
                  </a:txBody>
                  <a:tcPr marL="51435" marR="51435" marT="0" marB="0" anchor="b">
                    <a:lnL>
                      <a:noFill/>
                    </a:lnL>
                    <a:lnR>
                      <a:noFill/>
                    </a:lnR>
                    <a:lnT w="12700" cap="flat" cmpd="sng" algn="ctr">
                      <a:solidFill>
                        <a:srgbClr val="00447C"/>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algn="ctr">
                        <a:lnSpc>
                          <a:spcPct val="107000"/>
                        </a:lnSpc>
                        <a:spcBef>
                          <a:spcPts val="0"/>
                        </a:spcBef>
                        <a:spcAft>
                          <a:spcPts val="0"/>
                        </a:spcAft>
                      </a:pPr>
                      <a:r>
                        <a:rPr lang="en-US" sz="900" dirty="0">
                          <a:solidFill>
                            <a:srgbClr val="000000"/>
                          </a:solidFill>
                          <a:effectLst/>
                          <a:latin typeface="Arial" panose="020B0604020202020204" pitchFamily="34" charset="0"/>
                          <a:ea typeface="Yu Mincho" panose="02020400000000000000" pitchFamily="18" charset="-128"/>
                          <a:cs typeface="Arial" panose="020B0604020202020204" pitchFamily="34" charset="0"/>
                        </a:rPr>
                        <a:t>102 (25.2)</a:t>
                      </a:r>
                      <a:endParaRPr lang="en-US" sz="900" dirty="0">
                        <a:effectLst/>
                        <a:latin typeface="Arial" panose="020B0604020202020204" pitchFamily="34" charset="0"/>
                        <a:ea typeface="Yu Mincho" panose="02020400000000000000" pitchFamily="18" charset="-128"/>
                        <a:cs typeface="Arial" panose="020B0604020202020204" pitchFamily="34" charset="0"/>
                      </a:endParaRPr>
                    </a:p>
                  </a:txBody>
                  <a:tcPr marL="0" marR="0" marT="0" marB="0" anchor="b">
                    <a:lnL>
                      <a:noFill/>
                    </a:lnL>
                    <a:lnR>
                      <a:noFill/>
                    </a:lnR>
                    <a:lnT w="12700" cap="flat" cmpd="sng" algn="ctr">
                      <a:solidFill>
                        <a:srgbClr val="00447C"/>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DF1FB"/>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algn="ctr">
                        <a:lnSpc>
                          <a:spcPct val="107000"/>
                        </a:lnSpc>
                        <a:spcBef>
                          <a:spcPts val="0"/>
                        </a:spcBef>
                        <a:spcAft>
                          <a:spcPts val="0"/>
                        </a:spcAft>
                      </a:pPr>
                      <a:r>
                        <a:rPr lang="en-US" sz="900" dirty="0">
                          <a:solidFill>
                            <a:srgbClr val="000000"/>
                          </a:solidFill>
                          <a:effectLst/>
                          <a:latin typeface="Arial" panose="020B0604020202020204" pitchFamily="34" charset="0"/>
                          <a:ea typeface="Yu Mincho" panose="02020400000000000000" pitchFamily="18" charset="-128"/>
                          <a:cs typeface="Arial" panose="020B0604020202020204" pitchFamily="34" charset="0"/>
                        </a:rPr>
                        <a:t>   89 (45.6)</a:t>
                      </a:r>
                      <a:endParaRPr lang="en-US" sz="900" dirty="0">
                        <a:effectLst/>
                        <a:latin typeface="Arial" panose="020B0604020202020204" pitchFamily="34" charset="0"/>
                        <a:ea typeface="Yu Mincho" panose="02020400000000000000" pitchFamily="18" charset="-128"/>
                        <a:cs typeface="Arial" panose="020B0604020202020204" pitchFamily="34" charset="0"/>
                      </a:endParaRPr>
                    </a:p>
                  </a:txBody>
                  <a:tcPr marL="0" marR="0" marT="0" marB="0" anchor="b">
                    <a:lnL>
                      <a:noFill/>
                    </a:lnL>
                    <a:lnR>
                      <a:noFill/>
                    </a:lnR>
                    <a:lnT w="12700" cap="flat" cmpd="sng" algn="ctr">
                      <a:solidFill>
                        <a:srgbClr val="00447C"/>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3398366239"/>
                  </a:ext>
                </a:extLst>
              </a:tr>
              <a:tr h="144018">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465138" marR="0" lvl="0" indent="0" algn="l" defTabSz="457200" rtl="0" eaLnBrk="1" fontAlgn="auto" latinLnBrk="0" hangingPunct="1">
                        <a:lnSpc>
                          <a:spcPct val="100000"/>
                        </a:lnSpc>
                        <a:spcBef>
                          <a:spcPts val="0"/>
                        </a:spcBef>
                        <a:spcAft>
                          <a:spcPts val="0"/>
                        </a:spcAft>
                        <a:buClrTx/>
                        <a:buSzTx/>
                        <a:buFontTx/>
                        <a:buNone/>
                        <a:tabLst/>
                        <a:defRPr/>
                      </a:pPr>
                      <a:r>
                        <a:rPr lang="en-NZ" sz="900" b="1" dirty="0">
                          <a:effectLst/>
                          <a:latin typeface="Arial" panose="020B0604020202020204" pitchFamily="34" charset="0"/>
                          <a:cs typeface="Arial" panose="020B0604020202020204" pitchFamily="34" charset="0"/>
                        </a:rPr>
                        <a:t>Drug related</a:t>
                      </a:r>
                    </a:p>
                  </a:txBody>
                  <a:tcPr marL="51435" marR="51435" marT="0" marB="0" anchor="b">
                    <a:lnL>
                      <a:noFill/>
                    </a:lnL>
                    <a:lnR>
                      <a:noFill/>
                    </a:lnR>
                    <a:lnT w="12700" cap="flat" cmpd="sng" algn="ctr">
                      <a:noFill/>
                      <a:prstDash val="solid"/>
                      <a:round/>
                      <a:headEnd type="none" w="med" len="med"/>
                      <a:tailEnd type="none" w="med" len="med"/>
                    </a:lnT>
                    <a:lnB w="12700" cap="flat" cmpd="sng" algn="ctr">
                      <a:solidFill>
                        <a:srgbClr val="00447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pPr>
                      <a:r>
                        <a:rPr lang="en-US" sz="9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  95 (23.5)</a:t>
                      </a:r>
                      <a:endParaRPr lang="en-ZA" sz="900" dirty="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a:noFill/>
                    </a:lnL>
                    <a:lnR>
                      <a:noFill/>
                    </a:lnR>
                    <a:lnT w="12700" cap="flat" cmpd="sng" algn="ctr">
                      <a:noFill/>
                      <a:prstDash val="solid"/>
                      <a:round/>
                      <a:headEnd type="none" w="med" len="med"/>
                      <a:tailEnd type="none" w="med" len="med"/>
                    </a:lnT>
                    <a:lnB w="12700" cap="flat" cmpd="sng" algn="ctr">
                      <a:solidFill>
                        <a:srgbClr val="00447C"/>
                      </a:solidFill>
                      <a:prstDash val="solid"/>
                      <a:round/>
                      <a:headEnd type="none" w="med" len="med"/>
                      <a:tailEnd type="none" w="med" len="med"/>
                    </a:lnB>
                    <a:lnTlToBr w="12700" cmpd="sng">
                      <a:noFill/>
                      <a:prstDash val="solid"/>
                    </a:lnTlToBr>
                    <a:lnBlToTr w="12700" cmpd="sng">
                      <a:noFill/>
                      <a:prstDash val="solid"/>
                    </a:lnBlToTr>
                    <a:solidFill>
                      <a:srgbClr val="EDF1FB"/>
                    </a:solidFill>
                  </a:tcPr>
                </a:tc>
                <a:tc>
                  <a:txBody>
                    <a:bodyPr/>
                    <a:lstStyle/>
                    <a:p>
                      <a:pPr algn="ctr">
                        <a:lnSpc>
                          <a:spcPct val="107000"/>
                        </a:lnSpc>
                      </a:pPr>
                      <a:r>
                        <a:rPr lang="en-US" sz="9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   89 (45.6)</a:t>
                      </a:r>
                      <a:endParaRPr lang="en-ZA" sz="900" dirty="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a:noFill/>
                    </a:lnL>
                    <a:lnR>
                      <a:noFill/>
                    </a:lnR>
                    <a:lnT w="12700" cap="flat" cmpd="sng" algn="ctr">
                      <a:noFill/>
                      <a:prstDash val="solid"/>
                      <a:round/>
                      <a:headEnd type="none" w="med" len="med"/>
                      <a:tailEnd type="none" w="med" len="med"/>
                    </a:lnT>
                    <a:lnB w="12700" cap="flat" cmpd="sng" algn="ctr">
                      <a:solidFill>
                        <a:srgbClr val="00447C"/>
                      </a:solidFill>
                      <a:prstDash val="solid"/>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284442891"/>
                  </a:ext>
                </a:extLst>
              </a:tr>
              <a:tr h="144018">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a:lnSpc>
                          <a:spcPct val="100000"/>
                        </a:lnSpc>
                        <a:spcBef>
                          <a:spcPts val="0"/>
                        </a:spcBef>
                        <a:spcAft>
                          <a:spcPts val="0"/>
                        </a:spcAft>
                      </a:pPr>
                      <a:r>
                        <a:rPr lang="en-US" sz="900" b="0" dirty="0">
                          <a:effectLst/>
                          <a:latin typeface="Arial" panose="020B0604020202020204" pitchFamily="34" charset="0"/>
                          <a:cs typeface="Arial" panose="020B0604020202020204" pitchFamily="34" charset="0"/>
                        </a:rPr>
                        <a:t>TEAEs associated with an outcome of death</a:t>
                      </a:r>
                      <a:endParaRPr lang="en-NZ" sz="900" b="0" dirty="0">
                        <a:effectLst/>
                        <a:latin typeface="Arial" panose="020B0604020202020204" pitchFamily="34" charset="0"/>
                        <a:cs typeface="Arial" panose="020B0604020202020204" pitchFamily="34" charset="0"/>
                      </a:endParaRPr>
                    </a:p>
                  </a:txBody>
                  <a:tcPr marL="51435" marR="51435" marT="0" marB="0" anchor="b">
                    <a:lnL>
                      <a:noFill/>
                    </a:lnL>
                    <a:lnR>
                      <a:noFill/>
                    </a:lnR>
                    <a:lnT w="12700" cap="flat" cmpd="sng" algn="ctr">
                      <a:solidFill>
                        <a:srgbClr val="00447C"/>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algn="ctr">
                        <a:lnSpc>
                          <a:spcPct val="107000"/>
                        </a:lnSpc>
                        <a:spcBef>
                          <a:spcPts val="0"/>
                        </a:spcBef>
                        <a:spcAft>
                          <a:spcPts val="0"/>
                        </a:spcAft>
                      </a:pPr>
                      <a:r>
                        <a:rPr lang="en-US" sz="900" dirty="0">
                          <a:solidFill>
                            <a:srgbClr val="000000"/>
                          </a:solidFill>
                          <a:effectLst/>
                          <a:latin typeface="Arial" panose="020B0604020202020204" pitchFamily="34" charset="0"/>
                          <a:ea typeface="Yu Mincho" panose="02020400000000000000" pitchFamily="18" charset="-128"/>
                          <a:cs typeface="Arial" panose="020B0604020202020204" pitchFamily="34" charset="0"/>
                        </a:rPr>
                        <a:t>  11 (2.7)</a:t>
                      </a:r>
                      <a:r>
                        <a:rPr lang="en-US" sz="900" baseline="30000" dirty="0">
                          <a:solidFill>
                            <a:srgbClr val="000000"/>
                          </a:solidFill>
                          <a:effectLst/>
                          <a:latin typeface="Arial" panose="020B0604020202020204" pitchFamily="34" charset="0"/>
                          <a:ea typeface="Yu Mincho" panose="02020400000000000000" pitchFamily="18" charset="-128"/>
                          <a:cs typeface="Arial" panose="020B0604020202020204" pitchFamily="34" charset="0"/>
                        </a:rPr>
                        <a:t>b</a:t>
                      </a:r>
                      <a:endParaRPr lang="en-US" sz="900" baseline="30000" dirty="0">
                        <a:effectLst/>
                        <a:latin typeface="Arial" panose="020B0604020202020204" pitchFamily="34" charset="0"/>
                        <a:ea typeface="Yu Mincho" panose="02020400000000000000" pitchFamily="18" charset="-128"/>
                        <a:cs typeface="Arial" panose="020B0604020202020204" pitchFamily="34" charset="0"/>
                      </a:endParaRPr>
                    </a:p>
                  </a:txBody>
                  <a:tcPr marL="0" marR="0" marT="0" marB="0" anchor="b">
                    <a:lnL>
                      <a:noFill/>
                    </a:lnL>
                    <a:lnR>
                      <a:noFill/>
                    </a:lnR>
                    <a:lnT w="12700" cap="flat" cmpd="sng" algn="ctr">
                      <a:solidFill>
                        <a:srgbClr val="00447C"/>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DF1FB"/>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algn="ctr">
                        <a:lnSpc>
                          <a:spcPct val="107000"/>
                        </a:lnSpc>
                        <a:spcBef>
                          <a:spcPts val="0"/>
                        </a:spcBef>
                        <a:spcAft>
                          <a:spcPts val="0"/>
                        </a:spcAft>
                      </a:pPr>
                      <a:r>
                        <a:rPr lang="en-US" sz="900" dirty="0">
                          <a:solidFill>
                            <a:srgbClr val="000000"/>
                          </a:solidFill>
                          <a:effectLst/>
                          <a:latin typeface="Arial" panose="020B0604020202020204" pitchFamily="34" charset="0"/>
                          <a:ea typeface="Yu Mincho" panose="02020400000000000000" pitchFamily="18" charset="-128"/>
                          <a:cs typeface="Arial" panose="020B0604020202020204" pitchFamily="34" charset="0"/>
                        </a:rPr>
                        <a:t>    7 (3.6)</a:t>
                      </a:r>
                      <a:r>
                        <a:rPr lang="en-US" sz="900" baseline="30000" dirty="0">
                          <a:solidFill>
                            <a:srgbClr val="000000"/>
                          </a:solidFill>
                          <a:effectLst/>
                          <a:latin typeface="Arial" panose="020B0604020202020204" pitchFamily="34" charset="0"/>
                          <a:ea typeface="Yu Mincho" panose="02020400000000000000" pitchFamily="18" charset="-128"/>
                          <a:cs typeface="Arial" panose="020B0604020202020204" pitchFamily="34" charset="0"/>
                        </a:rPr>
                        <a:t>c</a:t>
                      </a:r>
                      <a:endParaRPr lang="en-US" sz="900" baseline="30000" dirty="0">
                        <a:effectLst/>
                        <a:latin typeface="Arial" panose="020B0604020202020204" pitchFamily="34" charset="0"/>
                        <a:ea typeface="Yu Mincho" panose="02020400000000000000" pitchFamily="18" charset="-128"/>
                        <a:cs typeface="Arial" panose="020B0604020202020204" pitchFamily="34" charset="0"/>
                      </a:endParaRPr>
                    </a:p>
                  </a:txBody>
                  <a:tcPr marL="0" marR="0" marT="0" marB="0" anchor="b">
                    <a:lnL>
                      <a:noFill/>
                    </a:lnL>
                    <a:lnR>
                      <a:noFill/>
                    </a:lnR>
                    <a:lnT w="12700" cap="flat" cmpd="sng" algn="ctr">
                      <a:solidFill>
                        <a:srgbClr val="00447C"/>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813544310"/>
                  </a:ext>
                </a:extLst>
              </a:tr>
              <a:tr h="144018">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465138" marR="0" lvl="0" indent="0" algn="l" defTabSz="457200" rtl="0" eaLnBrk="1" fontAlgn="auto" latinLnBrk="0" hangingPunct="1">
                        <a:lnSpc>
                          <a:spcPct val="100000"/>
                        </a:lnSpc>
                        <a:spcBef>
                          <a:spcPts val="0"/>
                        </a:spcBef>
                        <a:spcAft>
                          <a:spcPts val="0"/>
                        </a:spcAft>
                        <a:buClrTx/>
                        <a:buSzTx/>
                        <a:buFontTx/>
                        <a:buNone/>
                        <a:tabLst/>
                        <a:defRPr/>
                      </a:pPr>
                      <a:r>
                        <a:rPr lang="en-NZ" sz="900" b="1" dirty="0">
                          <a:effectLst/>
                          <a:latin typeface="Arial" panose="020B0604020202020204" pitchFamily="34" charset="0"/>
                          <a:cs typeface="Arial" panose="020B0604020202020204" pitchFamily="34" charset="0"/>
                        </a:rPr>
                        <a:t>Drug related</a:t>
                      </a:r>
                    </a:p>
                  </a:txBody>
                  <a:tcPr marL="51435" marR="51435" marT="0" marB="0" anchor="b">
                    <a:lnL>
                      <a:noFill/>
                    </a:lnL>
                    <a:lnR>
                      <a:noFill/>
                    </a:lnR>
                    <a:lnT w="12700" cap="flat" cmpd="sng" algn="ctr">
                      <a:noFill/>
                      <a:prstDash val="solid"/>
                      <a:round/>
                      <a:headEnd type="none" w="med" len="med"/>
                      <a:tailEnd type="none" w="med" len="med"/>
                    </a:lnT>
                    <a:lnB w="12700" cap="flat" cmpd="sng" algn="ctr">
                      <a:solidFill>
                        <a:srgbClr val="00447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pPr>
                      <a:r>
                        <a:rPr lang="en-US" sz="9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   4 (1.0)</a:t>
                      </a:r>
                      <a:r>
                        <a:rPr lang="en-US" sz="900" baseline="300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d</a:t>
                      </a:r>
                      <a:endParaRPr lang="en-ZA" sz="900" baseline="30000" dirty="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a:noFill/>
                    </a:lnL>
                    <a:lnR>
                      <a:noFill/>
                    </a:lnR>
                    <a:lnT w="12700" cap="flat" cmpd="sng" algn="ctr">
                      <a:noFill/>
                      <a:prstDash val="solid"/>
                      <a:round/>
                      <a:headEnd type="none" w="med" len="med"/>
                      <a:tailEnd type="none" w="med" len="med"/>
                    </a:lnT>
                    <a:lnB w="12700" cap="flat" cmpd="sng" algn="ctr">
                      <a:solidFill>
                        <a:srgbClr val="00447C"/>
                      </a:solidFill>
                      <a:prstDash val="solid"/>
                      <a:round/>
                      <a:headEnd type="none" w="med" len="med"/>
                      <a:tailEnd type="none" w="med" len="med"/>
                    </a:lnB>
                    <a:lnTlToBr w="12700" cmpd="sng">
                      <a:noFill/>
                      <a:prstDash val="solid"/>
                    </a:lnTlToBr>
                    <a:lnBlToTr w="12700" cmpd="sng">
                      <a:noFill/>
                      <a:prstDash val="solid"/>
                    </a:lnBlToTr>
                    <a:solidFill>
                      <a:srgbClr val="EDF1FB"/>
                    </a:solidFill>
                  </a:tcPr>
                </a:tc>
                <a:tc>
                  <a:txBody>
                    <a:bodyPr/>
                    <a:lstStyle/>
                    <a:p>
                      <a:pPr algn="ctr">
                        <a:lnSpc>
                          <a:spcPct val="107000"/>
                        </a:lnSpc>
                      </a:pPr>
                      <a:r>
                        <a:rPr lang="en-US" sz="9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    0</a:t>
                      </a:r>
                      <a:endParaRPr lang="en-ZA" sz="900" dirty="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a:noFill/>
                    </a:lnL>
                    <a:lnR>
                      <a:noFill/>
                    </a:lnR>
                    <a:lnT w="12700" cap="flat" cmpd="sng" algn="ctr">
                      <a:noFill/>
                      <a:prstDash val="solid"/>
                      <a:round/>
                      <a:headEnd type="none" w="med" len="med"/>
                      <a:tailEnd type="none" w="med" len="med"/>
                    </a:lnT>
                    <a:lnB w="12700" cap="flat" cmpd="sng" algn="ctr">
                      <a:solidFill>
                        <a:srgbClr val="00447C"/>
                      </a:solidFill>
                      <a:prstDash val="solid"/>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3114389373"/>
                  </a:ext>
                </a:extLst>
              </a:tr>
            </a:tbl>
          </a:graphicData>
        </a:graphic>
      </p:graphicFrame>
      <p:sp>
        <p:nvSpPr>
          <p:cNvPr id="3" name="TextBox 2">
            <a:extLst>
              <a:ext uri="{FF2B5EF4-FFF2-40B4-BE49-F238E27FC236}">
                <a16:creationId xmlns:a16="http://schemas.microsoft.com/office/drawing/2014/main" id="{A288DB96-924E-DDBC-48DE-BEC0391C15AA}"/>
              </a:ext>
            </a:extLst>
          </p:cNvPr>
          <p:cNvSpPr txBox="1"/>
          <p:nvPr/>
        </p:nvSpPr>
        <p:spPr>
          <a:xfrm>
            <a:off x="5869168" y="1373803"/>
            <a:ext cx="3274832" cy="1223412"/>
          </a:xfrm>
          <a:prstGeom prst="rect">
            <a:avLst/>
          </a:prstGeom>
          <a:noFill/>
        </p:spPr>
        <p:txBody>
          <a:bodyPr wrap="square">
            <a:spAutoFit/>
          </a:bodyPr>
          <a:lstStyle/>
          <a:p>
            <a:pPr>
              <a:buClr>
                <a:srgbClr val="05416B"/>
              </a:buClr>
              <a:defRPr/>
            </a:pPr>
            <a:r>
              <a:rPr lang="en-US" sz="1050" b="1" dirty="0">
                <a:solidFill>
                  <a:schemeClr val="accent4"/>
                </a:solidFill>
                <a:latin typeface="Arial" panose="020B0604020202020204" pitchFamily="34" charset="0"/>
                <a:cs typeface="Arial" panose="020B0604020202020204" pitchFamily="34" charset="0"/>
                <a:sym typeface="Arial Narrow"/>
              </a:rPr>
              <a:t>Median treatment duration</a:t>
            </a:r>
          </a:p>
          <a:p>
            <a:pPr marL="214313" indent="-214313">
              <a:buClr>
                <a:srgbClr val="05416B"/>
              </a:buClr>
              <a:buFont typeface="Arial" panose="020B0604020202020204" pitchFamily="34" charset="0"/>
              <a:buChar char="•"/>
              <a:defRPr/>
            </a:pPr>
            <a:r>
              <a:rPr lang="en-US" sz="1050" dirty="0">
                <a:solidFill>
                  <a:schemeClr val="accent4"/>
                </a:solidFill>
                <a:latin typeface="Arial" panose="020B0604020202020204" pitchFamily="34" charset="0"/>
                <a:cs typeface="Arial" panose="020B0604020202020204" pitchFamily="34" charset="0"/>
                <a:sym typeface="Arial Narrow"/>
              </a:rPr>
              <a:t>T-DXd, 11.3 months</a:t>
            </a:r>
            <a:endParaRPr lang="en-GB" sz="1050" dirty="0">
              <a:solidFill>
                <a:schemeClr val="accent4"/>
              </a:solidFill>
              <a:latin typeface="Arial" panose="020B0604020202020204" pitchFamily="34" charset="0"/>
              <a:cs typeface="Arial" panose="020B0604020202020204" pitchFamily="34" charset="0"/>
              <a:sym typeface="Arial Narrow"/>
            </a:endParaRPr>
          </a:p>
          <a:p>
            <a:pPr marL="214313" indent="-214313">
              <a:buClr>
                <a:srgbClr val="05416B"/>
              </a:buClr>
              <a:buFont typeface="Arial" panose="020B0604020202020204" pitchFamily="34" charset="0"/>
              <a:buChar char="•"/>
              <a:defRPr/>
            </a:pPr>
            <a:r>
              <a:rPr lang="en-GB" sz="1050" dirty="0">
                <a:solidFill>
                  <a:schemeClr val="accent4"/>
                </a:solidFill>
                <a:latin typeface="Arial" panose="020B0604020202020204" pitchFamily="34" charset="0"/>
                <a:cs typeface="Arial" panose="020B0604020202020204" pitchFamily="34" charset="0"/>
                <a:sym typeface="Arial Narrow"/>
              </a:rPr>
              <a:t>TPC, ~4.5 months </a:t>
            </a:r>
          </a:p>
          <a:p>
            <a:pPr>
              <a:buClr>
                <a:srgbClr val="05416B"/>
              </a:buClr>
              <a:defRPr/>
            </a:pPr>
            <a:r>
              <a:rPr lang="en-US" sz="1050" b="1" dirty="0">
                <a:solidFill>
                  <a:schemeClr val="accent4"/>
                </a:solidFill>
                <a:latin typeface="Arial" panose="020B0604020202020204" pitchFamily="34" charset="0"/>
                <a:cs typeface="Arial" panose="020B0604020202020204" pitchFamily="34" charset="0"/>
                <a:sym typeface="Arial Narrow"/>
              </a:rPr>
              <a:t>Most common drug-related TEAEs associated with drug discontinuation</a:t>
            </a:r>
          </a:p>
          <a:p>
            <a:pPr marL="214313" indent="-214313">
              <a:buClr>
                <a:srgbClr val="05416B"/>
              </a:buClr>
              <a:buFont typeface="Arial" panose="020B0604020202020204" pitchFamily="34" charset="0"/>
              <a:buChar char="•"/>
              <a:defRPr/>
            </a:pPr>
            <a:r>
              <a:rPr lang="en-US" sz="1050" dirty="0">
                <a:solidFill>
                  <a:schemeClr val="accent4"/>
                </a:solidFill>
                <a:latin typeface="Arial" panose="020B0604020202020204" pitchFamily="34" charset="0"/>
                <a:cs typeface="Arial" panose="020B0604020202020204" pitchFamily="34" charset="0"/>
                <a:sym typeface="Arial Narrow"/>
              </a:rPr>
              <a:t>T-DXd, pneumonitis (6.2%) and ILD (3.2%)</a:t>
            </a:r>
          </a:p>
          <a:p>
            <a:pPr marL="214313" indent="-214313">
              <a:buClr>
                <a:srgbClr val="05416B"/>
              </a:buClr>
              <a:buFont typeface="Arial" panose="020B0604020202020204" pitchFamily="34" charset="0"/>
              <a:buChar char="•"/>
              <a:defRPr/>
            </a:pPr>
            <a:r>
              <a:rPr lang="en-US" sz="1050" dirty="0">
                <a:solidFill>
                  <a:schemeClr val="accent4"/>
                </a:solidFill>
                <a:latin typeface="Arial" panose="020B0604020202020204" pitchFamily="34" charset="0"/>
                <a:cs typeface="Arial" panose="020B0604020202020204" pitchFamily="34" charset="0"/>
                <a:sym typeface="Arial Narrow"/>
              </a:rPr>
              <a:t>TPC, palmar-plantar erythrodysesthesia (1.5%)</a:t>
            </a:r>
          </a:p>
        </p:txBody>
      </p:sp>
      <p:sp>
        <p:nvSpPr>
          <p:cNvPr id="8" name="Rectangle 7">
            <a:extLst>
              <a:ext uri="{FF2B5EF4-FFF2-40B4-BE49-F238E27FC236}">
                <a16:creationId xmlns:a16="http://schemas.microsoft.com/office/drawing/2014/main" id="{B4816569-4C1B-5945-9228-FFAC7F603F6D}"/>
              </a:ext>
            </a:extLst>
          </p:cNvPr>
          <p:cNvSpPr/>
          <p:nvPr/>
        </p:nvSpPr>
        <p:spPr>
          <a:xfrm>
            <a:off x="156542" y="2380319"/>
            <a:ext cx="5709988" cy="305628"/>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667731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0B7BCD2-9DA8-59BC-FD24-332C62E4DC50}"/>
              </a:ext>
            </a:extLst>
          </p:cNvPr>
          <p:cNvSpPr>
            <a:spLocks noGrp="1"/>
          </p:cNvSpPr>
          <p:nvPr>
            <p:ph type="ctrTitle"/>
          </p:nvPr>
        </p:nvSpPr>
        <p:spPr>
          <a:xfrm>
            <a:off x="359999" y="375841"/>
            <a:ext cx="8409765" cy="432000"/>
          </a:xfrm>
        </p:spPr>
        <p:txBody>
          <a:bodyPr/>
          <a:lstStyle/>
          <a:p>
            <a:r>
              <a:rPr lang="en-US" sz="1800" dirty="0">
                <a:solidFill>
                  <a:schemeClr val="tx1"/>
                </a:solidFill>
              </a:rPr>
              <a:t>Most Common TEAEs (≥15% of Patients in Either Treatment Arm)</a:t>
            </a:r>
          </a:p>
        </p:txBody>
      </p:sp>
      <p:pic>
        <p:nvPicPr>
          <p:cNvPr id="5" name="Picture 4">
            <a:extLst>
              <a:ext uri="{FF2B5EF4-FFF2-40B4-BE49-F238E27FC236}">
                <a16:creationId xmlns:a16="http://schemas.microsoft.com/office/drawing/2014/main" id="{AE5A180C-9D46-F7A9-08F9-629DA895B017}"/>
              </a:ext>
            </a:extLst>
          </p:cNvPr>
          <p:cNvPicPr>
            <a:picLocks noChangeAspect="1"/>
          </p:cNvPicPr>
          <p:nvPr/>
        </p:nvPicPr>
        <p:blipFill>
          <a:blip r:embed="rId3"/>
          <a:stretch>
            <a:fillRect/>
          </a:stretch>
        </p:blipFill>
        <p:spPr>
          <a:xfrm>
            <a:off x="359999" y="732801"/>
            <a:ext cx="8076113" cy="3682659"/>
          </a:xfrm>
          <a:prstGeom prst="rect">
            <a:avLst/>
          </a:prstGeom>
        </p:spPr>
      </p:pic>
      <p:sp>
        <p:nvSpPr>
          <p:cNvPr id="6" name="TextBox 5">
            <a:extLst>
              <a:ext uri="{FF2B5EF4-FFF2-40B4-BE49-F238E27FC236}">
                <a16:creationId xmlns:a16="http://schemas.microsoft.com/office/drawing/2014/main" id="{78C886CC-96BD-4499-3075-CC193B29CAD4}"/>
              </a:ext>
            </a:extLst>
          </p:cNvPr>
          <p:cNvSpPr txBox="1"/>
          <p:nvPr/>
        </p:nvSpPr>
        <p:spPr>
          <a:xfrm>
            <a:off x="247507" y="2028180"/>
            <a:ext cx="254382" cy="1058779"/>
          </a:xfrm>
          <a:prstGeom prst="rect">
            <a:avLst/>
          </a:prstGeom>
          <a:solidFill>
            <a:schemeClr val="bg1"/>
          </a:solidFill>
        </p:spPr>
        <p:txBody>
          <a:bodyPr wrap="square" rtlCol="0">
            <a:spAutoFit/>
          </a:bodyPr>
          <a:lstStyle/>
          <a:p>
            <a:endParaRPr lang="en-US" dirty="0"/>
          </a:p>
        </p:txBody>
      </p:sp>
    </p:spTree>
    <p:extLst>
      <p:ext uri="{BB962C8B-B14F-4D97-AF65-F5344CB8AC3E}">
        <p14:creationId xmlns:p14="http://schemas.microsoft.com/office/powerpoint/2010/main" val="391865917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0" y="127465"/>
            <a:ext cx="9144000" cy="807256"/>
          </a:xfrm>
        </p:spPr>
        <p:txBody>
          <a:bodyPr/>
          <a:lstStyle/>
          <a:p>
            <a:r>
              <a:rPr lang="en-US" b="1" dirty="0"/>
              <a:t>Drug Characteristics</a:t>
            </a:r>
          </a:p>
        </p:txBody>
      </p:sp>
      <p:sp>
        <p:nvSpPr>
          <p:cNvPr id="10" name="TextBox 9">
            <a:extLst>
              <a:ext uri="{FF2B5EF4-FFF2-40B4-BE49-F238E27FC236}">
                <a16:creationId xmlns:a16="http://schemas.microsoft.com/office/drawing/2014/main" id="{2B75E8CE-6B43-8C55-FD6F-B493CD8B81A9}"/>
              </a:ext>
            </a:extLst>
          </p:cNvPr>
          <p:cNvSpPr txBox="1"/>
          <p:nvPr/>
        </p:nvSpPr>
        <p:spPr>
          <a:xfrm>
            <a:off x="3657599" y="4679500"/>
            <a:ext cx="2945219" cy="338554"/>
          </a:xfrm>
          <a:prstGeom prst="rect">
            <a:avLst/>
          </a:prstGeom>
          <a:noFill/>
        </p:spPr>
        <p:txBody>
          <a:bodyPr wrap="square" rtlCol="0">
            <a:spAutoFit/>
          </a:bodyPr>
          <a:lstStyle/>
          <a:p>
            <a:r>
              <a:rPr lang="en-US" sz="800" dirty="0">
                <a:solidFill>
                  <a:srgbClr val="222222"/>
                </a:solidFill>
                <a:latin typeface="+mn-lt"/>
              </a:rPr>
              <a:t>Sherr et al. </a:t>
            </a:r>
            <a:r>
              <a:rPr lang="en-US" sz="800" b="0" i="1" dirty="0">
                <a:solidFill>
                  <a:srgbClr val="1A1A1A"/>
                </a:solidFill>
                <a:effectLst/>
                <a:latin typeface="Arial" panose="020B0604020202020204" pitchFamily="34" charset="0"/>
              </a:rPr>
              <a:t>Cancer Discov</a:t>
            </a:r>
            <a:r>
              <a:rPr lang="en-US" sz="800" b="0" i="0" dirty="0">
                <a:solidFill>
                  <a:srgbClr val="1A1A1A"/>
                </a:solidFill>
                <a:effectLst/>
                <a:latin typeface="Arial" panose="020B0604020202020204" pitchFamily="34" charset="0"/>
              </a:rPr>
              <a:t> (2016) 6 (4): 353–367</a:t>
            </a:r>
          </a:p>
          <a:p>
            <a:r>
              <a:rPr lang="en-US" sz="800" dirty="0">
                <a:solidFill>
                  <a:srgbClr val="222222"/>
                </a:solidFill>
                <a:latin typeface="+mn-lt"/>
              </a:rPr>
              <a:t>Chen et al, </a:t>
            </a:r>
            <a:r>
              <a:rPr lang="en-US" sz="800" i="1" dirty="0">
                <a:solidFill>
                  <a:srgbClr val="1A1A1A"/>
                </a:solidFill>
                <a:effectLst/>
                <a:latin typeface="Arial" panose="020B0604020202020204" pitchFamily="34" charset="0"/>
              </a:rPr>
              <a:t>Mol Cancer Ther</a:t>
            </a:r>
            <a:r>
              <a:rPr lang="en-US" sz="800" i="0" dirty="0">
                <a:solidFill>
                  <a:srgbClr val="1A1A1A"/>
                </a:solidFill>
                <a:effectLst/>
                <a:latin typeface="Arial" panose="020B0604020202020204" pitchFamily="34" charset="0"/>
              </a:rPr>
              <a:t> (2016) 15 (10): 2273–2281</a:t>
            </a:r>
            <a:endParaRPr lang="en-US" sz="800" dirty="0">
              <a:latin typeface="+mn-lt"/>
            </a:endParaRPr>
          </a:p>
        </p:txBody>
      </p:sp>
      <p:pic>
        <p:nvPicPr>
          <p:cNvPr id="31" name="Picture 30">
            <a:extLst>
              <a:ext uri="{FF2B5EF4-FFF2-40B4-BE49-F238E27FC236}">
                <a16:creationId xmlns:a16="http://schemas.microsoft.com/office/drawing/2014/main" id="{539BA359-7E46-8B71-FE08-ACAECF4618E0}"/>
              </a:ext>
            </a:extLst>
          </p:cNvPr>
          <p:cNvPicPr>
            <a:picLocks noChangeAspect="1"/>
          </p:cNvPicPr>
          <p:nvPr/>
        </p:nvPicPr>
        <p:blipFill>
          <a:blip r:embed="rId3"/>
          <a:stretch>
            <a:fillRect/>
          </a:stretch>
        </p:blipFill>
        <p:spPr>
          <a:xfrm>
            <a:off x="1777524" y="934721"/>
            <a:ext cx="5588952" cy="3038705"/>
          </a:xfrm>
          <a:prstGeom prst="rect">
            <a:avLst/>
          </a:prstGeom>
        </p:spPr>
      </p:pic>
      <p:graphicFrame>
        <p:nvGraphicFramePr>
          <p:cNvPr id="38" name="Table 38">
            <a:extLst>
              <a:ext uri="{FF2B5EF4-FFF2-40B4-BE49-F238E27FC236}">
                <a16:creationId xmlns:a16="http://schemas.microsoft.com/office/drawing/2014/main" id="{E70AA354-13BA-B7A8-7489-A5F41D771135}"/>
              </a:ext>
            </a:extLst>
          </p:cNvPr>
          <p:cNvGraphicFramePr>
            <a:graphicFrameLocks noGrp="1"/>
          </p:cNvGraphicFramePr>
          <p:nvPr>
            <p:extLst>
              <p:ext uri="{D42A27DB-BD31-4B8C-83A1-F6EECF244321}">
                <p14:modId xmlns:p14="http://schemas.microsoft.com/office/powerpoint/2010/main" val="748647419"/>
              </p:ext>
            </p:extLst>
          </p:nvPr>
        </p:nvGraphicFramePr>
        <p:xfrm>
          <a:off x="1777524" y="3984615"/>
          <a:ext cx="5588953" cy="335280"/>
        </p:xfrm>
        <a:graphic>
          <a:graphicData uri="http://schemas.openxmlformats.org/drawingml/2006/table">
            <a:tbl>
              <a:tblPr firstRow="1" bandRow="1">
                <a:tableStyleId>{5C22544A-7EE6-4342-B048-85BDC9FD1C3A}</a:tableStyleId>
              </a:tblPr>
              <a:tblGrid>
                <a:gridCol w="1340964">
                  <a:extLst>
                    <a:ext uri="{9D8B030D-6E8A-4147-A177-3AD203B41FA5}">
                      <a16:colId xmlns:a16="http://schemas.microsoft.com/office/drawing/2014/main" val="3320354020"/>
                    </a:ext>
                  </a:extLst>
                </a:gridCol>
                <a:gridCol w="1269158">
                  <a:extLst>
                    <a:ext uri="{9D8B030D-6E8A-4147-A177-3AD203B41FA5}">
                      <a16:colId xmlns:a16="http://schemas.microsoft.com/office/drawing/2014/main" val="1333473533"/>
                    </a:ext>
                  </a:extLst>
                </a:gridCol>
                <a:gridCol w="1378974">
                  <a:extLst>
                    <a:ext uri="{9D8B030D-6E8A-4147-A177-3AD203B41FA5}">
                      <a16:colId xmlns:a16="http://schemas.microsoft.com/office/drawing/2014/main" val="4131591022"/>
                    </a:ext>
                  </a:extLst>
                </a:gridCol>
                <a:gridCol w="1599857">
                  <a:extLst>
                    <a:ext uri="{9D8B030D-6E8A-4147-A177-3AD203B41FA5}">
                      <a16:colId xmlns:a16="http://schemas.microsoft.com/office/drawing/2014/main" val="531230339"/>
                    </a:ext>
                  </a:extLst>
                </a:gridCol>
              </a:tblGrid>
              <a:tr h="285043">
                <a:tc>
                  <a:txBody>
                    <a:bodyPr/>
                    <a:lstStyle/>
                    <a:p>
                      <a:endParaRPr lang="en-US" sz="800" b="0" i="0" dirty="0">
                        <a:solidFill>
                          <a:schemeClr val="tx1"/>
                        </a:solidFill>
                      </a:endParaRPr>
                    </a:p>
                    <a:p>
                      <a:r>
                        <a:rPr lang="en-US" sz="800" b="0" i="0" dirty="0">
                          <a:solidFill>
                            <a:schemeClr val="tx1"/>
                          </a:solidFill>
                        </a:rPr>
                        <a:t>Fraction unbound Fu (%)</a:t>
                      </a:r>
                    </a:p>
                  </a:txBody>
                  <a:tcPr>
                    <a:solidFill>
                      <a:schemeClr val="bg1">
                        <a:lumMod val="95000"/>
                      </a:schemeClr>
                    </a:solidFill>
                  </a:tcPr>
                </a:tc>
                <a:tc>
                  <a:txBody>
                    <a:bodyPr/>
                    <a:lstStyle/>
                    <a:p>
                      <a:endParaRPr lang="en-US" sz="800" b="0" i="0" dirty="0">
                        <a:solidFill>
                          <a:schemeClr val="tx1"/>
                        </a:solidFill>
                      </a:endParaRPr>
                    </a:p>
                    <a:p>
                      <a:r>
                        <a:rPr lang="en-US" sz="800" b="0" i="0" dirty="0">
                          <a:solidFill>
                            <a:schemeClr val="tx1"/>
                          </a:solidFill>
                        </a:rPr>
                        <a:t>14.7%</a:t>
                      </a:r>
                    </a:p>
                  </a:txBody>
                  <a:tcPr>
                    <a:solidFill>
                      <a:schemeClr val="bg1">
                        <a:lumMod val="95000"/>
                      </a:schemeClr>
                    </a:solidFill>
                  </a:tcPr>
                </a:tc>
                <a:tc>
                  <a:txBody>
                    <a:bodyPr/>
                    <a:lstStyle/>
                    <a:p>
                      <a:endParaRPr lang="en-US" sz="800" b="0" i="0" dirty="0">
                        <a:solidFill>
                          <a:schemeClr val="tx1"/>
                        </a:solidFill>
                      </a:endParaRPr>
                    </a:p>
                    <a:p>
                      <a:r>
                        <a:rPr lang="en-US" sz="800" b="0" i="0" dirty="0">
                          <a:solidFill>
                            <a:schemeClr val="tx1"/>
                          </a:solidFill>
                        </a:rPr>
                        <a:t>27.2%</a:t>
                      </a:r>
                    </a:p>
                  </a:txBody>
                  <a:tcPr>
                    <a:solidFill>
                      <a:schemeClr val="bg1">
                        <a:lumMod val="95000"/>
                      </a:schemeClr>
                    </a:solidFill>
                  </a:tcPr>
                </a:tc>
                <a:tc>
                  <a:txBody>
                    <a:bodyPr/>
                    <a:lstStyle/>
                    <a:p>
                      <a:endParaRPr lang="en-US" sz="800" b="0" i="0" dirty="0">
                        <a:solidFill>
                          <a:schemeClr val="tx1"/>
                        </a:solidFill>
                      </a:endParaRPr>
                    </a:p>
                    <a:p>
                      <a:r>
                        <a:rPr lang="en-US" sz="800" b="0" i="0" dirty="0">
                          <a:solidFill>
                            <a:schemeClr val="tx1"/>
                          </a:solidFill>
                        </a:rPr>
                        <a:t>7.8%</a:t>
                      </a:r>
                    </a:p>
                  </a:txBody>
                  <a:tcPr>
                    <a:solidFill>
                      <a:schemeClr val="bg1">
                        <a:lumMod val="95000"/>
                      </a:schemeClr>
                    </a:solidFill>
                  </a:tcPr>
                </a:tc>
                <a:extLst>
                  <a:ext uri="{0D108BD9-81ED-4DB2-BD59-A6C34878D82A}">
                    <a16:rowId xmlns:a16="http://schemas.microsoft.com/office/drawing/2014/main" val="2815070952"/>
                  </a:ext>
                </a:extLst>
              </a:tr>
            </a:tbl>
          </a:graphicData>
        </a:graphic>
      </p:graphicFrame>
      <p:sp>
        <p:nvSpPr>
          <p:cNvPr id="39" name="TextBox 38">
            <a:extLst>
              <a:ext uri="{FF2B5EF4-FFF2-40B4-BE49-F238E27FC236}">
                <a16:creationId xmlns:a16="http://schemas.microsoft.com/office/drawing/2014/main" id="{69278F23-6A0A-868B-5AF5-DCCCECCBB760}"/>
              </a:ext>
            </a:extLst>
          </p:cNvPr>
          <p:cNvSpPr txBox="1"/>
          <p:nvPr/>
        </p:nvSpPr>
        <p:spPr>
          <a:xfrm>
            <a:off x="341237" y="1124452"/>
            <a:ext cx="1399039" cy="3570208"/>
          </a:xfrm>
          <a:prstGeom prst="rect">
            <a:avLst/>
          </a:prstGeom>
          <a:noFill/>
        </p:spPr>
        <p:txBody>
          <a:bodyPr wrap="square" rtlCol="0">
            <a:spAutoFit/>
          </a:bodyPr>
          <a:lstStyle/>
          <a:p>
            <a:r>
              <a:rPr lang="en-US" sz="1000" dirty="0"/>
              <a:t>IC50: </a:t>
            </a:r>
          </a:p>
          <a:p>
            <a:pPr marL="171450" indent="-171450">
              <a:buFont typeface="Arial" panose="020B0604020202020204" pitchFamily="34" charset="0"/>
              <a:buChar char="•"/>
            </a:pPr>
            <a:r>
              <a:rPr lang="en-US" sz="1000" dirty="0"/>
              <a:t>Abemaciclib (and </a:t>
            </a:r>
            <a:r>
              <a:rPr lang="en-US" sz="1000" dirty="0" err="1"/>
              <a:t>ribociclib</a:t>
            </a:r>
            <a:r>
              <a:rPr lang="en-US" sz="1000" dirty="0"/>
              <a:t>) more potent at CDK4 than CDK6</a:t>
            </a:r>
          </a:p>
          <a:p>
            <a:endParaRPr lang="en-US" sz="1000" dirty="0"/>
          </a:p>
          <a:p>
            <a:endParaRPr lang="en-US" sz="1000" dirty="0"/>
          </a:p>
          <a:p>
            <a:endParaRPr lang="en-US" sz="1000" dirty="0"/>
          </a:p>
          <a:p>
            <a:endParaRPr lang="en-US" sz="1000" dirty="0"/>
          </a:p>
          <a:p>
            <a:endParaRPr lang="en-US" sz="1000" dirty="0"/>
          </a:p>
          <a:p>
            <a:endParaRPr lang="en-US" sz="1000" dirty="0"/>
          </a:p>
          <a:p>
            <a:r>
              <a:rPr lang="en-US" sz="1000" dirty="0"/>
              <a:t>Dosing:</a:t>
            </a:r>
          </a:p>
          <a:p>
            <a:pPr marL="171450" indent="-171450">
              <a:buFont typeface="Arial" panose="020B0604020202020204" pitchFamily="34" charset="0"/>
              <a:buChar char="•"/>
            </a:pPr>
            <a:r>
              <a:rPr lang="en-US" sz="1000" dirty="0"/>
              <a:t>Only abemaciclib is continuous </a:t>
            </a:r>
          </a:p>
          <a:p>
            <a:endParaRPr lang="en-US" sz="1000" dirty="0"/>
          </a:p>
          <a:p>
            <a:endParaRPr lang="en-US" sz="1000" dirty="0"/>
          </a:p>
          <a:p>
            <a:endParaRPr lang="en-US" sz="1000" dirty="0"/>
          </a:p>
          <a:p>
            <a:endParaRPr lang="en-US" sz="800" dirty="0"/>
          </a:p>
          <a:p>
            <a:endParaRPr lang="en-US" sz="800" dirty="0"/>
          </a:p>
          <a:p>
            <a:r>
              <a:rPr lang="en-US" sz="1000" dirty="0"/>
              <a:t>Unbound free drug:</a:t>
            </a:r>
          </a:p>
          <a:p>
            <a:pPr marL="171450" indent="-171450">
              <a:buFont typeface="Arial" panose="020B0604020202020204" pitchFamily="34" charset="0"/>
              <a:buChar char="•"/>
            </a:pPr>
            <a:r>
              <a:rPr lang="en-US" sz="1000" dirty="0"/>
              <a:t>Ribociclib highest</a:t>
            </a:r>
          </a:p>
          <a:p>
            <a:endParaRPr lang="en-US" sz="1000" dirty="0"/>
          </a:p>
          <a:p>
            <a:endParaRPr lang="en-US" sz="1000" dirty="0"/>
          </a:p>
        </p:txBody>
      </p:sp>
      <mc:AlternateContent xmlns:mc="http://schemas.openxmlformats.org/markup-compatibility/2006" xmlns:p14="http://schemas.microsoft.com/office/powerpoint/2010/main">
        <mc:Choice Requires="p14">
          <p:contentPart p14:bwMode="auto" r:id="rId4">
            <p14:nvContentPartPr>
              <p14:cNvPr id="47" name="Ink 46">
                <a:extLst>
                  <a:ext uri="{FF2B5EF4-FFF2-40B4-BE49-F238E27FC236}">
                    <a16:creationId xmlns:a16="http://schemas.microsoft.com/office/drawing/2014/main" id="{AA617A91-17CB-BCD8-A455-F0BB2D78CF06}"/>
                  </a:ext>
                </a:extLst>
              </p14:cNvPr>
              <p14:cNvContentPartPr/>
              <p14:nvPr/>
            </p14:nvContentPartPr>
            <p14:xfrm>
              <a:off x="4420433" y="3667722"/>
              <a:ext cx="1043664" cy="360"/>
            </p14:xfrm>
          </p:contentPart>
        </mc:Choice>
        <mc:Fallback xmlns="">
          <p:pic>
            <p:nvPicPr>
              <p:cNvPr id="47" name="Ink 46">
                <a:extLst>
                  <a:ext uri="{FF2B5EF4-FFF2-40B4-BE49-F238E27FC236}">
                    <a16:creationId xmlns:a16="http://schemas.microsoft.com/office/drawing/2014/main" id="{AA617A91-17CB-BCD8-A455-F0BB2D78CF06}"/>
                  </a:ext>
                </a:extLst>
              </p:cNvPr>
              <p:cNvPicPr/>
              <p:nvPr/>
            </p:nvPicPr>
            <p:blipFill>
              <a:blip r:embed="rId5"/>
              <a:stretch>
                <a:fillRect/>
              </a:stretch>
            </p:blipFill>
            <p:spPr>
              <a:xfrm>
                <a:off x="4384432" y="3595722"/>
                <a:ext cx="1115306" cy="144000"/>
              </a:xfrm>
              <a:prstGeom prst="rect">
                <a:avLst/>
              </a:prstGeom>
            </p:spPr>
          </p:pic>
        </mc:Fallback>
      </mc:AlternateContent>
      <mc:AlternateContent xmlns:mc="http://schemas.openxmlformats.org/markup-compatibility/2006" xmlns:p14="http://schemas.microsoft.com/office/powerpoint/2010/main">
        <mc:Choice Requires="p14">
          <p:contentPart p14:bwMode="auto" r:id="rId6">
            <p14:nvContentPartPr>
              <p14:cNvPr id="48" name="Ink 47">
                <a:extLst>
                  <a:ext uri="{FF2B5EF4-FFF2-40B4-BE49-F238E27FC236}">
                    <a16:creationId xmlns:a16="http://schemas.microsoft.com/office/drawing/2014/main" id="{CEA90A97-8FD8-0DA8-6A78-E28A2C96A228}"/>
                  </a:ext>
                </a:extLst>
              </p14:cNvPr>
              <p14:cNvContentPartPr/>
              <p14:nvPr/>
            </p14:nvContentPartPr>
            <p14:xfrm>
              <a:off x="5773337" y="3327882"/>
              <a:ext cx="393480" cy="360"/>
            </p14:xfrm>
          </p:contentPart>
        </mc:Choice>
        <mc:Fallback xmlns="">
          <p:pic>
            <p:nvPicPr>
              <p:cNvPr id="48" name="Ink 47">
                <a:extLst>
                  <a:ext uri="{FF2B5EF4-FFF2-40B4-BE49-F238E27FC236}">
                    <a16:creationId xmlns:a16="http://schemas.microsoft.com/office/drawing/2014/main" id="{CEA90A97-8FD8-0DA8-6A78-E28A2C96A228}"/>
                  </a:ext>
                </a:extLst>
              </p:cNvPr>
              <p:cNvPicPr/>
              <p:nvPr/>
            </p:nvPicPr>
            <p:blipFill>
              <a:blip r:embed="rId7"/>
              <a:stretch>
                <a:fillRect/>
              </a:stretch>
            </p:blipFill>
            <p:spPr>
              <a:xfrm>
                <a:off x="5737337" y="3255882"/>
                <a:ext cx="465120" cy="144000"/>
              </a:xfrm>
              <a:prstGeom prst="rect">
                <a:avLst/>
              </a:prstGeom>
            </p:spPr>
          </p:pic>
        </mc:Fallback>
      </mc:AlternateContent>
      <p:sp>
        <p:nvSpPr>
          <p:cNvPr id="49" name="TextBox 48">
            <a:extLst>
              <a:ext uri="{FF2B5EF4-FFF2-40B4-BE49-F238E27FC236}">
                <a16:creationId xmlns:a16="http://schemas.microsoft.com/office/drawing/2014/main" id="{7DC0ECBD-E52D-C64D-F5C3-7CC2B6C05FC3}"/>
              </a:ext>
            </a:extLst>
          </p:cNvPr>
          <p:cNvSpPr txBox="1"/>
          <p:nvPr/>
        </p:nvSpPr>
        <p:spPr>
          <a:xfrm>
            <a:off x="4295397" y="3930026"/>
            <a:ext cx="2573389" cy="338554"/>
          </a:xfrm>
          <a:prstGeom prst="rect">
            <a:avLst/>
          </a:prstGeom>
          <a:noFill/>
        </p:spPr>
        <p:txBody>
          <a:bodyPr wrap="square" rtlCol="0">
            <a:spAutoFit/>
          </a:bodyPr>
          <a:lstStyle/>
          <a:p>
            <a:r>
              <a:rPr lang="en-US" sz="800" dirty="0"/>
              <a:t>  LFT elev	                LFT elev			</a:t>
            </a:r>
          </a:p>
        </p:txBody>
      </p:sp>
      <mc:AlternateContent xmlns:mc="http://schemas.openxmlformats.org/markup-compatibility/2006" xmlns:p14="http://schemas.microsoft.com/office/powerpoint/2010/main">
        <mc:Choice Requires="p14">
          <p:contentPart p14:bwMode="auto" r:id="rId8">
            <p14:nvContentPartPr>
              <p14:cNvPr id="51" name="Ink 50">
                <a:extLst>
                  <a:ext uri="{FF2B5EF4-FFF2-40B4-BE49-F238E27FC236}">
                    <a16:creationId xmlns:a16="http://schemas.microsoft.com/office/drawing/2014/main" id="{63351507-F69A-6402-0D93-08CD3C30BC36}"/>
                  </a:ext>
                </a:extLst>
              </p14:cNvPr>
              <p14:cNvContentPartPr/>
              <p14:nvPr/>
            </p14:nvContentPartPr>
            <p14:xfrm>
              <a:off x="4420432" y="4039880"/>
              <a:ext cx="467640" cy="360"/>
            </p14:xfrm>
          </p:contentPart>
        </mc:Choice>
        <mc:Fallback xmlns="">
          <p:pic>
            <p:nvPicPr>
              <p:cNvPr id="51" name="Ink 50">
                <a:extLst>
                  <a:ext uri="{FF2B5EF4-FFF2-40B4-BE49-F238E27FC236}">
                    <a16:creationId xmlns:a16="http://schemas.microsoft.com/office/drawing/2014/main" id="{63351507-F69A-6402-0D93-08CD3C30BC36}"/>
                  </a:ext>
                </a:extLst>
              </p:cNvPr>
              <p:cNvPicPr/>
              <p:nvPr/>
            </p:nvPicPr>
            <p:blipFill>
              <a:blip r:embed="rId9"/>
              <a:stretch>
                <a:fillRect/>
              </a:stretch>
            </p:blipFill>
            <p:spPr>
              <a:xfrm>
                <a:off x="4384460" y="3967880"/>
                <a:ext cx="539225" cy="144000"/>
              </a:xfrm>
              <a:prstGeom prst="rect">
                <a:avLst/>
              </a:prstGeom>
            </p:spPr>
          </p:pic>
        </mc:Fallback>
      </mc:AlternateContent>
      <mc:AlternateContent xmlns:mc="http://schemas.openxmlformats.org/markup-compatibility/2006" xmlns:p14="http://schemas.microsoft.com/office/powerpoint/2010/main">
        <mc:Choice Requires="p14">
          <p:contentPart p14:bwMode="auto" r:id="rId10">
            <p14:nvContentPartPr>
              <p14:cNvPr id="53" name="Ink 52">
                <a:extLst>
                  <a:ext uri="{FF2B5EF4-FFF2-40B4-BE49-F238E27FC236}">
                    <a16:creationId xmlns:a16="http://schemas.microsoft.com/office/drawing/2014/main" id="{7227834D-1515-D78D-6F56-D3401034942C}"/>
                  </a:ext>
                </a:extLst>
              </p14:cNvPr>
              <p14:cNvContentPartPr/>
              <p14:nvPr/>
            </p14:nvContentPartPr>
            <p14:xfrm>
              <a:off x="5773337" y="4040240"/>
              <a:ext cx="430560" cy="360"/>
            </p14:xfrm>
          </p:contentPart>
        </mc:Choice>
        <mc:Fallback xmlns="">
          <p:pic>
            <p:nvPicPr>
              <p:cNvPr id="53" name="Ink 52">
                <a:extLst>
                  <a:ext uri="{FF2B5EF4-FFF2-40B4-BE49-F238E27FC236}">
                    <a16:creationId xmlns:a16="http://schemas.microsoft.com/office/drawing/2014/main" id="{7227834D-1515-D78D-6F56-D3401034942C}"/>
                  </a:ext>
                </a:extLst>
              </p:cNvPr>
              <p:cNvPicPr/>
              <p:nvPr/>
            </p:nvPicPr>
            <p:blipFill>
              <a:blip r:embed="rId11"/>
              <a:stretch>
                <a:fillRect/>
              </a:stretch>
            </p:blipFill>
            <p:spPr>
              <a:xfrm>
                <a:off x="5737367" y="3968240"/>
                <a:ext cx="502140" cy="144000"/>
              </a:xfrm>
              <a:prstGeom prst="rect">
                <a:avLst/>
              </a:prstGeom>
            </p:spPr>
          </p:pic>
        </mc:Fallback>
      </mc:AlternateContent>
      <mc:AlternateContent xmlns:mc="http://schemas.openxmlformats.org/markup-compatibility/2006" xmlns:p14="http://schemas.microsoft.com/office/powerpoint/2010/main">
        <mc:Choice Requires="p14">
          <p:contentPart p14:bwMode="auto" r:id="rId12">
            <p14:nvContentPartPr>
              <p14:cNvPr id="54" name="Ink 53">
                <a:extLst>
                  <a:ext uri="{FF2B5EF4-FFF2-40B4-BE49-F238E27FC236}">
                    <a16:creationId xmlns:a16="http://schemas.microsoft.com/office/drawing/2014/main" id="{F85C85E4-B789-9E80-A75B-D9A89E4D46AC}"/>
                  </a:ext>
                </a:extLst>
              </p14:cNvPr>
              <p14:cNvContentPartPr/>
              <p14:nvPr/>
            </p14:nvContentPartPr>
            <p14:xfrm>
              <a:off x="2999213" y="3328242"/>
              <a:ext cx="467640" cy="360"/>
            </p14:xfrm>
          </p:contentPart>
        </mc:Choice>
        <mc:Fallback xmlns="">
          <p:pic>
            <p:nvPicPr>
              <p:cNvPr id="54" name="Ink 53">
                <a:extLst>
                  <a:ext uri="{FF2B5EF4-FFF2-40B4-BE49-F238E27FC236}">
                    <a16:creationId xmlns:a16="http://schemas.microsoft.com/office/drawing/2014/main" id="{F85C85E4-B789-9E80-A75B-D9A89E4D46AC}"/>
                  </a:ext>
                </a:extLst>
              </p:cNvPr>
              <p:cNvPicPr/>
              <p:nvPr/>
            </p:nvPicPr>
            <p:blipFill>
              <a:blip r:embed="rId9"/>
              <a:stretch>
                <a:fillRect/>
              </a:stretch>
            </p:blipFill>
            <p:spPr>
              <a:xfrm>
                <a:off x="2963241" y="3256242"/>
                <a:ext cx="539225" cy="144000"/>
              </a:xfrm>
              <a:prstGeom prst="rect">
                <a:avLst/>
              </a:prstGeom>
            </p:spPr>
          </p:pic>
        </mc:Fallback>
      </mc:AlternateContent>
      <mc:AlternateContent xmlns:mc="http://schemas.openxmlformats.org/markup-compatibility/2006" xmlns:p14="http://schemas.microsoft.com/office/powerpoint/2010/main">
        <mc:Choice Requires="p14">
          <p:contentPart p14:bwMode="auto" r:id="rId13">
            <p14:nvContentPartPr>
              <p14:cNvPr id="55" name="Ink 54">
                <a:extLst>
                  <a:ext uri="{FF2B5EF4-FFF2-40B4-BE49-F238E27FC236}">
                    <a16:creationId xmlns:a16="http://schemas.microsoft.com/office/drawing/2014/main" id="{C61E1544-F83C-9C4C-6EB8-00E50CA224C6}"/>
                  </a:ext>
                </a:extLst>
              </p14:cNvPr>
              <p14:cNvContentPartPr/>
              <p14:nvPr/>
            </p14:nvContentPartPr>
            <p14:xfrm>
              <a:off x="4420432" y="3327522"/>
              <a:ext cx="467640" cy="360"/>
            </p14:xfrm>
          </p:contentPart>
        </mc:Choice>
        <mc:Fallback xmlns="">
          <p:pic>
            <p:nvPicPr>
              <p:cNvPr id="55" name="Ink 54">
                <a:extLst>
                  <a:ext uri="{FF2B5EF4-FFF2-40B4-BE49-F238E27FC236}">
                    <a16:creationId xmlns:a16="http://schemas.microsoft.com/office/drawing/2014/main" id="{C61E1544-F83C-9C4C-6EB8-00E50CA224C6}"/>
                  </a:ext>
                </a:extLst>
              </p:cNvPr>
              <p:cNvPicPr/>
              <p:nvPr/>
            </p:nvPicPr>
            <p:blipFill>
              <a:blip r:embed="rId9"/>
              <a:stretch>
                <a:fillRect/>
              </a:stretch>
            </p:blipFill>
            <p:spPr>
              <a:xfrm>
                <a:off x="4384460" y="3255522"/>
                <a:ext cx="539225" cy="144000"/>
              </a:xfrm>
              <a:prstGeom prst="rect">
                <a:avLst/>
              </a:prstGeom>
            </p:spPr>
          </p:pic>
        </mc:Fallback>
      </mc:AlternateContent>
      <mc:AlternateContent xmlns:mc="http://schemas.openxmlformats.org/markup-compatibility/2006" xmlns:p14="http://schemas.microsoft.com/office/powerpoint/2010/main">
        <mc:Choice Requires="p14">
          <p:contentPart p14:bwMode="auto" r:id="rId14">
            <p14:nvContentPartPr>
              <p14:cNvPr id="56" name="Ink 55">
                <a:extLst>
                  <a:ext uri="{FF2B5EF4-FFF2-40B4-BE49-F238E27FC236}">
                    <a16:creationId xmlns:a16="http://schemas.microsoft.com/office/drawing/2014/main" id="{9FC66CA2-47C3-6D8A-D715-27C54A320A99}"/>
                  </a:ext>
                </a:extLst>
              </p14:cNvPr>
              <p14:cNvContentPartPr/>
              <p14:nvPr/>
            </p14:nvContentPartPr>
            <p14:xfrm>
              <a:off x="5773337" y="3687487"/>
              <a:ext cx="467640" cy="360"/>
            </p14:xfrm>
          </p:contentPart>
        </mc:Choice>
        <mc:Fallback xmlns="">
          <p:pic>
            <p:nvPicPr>
              <p:cNvPr id="56" name="Ink 55">
                <a:extLst>
                  <a:ext uri="{FF2B5EF4-FFF2-40B4-BE49-F238E27FC236}">
                    <a16:creationId xmlns:a16="http://schemas.microsoft.com/office/drawing/2014/main" id="{9FC66CA2-47C3-6D8A-D715-27C54A320A99}"/>
                  </a:ext>
                </a:extLst>
              </p:cNvPr>
              <p:cNvPicPr/>
              <p:nvPr/>
            </p:nvPicPr>
            <p:blipFill>
              <a:blip r:embed="rId9"/>
              <a:stretch>
                <a:fillRect/>
              </a:stretch>
            </p:blipFill>
            <p:spPr>
              <a:xfrm>
                <a:off x="5737365" y="3615487"/>
                <a:ext cx="539225" cy="144000"/>
              </a:xfrm>
              <a:prstGeom prst="rect">
                <a:avLst/>
              </a:prstGeom>
            </p:spPr>
          </p:pic>
        </mc:Fallback>
      </mc:AlternateContent>
    </p:spTree>
    <p:extLst>
      <p:ext uri="{BB962C8B-B14F-4D97-AF65-F5344CB8AC3E}">
        <p14:creationId xmlns:p14="http://schemas.microsoft.com/office/powerpoint/2010/main" val="3696829552"/>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550249-8DE9-429C-A09D-26BD28670C0B}"/>
              </a:ext>
            </a:extLst>
          </p:cNvPr>
          <p:cNvSpPr>
            <a:spLocks noGrp="1"/>
          </p:cNvSpPr>
          <p:nvPr>
            <p:ph type="ctrTitle"/>
          </p:nvPr>
        </p:nvSpPr>
        <p:spPr>
          <a:xfrm>
            <a:off x="359999" y="450516"/>
            <a:ext cx="8409765" cy="432000"/>
          </a:xfrm>
        </p:spPr>
        <p:txBody>
          <a:bodyPr/>
          <a:lstStyle/>
          <a:p>
            <a:r>
              <a:rPr lang="en-US" sz="2100" dirty="0">
                <a:solidFill>
                  <a:schemeClr val="tx1"/>
                </a:solidFill>
              </a:rPr>
              <a:t>Adverse Events of Special Interest: ILD and LV Dysfunction</a:t>
            </a:r>
          </a:p>
        </p:txBody>
      </p:sp>
      <p:graphicFrame>
        <p:nvGraphicFramePr>
          <p:cNvPr id="4" name="Table 8">
            <a:extLst>
              <a:ext uri="{FF2B5EF4-FFF2-40B4-BE49-F238E27FC236}">
                <a16:creationId xmlns:a16="http://schemas.microsoft.com/office/drawing/2014/main" id="{C9B5BECA-8157-5BFB-6472-36FB26541AB9}"/>
              </a:ext>
            </a:extLst>
          </p:cNvPr>
          <p:cNvGraphicFramePr>
            <a:graphicFrameLocks noGrp="1"/>
          </p:cNvGraphicFramePr>
          <p:nvPr>
            <p:extLst>
              <p:ext uri="{D42A27DB-BD31-4B8C-83A1-F6EECF244321}">
                <p14:modId xmlns:p14="http://schemas.microsoft.com/office/powerpoint/2010/main" val="2101668652"/>
              </p:ext>
            </p:extLst>
          </p:nvPr>
        </p:nvGraphicFramePr>
        <p:xfrm>
          <a:off x="508572" y="1080730"/>
          <a:ext cx="7983019" cy="960120"/>
        </p:xfrm>
        <a:graphic>
          <a:graphicData uri="http://schemas.openxmlformats.org/drawingml/2006/table">
            <a:tbl>
              <a:tblPr firstRow="1" bandRow="1"/>
              <a:tblGrid>
                <a:gridCol w="1964932">
                  <a:extLst>
                    <a:ext uri="{9D8B030D-6E8A-4147-A177-3AD203B41FA5}">
                      <a16:colId xmlns:a16="http://schemas.microsoft.com/office/drawing/2014/main" val="360769673"/>
                    </a:ext>
                  </a:extLst>
                </a:gridCol>
                <a:gridCol w="1003277">
                  <a:extLst>
                    <a:ext uri="{9D8B030D-6E8A-4147-A177-3AD203B41FA5}">
                      <a16:colId xmlns:a16="http://schemas.microsoft.com/office/drawing/2014/main" val="4243042729"/>
                    </a:ext>
                  </a:extLst>
                </a:gridCol>
                <a:gridCol w="1002962">
                  <a:extLst>
                    <a:ext uri="{9D8B030D-6E8A-4147-A177-3AD203B41FA5}">
                      <a16:colId xmlns:a16="http://schemas.microsoft.com/office/drawing/2014/main" val="2100143693"/>
                    </a:ext>
                  </a:extLst>
                </a:gridCol>
                <a:gridCol w="1002962">
                  <a:extLst>
                    <a:ext uri="{9D8B030D-6E8A-4147-A177-3AD203B41FA5}">
                      <a16:colId xmlns:a16="http://schemas.microsoft.com/office/drawing/2014/main" val="2841808380"/>
                    </a:ext>
                  </a:extLst>
                </a:gridCol>
                <a:gridCol w="1002962">
                  <a:extLst>
                    <a:ext uri="{9D8B030D-6E8A-4147-A177-3AD203B41FA5}">
                      <a16:colId xmlns:a16="http://schemas.microsoft.com/office/drawing/2014/main" val="19540246"/>
                    </a:ext>
                  </a:extLst>
                </a:gridCol>
                <a:gridCol w="1002962">
                  <a:extLst>
                    <a:ext uri="{9D8B030D-6E8A-4147-A177-3AD203B41FA5}">
                      <a16:colId xmlns:a16="http://schemas.microsoft.com/office/drawing/2014/main" val="2519174289"/>
                    </a:ext>
                  </a:extLst>
                </a:gridCol>
                <a:gridCol w="1002962">
                  <a:extLst>
                    <a:ext uri="{9D8B030D-6E8A-4147-A177-3AD203B41FA5}">
                      <a16:colId xmlns:a16="http://schemas.microsoft.com/office/drawing/2014/main" val="3535413775"/>
                    </a:ext>
                  </a:extLst>
                </a:gridCol>
              </a:tblGrid>
              <a:tr h="251460">
                <a:tc gridSpan="7">
                  <a:txBody>
                    <a:bodyPr/>
                    <a:lstStyle/>
                    <a:p>
                      <a:pPr marL="0" marR="0" lvl="0" indent="0" algn="ctr" defTabSz="1828800" rtl="0" eaLnBrk="1" fontAlgn="auto" latinLnBrk="0" hangingPunct="1">
                        <a:lnSpc>
                          <a:spcPct val="100000"/>
                        </a:lnSpc>
                        <a:spcBef>
                          <a:spcPts val="0"/>
                        </a:spcBef>
                        <a:spcAft>
                          <a:spcPts val="0"/>
                        </a:spcAft>
                        <a:buClrTx/>
                        <a:buSzTx/>
                        <a:buFontTx/>
                        <a:buNone/>
                        <a:tabLst/>
                        <a:defRPr/>
                      </a:pPr>
                      <a:r>
                        <a:rPr lang="en-US" sz="1200" b="1" dirty="0">
                          <a:solidFill>
                            <a:schemeClr val="bg1"/>
                          </a:solidFill>
                          <a:latin typeface="Arial" panose="020B0604020202020204" pitchFamily="34" charset="0"/>
                          <a:cs typeface="Arial" panose="020B0604020202020204" pitchFamily="34" charset="0"/>
                        </a:rPr>
                        <a:t>Adjudicated as Drug-related ILD</a:t>
                      </a:r>
                    </a:p>
                  </a:txBody>
                  <a:tcPr marL="68580" marR="68580" marT="34290" marB="34290" anchor="ctr">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rgbClr val="00447C"/>
                      </a:solidFill>
                      <a:prstDash val="solid"/>
                      <a:round/>
                      <a:headEnd type="none" w="med" len="med"/>
                      <a:tailEnd type="none" w="med" len="med"/>
                    </a:lnB>
                    <a:lnTlToBr w="12700" cmpd="sng">
                      <a:noFill/>
                      <a:prstDash val="solid"/>
                    </a:lnTlToBr>
                    <a:lnBlToTr w="12700" cmpd="sng">
                      <a:noFill/>
                      <a:prstDash val="solid"/>
                    </a:lnBlToTr>
                    <a:solidFill>
                      <a:srgbClr val="002985"/>
                    </a:solidFill>
                  </a:tcPr>
                </a:tc>
                <a:tc hMerge="1">
                  <a:txBody>
                    <a:bodyP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lang="en-NZ" sz="1400" b="1" dirty="0">
                        <a:effectLst/>
                        <a:latin typeface="Arial" panose="020B0604020202020204" pitchFamily="34" charset="0"/>
                        <a:cs typeface="Arial" panose="020B0604020202020204" pitchFamily="34" charset="0"/>
                      </a:endParaRPr>
                    </a:p>
                  </a:txBody>
                  <a:tcPr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rgbClr val="00447C"/>
                      </a:solidFill>
                      <a:prstDash val="solid"/>
                      <a:round/>
                      <a:headEnd type="none" w="med" len="med"/>
                      <a:tailEnd type="none" w="med" len="med"/>
                    </a:lnB>
                    <a:lnTlToBr w="12700" cmpd="sng">
                      <a:noFill/>
                      <a:prstDash val="solid"/>
                    </a:lnTlToBr>
                    <a:lnBlToTr w="12700" cmpd="sng">
                      <a:noFill/>
                      <a:prstDash val="solid"/>
                    </a:lnBlToTr>
                    <a:solidFill>
                      <a:srgbClr val="002985"/>
                    </a:solidFill>
                  </a:tcPr>
                </a:tc>
                <a:tc hMerge="1">
                  <a:txBody>
                    <a:bodyP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lang="en-NZ" sz="1400" b="1" dirty="0">
                        <a:solidFill>
                          <a:schemeClr val="bg1"/>
                        </a:solidFill>
                        <a:effectLst/>
                        <a:latin typeface="Arial" panose="020B0604020202020204" pitchFamily="34" charset="0"/>
                        <a:cs typeface="Arial" panose="020B0604020202020204" pitchFamily="34" charset="0"/>
                      </a:endParaRPr>
                    </a:p>
                  </a:txBody>
                  <a:tcPr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rgbClr val="00447C"/>
                      </a:solidFill>
                      <a:prstDash val="solid"/>
                      <a:round/>
                      <a:headEnd type="none" w="med" len="med"/>
                      <a:tailEnd type="none" w="med" len="med"/>
                    </a:lnB>
                    <a:lnTlToBr w="12700" cmpd="sng">
                      <a:noFill/>
                      <a:prstDash val="solid"/>
                    </a:lnTlToBr>
                    <a:lnBlToTr w="12700" cmpd="sng">
                      <a:noFill/>
                      <a:prstDash val="solid"/>
                    </a:lnBlToTr>
                    <a:solidFill>
                      <a:srgbClr val="002985"/>
                    </a:solidFill>
                  </a:tcPr>
                </a:tc>
                <a:tc hMerge="1">
                  <a:txBody>
                    <a:bodyP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lang="en-NZ" sz="1400" b="1" dirty="0">
                        <a:solidFill>
                          <a:schemeClr val="bg1"/>
                        </a:solidFill>
                        <a:effectLst/>
                        <a:latin typeface="Arial" panose="020B0604020202020204" pitchFamily="34" charset="0"/>
                        <a:cs typeface="Arial" panose="020B0604020202020204" pitchFamily="34" charset="0"/>
                      </a:endParaRPr>
                    </a:p>
                  </a:txBody>
                  <a:tcPr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rgbClr val="00447C"/>
                      </a:solidFill>
                      <a:prstDash val="solid"/>
                      <a:round/>
                      <a:headEnd type="none" w="med" len="med"/>
                      <a:tailEnd type="none" w="med" len="med"/>
                    </a:lnB>
                    <a:lnTlToBr w="12700" cmpd="sng">
                      <a:noFill/>
                      <a:prstDash val="solid"/>
                    </a:lnTlToBr>
                    <a:lnBlToTr w="12700" cmpd="sng">
                      <a:noFill/>
                      <a:prstDash val="solid"/>
                    </a:lnBlToTr>
                    <a:solidFill>
                      <a:srgbClr val="002985"/>
                    </a:solidFill>
                  </a:tcPr>
                </a:tc>
                <a:tc hMerge="1">
                  <a:txBody>
                    <a:bodyP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lang="en-NZ" sz="1400" b="1" dirty="0">
                        <a:solidFill>
                          <a:schemeClr val="bg1"/>
                        </a:solidFill>
                        <a:effectLst/>
                        <a:latin typeface="Arial" panose="020B0604020202020204" pitchFamily="34" charset="0"/>
                        <a:cs typeface="Arial" panose="020B0604020202020204" pitchFamily="34" charset="0"/>
                      </a:endParaRPr>
                    </a:p>
                  </a:txBody>
                  <a:tcPr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rgbClr val="00447C"/>
                      </a:solidFill>
                      <a:prstDash val="solid"/>
                      <a:round/>
                      <a:headEnd type="none" w="med" len="med"/>
                      <a:tailEnd type="none" w="med" len="med"/>
                    </a:lnB>
                    <a:lnTlToBr w="12700" cmpd="sng">
                      <a:noFill/>
                      <a:prstDash val="solid"/>
                    </a:lnTlToBr>
                    <a:lnBlToTr w="12700" cmpd="sng">
                      <a:noFill/>
                      <a:prstDash val="solid"/>
                    </a:lnBlToTr>
                    <a:solidFill>
                      <a:srgbClr val="002985"/>
                    </a:solidFill>
                  </a:tcPr>
                </a:tc>
                <a:tc hMerge="1">
                  <a:txBody>
                    <a:bodyP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lang="en-NZ" sz="1400" b="1" dirty="0">
                        <a:solidFill>
                          <a:schemeClr val="bg1"/>
                        </a:solidFill>
                        <a:effectLst/>
                        <a:latin typeface="Arial" panose="020B0604020202020204" pitchFamily="34" charset="0"/>
                        <a:cs typeface="Arial" panose="020B0604020202020204" pitchFamily="34" charset="0"/>
                      </a:endParaRPr>
                    </a:p>
                  </a:txBody>
                  <a:tcPr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rgbClr val="00447C"/>
                      </a:solidFill>
                      <a:prstDash val="solid"/>
                      <a:round/>
                      <a:headEnd type="none" w="med" len="med"/>
                      <a:tailEnd type="none" w="med" len="med"/>
                    </a:lnB>
                    <a:lnTlToBr w="12700" cmpd="sng">
                      <a:noFill/>
                      <a:prstDash val="solid"/>
                    </a:lnTlToBr>
                    <a:lnBlToTr w="12700" cmpd="sng">
                      <a:noFill/>
                      <a:prstDash val="solid"/>
                    </a:lnBlToTr>
                    <a:solidFill>
                      <a:srgbClr val="002985"/>
                    </a:solidFill>
                  </a:tcPr>
                </a:tc>
                <a:tc hMerge="1">
                  <a:txBody>
                    <a:bodyP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lang="en-NZ" sz="1400" b="1" dirty="0">
                        <a:solidFill>
                          <a:schemeClr val="bg1"/>
                        </a:solidFill>
                        <a:effectLst/>
                        <a:latin typeface="Arial" panose="020B0604020202020204" pitchFamily="34" charset="0"/>
                        <a:cs typeface="Arial" panose="020B0604020202020204" pitchFamily="34" charset="0"/>
                      </a:endParaRPr>
                    </a:p>
                  </a:txBody>
                  <a:tcPr anchor="b">
                    <a:lnL w="12700" cap="flat" cmpd="sng" algn="ctr">
                      <a:solidFill>
                        <a:sysClr val="window" lastClr="FFFFFF"/>
                      </a:solidFill>
                      <a:prstDash val="solid"/>
                      <a:round/>
                      <a:headEnd type="none" w="med" len="med"/>
                      <a:tailEnd type="none" w="med" len="med"/>
                    </a:lnL>
                    <a:lnR w="12700" cmpd="sng">
                      <a:solidFill>
                        <a:sysClr val="window" lastClr="FFFFFF"/>
                      </a:solidFill>
                    </a:lnR>
                    <a:lnT w="12700" cmpd="sng">
                      <a:solidFill>
                        <a:sysClr val="window" lastClr="FFFFFF"/>
                      </a:solidFill>
                    </a:lnT>
                    <a:lnB w="12700" cap="flat" cmpd="sng" algn="ctr">
                      <a:solidFill>
                        <a:srgbClr val="00447C"/>
                      </a:solidFill>
                      <a:prstDash val="solid"/>
                      <a:round/>
                      <a:headEnd type="none" w="med" len="med"/>
                      <a:tailEnd type="none" w="med" len="med"/>
                    </a:lnB>
                    <a:lnTlToBr w="12700" cmpd="sng">
                      <a:noFill/>
                      <a:prstDash val="solid"/>
                    </a:lnTlToBr>
                    <a:lnBlToTr w="12700" cmpd="sng">
                      <a:noFill/>
                      <a:prstDash val="solid"/>
                    </a:lnBlToTr>
                    <a:solidFill>
                      <a:srgbClr val="002985"/>
                    </a:solidFill>
                  </a:tcPr>
                </a:tc>
                <a:extLst>
                  <a:ext uri="{0D108BD9-81ED-4DB2-BD59-A6C34878D82A}">
                    <a16:rowId xmlns:a16="http://schemas.microsoft.com/office/drawing/2014/main" val="2634439246"/>
                  </a:ext>
                </a:extLst>
              </a:tr>
              <a:tr h="228600">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lvl="0" indent="0" algn="l" defTabSz="1828800" rtl="0" eaLnBrk="1" fontAlgn="auto" latinLnBrk="0" hangingPunct="1">
                        <a:lnSpc>
                          <a:spcPct val="100000"/>
                        </a:lnSpc>
                        <a:spcBef>
                          <a:spcPts val="0"/>
                        </a:spcBef>
                        <a:spcAft>
                          <a:spcPts val="0"/>
                        </a:spcAft>
                        <a:buClrTx/>
                        <a:buSzTx/>
                        <a:buFontTx/>
                        <a:buNone/>
                        <a:tabLst/>
                        <a:defRPr/>
                      </a:pPr>
                      <a:r>
                        <a:rPr lang="en-US" sz="1100" dirty="0">
                          <a:latin typeface="Arial" panose="020B0604020202020204" pitchFamily="34" charset="0"/>
                          <a:cs typeface="Arial" panose="020B0604020202020204" pitchFamily="34" charset="0"/>
                        </a:rPr>
                        <a:t>n (%)</a:t>
                      </a:r>
                    </a:p>
                  </a:txBody>
                  <a:tcPr marL="68580" marR="68580" marT="34290" marB="34290" anchor="b">
                    <a:lnL w="12700" cmpd="sng">
                      <a:solidFill>
                        <a:sysClr val="window" lastClr="FFFFFF"/>
                      </a:solidFill>
                    </a:lnL>
                    <a:lnR w="12700" cmpd="sng">
                      <a:solidFill>
                        <a:sysClr val="window" lastClr="FFFFFF"/>
                      </a:solidFill>
                    </a:lnR>
                    <a:lnT w="12700" cap="flat" cmpd="sng" algn="ctr">
                      <a:solidFill>
                        <a:srgbClr val="00447C"/>
                      </a:solidFill>
                      <a:prstDash val="solid"/>
                      <a:round/>
                      <a:headEnd type="none" w="med" len="med"/>
                      <a:tailEnd type="none" w="med" len="med"/>
                    </a:lnT>
                    <a:lnB w="12700" cap="flat" cmpd="sng" algn="ctr">
                      <a:solidFill>
                        <a:srgbClr val="00447C"/>
                      </a:solidFill>
                      <a:prstDash val="solid"/>
                      <a:round/>
                      <a:headEnd type="none" w="med" len="med"/>
                      <a:tailEnd type="none" w="med" len="med"/>
                    </a:lnB>
                    <a:lnTlToBr w="12700" cmpd="sng">
                      <a:noFill/>
                      <a:prstDash val="solid"/>
                    </a:lnTlToBr>
                    <a:lnBlToTr w="12700" cmpd="sng">
                      <a:noFill/>
                      <a:prstDash val="solid"/>
                    </a:lnBlToTr>
                    <a:solidFill>
                      <a:srgbClr val="002985"/>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lvl="0" indent="0" algn="ctr" defTabSz="1828800" rtl="0" eaLnBrk="1" fontAlgn="auto" latinLnBrk="0" hangingPunct="1">
                        <a:lnSpc>
                          <a:spcPct val="100000"/>
                        </a:lnSpc>
                        <a:spcBef>
                          <a:spcPts val="0"/>
                        </a:spcBef>
                        <a:spcAft>
                          <a:spcPts val="0"/>
                        </a:spcAft>
                        <a:buClrTx/>
                        <a:buSzTx/>
                        <a:buFontTx/>
                        <a:buNone/>
                        <a:tabLst/>
                        <a:defRPr/>
                      </a:pPr>
                      <a:r>
                        <a:rPr lang="en-NZ" sz="1100" b="1" dirty="0">
                          <a:effectLst/>
                          <a:latin typeface="Arial" panose="020B0604020202020204" pitchFamily="34" charset="0"/>
                          <a:cs typeface="Arial" panose="020B0604020202020204" pitchFamily="34" charset="0"/>
                        </a:rPr>
                        <a:t>Grade 1</a:t>
                      </a:r>
                    </a:p>
                  </a:txBody>
                  <a:tcPr marL="68580" marR="68580" marT="34290" marB="34290" anchor="b">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rgbClr val="00447C"/>
                      </a:solidFill>
                      <a:prstDash val="solid"/>
                      <a:round/>
                      <a:headEnd type="none" w="med" len="med"/>
                      <a:tailEnd type="none" w="med" len="med"/>
                    </a:lnT>
                    <a:lnB w="12700" cap="flat" cmpd="sng" algn="ctr">
                      <a:solidFill>
                        <a:srgbClr val="00447C"/>
                      </a:solidFill>
                      <a:prstDash val="solid"/>
                      <a:round/>
                      <a:headEnd type="none" w="med" len="med"/>
                      <a:tailEnd type="none" w="med" len="med"/>
                    </a:lnB>
                    <a:lnTlToBr w="12700" cmpd="sng">
                      <a:noFill/>
                      <a:prstDash val="solid"/>
                    </a:lnTlToBr>
                    <a:lnBlToTr w="12700" cmpd="sng">
                      <a:noFill/>
                      <a:prstDash val="solid"/>
                    </a:lnBlToTr>
                    <a:solidFill>
                      <a:srgbClr val="002985"/>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1828800" rtl="0" eaLnBrk="1" fontAlgn="auto" latinLnBrk="0" hangingPunct="1">
                        <a:lnSpc>
                          <a:spcPct val="100000"/>
                        </a:lnSpc>
                        <a:spcBef>
                          <a:spcPts val="0"/>
                        </a:spcBef>
                        <a:spcAft>
                          <a:spcPts val="0"/>
                        </a:spcAft>
                        <a:buClrTx/>
                        <a:buSzTx/>
                        <a:buFontTx/>
                        <a:buNone/>
                        <a:tabLst/>
                        <a:defRPr/>
                      </a:pPr>
                      <a:r>
                        <a:rPr lang="en-NZ" sz="1100" b="1" dirty="0">
                          <a:solidFill>
                            <a:schemeClr val="bg1"/>
                          </a:solidFill>
                          <a:effectLst/>
                          <a:latin typeface="Arial" panose="020B0604020202020204" pitchFamily="34" charset="0"/>
                          <a:cs typeface="Arial" panose="020B0604020202020204" pitchFamily="34" charset="0"/>
                        </a:rPr>
                        <a:t>Grade 2</a:t>
                      </a:r>
                    </a:p>
                  </a:txBody>
                  <a:tcPr marL="68580" marR="68580" marT="34290" marB="34290" anchor="b">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rgbClr val="00447C"/>
                      </a:solidFill>
                      <a:prstDash val="solid"/>
                      <a:round/>
                      <a:headEnd type="none" w="med" len="med"/>
                      <a:tailEnd type="none" w="med" len="med"/>
                    </a:lnT>
                    <a:lnB w="12700" cap="flat" cmpd="sng" algn="ctr">
                      <a:solidFill>
                        <a:srgbClr val="00447C"/>
                      </a:solidFill>
                      <a:prstDash val="solid"/>
                      <a:round/>
                      <a:headEnd type="none" w="med" len="med"/>
                      <a:tailEnd type="none" w="med" len="med"/>
                    </a:lnB>
                    <a:lnTlToBr w="12700" cmpd="sng">
                      <a:noFill/>
                      <a:prstDash val="solid"/>
                    </a:lnTlToBr>
                    <a:lnBlToTr w="12700" cmpd="sng">
                      <a:noFill/>
                      <a:prstDash val="solid"/>
                    </a:lnBlToTr>
                    <a:solidFill>
                      <a:srgbClr val="002985"/>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1828800" rtl="0" eaLnBrk="1" fontAlgn="auto" latinLnBrk="0" hangingPunct="1">
                        <a:lnSpc>
                          <a:spcPct val="100000"/>
                        </a:lnSpc>
                        <a:spcBef>
                          <a:spcPts val="0"/>
                        </a:spcBef>
                        <a:spcAft>
                          <a:spcPts val="0"/>
                        </a:spcAft>
                        <a:buClrTx/>
                        <a:buSzTx/>
                        <a:buFontTx/>
                        <a:buNone/>
                        <a:tabLst/>
                        <a:defRPr/>
                      </a:pPr>
                      <a:r>
                        <a:rPr lang="en-NZ" sz="1100" b="1" dirty="0">
                          <a:solidFill>
                            <a:schemeClr val="bg1"/>
                          </a:solidFill>
                          <a:effectLst/>
                          <a:latin typeface="Arial" panose="020B0604020202020204" pitchFamily="34" charset="0"/>
                          <a:cs typeface="Arial" panose="020B0604020202020204" pitchFamily="34" charset="0"/>
                        </a:rPr>
                        <a:t>Grade 3</a:t>
                      </a:r>
                    </a:p>
                  </a:txBody>
                  <a:tcPr marL="68580" marR="68580" marT="34290" marB="34290" anchor="b">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rgbClr val="00447C"/>
                      </a:solidFill>
                      <a:prstDash val="solid"/>
                      <a:round/>
                      <a:headEnd type="none" w="med" len="med"/>
                      <a:tailEnd type="none" w="med" len="med"/>
                    </a:lnT>
                    <a:lnB w="12700" cap="flat" cmpd="sng" algn="ctr">
                      <a:solidFill>
                        <a:srgbClr val="00447C"/>
                      </a:solidFill>
                      <a:prstDash val="solid"/>
                      <a:round/>
                      <a:headEnd type="none" w="med" len="med"/>
                      <a:tailEnd type="none" w="med" len="med"/>
                    </a:lnB>
                    <a:lnTlToBr w="12700" cmpd="sng">
                      <a:noFill/>
                      <a:prstDash val="solid"/>
                    </a:lnTlToBr>
                    <a:lnBlToTr w="12700" cmpd="sng">
                      <a:noFill/>
                      <a:prstDash val="solid"/>
                    </a:lnBlToTr>
                    <a:solidFill>
                      <a:srgbClr val="002985"/>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1828800" rtl="0" eaLnBrk="1" fontAlgn="auto" latinLnBrk="0" hangingPunct="1">
                        <a:lnSpc>
                          <a:spcPct val="100000"/>
                        </a:lnSpc>
                        <a:spcBef>
                          <a:spcPts val="0"/>
                        </a:spcBef>
                        <a:spcAft>
                          <a:spcPts val="0"/>
                        </a:spcAft>
                        <a:buClrTx/>
                        <a:buSzTx/>
                        <a:buFontTx/>
                        <a:buNone/>
                        <a:tabLst/>
                        <a:defRPr/>
                      </a:pPr>
                      <a:r>
                        <a:rPr lang="en-NZ" sz="1100" b="1" dirty="0">
                          <a:solidFill>
                            <a:schemeClr val="bg1"/>
                          </a:solidFill>
                          <a:effectLst/>
                          <a:latin typeface="Arial" panose="020B0604020202020204" pitchFamily="34" charset="0"/>
                          <a:cs typeface="Arial" panose="020B0604020202020204" pitchFamily="34" charset="0"/>
                        </a:rPr>
                        <a:t>Grade 4</a:t>
                      </a:r>
                    </a:p>
                  </a:txBody>
                  <a:tcPr marL="68580" marR="68580" marT="34290" marB="34290" anchor="b">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rgbClr val="00447C"/>
                      </a:solidFill>
                      <a:prstDash val="solid"/>
                      <a:round/>
                      <a:headEnd type="none" w="med" len="med"/>
                      <a:tailEnd type="none" w="med" len="med"/>
                    </a:lnT>
                    <a:lnB w="12700" cap="flat" cmpd="sng" algn="ctr">
                      <a:solidFill>
                        <a:srgbClr val="00447C"/>
                      </a:solidFill>
                      <a:prstDash val="solid"/>
                      <a:round/>
                      <a:headEnd type="none" w="med" len="med"/>
                      <a:tailEnd type="none" w="med" len="med"/>
                    </a:lnB>
                    <a:lnTlToBr w="12700" cmpd="sng">
                      <a:noFill/>
                      <a:prstDash val="solid"/>
                    </a:lnTlToBr>
                    <a:lnBlToTr w="12700" cmpd="sng">
                      <a:noFill/>
                      <a:prstDash val="solid"/>
                    </a:lnBlToTr>
                    <a:solidFill>
                      <a:srgbClr val="002985"/>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1828800" rtl="0" eaLnBrk="1" fontAlgn="auto" latinLnBrk="0" hangingPunct="1">
                        <a:lnSpc>
                          <a:spcPct val="100000"/>
                        </a:lnSpc>
                        <a:spcBef>
                          <a:spcPts val="0"/>
                        </a:spcBef>
                        <a:spcAft>
                          <a:spcPts val="0"/>
                        </a:spcAft>
                        <a:buClrTx/>
                        <a:buSzTx/>
                        <a:buFontTx/>
                        <a:buNone/>
                        <a:tabLst/>
                        <a:defRPr/>
                      </a:pPr>
                      <a:r>
                        <a:rPr lang="en-NZ" sz="1100" b="1" dirty="0">
                          <a:solidFill>
                            <a:schemeClr val="bg1"/>
                          </a:solidFill>
                          <a:effectLst/>
                          <a:latin typeface="Arial" panose="020B0604020202020204" pitchFamily="34" charset="0"/>
                          <a:cs typeface="Arial" panose="020B0604020202020204" pitchFamily="34" charset="0"/>
                        </a:rPr>
                        <a:t>Grade 5</a:t>
                      </a:r>
                    </a:p>
                  </a:txBody>
                  <a:tcPr marL="68580" marR="68580" marT="34290" marB="34290" anchor="b">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rgbClr val="00447C"/>
                      </a:solidFill>
                      <a:prstDash val="solid"/>
                      <a:round/>
                      <a:headEnd type="none" w="med" len="med"/>
                      <a:tailEnd type="none" w="med" len="med"/>
                    </a:lnT>
                    <a:lnB w="12700" cap="flat" cmpd="sng" algn="ctr">
                      <a:solidFill>
                        <a:srgbClr val="00447C"/>
                      </a:solidFill>
                      <a:prstDash val="solid"/>
                      <a:round/>
                      <a:headEnd type="none" w="med" len="med"/>
                      <a:tailEnd type="none" w="med" len="med"/>
                    </a:lnB>
                    <a:lnTlToBr w="12700" cmpd="sng">
                      <a:noFill/>
                      <a:prstDash val="solid"/>
                    </a:lnTlToBr>
                    <a:lnBlToTr w="12700" cmpd="sng">
                      <a:noFill/>
                      <a:prstDash val="solid"/>
                    </a:lnBlToTr>
                    <a:solidFill>
                      <a:srgbClr val="002985"/>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1828800" rtl="0" eaLnBrk="1" fontAlgn="auto" latinLnBrk="0" hangingPunct="1">
                        <a:lnSpc>
                          <a:spcPct val="100000"/>
                        </a:lnSpc>
                        <a:spcBef>
                          <a:spcPts val="0"/>
                        </a:spcBef>
                        <a:spcAft>
                          <a:spcPts val="0"/>
                        </a:spcAft>
                        <a:buClrTx/>
                        <a:buSzTx/>
                        <a:buFontTx/>
                        <a:buNone/>
                        <a:tabLst/>
                        <a:defRPr/>
                      </a:pPr>
                      <a:r>
                        <a:rPr lang="en-NZ" sz="1100" b="1" dirty="0">
                          <a:solidFill>
                            <a:schemeClr val="bg1"/>
                          </a:solidFill>
                          <a:effectLst/>
                          <a:latin typeface="Arial" panose="020B0604020202020204" pitchFamily="34" charset="0"/>
                          <a:cs typeface="Arial" panose="020B0604020202020204" pitchFamily="34" charset="0"/>
                        </a:rPr>
                        <a:t>Any Grade</a:t>
                      </a:r>
                    </a:p>
                  </a:txBody>
                  <a:tcPr marL="68580" marR="68580" marT="34290" marB="34290" anchor="b">
                    <a:lnL w="12700" cmpd="sng">
                      <a:solidFill>
                        <a:sysClr val="window" lastClr="FFFFFF"/>
                      </a:solidFill>
                    </a:lnL>
                    <a:lnR w="12700" cmpd="sng">
                      <a:solidFill>
                        <a:sysClr val="window" lastClr="FFFFFF"/>
                      </a:solidFill>
                    </a:lnR>
                    <a:lnT w="12700" cap="flat" cmpd="sng" algn="ctr">
                      <a:solidFill>
                        <a:srgbClr val="00447C"/>
                      </a:solidFill>
                      <a:prstDash val="solid"/>
                      <a:round/>
                      <a:headEnd type="none" w="med" len="med"/>
                      <a:tailEnd type="none" w="med" len="med"/>
                    </a:lnT>
                    <a:lnB w="12700" cap="flat" cmpd="sng" algn="ctr">
                      <a:solidFill>
                        <a:srgbClr val="00447C"/>
                      </a:solidFill>
                      <a:prstDash val="solid"/>
                      <a:round/>
                      <a:headEnd type="none" w="med" len="med"/>
                      <a:tailEnd type="none" w="med" len="med"/>
                    </a:lnB>
                    <a:lnTlToBr w="12700" cmpd="sng">
                      <a:noFill/>
                      <a:prstDash val="solid"/>
                    </a:lnTlToBr>
                    <a:lnBlToTr w="12700" cmpd="sng">
                      <a:noFill/>
                      <a:prstDash val="solid"/>
                    </a:lnBlToTr>
                    <a:solidFill>
                      <a:srgbClr val="002985"/>
                    </a:solidFill>
                  </a:tcPr>
                </a:tc>
                <a:extLst>
                  <a:ext uri="{0D108BD9-81ED-4DB2-BD59-A6C34878D82A}">
                    <a16:rowId xmlns:a16="http://schemas.microsoft.com/office/drawing/2014/main" val="1434102208"/>
                  </a:ext>
                </a:extLst>
              </a:tr>
              <a:tr h="228600">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100" b="1" dirty="0">
                          <a:solidFill>
                            <a:schemeClr val="tx1"/>
                          </a:solidFill>
                          <a:latin typeface="Arial" panose="020B0604020202020204" pitchFamily="34" charset="0"/>
                          <a:cs typeface="Arial" panose="020B0604020202020204" pitchFamily="34" charset="0"/>
                        </a:rPr>
                        <a:t>T-DXd (n = 404)</a:t>
                      </a: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rgbClr val="00447C"/>
                      </a:solidFill>
                      <a:prstDash val="solid"/>
                      <a:round/>
                      <a:headEnd type="none" w="med" len="med"/>
                      <a:tailEnd type="none" w="med" len="med"/>
                    </a:lnT>
                    <a:lnB w="12700" cap="flat" cmpd="sng" algn="ctr">
                      <a:solidFill>
                        <a:srgbClr val="00447C"/>
                      </a:solidFill>
                      <a:prstDash val="solid"/>
                      <a:round/>
                      <a:headEnd type="none" w="med" len="med"/>
                      <a:tailEnd type="none" w="med" len="med"/>
                    </a:lnB>
                    <a:lnTlToBr w="12700" cmpd="sng">
                      <a:noFill/>
                      <a:prstDash val="solid"/>
                    </a:lnTlToBr>
                    <a:lnBlToTr w="12700" cmpd="sng">
                      <a:noFill/>
                      <a:prstDash val="solid"/>
                    </a:lnBlToTr>
                    <a:solidFill>
                      <a:srgbClr val="EDF1FB"/>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algn="ctr" defTabSz="457200" rtl="0" eaLnBrk="1" latinLnBrk="0" hangingPunct="1">
                        <a:lnSpc>
                          <a:spcPct val="105000"/>
                        </a:lnSpc>
                        <a:spcBef>
                          <a:spcPts val="0"/>
                        </a:spcBef>
                        <a:spcAft>
                          <a:spcPts val="800"/>
                        </a:spcAft>
                      </a:pPr>
                      <a:r>
                        <a:rPr kumimoji="1" lang="en-US" sz="900" kern="1200" dirty="0">
                          <a:solidFill>
                            <a:schemeClr val="dk1"/>
                          </a:solidFill>
                          <a:effectLst/>
                          <a:latin typeface="Arial" panose="020B0604020202020204" pitchFamily="34" charset="0"/>
                          <a:ea typeface="Yu Mincho" panose="02020400000000000000" pitchFamily="18" charset="-128"/>
                          <a:cs typeface="Arial" panose="020B0604020202020204" pitchFamily="34" charset="0"/>
                        </a:rPr>
                        <a:t>11 </a:t>
                      </a:r>
                      <a:r>
                        <a:rPr lang="en-US" sz="900" kern="1200" dirty="0">
                          <a:solidFill>
                            <a:schemeClr val="dk1"/>
                          </a:solidFill>
                          <a:effectLst/>
                          <a:latin typeface="Arial" panose="020B0604020202020204" pitchFamily="34" charset="0"/>
                          <a:ea typeface="+mn-ea"/>
                          <a:cs typeface="Arial" panose="020B0604020202020204" pitchFamily="34" charset="0"/>
                        </a:rPr>
                        <a:t>(2.7)</a:t>
                      </a:r>
                      <a:endParaRPr kumimoji="1" lang="en-US" sz="900" kern="1200" dirty="0">
                        <a:solidFill>
                          <a:schemeClr val="dk1"/>
                        </a:solidFill>
                        <a:effectLst/>
                        <a:latin typeface="Arial" panose="020B0604020202020204" pitchFamily="34" charset="0"/>
                        <a:ea typeface="Yu Mincho" panose="02020400000000000000" pitchFamily="18" charset="-128"/>
                        <a:cs typeface="Arial" panose="020B0604020202020204" pitchFamily="34" charset="0"/>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rgbClr val="00447C"/>
                      </a:solidFill>
                      <a:prstDash val="solid"/>
                      <a:round/>
                      <a:headEnd type="none" w="med" len="med"/>
                      <a:tailEnd type="none" w="med" len="med"/>
                    </a:lnT>
                    <a:lnB w="12700" cap="flat" cmpd="sng" algn="ctr">
                      <a:solidFill>
                        <a:srgbClr val="00447C"/>
                      </a:solidFill>
                      <a:prstDash val="solid"/>
                      <a:round/>
                      <a:headEnd type="none" w="med" len="med"/>
                      <a:tailEnd type="none" w="med" len="med"/>
                    </a:lnB>
                    <a:lnTlToBr w="12700" cmpd="sng">
                      <a:noFill/>
                      <a:prstDash val="solid"/>
                    </a:lnTlToBr>
                    <a:lnBlToTr w="12700" cmpd="sng">
                      <a:noFill/>
                      <a:prstDash val="solid"/>
                    </a:lnBlToTr>
                    <a:solidFill>
                      <a:srgbClr val="EDF1FB"/>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algn="ctr" defTabSz="457200" rtl="0" eaLnBrk="1" latinLnBrk="0" hangingPunct="1">
                        <a:lnSpc>
                          <a:spcPct val="105000"/>
                        </a:lnSpc>
                        <a:spcBef>
                          <a:spcPts val="0"/>
                        </a:spcBef>
                        <a:spcAft>
                          <a:spcPts val="800"/>
                        </a:spcAft>
                      </a:pPr>
                      <a:r>
                        <a:rPr kumimoji="1" lang="en-US" sz="900" kern="1200" dirty="0">
                          <a:solidFill>
                            <a:schemeClr val="dk1"/>
                          </a:solidFill>
                          <a:effectLst/>
                          <a:latin typeface="Arial" panose="020B0604020202020204" pitchFamily="34" charset="0"/>
                          <a:ea typeface="Yu Mincho" panose="02020400000000000000" pitchFamily="18" charset="-128"/>
                          <a:cs typeface="Arial" panose="020B0604020202020204" pitchFamily="34" charset="0"/>
                        </a:rPr>
                        <a:t>26 </a:t>
                      </a:r>
                      <a:r>
                        <a:rPr lang="en-US" sz="900" kern="1200" dirty="0">
                          <a:solidFill>
                            <a:schemeClr val="dk1"/>
                          </a:solidFill>
                          <a:effectLst/>
                          <a:latin typeface="Arial" panose="020B0604020202020204" pitchFamily="34" charset="0"/>
                          <a:ea typeface="+mn-ea"/>
                          <a:cs typeface="Arial" panose="020B0604020202020204" pitchFamily="34" charset="0"/>
                        </a:rPr>
                        <a:t>(6.4)</a:t>
                      </a:r>
                      <a:endParaRPr kumimoji="1" lang="en-US" sz="900" kern="1200" dirty="0">
                        <a:solidFill>
                          <a:schemeClr val="dk1"/>
                        </a:solidFill>
                        <a:effectLst/>
                        <a:latin typeface="Arial" panose="020B0604020202020204" pitchFamily="34" charset="0"/>
                        <a:ea typeface="Yu Mincho" panose="02020400000000000000" pitchFamily="18" charset="-128"/>
                        <a:cs typeface="Arial" panose="020B0604020202020204" pitchFamily="34" charset="0"/>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rgbClr val="00447C"/>
                      </a:solidFill>
                      <a:prstDash val="solid"/>
                      <a:round/>
                      <a:headEnd type="none" w="med" len="med"/>
                      <a:tailEnd type="none" w="med" len="med"/>
                    </a:lnT>
                    <a:lnB w="12700" cap="flat" cmpd="sng" algn="ctr">
                      <a:solidFill>
                        <a:srgbClr val="00447C"/>
                      </a:solidFill>
                      <a:prstDash val="solid"/>
                      <a:round/>
                      <a:headEnd type="none" w="med" len="med"/>
                      <a:tailEnd type="none" w="med" len="med"/>
                    </a:lnB>
                    <a:lnTlToBr w="12700" cmpd="sng">
                      <a:noFill/>
                      <a:prstDash val="solid"/>
                    </a:lnTlToBr>
                    <a:lnBlToTr w="12700" cmpd="sng">
                      <a:noFill/>
                      <a:prstDash val="solid"/>
                    </a:lnBlToTr>
                    <a:solidFill>
                      <a:srgbClr val="EDF1FB"/>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algn="ctr" defTabSz="457200" rtl="0" eaLnBrk="1" latinLnBrk="0" hangingPunct="1">
                        <a:lnSpc>
                          <a:spcPct val="105000"/>
                        </a:lnSpc>
                        <a:spcBef>
                          <a:spcPts val="0"/>
                        </a:spcBef>
                        <a:spcAft>
                          <a:spcPts val="800"/>
                        </a:spcAft>
                      </a:pPr>
                      <a:r>
                        <a:rPr kumimoji="1" lang="en-US" sz="900" kern="1200" dirty="0">
                          <a:solidFill>
                            <a:schemeClr val="dk1"/>
                          </a:solidFill>
                          <a:effectLst/>
                          <a:latin typeface="Arial" panose="020B0604020202020204" pitchFamily="34" charset="0"/>
                          <a:ea typeface="Yu Mincho" panose="02020400000000000000" pitchFamily="18" charset="-128"/>
                          <a:cs typeface="Arial" panose="020B0604020202020204" pitchFamily="34" charset="0"/>
                        </a:rPr>
                        <a:t>3 </a:t>
                      </a:r>
                      <a:r>
                        <a:rPr lang="en-US" sz="900" kern="1200" dirty="0">
                          <a:solidFill>
                            <a:schemeClr val="dk1"/>
                          </a:solidFill>
                          <a:effectLst/>
                          <a:latin typeface="Arial" panose="020B0604020202020204" pitchFamily="34" charset="0"/>
                          <a:ea typeface="+mn-ea"/>
                          <a:cs typeface="Arial" panose="020B0604020202020204" pitchFamily="34" charset="0"/>
                        </a:rPr>
                        <a:t>(0.7)</a:t>
                      </a:r>
                      <a:endParaRPr kumimoji="1" lang="en-US" sz="900" kern="1200" dirty="0">
                        <a:solidFill>
                          <a:schemeClr val="dk1"/>
                        </a:solidFill>
                        <a:effectLst/>
                        <a:latin typeface="Arial" panose="020B0604020202020204" pitchFamily="34" charset="0"/>
                        <a:ea typeface="Yu Mincho" panose="02020400000000000000" pitchFamily="18" charset="-128"/>
                        <a:cs typeface="Arial" panose="020B0604020202020204" pitchFamily="34" charset="0"/>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rgbClr val="00447C"/>
                      </a:solidFill>
                      <a:prstDash val="solid"/>
                      <a:round/>
                      <a:headEnd type="none" w="med" len="med"/>
                      <a:tailEnd type="none" w="med" len="med"/>
                    </a:lnT>
                    <a:lnB w="12700" cap="flat" cmpd="sng" algn="ctr">
                      <a:solidFill>
                        <a:srgbClr val="00447C"/>
                      </a:solidFill>
                      <a:prstDash val="solid"/>
                      <a:round/>
                      <a:headEnd type="none" w="med" len="med"/>
                      <a:tailEnd type="none" w="med" len="med"/>
                    </a:lnB>
                    <a:lnTlToBr w="12700" cmpd="sng">
                      <a:noFill/>
                      <a:prstDash val="solid"/>
                    </a:lnTlToBr>
                    <a:lnBlToTr w="12700" cmpd="sng">
                      <a:noFill/>
                      <a:prstDash val="solid"/>
                    </a:lnBlToTr>
                    <a:solidFill>
                      <a:srgbClr val="EDF1FB"/>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algn="ctr" defTabSz="457200" rtl="0" eaLnBrk="1" latinLnBrk="0" hangingPunct="1">
                        <a:lnSpc>
                          <a:spcPct val="105000"/>
                        </a:lnSpc>
                        <a:spcBef>
                          <a:spcPts val="0"/>
                        </a:spcBef>
                        <a:spcAft>
                          <a:spcPts val="800"/>
                        </a:spcAft>
                      </a:pPr>
                      <a:r>
                        <a:rPr kumimoji="1" lang="en-US" sz="900" kern="1200" dirty="0">
                          <a:solidFill>
                            <a:schemeClr val="dk1"/>
                          </a:solidFill>
                          <a:effectLst/>
                          <a:latin typeface="Arial" panose="020B0604020202020204" pitchFamily="34" charset="0"/>
                          <a:ea typeface="Yu Mincho" panose="02020400000000000000" pitchFamily="18" charset="-128"/>
                          <a:cs typeface="Arial" panose="020B0604020202020204" pitchFamily="34" charset="0"/>
                        </a:rPr>
                        <a:t>0</a:t>
                      </a: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rgbClr val="00447C"/>
                      </a:solidFill>
                      <a:prstDash val="solid"/>
                      <a:round/>
                      <a:headEnd type="none" w="med" len="med"/>
                      <a:tailEnd type="none" w="med" len="med"/>
                    </a:lnT>
                    <a:lnB w="12700" cap="flat" cmpd="sng" algn="ctr">
                      <a:solidFill>
                        <a:srgbClr val="00447C"/>
                      </a:solidFill>
                      <a:prstDash val="solid"/>
                      <a:round/>
                      <a:headEnd type="none" w="med" len="med"/>
                      <a:tailEnd type="none" w="med" len="med"/>
                    </a:lnB>
                    <a:lnTlToBr w="12700" cmpd="sng">
                      <a:noFill/>
                      <a:prstDash val="solid"/>
                    </a:lnTlToBr>
                    <a:lnBlToTr w="12700" cmpd="sng">
                      <a:noFill/>
                      <a:prstDash val="solid"/>
                    </a:lnBlToTr>
                    <a:solidFill>
                      <a:srgbClr val="EDF1FB"/>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algn="ctr" defTabSz="457200" rtl="0" eaLnBrk="1" latinLnBrk="0" hangingPunct="1">
                        <a:lnSpc>
                          <a:spcPct val="105000"/>
                        </a:lnSpc>
                        <a:spcBef>
                          <a:spcPts val="0"/>
                        </a:spcBef>
                        <a:spcAft>
                          <a:spcPts val="800"/>
                        </a:spcAft>
                      </a:pPr>
                      <a:r>
                        <a:rPr kumimoji="1" lang="en-US" sz="900" kern="1200" dirty="0">
                          <a:solidFill>
                            <a:schemeClr val="dk1"/>
                          </a:solidFill>
                          <a:effectLst/>
                          <a:latin typeface="Arial" panose="020B0604020202020204" pitchFamily="34" charset="0"/>
                          <a:ea typeface="Yu Mincho" panose="02020400000000000000" pitchFamily="18" charset="-128"/>
                          <a:cs typeface="Arial" panose="020B0604020202020204" pitchFamily="34" charset="0"/>
                        </a:rPr>
                        <a:t>2 </a:t>
                      </a:r>
                      <a:r>
                        <a:rPr lang="en-US" sz="900" kern="1200" dirty="0">
                          <a:solidFill>
                            <a:schemeClr val="dk1"/>
                          </a:solidFill>
                          <a:effectLst/>
                          <a:latin typeface="Arial" panose="020B0604020202020204" pitchFamily="34" charset="0"/>
                          <a:ea typeface="+mn-ea"/>
                          <a:cs typeface="Arial" panose="020B0604020202020204" pitchFamily="34" charset="0"/>
                        </a:rPr>
                        <a:t>(0.5)</a:t>
                      </a:r>
                      <a:endParaRPr kumimoji="1" lang="en-US" sz="900" kern="1200" dirty="0">
                        <a:solidFill>
                          <a:schemeClr val="dk1"/>
                        </a:solidFill>
                        <a:effectLst/>
                        <a:latin typeface="Arial" panose="020B0604020202020204" pitchFamily="34" charset="0"/>
                        <a:ea typeface="Yu Mincho" panose="02020400000000000000" pitchFamily="18" charset="-128"/>
                        <a:cs typeface="Arial" panose="020B0604020202020204" pitchFamily="34" charset="0"/>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rgbClr val="00447C"/>
                      </a:solidFill>
                      <a:prstDash val="solid"/>
                      <a:round/>
                      <a:headEnd type="none" w="med" len="med"/>
                      <a:tailEnd type="none" w="med" len="med"/>
                    </a:lnT>
                    <a:lnB w="12700" cap="flat" cmpd="sng" algn="ctr">
                      <a:solidFill>
                        <a:srgbClr val="00447C"/>
                      </a:solidFill>
                      <a:prstDash val="solid"/>
                      <a:round/>
                      <a:headEnd type="none" w="med" len="med"/>
                      <a:tailEnd type="none" w="med" len="med"/>
                    </a:lnB>
                    <a:lnTlToBr w="12700" cmpd="sng">
                      <a:noFill/>
                      <a:prstDash val="solid"/>
                    </a:lnTlToBr>
                    <a:lnBlToTr w="12700" cmpd="sng">
                      <a:noFill/>
                      <a:prstDash val="solid"/>
                    </a:lnBlToTr>
                    <a:solidFill>
                      <a:srgbClr val="EDF1FB"/>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algn="ctr" defTabSz="457200" rtl="0" eaLnBrk="1" latinLnBrk="0" hangingPunct="1">
                        <a:lnSpc>
                          <a:spcPct val="105000"/>
                        </a:lnSpc>
                        <a:spcBef>
                          <a:spcPts val="0"/>
                        </a:spcBef>
                        <a:spcAft>
                          <a:spcPts val="800"/>
                        </a:spcAft>
                      </a:pPr>
                      <a:r>
                        <a:rPr kumimoji="1" lang="en-US" sz="900" kern="1200" dirty="0">
                          <a:solidFill>
                            <a:schemeClr val="dk1"/>
                          </a:solidFill>
                          <a:effectLst/>
                          <a:latin typeface="Arial" panose="020B0604020202020204" pitchFamily="34" charset="0"/>
                          <a:ea typeface="Yu Mincho" panose="02020400000000000000" pitchFamily="18" charset="-128"/>
                          <a:cs typeface="Arial" panose="020B0604020202020204" pitchFamily="34" charset="0"/>
                        </a:rPr>
                        <a:t>42 </a:t>
                      </a:r>
                      <a:r>
                        <a:rPr lang="en-US" sz="900" kern="1200" dirty="0">
                          <a:solidFill>
                            <a:schemeClr val="dk1"/>
                          </a:solidFill>
                          <a:effectLst/>
                          <a:latin typeface="Arial" panose="020B0604020202020204" pitchFamily="34" charset="0"/>
                          <a:ea typeface="+mn-ea"/>
                          <a:cs typeface="Arial" panose="020B0604020202020204" pitchFamily="34" charset="0"/>
                        </a:rPr>
                        <a:t>(10.4)</a:t>
                      </a:r>
                      <a:endParaRPr kumimoji="1" lang="en-US" sz="900" kern="1200" dirty="0">
                        <a:solidFill>
                          <a:schemeClr val="dk1"/>
                        </a:solidFill>
                        <a:effectLst/>
                        <a:latin typeface="Arial" panose="020B0604020202020204" pitchFamily="34" charset="0"/>
                        <a:ea typeface="Yu Mincho" panose="02020400000000000000" pitchFamily="18" charset="-128"/>
                        <a:cs typeface="Arial" panose="020B0604020202020204" pitchFamily="34" charset="0"/>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rgbClr val="00447C"/>
                      </a:solidFill>
                      <a:prstDash val="solid"/>
                      <a:round/>
                      <a:headEnd type="none" w="med" len="med"/>
                      <a:tailEnd type="none" w="med" len="med"/>
                    </a:lnT>
                    <a:lnB w="12700" cap="flat" cmpd="sng" algn="ctr">
                      <a:solidFill>
                        <a:srgbClr val="00447C"/>
                      </a:solidFill>
                      <a:prstDash val="solid"/>
                      <a:round/>
                      <a:headEnd type="none" w="med" len="med"/>
                      <a:tailEnd type="none" w="med" len="med"/>
                    </a:lnB>
                    <a:lnTlToBr w="12700" cmpd="sng">
                      <a:noFill/>
                      <a:prstDash val="solid"/>
                    </a:lnTlToBr>
                    <a:lnBlToTr w="12700" cmpd="sng">
                      <a:noFill/>
                      <a:prstDash val="solid"/>
                    </a:lnBlToTr>
                    <a:solidFill>
                      <a:srgbClr val="EDF1FB"/>
                    </a:solidFill>
                  </a:tcPr>
                </a:tc>
                <a:extLst>
                  <a:ext uri="{0D108BD9-81ED-4DB2-BD59-A6C34878D82A}">
                    <a16:rowId xmlns:a16="http://schemas.microsoft.com/office/drawing/2014/main" val="1590631812"/>
                  </a:ext>
                </a:extLst>
              </a:tr>
              <a:tr h="228600">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100" b="1" dirty="0">
                          <a:solidFill>
                            <a:schemeClr val="tx1"/>
                          </a:solidFill>
                          <a:latin typeface="Arial" panose="020B0604020202020204" pitchFamily="34" charset="0"/>
                          <a:cs typeface="Arial" panose="020B0604020202020204" pitchFamily="34" charset="0"/>
                        </a:rPr>
                        <a:t>TPC (n = 195)</a:t>
                      </a: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rgbClr val="00447C"/>
                      </a:solidFill>
                      <a:prstDash val="solid"/>
                      <a:round/>
                      <a:headEnd type="none" w="med" len="med"/>
                      <a:tailEnd type="none" w="med" len="med"/>
                    </a:lnT>
                    <a:lnB w="12700" cap="flat" cmpd="sng" algn="ctr">
                      <a:solidFill>
                        <a:srgbClr val="00447C"/>
                      </a:solidFill>
                      <a:prstDash val="solid"/>
                      <a:round/>
                      <a:headEnd type="none" w="med" len="med"/>
                      <a:tailEnd type="none" w="med" len="med"/>
                    </a:lnB>
                    <a:lnTlToBr w="12700" cmpd="sng">
                      <a:noFill/>
                      <a:prstDash val="solid"/>
                    </a:lnTlToBr>
                    <a:lnBlToTr w="12700" cmpd="sng">
                      <a:noFill/>
                      <a:prstDash val="solid"/>
                    </a:lnBlToTr>
                    <a:solidFill>
                      <a:srgbClr val="F7F7F7"/>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0</a:t>
                      </a:r>
                    </a:p>
                  </a:txBody>
                  <a:tcPr marL="68580" marR="68580" marT="34290" marB="3429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rgbClr val="00447C"/>
                      </a:solidFill>
                      <a:prstDash val="solid"/>
                      <a:round/>
                      <a:headEnd type="none" w="med" len="med"/>
                      <a:tailEnd type="none" w="med" len="med"/>
                    </a:lnT>
                    <a:lnB w="12700" cap="flat" cmpd="sng" algn="ctr">
                      <a:solidFill>
                        <a:srgbClr val="00447C"/>
                      </a:solidFill>
                      <a:prstDash val="solid"/>
                      <a:round/>
                      <a:headEnd type="none" w="med" len="med"/>
                      <a:tailEnd type="none" w="med" len="med"/>
                    </a:lnB>
                    <a:lnTlToBr w="12700" cmpd="sng">
                      <a:noFill/>
                      <a:prstDash val="solid"/>
                    </a:lnTlToBr>
                    <a:lnBlToTr w="12700" cmpd="sng">
                      <a:noFill/>
                      <a:prstDash val="solid"/>
                    </a:lnBlToTr>
                    <a:solidFill>
                      <a:srgbClr val="F7F7F7"/>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0</a:t>
                      </a:r>
                    </a:p>
                  </a:txBody>
                  <a:tcPr marL="68580" marR="68580" marT="34290" marB="3429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rgbClr val="00447C"/>
                      </a:solidFill>
                      <a:prstDash val="solid"/>
                      <a:round/>
                      <a:headEnd type="none" w="med" len="med"/>
                      <a:tailEnd type="none" w="med" len="med"/>
                    </a:lnT>
                    <a:lnB w="12700" cap="flat" cmpd="sng" algn="ctr">
                      <a:solidFill>
                        <a:srgbClr val="00447C"/>
                      </a:solidFill>
                      <a:prstDash val="solid"/>
                      <a:round/>
                      <a:headEnd type="none" w="med" len="med"/>
                      <a:tailEnd type="none" w="med" len="med"/>
                    </a:lnB>
                    <a:lnTlToBr w="12700" cmpd="sng">
                      <a:noFill/>
                      <a:prstDash val="solid"/>
                    </a:lnTlToBr>
                    <a:lnBlToTr w="12700" cmpd="sng">
                      <a:noFill/>
                      <a:prstDash val="solid"/>
                    </a:lnBlToTr>
                    <a:solidFill>
                      <a:srgbClr val="F7F7F7"/>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1 (0.5)</a:t>
                      </a:r>
                    </a:p>
                  </a:txBody>
                  <a:tcPr marL="68580" marR="68580" marT="34290" marB="3429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rgbClr val="00447C"/>
                      </a:solidFill>
                      <a:prstDash val="solid"/>
                      <a:round/>
                      <a:headEnd type="none" w="med" len="med"/>
                      <a:tailEnd type="none" w="med" len="med"/>
                    </a:lnT>
                    <a:lnB w="12700" cap="flat" cmpd="sng" algn="ctr">
                      <a:solidFill>
                        <a:srgbClr val="00447C"/>
                      </a:solidFill>
                      <a:prstDash val="solid"/>
                      <a:round/>
                      <a:headEnd type="none" w="med" len="med"/>
                      <a:tailEnd type="none" w="med" len="med"/>
                    </a:lnB>
                    <a:lnTlToBr w="12700" cmpd="sng">
                      <a:noFill/>
                      <a:prstDash val="solid"/>
                    </a:lnTlToBr>
                    <a:lnBlToTr w="12700" cmpd="sng">
                      <a:noFill/>
                      <a:prstDash val="solid"/>
                    </a:lnBlToTr>
                    <a:solidFill>
                      <a:srgbClr val="F7F7F7"/>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0</a:t>
                      </a:r>
                    </a:p>
                  </a:txBody>
                  <a:tcPr marL="68580" marR="68580" marT="34290" marB="3429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rgbClr val="00447C"/>
                      </a:solidFill>
                      <a:prstDash val="solid"/>
                      <a:round/>
                      <a:headEnd type="none" w="med" len="med"/>
                      <a:tailEnd type="none" w="med" len="med"/>
                    </a:lnT>
                    <a:lnB w="12700" cap="flat" cmpd="sng" algn="ctr">
                      <a:solidFill>
                        <a:srgbClr val="00447C"/>
                      </a:solidFill>
                      <a:prstDash val="solid"/>
                      <a:round/>
                      <a:headEnd type="none" w="med" len="med"/>
                      <a:tailEnd type="none" w="med" len="med"/>
                    </a:lnB>
                    <a:lnTlToBr w="12700" cmpd="sng">
                      <a:noFill/>
                      <a:prstDash val="solid"/>
                    </a:lnTlToBr>
                    <a:lnBlToTr w="12700" cmpd="sng">
                      <a:noFill/>
                      <a:prstDash val="solid"/>
                    </a:lnBlToTr>
                    <a:solidFill>
                      <a:srgbClr val="F7F7F7"/>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0</a:t>
                      </a:r>
                    </a:p>
                  </a:txBody>
                  <a:tcPr marL="68580" marR="68580" marT="34290" marB="3429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rgbClr val="00447C"/>
                      </a:solidFill>
                      <a:prstDash val="solid"/>
                      <a:round/>
                      <a:headEnd type="none" w="med" len="med"/>
                      <a:tailEnd type="none" w="med" len="med"/>
                    </a:lnT>
                    <a:lnB w="12700" cap="flat" cmpd="sng" algn="ctr">
                      <a:solidFill>
                        <a:srgbClr val="00447C"/>
                      </a:solidFill>
                      <a:prstDash val="solid"/>
                      <a:round/>
                      <a:headEnd type="none" w="med" len="med"/>
                      <a:tailEnd type="none" w="med" len="med"/>
                    </a:lnB>
                    <a:lnTlToBr w="12700" cmpd="sng">
                      <a:noFill/>
                      <a:prstDash val="solid"/>
                    </a:lnTlToBr>
                    <a:lnBlToTr w="12700" cmpd="sng">
                      <a:noFill/>
                      <a:prstDash val="solid"/>
                    </a:lnBlToTr>
                    <a:solidFill>
                      <a:srgbClr val="F7F7F7"/>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algn="ctr" defTabSz="457200" rtl="0" eaLnBrk="1" latinLnBrk="0" hangingPunct="1">
                        <a:lnSpc>
                          <a:spcPct val="105000"/>
                        </a:lnSpc>
                        <a:spcBef>
                          <a:spcPts val="0"/>
                        </a:spcBef>
                        <a:spcAft>
                          <a:spcPts val="800"/>
                        </a:spcAft>
                      </a:pPr>
                      <a:r>
                        <a:rPr kumimoji="1" lang="en-US" sz="900" kern="1200" dirty="0">
                          <a:solidFill>
                            <a:schemeClr val="dk1"/>
                          </a:solidFill>
                          <a:effectLst/>
                          <a:latin typeface="Arial" panose="020B0604020202020204" pitchFamily="34" charset="0"/>
                          <a:ea typeface="Yu Mincho" panose="02020400000000000000" pitchFamily="18" charset="-128"/>
                          <a:cs typeface="Arial" panose="020B0604020202020204" pitchFamily="34" charset="0"/>
                        </a:rPr>
                        <a:t>1 </a:t>
                      </a:r>
                      <a:r>
                        <a:rPr lang="en-US" sz="900" kern="1200" dirty="0">
                          <a:solidFill>
                            <a:schemeClr val="dk1"/>
                          </a:solidFill>
                          <a:effectLst/>
                          <a:latin typeface="Arial" panose="020B0604020202020204" pitchFamily="34" charset="0"/>
                          <a:ea typeface="+mn-ea"/>
                          <a:cs typeface="Arial" panose="020B0604020202020204" pitchFamily="34" charset="0"/>
                        </a:rPr>
                        <a:t>(0.5)</a:t>
                      </a:r>
                      <a:endParaRPr kumimoji="1" lang="en-US" sz="900" kern="1200" dirty="0">
                        <a:solidFill>
                          <a:schemeClr val="dk1"/>
                        </a:solidFill>
                        <a:effectLst/>
                        <a:latin typeface="Arial" panose="020B0604020202020204" pitchFamily="34" charset="0"/>
                        <a:ea typeface="Yu Mincho" panose="02020400000000000000" pitchFamily="18" charset="-128"/>
                        <a:cs typeface="Arial" panose="020B0604020202020204" pitchFamily="34" charset="0"/>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rgbClr val="00447C"/>
                      </a:solidFill>
                      <a:prstDash val="solid"/>
                      <a:round/>
                      <a:headEnd type="none" w="med" len="med"/>
                      <a:tailEnd type="none" w="med" len="med"/>
                    </a:lnT>
                    <a:lnB w="12700" cap="flat" cmpd="sng" algn="ctr">
                      <a:solidFill>
                        <a:srgbClr val="00447C"/>
                      </a:solidFill>
                      <a:prstDash val="solid"/>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924311384"/>
                  </a:ext>
                </a:extLst>
              </a:tr>
            </a:tbl>
          </a:graphicData>
        </a:graphic>
      </p:graphicFrame>
      <p:sp>
        <p:nvSpPr>
          <p:cNvPr id="5" name="Text Placeholder 3">
            <a:extLst>
              <a:ext uri="{FF2B5EF4-FFF2-40B4-BE49-F238E27FC236}">
                <a16:creationId xmlns:a16="http://schemas.microsoft.com/office/drawing/2014/main" id="{D48A0C57-6453-11AE-9F63-A571CD929F75}"/>
              </a:ext>
            </a:extLst>
          </p:cNvPr>
          <p:cNvSpPr>
            <a:spLocks noGrp="1"/>
          </p:cNvSpPr>
          <p:nvPr>
            <p:ph type="body" idx="1"/>
          </p:nvPr>
        </p:nvSpPr>
        <p:spPr>
          <a:xfrm>
            <a:off x="508571" y="2078703"/>
            <a:ext cx="7983021" cy="1798781"/>
          </a:xfrm>
        </p:spPr>
        <p:txBody>
          <a:bodyPr/>
          <a:lstStyle/>
          <a:p>
            <a:pPr marL="214313" indent="-214313" defTabSz="342900" fontAlgn="auto">
              <a:spcBef>
                <a:spcPts val="225"/>
              </a:spcBef>
              <a:buClrTx/>
              <a:buSzTx/>
              <a:buFont typeface="Arial" panose="020B0604020202020204" pitchFamily="34" charset="0"/>
              <a:buChar char="•"/>
              <a:defRPr/>
            </a:pPr>
            <a:r>
              <a:rPr lang="en-US" sz="1350" kern="1200" dirty="0">
                <a:solidFill>
                  <a:srgbClr val="000000"/>
                </a:solidFill>
                <a:latin typeface="Arial"/>
                <a:ea typeface="+mn-ea"/>
                <a:cs typeface="Calibri" panose="020F0502020204030204" pitchFamily="34" charset="0"/>
              </a:rPr>
              <a:t>Median time to onset of adjudicated drug-related ILD was 209.5 days (range, 41-638 days) </a:t>
            </a:r>
            <a:br>
              <a:rPr lang="en-US" sz="1350" kern="1200" dirty="0">
                <a:solidFill>
                  <a:srgbClr val="000000"/>
                </a:solidFill>
                <a:latin typeface="Arial"/>
                <a:ea typeface="+mn-ea"/>
                <a:cs typeface="Calibri" panose="020F0502020204030204" pitchFamily="34" charset="0"/>
              </a:rPr>
            </a:br>
            <a:r>
              <a:rPr lang="en-US" sz="1350" kern="1200" dirty="0">
                <a:solidFill>
                  <a:srgbClr val="000000"/>
                </a:solidFill>
                <a:latin typeface="Arial"/>
                <a:ea typeface="+mn-ea"/>
                <a:cs typeface="Calibri" panose="020F0502020204030204" pitchFamily="34" charset="0"/>
              </a:rPr>
              <a:t>with T‑DXd</a:t>
            </a:r>
            <a:endParaRPr lang="en-US" sz="1350" dirty="0">
              <a:solidFill>
                <a:srgbClr val="000000"/>
              </a:solidFill>
              <a:latin typeface="Arial"/>
              <a:ea typeface="+mn-ea"/>
              <a:cs typeface="Calibri" panose="020F0502020204030204" pitchFamily="34" charset="0"/>
            </a:endParaRPr>
          </a:p>
          <a:p>
            <a:pPr marL="214313" indent="-214313" defTabSz="342900" fontAlgn="auto">
              <a:spcBef>
                <a:spcPts val="225"/>
              </a:spcBef>
              <a:buClrTx/>
              <a:buSzTx/>
              <a:buFont typeface="Arial" panose="020B0604020202020204" pitchFamily="34" charset="0"/>
              <a:buChar char="•"/>
              <a:defRPr/>
            </a:pPr>
            <a:endParaRPr lang="en-US" sz="1200" dirty="0">
              <a:solidFill>
                <a:srgbClr val="000000"/>
              </a:solidFill>
              <a:latin typeface="Arial"/>
              <a:ea typeface="+mn-ea"/>
              <a:cs typeface="Calibri" panose="020F0502020204030204" pitchFamily="34" charset="0"/>
            </a:endParaRPr>
          </a:p>
          <a:p>
            <a:pPr marL="214313" indent="-214313" defTabSz="342900" fontAlgn="auto">
              <a:spcBef>
                <a:spcPts val="225"/>
              </a:spcBef>
              <a:buClrTx/>
              <a:buSzTx/>
              <a:buFont typeface="Arial" panose="020B0604020202020204" pitchFamily="34" charset="0"/>
              <a:buChar char="•"/>
              <a:defRPr/>
            </a:pPr>
            <a:endParaRPr lang="en-US" sz="900" dirty="0">
              <a:solidFill>
                <a:srgbClr val="000000"/>
              </a:solidFill>
              <a:latin typeface="Arial"/>
              <a:ea typeface="+mn-ea"/>
              <a:cs typeface="Calibri" panose="020F0502020204030204" pitchFamily="34" charset="0"/>
            </a:endParaRPr>
          </a:p>
          <a:p>
            <a:pPr marL="214313" indent="-214313" defTabSz="342900">
              <a:spcBef>
                <a:spcPts val="225"/>
              </a:spcBef>
              <a:buClrTx/>
              <a:buSzTx/>
              <a:buFont typeface="Arial" panose="020B0604020202020204" pitchFamily="34" charset="0"/>
              <a:buChar char="•"/>
              <a:defRPr/>
            </a:pPr>
            <a:r>
              <a:rPr lang="en-US" sz="1350" dirty="0">
                <a:solidFill>
                  <a:srgbClr val="000000"/>
                </a:solidFill>
                <a:latin typeface="Arial"/>
                <a:ea typeface="+mn-ea"/>
                <a:cs typeface="Calibri" panose="020F0502020204030204" pitchFamily="34" charset="0"/>
              </a:rPr>
              <a:t>In the T-DXd arm, 18 (4.5%) patients experienced an LV dysfunction event</a:t>
            </a:r>
            <a:r>
              <a:rPr lang="en-US" sz="1350" baseline="30000" dirty="0">
                <a:solidFill>
                  <a:srgbClr val="000000"/>
                </a:solidFill>
                <a:latin typeface="Arial"/>
                <a:ea typeface="+mn-ea"/>
                <a:cs typeface="Calibri" panose="020F0502020204030204" pitchFamily="34" charset="0"/>
              </a:rPr>
              <a:t>c</a:t>
            </a:r>
            <a:r>
              <a:rPr lang="en-US" sz="1350" dirty="0">
                <a:solidFill>
                  <a:srgbClr val="000000"/>
                </a:solidFill>
                <a:latin typeface="Arial"/>
                <a:ea typeface="+mn-ea"/>
                <a:cs typeface="Calibri" panose="020F0502020204030204" pitchFamily="34" charset="0"/>
              </a:rPr>
              <a:t> </a:t>
            </a:r>
          </a:p>
          <a:p>
            <a:pPr marL="671501" lvl="1" indent="-214313" defTabSz="342900">
              <a:spcBef>
                <a:spcPts val="225"/>
              </a:spcBef>
              <a:buClrTx/>
              <a:buSzTx/>
              <a:buFont typeface="Arial" panose="020B0604020202020204" pitchFamily="34" charset="0"/>
              <a:buChar char="•"/>
              <a:defRPr/>
            </a:pPr>
            <a:r>
              <a:rPr lang="en-US" sz="1350" dirty="0">
                <a:solidFill>
                  <a:srgbClr val="000000"/>
                </a:solidFill>
                <a:latin typeface="Arial"/>
                <a:ea typeface="+mn-ea"/>
                <a:cs typeface="Calibri" panose="020F0502020204030204" pitchFamily="34" charset="0"/>
              </a:rPr>
              <a:t>2 (0.5%) patients had a grade ≥3 event</a:t>
            </a:r>
          </a:p>
          <a:p>
            <a:pPr marL="214313" indent="-214313" defTabSz="342900">
              <a:spcBef>
                <a:spcPts val="225"/>
              </a:spcBef>
              <a:buClrTx/>
              <a:buSzTx/>
              <a:buFont typeface="Arial" panose="020B0604020202020204" pitchFamily="34" charset="0"/>
              <a:buChar char="•"/>
              <a:defRPr/>
            </a:pPr>
            <a:r>
              <a:rPr lang="en-US" sz="1350" dirty="0">
                <a:solidFill>
                  <a:srgbClr val="000000"/>
                </a:solidFill>
                <a:latin typeface="Arial"/>
                <a:ea typeface="+mn-ea"/>
                <a:cs typeface="Calibri" panose="020F0502020204030204" pitchFamily="34" charset="0"/>
              </a:rPr>
              <a:t>In the TPC arm, 3 (1.5%) patients experienced an LV dysfunction</a:t>
            </a:r>
            <a:r>
              <a:rPr lang="en-US" sz="1350" baseline="30000" dirty="0">
                <a:solidFill>
                  <a:srgbClr val="000000"/>
                </a:solidFill>
                <a:latin typeface="Arial"/>
                <a:ea typeface="+mn-ea"/>
                <a:cs typeface="Calibri" panose="020F0502020204030204" pitchFamily="34" charset="0"/>
              </a:rPr>
              <a:t>d</a:t>
            </a:r>
          </a:p>
          <a:p>
            <a:pPr marL="671501" lvl="1" indent="-214313" defTabSz="342900">
              <a:spcBef>
                <a:spcPts val="225"/>
              </a:spcBef>
              <a:buClrTx/>
              <a:buSzTx/>
              <a:buFont typeface="Arial" panose="020B0604020202020204" pitchFamily="34" charset="0"/>
              <a:buChar char="•"/>
              <a:defRPr/>
            </a:pPr>
            <a:r>
              <a:rPr lang="en-US" sz="1350" dirty="0">
                <a:solidFill>
                  <a:srgbClr val="000000"/>
                </a:solidFill>
                <a:latin typeface="Arial"/>
                <a:ea typeface="+mn-ea"/>
                <a:cs typeface="Calibri" panose="020F0502020204030204" pitchFamily="34" charset="0"/>
              </a:rPr>
              <a:t>1 (0.5%) patient had a grade ≥3 event</a:t>
            </a:r>
          </a:p>
          <a:p>
            <a:pPr marL="671501" lvl="1" indent="-214313" defTabSz="342900">
              <a:spcBef>
                <a:spcPts val="225"/>
              </a:spcBef>
              <a:buClrTx/>
              <a:buSzTx/>
              <a:buFont typeface="Arial" panose="020B0604020202020204" pitchFamily="34" charset="0"/>
              <a:buChar char="•"/>
              <a:defRPr/>
            </a:pPr>
            <a:endParaRPr lang="en-US" sz="1200" dirty="0">
              <a:solidFill>
                <a:srgbClr val="000000"/>
              </a:solidFill>
              <a:latin typeface="Arial"/>
              <a:ea typeface="+mn-ea"/>
              <a:cs typeface="Calibri" panose="020F0502020204030204" pitchFamily="34" charset="0"/>
            </a:endParaRPr>
          </a:p>
          <a:p>
            <a:pPr marL="214313" indent="-214313" defTabSz="342900" fontAlgn="auto">
              <a:spcBef>
                <a:spcPts val="225"/>
              </a:spcBef>
              <a:buClrTx/>
              <a:buSzTx/>
              <a:buFont typeface="Arial" panose="020B0604020202020204" pitchFamily="34" charset="0"/>
              <a:buChar char="•"/>
              <a:defRPr/>
            </a:pPr>
            <a:endParaRPr lang="en-US" sz="900" dirty="0">
              <a:solidFill>
                <a:srgbClr val="000000"/>
              </a:solidFill>
              <a:latin typeface="Arial"/>
              <a:ea typeface="+mn-ea"/>
              <a:cs typeface="Calibri" panose="020F0502020204030204" pitchFamily="34" charset="0"/>
            </a:endParaRPr>
          </a:p>
          <a:p>
            <a:pPr marL="214313" indent="-214313" defTabSz="342900" fontAlgn="auto">
              <a:spcBef>
                <a:spcPts val="225"/>
              </a:spcBef>
              <a:buClrTx/>
              <a:buSzTx/>
              <a:buFont typeface="Arial" panose="020B0604020202020204" pitchFamily="34" charset="0"/>
              <a:buChar char="•"/>
              <a:defRPr/>
            </a:pPr>
            <a:endParaRPr lang="en-US" sz="900" dirty="0">
              <a:solidFill>
                <a:srgbClr val="000000"/>
              </a:solidFill>
              <a:latin typeface="Arial"/>
              <a:ea typeface="+mn-ea"/>
              <a:cs typeface="Calibri" panose="020F0502020204030204" pitchFamily="34" charset="0"/>
            </a:endParaRPr>
          </a:p>
          <a:p>
            <a:pPr marL="214313" indent="-214313" defTabSz="342900" fontAlgn="auto">
              <a:spcBef>
                <a:spcPts val="225"/>
              </a:spcBef>
              <a:buClrTx/>
              <a:buSzTx/>
              <a:buFont typeface="Arial" panose="020B0604020202020204" pitchFamily="34" charset="0"/>
              <a:buChar char="•"/>
              <a:defRPr/>
            </a:pPr>
            <a:endParaRPr lang="en-US" sz="1200" kern="1200" dirty="0">
              <a:solidFill>
                <a:srgbClr val="000000"/>
              </a:solidFill>
              <a:latin typeface="Arial"/>
              <a:ea typeface="+mn-ea"/>
              <a:cs typeface="Calibri" panose="020F0502020204030204" pitchFamily="34" charset="0"/>
            </a:endParaRPr>
          </a:p>
        </p:txBody>
      </p:sp>
      <p:sp>
        <p:nvSpPr>
          <p:cNvPr id="7" name="Rectangle 6">
            <a:extLst>
              <a:ext uri="{FF2B5EF4-FFF2-40B4-BE49-F238E27FC236}">
                <a16:creationId xmlns:a16="http://schemas.microsoft.com/office/drawing/2014/main" id="{94EC43A7-7729-73B0-AB24-285122C90F76}"/>
              </a:ext>
            </a:extLst>
          </p:cNvPr>
          <p:cNvSpPr/>
          <p:nvPr/>
        </p:nvSpPr>
        <p:spPr>
          <a:xfrm>
            <a:off x="508571" y="2609786"/>
            <a:ext cx="7983020" cy="276953"/>
          </a:xfrm>
          <a:prstGeom prst="rect">
            <a:avLst/>
          </a:prstGeom>
          <a:solidFill>
            <a:srgbClr val="00298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800" b="1" dirty="0">
                <a:latin typeface="Arial" panose="020B0604020202020204" pitchFamily="34" charset="0"/>
                <a:cs typeface="Arial" panose="020B0604020202020204" pitchFamily="34" charset="0"/>
              </a:rPr>
              <a:t>LV dysfunction</a:t>
            </a:r>
          </a:p>
        </p:txBody>
      </p:sp>
    </p:spTree>
    <p:extLst>
      <p:ext uri="{BB962C8B-B14F-4D97-AF65-F5344CB8AC3E}">
        <p14:creationId xmlns:p14="http://schemas.microsoft.com/office/powerpoint/2010/main" val="33962326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
                                            <p:txEl>
                                              <p:pRg st="3" end="3"/>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5">
                                            <p:txEl>
                                              <p:pRg st="4" end="4"/>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5">
                                            <p:txEl>
                                              <p:pRg st="5" end="5"/>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5">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B26196B-FEF5-465A-945B-22B2FE2E9A0E}"/>
              </a:ext>
            </a:extLst>
          </p:cNvPr>
          <p:cNvSpPr>
            <a:spLocks noGrp="1"/>
          </p:cNvSpPr>
          <p:nvPr>
            <p:ph type="body" idx="1"/>
          </p:nvPr>
        </p:nvSpPr>
        <p:spPr>
          <a:xfrm>
            <a:off x="304288" y="941093"/>
            <a:ext cx="8598347" cy="2898363"/>
          </a:xfrm>
        </p:spPr>
        <p:txBody>
          <a:bodyPr>
            <a:normAutofit fontScale="85000" lnSpcReduction="10000"/>
          </a:bodyPr>
          <a:lstStyle/>
          <a:p>
            <a:pPr marL="170260" indent="-170260">
              <a:lnSpc>
                <a:spcPct val="110000"/>
              </a:lnSpc>
              <a:spcBef>
                <a:spcPts val="450"/>
              </a:spcBef>
              <a:spcAft>
                <a:spcPts val="450"/>
              </a:spcAft>
              <a:buFont typeface="Arial"/>
              <a:buChar char="•"/>
              <a:defRPr/>
            </a:pPr>
            <a:r>
              <a:rPr lang="en-US" sz="1575" b="1" dirty="0">
                <a:solidFill>
                  <a:schemeClr val="tx1"/>
                </a:solidFill>
              </a:rPr>
              <a:t>In DESTINY-Breast02, T-DXd demonstrated statistically significant and clinically meaningful improvement in PFS and OS vs TPC </a:t>
            </a:r>
            <a:r>
              <a:rPr lang="en-US" sz="1575" b="1" dirty="0">
                <a:solidFill>
                  <a:schemeClr val="tx1"/>
                </a:solidFill>
                <a:latin typeface="Arial"/>
              </a:rPr>
              <a:t>for patients with HER2+ mBC previously treated with T-DM1</a:t>
            </a:r>
          </a:p>
          <a:p>
            <a:pPr marL="341710" lvl="1" indent="-170260">
              <a:lnSpc>
                <a:spcPct val="110000"/>
              </a:lnSpc>
              <a:spcBef>
                <a:spcPts val="450"/>
              </a:spcBef>
              <a:spcAft>
                <a:spcPts val="450"/>
              </a:spcAft>
              <a:buFont typeface="Arial"/>
              <a:buChar char="•"/>
              <a:defRPr/>
            </a:pPr>
            <a:r>
              <a:rPr lang="en-GB" sz="1425" dirty="0" err="1">
                <a:solidFill>
                  <a:schemeClr val="tx1"/>
                </a:solidFill>
                <a:latin typeface="Arial" panose="020B0604020202020204" pitchFamily="34" charset="0"/>
                <a:cs typeface="Arial" panose="020B0604020202020204" pitchFamily="34" charset="0"/>
              </a:rPr>
              <a:t>mPFS</a:t>
            </a:r>
            <a:r>
              <a:rPr lang="en-GB" sz="1425" dirty="0">
                <a:solidFill>
                  <a:schemeClr val="tx1"/>
                </a:solidFill>
                <a:latin typeface="Arial" panose="020B0604020202020204" pitchFamily="34" charset="0"/>
                <a:cs typeface="Arial" panose="020B0604020202020204" pitchFamily="34" charset="0"/>
              </a:rPr>
              <a:t> results showed T-DXd reduced the risk of progression or death compared with TPC (</a:t>
            </a:r>
            <a:r>
              <a:rPr lang="en-GB" sz="1425" dirty="0" err="1">
                <a:solidFill>
                  <a:schemeClr val="tx1"/>
                </a:solidFill>
                <a:latin typeface="Arial" panose="020B0604020202020204" pitchFamily="34" charset="0"/>
                <a:cs typeface="Arial" panose="020B0604020202020204" pitchFamily="34" charset="0"/>
              </a:rPr>
              <a:t>mPFS</a:t>
            </a:r>
            <a:r>
              <a:rPr lang="en-GB" sz="1425" dirty="0">
                <a:solidFill>
                  <a:schemeClr val="tx1"/>
                </a:solidFill>
                <a:latin typeface="Arial" panose="020B0604020202020204" pitchFamily="34" charset="0"/>
                <a:cs typeface="Arial" panose="020B0604020202020204" pitchFamily="34" charset="0"/>
              </a:rPr>
              <a:t> of 17.8 and 6.9 months, respectively; HR, 0.3589; 95% CI, 0.2840-0.4535; </a:t>
            </a:r>
            <a:r>
              <a:rPr lang="en-GB" sz="1425" i="1" dirty="0">
                <a:solidFill>
                  <a:schemeClr val="tx1"/>
                </a:solidFill>
                <a:latin typeface="Arial" panose="020B0604020202020204" pitchFamily="34" charset="0"/>
                <a:cs typeface="Arial" panose="020B0604020202020204" pitchFamily="34" charset="0"/>
              </a:rPr>
              <a:t>P </a:t>
            </a:r>
            <a:r>
              <a:rPr lang="en-GB" sz="1425" dirty="0">
                <a:solidFill>
                  <a:schemeClr val="tx1"/>
                </a:solidFill>
                <a:latin typeface="Arial" panose="020B0604020202020204" pitchFamily="34" charset="0"/>
                <a:cs typeface="Arial" panose="020B0604020202020204" pitchFamily="34" charset="0"/>
              </a:rPr>
              <a:t>&lt; 0.000001)</a:t>
            </a:r>
            <a:endParaRPr lang="en-GB" sz="1425" baseline="30000" dirty="0">
              <a:solidFill>
                <a:schemeClr val="tx1"/>
              </a:solidFill>
              <a:latin typeface="Arial" panose="020B0604020202020204" pitchFamily="34" charset="0"/>
              <a:cs typeface="Arial" panose="020B0604020202020204" pitchFamily="34" charset="0"/>
            </a:endParaRPr>
          </a:p>
          <a:p>
            <a:pPr marL="341710" lvl="1" indent="-170260">
              <a:lnSpc>
                <a:spcPct val="110000"/>
              </a:lnSpc>
              <a:spcBef>
                <a:spcPts val="450"/>
              </a:spcBef>
              <a:spcAft>
                <a:spcPts val="450"/>
              </a:spcAft>
              <a:buFont typeface="Arial"/>
              <a:buChar char="•"/>
              <a:defRPr/>
            </a:pPr>
            <a:r>
              <a:rPr lang="en-GB" sz="1425" dirty="0" err="1">
                <a:solidFill>
                  <a:schemeClr val="tx1"/>
                </a:solidFill>
                <a:latin typeface="Arial" panose="020B0604020202020204" pitchFamily="34" charset="0"/>
                <a:cs typeface="Arial" panose="020B0604020202020204" pitchFamily="34" charset="0"/>
              </a:rPr>
              <a:t>mOS</a:t>
            </a:r>
            <a:r>
              <a:rPr lang="en-GB" sz="1425" dirty="0">
                <a:solidFill>
                  <a:schemeClr val="tx1"/>
                </a:solidFill>
                <a:latin typeface="Arial" panose="020B0604020202020204" pitchFamily="34" charset="0"/>
                <a:cs typeface="Arial" panose="020B0604020202020204" pitchFamily="34" charset="0"/>
              </a:rPr>
              <a:t> results showed T-DXd reduced the risk of death compared with TPC (</a:t>
            </a:r>
            <a:r>
              <a:rPr lang="en-GB" sz="1425" dirty="0" err="1">
                <a:solidFill>
                  <a:schemeClr val="tx1"/>
                </a:solidFill>
                <a:latin typeface="Arial" panose="020B0604020202020204" pitchFamily="34" charset="0"/>
                <a:cs typeface="Arial" panose="020B0604020202020204" pitchFamily="34" charset="0"/>
              </a:rPr>
              <a:t>mOS</a:t>
            </a:r>
            <a:r>
              <a:rPr lang="en-GB" sz="1425" dirty="0">
                <a:solidFill>
                  <a:schemeClr val="tx1"/>
                </a:solidFill>
                <a:latin typeface="Arial" panose="020B0604020202020204" pitchFamily="34" charset="0"/>
                <a:cs typeface="Arial" panose="020B0604020202020204" pitchFamily="34" charset="0"/>
              </a:rPr>
              <a:t> of 39.2 and 26.5 months, respectively; HR, 0.6575; 95% CI; 0.5023-0.8605; </a:t>
            </a:r>
            <a:r>
              <a:rPr lang="en-GB" sz="1425" i="1" dirty="0">
                <a:solidFill>
                  <a:schemeClr val="tx1"/>
                </a:solidFill>
                <a:latin typeface="Arial" panose="020B0604020202020204" pitchFamily="34" charset="0"/>
                <a:cs typeface="Arial" panose="020B0604020202020204" pitchFamily="34" charset="0"/>
              </a:rPr>
              <a:t>P </a:t>
            </a:r>
            <a:r>
              <a:rPr lang="en-GB" sz="1425" dirty="0">
                <a:solidFill>
                  <a:schemeClr val="tx1"/>
                </a:solidFill>
                <a:latin typeface="Arial" panose="020B0604020202020204" pitchFamily="34" charset="0"/>
                <a:cs typeface="Arial" panose="020B0604020202020204" pitchFamily="34" charset="0"/>
              </a:rPr>
              <a:t>= 0.0021)                     </a:t>
            </a:r>
          </a:p>
          <a:p>
            <a:pPr marL="172641" indent="-172641">
              <a:lnSpc>
                <a:spcPct val="110000"/>
              </a:lnSpc>
              <a:spcBef>
                <a:spcPts val="450"/>
              </a:spcBef>
              <a:spcAft>
                <a:spcPts val="450"/>
              </a:spcAft>
              <a:buFont typeface="Arial"/>
              <a:buChar char="•"/>
              <a:defRPr/>
            </a:pPr>
            <a:r>
              <a:rPr lang="en-US" sz="1575" b="1" dirty="0">
                <a:solidFill>
                  <a:schemeClr val="tx1"/>
                </a:solidFill>
                <a:latin typeface="Arial"/>
              </a:rPr>
              <a:t>The overall safety profile was consistent with the established safety of T-DXd, with no new safety signals observed</a:t>
            </a:r>
          </a:p>
          <a:p>
            <a:pPr marL="341710" lvl="1" indent="-170260">
              <a:lnSpc>
                <a:spcPct val="110000"/>
              </a:lnSpc>
              <a:spcBef>
                <a:spcPts val="450"/>
              </a:spcBef>
              <a:spcAft>
                <a:spcPts val="450"/>
              </a:spcAft>
              <a:buFont typeface="Arial"/>
              <a:buChar char="•"/>
              <a:defRPr/>
            </a:pPr>
            <a:r>
              <a:rPr lang="en-GB" sz="1425" dirty="0">
                <a:solidFill>
                  <a:schemeClr val="tx1"/>
                </a:solidFill>
                <a:latin typeface="Arial" panose="020B0604020202020204" pitchFamily="34" charset="0"/>
                <a:cs typeface="Arial" panose="020B0604020202020204" pitchFamily="34" charset="0"/>
              </a:rPr>
              <a:t>Overall incidence of ILD for T-DXd in DESTINY-Breast02 was 10.4% (grade 1/2 events, 9.2%)</a:t>
            </a:r>
          </a:p>
          <a:p>
            <a:pPr marL="341710" lvl="1" indent="-170260">
              <a:lnSpc>
                <a:spcPct val="110000"/>
              </a:lnSpc>
              <a:spcBef>
                <a:spcPts val="450"/>
              </a:spcBef>
              <a:spcAft>
                <a:spcPts val="450"/>
              </a:spcAft>
              <a:buFont typeface="Arial"/>
              <a:buChar char="•"/>
              <a:defRPr/>
            </a:pPr>
            <a:r>
              <a:rPr lang="en-US" sz="1425" dirty="0">
                <a:solidFill>
                  <a:schemeClr val="tx1"/>
                </a:solidFill>
                <a:latin typeface="Arial" panose="020B0604020202020204" pitchFamily="34" charset="0"/>
                <a:cs typeface="Arial" panose="020B0604020202020204" pitchFamily="34" charset="0"/>
              </a:rPr>
              <a:t>Fewer grade 5 ILD events were observed in DESTINY-Breast02 (0.5%) compared with DESTINY-Breast01 (2.7%)</a:t>
            </a:r>
            <a:r>
              <a:rPr lang="en-US" sz="1425" baseline="30000" dirty="0">
                <a:solidFill>
                  <a:schemeClr val="tx1"/>
                </a:solidFill>
                <a:latin typeface="Arial" panose="020B0604020202020204" pitchFamily="34" charset="0"/>
                <a:cs typeface="Arial" panose="020B0604020202020204" pitchFamily="34" charset="0"/>
              </a:rPr>
              <a:t>1-2</a:t>
            </a:r>
          </a:p>
        </p:txBody>
      </p:sp>
      <p:sp>
        <p:nvSpPr>
          <p:cNvPr id="2" name="Title 1">
            <a:extLst>
              <a:ext uri="{FF2B5EF4-FFF2-40B4-BE49-F238E27FC236}">
                <a16:creationId xmlns:a16="http://schemas.microsoft.com/office/drawing/2014/main" id="{C08ED3D2-1518-4798-82C6-5B91689109C4}"/>
              </a:ext>
            </a:extLst>
          </p:cNvPr>
          <p:cNvSpPr>
            <a:spLocks noGrp="1"/>
          </p:cNvSpPr>
          <p:nvPr>
            <p:ph type="ctrTitle"/>
          </p:nvPr>
        </p:nvSpPr>
        <p:spPr>
          <a:xfrm>
            <a:off x="359999" y="447203"/>
            <a:ext cx="8409765" cy="432000"/>
          </a:xfrm>
        </p:spPr>
        <p:txBody>
          <a:bodyPr/>
          <a:lstStyle/>
          <a:p>
            <a:r>
              <a:rPr lang="en-US" sz="2100" dirty="0">
                <a:solidFill>
                  <a:schemeClr val="tx1"/>
                </a:solidFill>
              </a:rPr>
              <a:t>Conclusions</a:t>
            </a:r>
          </a:p>
        </p:txBody>
      </p:sp>
      <p:sp>
        <p:nvSpPr>
          <p:cNvPr id="8" name="Rectangle 7">
            <a:extLst>
              <a:ext uri="{FF2B5EF4-FFF2-40B4-BE49-F238E27FC236}">
                <a16:creationId xmlns:a16="http://schemas.microsoft.com/office/drawing/2014/main" id="{27A6F0BE-16A6-D64A-AAE6-9D133161FAE0}"/>
              </a:ext>
            </a:extLst>
          </p:cNvPr>
          <p:cNvSpPr/>
          <p:nvPr/>
        </p:nvSpPr>
        <p:spPr>
          <a:xfrm>
            <a:off x="304288" y="3839456"/>
            <a:ext cx="8535425" cy="630731"/>
          </a:xfrm>
          <a:prstGeom prst="rect">
            <a:avLst/>
          </a:prstGeom>
          <a:solidFill>
            <a:srgbClr val="EDF1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26997" algn="ctr">
              <a:spcBef>
                <a:spcPts val="900"/>
              </a:spcBef>
            </a:pPr>
            <a:r>
              <a:rPr kumimoji="1" lang="en-GB" sz="1500" b="1" dirty="0">
                <a:solidFill>
                  <a:schemeClr val="accent4"/>
                </a:solidFill>
                <a:latin typeface="Arial"/>
              </a:rPr>
              <a:t>DESTINY-Breast02 confirms the favorable benefit/risk profile of T-DXd in patients with advanced HER2+ mBC, as previously demonstrated by DESTINY-Breast01</a:t>
            </a:r>
          </a:p>
        </p:txBody>
      </p:sp>
    </p:spTree>
    <p:extLst>
      <p:ext uri="{BB962C8B-B14F-4D97-AF65-F5344CB8AC3E}">
        <p14:creationId xmlns:p14="http://schemas.microsoft.com/office/powerpoint/2010/main" val="3924562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3" end="3"/>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xEl>
                                              <p:pRg st="4" end="4"/>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a:xfrm>
            <a:off x="165005" y="1168401"/>
            <a:ext cx="8532108" cy="2915920"/>
          </a:xfrm>
        </p:spPr>
        <p:txBody>
          <a:bodyPr/>
          <a:lstStyle/>
          <a:p>
            <a:pPr algn="l"/>
            <a:r>
              <a:rPr lang="en-US" dirty="0">
                <a:solidFill>
                  <a:srgbClr val="002E51"/>
                </a:solidFill>
              </a:rPr>
              <a:t>HER2- low: </a:t>
            </a:r>
          </a:p>
          <a:p>
            <a:pPr marL="342900" indent="-342900" algn="l">
              <a:buFont typeface="Arial" panose="020B0604020202020204" pitchFamily="34" charset="0"/>
              <a:buChar char="•"/>
            </a:pPr>
            <a:r>
              <a:rPr lang="en-US" dirty="0">
                <a:solidFill>
                  <a:srgbClr val="002E51"/>
                </a:solidFill>
              </a:rPr>
              <a:t>Score of 1+ on immunohistochemical [IHC] analysis</a:t>
            </a:r>
          </a:p>
          <a:p>
            <a:pPr marL="342900" indent="-342900" algn="l">
              <a:buFont typeface="Arial" panose="020B0604020202020204" pitchFamily="34" charset="0"/>
              <a:buChar char="•"/>
            </a:pPr>
            <a:r>
              <a:rPr lang="en-US" dirty="0">
                <a:solidFill>
                  <a:srgbClr val="002E51"/>
                </a:solidFill>
              </a:rPr>
              <a:t>IHC score of 2+ and negative results on in situ hybridization (ISH).</a:t>
            </a:r>
          </a:p>
          <a:p>
            <a:pPr marL="342900" indent="-342900" algn="l">
              <a:buFont typeface="Arial" panose="020B0604020202020204" pitchFamily="34" charset="0"/>
              <a:buChar char="•"/>
            </a:pPr>
            <a:endParaRPr lang="en-US" dirty="0">
              <a:solidFill>
                <a:srgbClr val="002E51"/>
              </a:solidFill>
            </a:endParaRPr>
          </a:p>
        </p:txBody>
      </p:sp>
      <p:sp>
        <p:nvSpPr>
          <p:cNvPr id="4" name="Title 3"/>
          <p:cNvSpPr>
            <a:spLocks noGrp="1"/>
          </p:cNvSpPr>
          <p:nvPr>
            <p:ph type="title"/>
          </p:nvPr>
        </p:nvSpPr>
        <p:spPr>
          <a:xfrm>
            <a:off x="-302508" y="131177"/>
            <a:ext cx="9144000" cy="807256"/>
          </a:xfrm>
        </p:spPr>
        <p:txBody>
          <a:bodyPr/>
          <a:lstStyle/>
          <a:p>
            <a:r>
              <a:rPr lang="en-US" b="1" dirty="0"/>
              <a:t>HER2- Low</a:t>
            </a:r>
          </a:p>
        </p:txBody>
      </p:sp>
    </p:spTree>
    <p:extLst>
      <p:ext uri="{BB962C8B-B14F-4D97-AF65-F5344CB8AC3E}">
        <p14:creationId xmlns:p14="http://schemas.microsoft.com/office/powerpoint/2010/main" val="3531921222"/>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457B37C9-87EF-1296-3C05-7373915E7DEA}"/>
              </a:ext>
            </a:extLst>
          </p:cNvPr>
          <p:cNvGraphicFramePr>
            <a:graphicFrameLocks noChangeAspect="1"/>
          </p:cNvGraphicFramePr>
          <p:nvPr>
            <p:custDataLst>
              <p:tags r:id="rId1"/>
            </p:custDataLst>
          </p:nvPr>
        </p:nvGraphicFramePr>
        <p:xfrm>
          <a:off x="1589" y="3970"/>
          <a:ext cx="1588" cy="1588"/>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4" name="Objekt 3" hidden="1">
                        <a:extLst>
                          <a:ext uri="{FF2B5EF4-FFF2-40B4-BE49-F238E27FC236}">
                            <a16:creationId xmlns:a16="http://schemas.microsoft.com/office/drawing/2014/main" id="{457B37C9-87EF-1296-3C05-7373915E7DEA}"/>
                          </a:ext>
                        </a:extLst>
                      </p:cNvPr>
                      <p:cNvPicPr/>
                      <p:nvPr/>
                    </p:nvPicPr>
                    <p:blipFill>
                      <a:blip r:embed="rId4"/>
                      <a:stretch>
                        <a:fillRect/>
                      </a:stretch>
                    </p:blipFill>
                    <p:spPr>
                      <a:xfrm>
                        <a:off x="1589" y="3970"/>
                        <a:ext cx="1588" cy="1588"/>
                      </a:xfrm>
                      <a:prstGeom prst="rect">
                        <a:avLst/>
                      </a:prstGeom>
                    </p:spPr>
                  </p:pic>
                </p:oleObj>
              </mc:Fallback>
            </mc:AlternateContent>
          </a:graphicData>
        </a:graphic>
      </p:graphicFrame>
      <p:sp>
        <p:nvSpPr>
          <p:cNvPr id="7" name="Rechteck: obere Ecken abgerundet 6">
            <a:extLst>
              <a:ext uri="{FF2B5EF4-FFF2-40B4-BE49-F238E27FC236}">
                <a16:creationId xmlns:a16="http://schemas.microsoft.com/office/drawing/2014/main" id="{33A7A278-447D-849D-3451-739D1D192350}"/>
              </a:ext>
            </a:extLst>
          </p:cNvPr>
          <p:cNvSpPr/>
          <p:nvPr/>
        </p:nvSpPr>
        <p:spPr>
          <a:xfrm>
            <a:off x="468078" y="667719"/>
            <a:ext cx="8257016" cy="326749"/>
          </a:xfrm>
          <a:prstGeom prst="round2SameRect">
            <a:avLst>
              <a:gd name="adj1" fmla="val 43749"/>
              <a:gd name="adj2" fmla="val 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spcAft>
                <a:spcPts val="425"/>
              </a:spcAft>
              <a:defRPr/>
            </a:pPr>
            <a:endParaRPr lang="de-DE" sz="1050" dirty="0" err="1">
              <a:solidFill>
                <a:prstClr val="white"/>
              </a:solidFill>
              <a:latin typeface="Arial"/>
            </a:endParaRPr>
          </a:p>
        </p:txBody>
      </p:sp>
      <p:sp>
        <p:nvSpPr>
          <p:cNvPr id="59" name="Rechteck: obere Ecken abgerundet 58">
            <a:extLst>
              <a:ext uri="{FF2B5EF4-FFF2-40B4-BE49-F238E27FC236}">
                <a16:creationId xmlns:a16="http://schemas.microsoft.com/office/drawing/2014/main" id="{74A7947E-7E97-639D-7BED-C6422BD84CCD}"/>
              </a:ext>
            </a:extLst>
          </p:cNvPr>
          <p:cNvSpPr/>
          <p:nvPr/>
        </p:nvSpPr>
        <p:spPr>
          <a:xfrm rot="10800000">
            <a:off x="468077" y="4083586"/>
            <a:ext cx="8257018" cy="326749"/>
          </a:xfrm>
          <a:prstGeom prst="round2SameRect">
            <a:avLst>
              <a:gd name="adj1" fmla="val 43749"/>
              <a:gd name="adj2" fmla="val 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spcAft>
                <a:spcPts val="425"/>
              </a:spcAft>
              <a:defRPr/>
            </a:pPr>
            <a:endParaRPr lang="de-DE" sz="1050" dirty="0" err="1">
              <a:solidFill>
                <a:prstClr val="white"/>
              </a:solidFill>
              <a:latin typeface="Arial"/>
            </a:endParaRPr>
          </a:p>
        </p:txBody>
      </p:sp>
      <p:sp>
        <p:nvSpPr>
          <p:cNvPr id="10" name="Rechteck 9">
            <a:extLst>
              <a:ext uri="{FF2B5EF4-FFF2-40B4-BE49-F238E27FC236}">
                <a16:creationId xmlns:a16="http://schemas.microsoft.com/office/drawing/2014/main" id="{76A10A75-0162-1D3E-CDA4-156212B5EDBD}"/>
              </a:ext>
            </a:extLst>
          </p:cNvPr>
          <p:cNvSpPr/>
          <p:nvPr/>
        </p:nvSpPr>
        <p:spPr>
          <a:xfrm>
            <a:off x="468078" y="1096144"/>
            <a:ext cx="934474" cy="101259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spcAft>
                <a:spcPts val="425"/>
              </a:spcAft>
              <a:defRPr/>
            </a:pPr>
            <a:endParaRPr lang="de-DE" sz="1500" b="1" dirty="0" err="1">
              <a:solidFill>
                <a:prstClr val="black"/>
              </a:solidFill>
              <a:latin typeface="Arial"/>
            </a:endParaRPr>
          </a:p>
        </p:txBody>
      </p:sp>
      <p:cxnSp>
        <p:nvCxnSpPr>
          <p:cNvPr id="95" name="Gerade Verbindung mit Pfeil 94">
            <a:extLst>
              <a:ext uri="{FF2B5EF4-FFF2-40B4-BE49-F238E27FC236}">
                <a16:creationId xmlns:a16="http://schemas.microsoft.com/office/drawing/2014/main" id="{48F69011-4079-0AE7-EBDA-4E7936C9C392}"/>
              </a:ext>
            </a:extLst>
          </p:cNvPr>
          <p:cNvCxnSpPr>
            <a:cxnSpLocks/>
          </p:cNvCxnSpPr>
          <p:nvPr/>
        </p:nvCxnSpPr>
        <p:spPr>
          <a:xfrm>
            <a:off x="1957379" y="1223982"/>
            <a:ext cx="0" cy="1480580"/>
          </a:xfrm>
          <a:prstGeom prst="straightConnector1">
            <a:avLst/>
          </a:prstGeom>
          <a:ln w="38100">
            <a:solidFill>
              <a:srgbClr val="000000"/>
            </a:solidFill>
            <a:prstDash val="lgDash"/>
            <a:tailEnd type="triangle"/>
          </a:ln>
        </p:spPr>
        <p:style>
          <a:lnRef idx="1">
            <a:schemeClr val="accent1"/>
          </a:lnRef>
          <a:fillRef idx="0">
            <a:schemeClr val="accent1"/>
          </a:fillRef>
          <a:effectRef idx="0">
            <a:schemeClr val="accent1"/>
          </a:effectRef>
          <a:fontRef idx="minor">
            <a:schemeClr val="tx1"/>
          </a:fontRef>
        </p:style>
      </p:cxnSp>
      <p:cxnSp>
        <p:nvCxnSpPr>
          <p:cNvPr id="96" name="Gerade Verbindung mit Pfeil 95">
            <a:extLst>
              <a:ext uri="{FF2B5EF4-FFF2-40B4-BE49-F238E27FC236}">
                <a16:creationId xmlns:a16="http://schemas.microsoft.com/office/drawing/2014/main" id="{4AAF36BC-9137-CC9D-BD18-3C15C389945A}"/>
              </a:ext>
            </a:extLst>
          </p:cNvPr>
          <p:cNvCxnSpPr>
            <a:cxnSpLocks/>
          </p:cNvCxnSpPr>
          <p:nvPr/>
        </p:nvCxnSpPr>
        <p:spPr>
          <a:xfrm>
            <a:off x="2807268" y="1255569"/>
            <a:ext cx="0" cy="1480580"/>
          </a:xfrm>
          <a:prstGeom prst="straightConnector1">
            <a:avLst/>
          </a:prstGeom>
          <a:ln w="38100">
            <a:solidFill>
              <a:srgbClr val="000000"/>
            </a:solidFill>
            <a:prstDash val="lgDash"/>
            <a:tailEnd type="triangle"/>
          </a:ln>
        </p:spPr>
        <p:style>
          <a:lnRef idx="1">
            <a:schemeClr val="accent1"/>
          </a:lnRef>
          <a:fillRef idx="0">
            <a:schemeClr val="accent1"/>
          </a:fillRef>
          <a:effectRef idx="0">
            <a:schemeClr val="accent1"/>
          </a:effectRef>
          <a:fontRef idx="minor">
            <a:schemeClr val="tx1"/>
          </a:fontRef>
        </p:style>
      </p:cxnSp>
      <p:cxnSp>
        <p:nvCxnSpPr>
          <p:cNvPr id="97" name="Gerade Verbindung mit Pfeil 96">
            <a:extLst>
              <a:ext uri="{FF2B5EF4-FFF2-40B4-BE49-F238E27FC236}">
                <a16:creationId xmlns:a16="http://schemas.microsoft.com/office/drawing/2014/main" id="{A49FD65C-64AF-9778-D565-8629A638C06A}"/>
              </a:ext>
            </a:extLst>
          </p:cNvPr>
          <p:cNvCxnSpPr>
            <a:cxnSpLocks/>
          </p:cNvCxnSpPr>
          <p:nvPr/>
        </p:nvCxnSpPr>
        <p:spPr>
          <a:xfrm>
            <a:off x="7713825" y="1223982"/>
            <a:ext cx="0" cy="1480580"/>
          </a:xfrm>
          <a:prstGeom prst="straightConnector1">
            <a:avLst/>
          </a:prstGeom>
          <a:ln w="38100">
            <a:solidFill>
              <a:srgbClr val="000000"/>
            </a:solidFill>
            <a:prstDash val="lgDash"/>
            <a:tailEnd type="triangle"/>
          </a:ln>
        </p:spPr>
        <p:style>
          <a:lnRef idx="1">
            <a:schemeClr val="accent1"/>
          </a:lnRef>
          <a:fillRef idx="0">
            <a:schemeClr val="accent1"/>
          </a:fillRef>
          <a:effectRef idx="0">
            <a:schemeClr val="accent1"/>
          </a:effectRef>
          <a:fontRef idx="minor">
            <a:schemeClr val="tx1"/>
          </a:fontRef>
        </p:style>
      </p:cxnSp>
      <p:cxnSp>
        <p:nvCxnSpPr>
          <p:cNvPr id="98" name="Gerade Verbindung mit Pfeil 97">
            <a:extLst>
              <a:ext uri="{FF2B5EF4-FFF2-40B4-BE49-F238E27FC236}">
                <a16:creationId xmlns:a16="http://schemas.microsoft.com/office/drawing/2014/main" id="{0F2FCBAF-CA84-D520-CD78-8EC0D64C11F9}"/>
              </a:ext>
            </a:extLst>
          </p:cNvPr>
          <p:cNvCxnSpPr>
            <a:cxnSpLocks/>
          </p:cNvCxnSpPr>
          <p:nvPr/>
        </p:nvCxnSpPr>
        <p:spPr>
          <a:xfrm>
            <a:off x="4207443" y="1223982"/>
            <a:ext cx="0" cy="1480580"/>
          </a:xfrm>
          <a:prstGeom prst="straightConnector1">
            <a:avLst/>
          </a:prstGeom>
          <a:ln w="38100">
            <a:solidFill>
              <a:srgbClr val="000000"/>
            </a:solidFill>
            <a:prstDash val="lgDash"/>
            <a:tailEnd type="triangle"/>
          </a:ln>
        </p:spPr>
        <p:style>
          <a:lnRef idx="1">
            <a:schemeClr val="accent1"/>
          </a:lnRef>
          <a:fillRef idx="0">
            <a:schemeClr val="accent1"/>
          </a:fillRef>
          <a:effectRef idx="0">
            <a:schemeClr val="accent1"/>
          </a:effectRef>
          <a:fontRef idx="minor">
            <a:schemeClr val="tx1"/>
          </a:fontRef>
        </p:style>
      </p:cxnSp>
      <p:cxnSp>
        <p:nvCxnSpPr>
          <p:cNvPr id="99" name="Gerade Verbindung mit Pfeil 98">
            <a:extLst>
              <a:ext uri="{FF2B5EF4-FFF2-40B4-BE49-F238E27FC236}">
                <a16:creationId xmlns:a16="http://schemas.microsoft.com/office/drawing/2014/main" id="{B5ABB838-98DE-AA5C-F8A9-93C2C6951CB0}"/>
              </a:ext>
            </a:extLst>
          </p:cNvPr>
          <p:cNvCxnSpPr>
            <a:cxnSpLocks/>
          </p:cNvCxnSpPr>
          <p:nvPr/>
        </p:nvCxnSpPr>
        <p:spPr>
          <a:xfrm>
            <a:off x="5579043" y="1872053"/>
            <a:ext cx="0" cy="887649"/>
          </a:xfrm>
          <a:prstGeom prst="straightConnector1">
            <a:avLst/>
          </a:prstGeom>
          <a:ln>
            <a:solidFill>
              <a:srgbClr val="000000"/>
            </a:solidFill>
            <a:prstDash val="lgDash"/>
            <a:tailEnd type="triangle"/>
          </a:ln>
        </p:spPr>
        <p:style>
          <a:lnRef idx="1">
            <a:schemeClr val="accent1"/>
          </a:lnRef>
          <a:fillRef idx="0">
            <a:schemeClr val="accent1"/>
          </a:fillRef>
          <a:effectRef idx="0">
            <a:schemeClr val="accent1"/>
          </a:effectRef>
          <a:fontRef idx="minor">
            <a:schemeClr val="tx1"/>
          </a:fontRef>
        </p:style>
      </p:cxnSp>
      <p:cxnSp>
        <p:nvCxnSpPr>
          <p:cNvPr id="100" name="Gerade Verbindung mit Pfeil 99">
            <a:extLst>
              <a:ext uri="{FF2B5EF4-FFF2-40B4-BE49-F238E27FC236}">
                <a16:creationId xmlns:a16="http://schemas.microsoft.com/office/drawing/2014/main" id="{D2264B0D-7C84-8C02-C5CB-CB8500F7F1DC}"/>
              </a:ext>
            </a:extLst>
          </p:cNvPr>
          <p:cNvCxnSpPr>
            <a:cxnSpLocks/>
          </p:cNvCxnSpPr>
          <p:nvPr/>
        </p:nvCxnSpPr>
        <p:spPr>
          <a:xfrm>
            <a:off x="6450581" y="1872053"/>
            <a:ext cx="0" cy="887649"/>
          </a:xfrm>
          <a:prstGeom prst="straightConnector1">
            <a:avLst/>
          </a:prstGeom>
          <a:ln>
            <a:solidFill>
              <a:srgbClr val="000000"/>
            </a:solidFill>
            <a:prstDash val="lgDash"/>
            <a:tailEnd type="triangle"/>
          </a:ln>
        </p:spPr>
        <p:style>
          <a:lnRef idx="1">
            <a:schemeClr val="accent1"/>
          </a:lnRef>
          <a:fillRef idx="0">
            <a:schemeClr val="accent1"/>
          </a:fillRef>
          <a:effectRef idx="0">
            <a:schemeClr val="accent1"/>
          </a:effectRef>
          <a:fontRef idx="minor">
            <a:schemeClr val="tx1"/>
          </a:fontRef>
        </p:style>
      </p:cxnSp>
      <p:sp>
        <p:nvSpPr>
          <p:cNvPr id="104" name="Textfeld 103">
            <a:extLst>
              <a:ext uri="{FF2B5EF4-FFF2-40B4-BE49-F238E27FC236}">
                <a16:creationId xmlns:a16="http://schemas.microsoft.com/office/drawing/2014/main" id="{C6545E05-64ED-4657-6563-868A6E29BC69}"/>
              </a:ext>
            </a:extLst>
          </p:cNvPr>
          <p:cNvSpPr txBox="1"/>
          <p:nvPr/>
        </p:nvSpPr>
        <p:spPr>
          <a:xfrm>
            <a:off x="470622" y="1351492"/>
            <a:ext cx="934474" cy="553998"/>
          </a:xfrm>
          <a:prstGeom prst="rect">
            <a:avLst/>
          </a:prstGeom>
          <a:solidFill>
            <a:schemeClr val="bg1">
              <a:lumMod val="85000"/>
            </a:schemeClr>
          </a:solidFill>
        </p:spPr>
        <p:txBody>
          <a:bodyPr wrap="square">
            <a:spAutoFit/>
          </a:bodyPr>
          <a:lstStyle/>
          <a:p>
            <a:pPr algn="ctr" defTabSz="457178">
              <a:spcBef>
                <a:spcPts val="450"/>
              </a:spcBef>
              <a:spcAft>
                <a:spcPts val="450"/>
              </a:spcAft>
              <a:defRPr/>
            </a:pPr>
            <a:r>
              <a:rPr lang="en-US" sz="1500" b="1" kern="0" dirty="0">
                <a:solidFill>
                  <a:prstClr val="black"/>
                </a:solidFill>
                <a:latin typeface="Arial" panose="020B0604020202020204" pitchFamily="34" charset="0"/>
                <a:ea typeface="+mn-ea"/>
                <a:cs typeface="Arial" panose="020B0604020202020204" pitchFamily="34" charset="0"/>
              </a:rPr>
              <a:t>HER2 </a:t>
            </a:r>
            <a:br>
              <a:rPr lang="en-US" sz="1500" b="1" kern="0" dirty="0">
                <a:solidFill>
                  <a:prstClr val="black"/>
                </a:solidFill>
                <a:latin typeface="Arial" panose="020B0604020202020204" pitchFamily="34" charset="0"/>
                <a:ea typeface="+mn-ea"/>
                <a:cs typeface="Arial" panose="020B0604020202020204" pitchFamily="34" charset="0"/>
              </a:rPr>
            </a:br>
            <a:r>
              <a:rPr lang="en-US" sz="1500" b="1" kern="0" dirty="0">
                <a:solidFill>
                  <a:prstClr val="black"/>
                </a:solidFill>
                <a:latin typeface="Arial" panose="020B0604020202020204" pitchFamily="34" charset="0"/>
                <a:ea typeface="+mn-ea"/>
                <a:cs typeface="Arial" panose="020B0604020202020204" pitchFamily="34" charset="0"/>
              </a:rPr>
              <a:t>IHC</a:t>
            </a:r>
            <a:endParaRPr lang="en-US" sz="1500" b="1" kern="0" baseline="30000" dirty="0">
              <a:solidFill>
                <a:prstClr val="black"/>
              </a:solidFill>
              <a:latin typeface="Arial" panose="020B0604020202020204" pitchFamily="34" charset="0"/>
              <a:ea typeface="+mn-ea"/>
              <a:cs typeface="Arial" panose="020B0604020202020204" pitchFamily="34" charset="0"/>
            </a:endParaRPr>
          </a:p>
        </p:txBody>
      </p:sp>
      <p:sp>
        <p:nvSpPr>
          <p:cNvPr id="50" name="Rechteck 49">
            <a:extLst>
              <a:ext uri="{FF2B5EF4-FFF2-40B4-BE49-F238E27FC236}">
                <a16:creationId xmlns:a16="http://schemas.microsoft.com/office/drawing/2014/main" id="{5DCE7B5F-9D1C-28D2-8937-C68CD37321FB}"/>
              </a:ext>
            </a:extLst>
          </p:cNvPr>
          <p:cNvSpPr/>
          <p:nvPr/>
        </p:nvSpPr>
        <p:spPr>
          <a:xfrm>
            <a:off x="5500303" y="4168855"/>
            <a:ext cx="243978" cy="155906"/>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spcAft>
                <a:spcPts val="425"/>
              </a:spcAft>
              <a:defRPr/>
            </a:pPr>
            <a:endParaRPr lang="de-DE" sz="1050" dirty="0" err="1">
              <a:solidFill>
                <a:prstClr val="white"/>
              </a:solidFill>
              <a:latin typeface="Arial"/>
            </a:endParaRPr>
          </a:p>
        </p:txBody>
      </p:sp>
      <p:sp>
        <p:nvSpPr>
          <p:cNvPr id="52" name="Rechteck 51">
            <a:extLst>
              <a:ext uri="{FF2B5EF4-FFF2-40B4-BE49-F238E27FC236}">
                <a16:creationId xmlns:a16="http://schemas.microsoft.com/office/drawing/2014/main" id="{53B57D0F-A2C9-7EE6-BBD1-93EF03EDED5A}"/>
              </a:ext>
            </a:extLst>
          </p:cNvPr>
          <p:cNvSpPr/>
          <p:nvPr/>
        </p:nvSpPr>
        <p:spPr>
          <a:xfrm>
            <a:off x="7577042" y="4170605"/>
            <a:ext cx="243978" cy="155906"/>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spcAft>
                <a:spcPts val="425"/>
              </a:spcAft>
              <a:defRPr/>
            </a:pPr>
            <a:endParaRPr lang="de-DE" sz="1050" dirty="0" err="1">
              <a:solidFill>
                <a:prstClr val="white"/>
              </a:solidFill>
              <a:latin typeface="Arial"/>
            </a:endParaRPr>
          </a:p>
        </p:txBody>
      </p:sp>
      <p:sp>
        <p:nvSpPr>
          <p:cNvPr id="53" name="Textfeld 4">
            <a:extLst>
              <a:ext uri="{FF2B5EF4-FFF2-40B4-BE49-F238E27FC236}">
                <a16:creationId xmlns:a16="http://schemas.microsoft.com/office/drawing/2014/main" id="{E917DEB3-0A8B-60E6-E25B-408800586A5D}"/>
              </a:ext>
            </a:extLst>
          </p:cNvPr>
          <p:cNvSpPr txBox="1">
            <a:spLocks noChangeArrowheads="1"/>
          </p:cNvSpPr>
          <p:nvPr/>
        </p:nvSpPr>
        <p:spPr bwMode="auto">
          <a:xfrm>
            <a:off x="5734501" y="4146139"/>
            <a:ext cx="1030684"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1pPr>
            <a:lvl2pPr marL="742950" indent="-285750">
              <a:spcBef>
                <a:spcPct val="20000"/>
              </a:spcBef>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defRPr>
            </a:lvl2pPr>
            <a:lvl3pPr marL="1143000" indent="-228600">
              <a:spcBef>
                <a:spcPct val="20000"/>
              </a:spcBef>
              <a:buFont typeface="Arial" panose="020B0604020202020204" pitchFamily="34" charset="0"/>
              <a:buChar char="•"/>
              <a:defRPr sz="1400">
                <a:solidFill>
                  <a:schemeClr val="tx1"/>
                </a:solidFill>
                <a:latin typeface="Calibri" panose="020F0502020204030204" pitchFamily="34" charset="0"/>
                <a:ea typeface="ＭＳ Ｐゴシック" panose="020B0600070205080204" pitchFamily="34" charset="-128"/>
              </a:defRPr>
            </a:lvl3pPr>
            <a:lvl4pPr marL="1600200" indent="-228600">
              <a:spcBef>
                <a:spcPct val="20000"/>
              </a:spcBef>
              <a:buFont typeface="Arial" panose="020B0604020202020204" pitchFamily="34" charset="0"/>
              <a:buChar char="–"/>
              <a:defRPr sz="1200">
                <a:solidFill>
                  <a:schemeClr val="tx1"/>
                </a:solidFill>
                <a:latin typeface="Calibri" panose="020F0502020204030204" pitchFamily="34" charset="0"/>
                <a:ea typeface="ＭＳ Ｐゴシック" panose="020B0600070205080204" pitchFamily="34" charset="-128"/>
              </a:defRPr>
            </a:lvl4pPr>
            <a:lvl5pPr marL="2057400" indent="-228600">
              <a:spcBef>
                <a:spcPct val="20000"/>
              </a:spcBef>
              <a:buFont typeface="Arial" panose="020B0604020202020204" pitchFamily="34" charset="0"/>
              <a:buChar char="»"/>
              <a:defRPr sz="12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12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12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12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1200">
                <a:solidFill>
                  <a:schemeClr val="tx1"/>
                </a:solidFill>
                <a:latin typeface="Calibri" panose="020F0502020204030204" pitchFamily="34" charset="0"/>
                <a:ea typeface="ＭＳ Ｐゴシック" panose="020B0600070205080204" pitchFamily="34" charset="-128"/>
              </a:defRPr>
            </a:lvl9pPr>
          </a:lstStyle>
          <a:p>
            <a:pPr defTabSz="685800">
              <a:spcBef>
                <a:spcPct val="0"/>
              </a:spcBef>
              <a:buNone/>
              <a:defRPr/>
            </a:pPr>
            <a:r>
              <a:rPr lang="de-DE" altLang="de-DE" sz="900" dirty="0">
                <a:solidFill>
                  <a:prstClr val="black"/>
                </a:solidFill>
                <a:latin typeface="Arial" panose="020B0604020202020204" pitchFamily="34" charset="0"/>
                <a:cs typeface="Arial" panose="020B0604020202020204" pitchFamily="34" charset="0"/>
              </a:rPr>
              <a:t>HER2-positive</a:t>
            </a:r>
          </a:p>
        </p:txBody>
      </p:sp>
      <p:sp>
        <p:nvSpPr>
          <p:cNvPr id="55" name="Textfeld 4">
            <a:extLst>
              <a:ext uri="{FF2B5EF4-FFF2-40B4-BE49-F238E27FC236}">
                <a16:creationId xmlns:a16="http://schemas.microsoft.com/office/drawing/2014/main" id="{A5ECF11B-BF37-5F99-B715-1288E8463A8A}"/>
              </a:ext>
            </a:extLst>
          </p:cNvPr>
          <p:cNvSpPr txBox="1">
            <a:spLocks noChangeArrowheads="1"/>
          </p:cNvSpPr>
          <p:nvPr/>
        </p:nvSpPr>
        <p:spPr bwMode="auto">
          <a:xfrm>
            <a:off x="7804495" y="4146138"/>
            <a:ext cx="979973"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1pPr>
            <a:lvl2pPr marL="742950" indent="-285750">
              <a:spcBef>
                <a:spcPct val="20000"/>
              </a:spcBef>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defRPr>
            </a:lvl2pPr>
            <a:lvl3pPr marL="1143000" indent="-228600">
              <a:spcBef>
                <a:spcPct val="20000"/>
              </a:spcBef>
              <a:buFont typeface="Arial" panose="020B0604020202020204" pitchFamily="34" charset="0"/>
              <a:buChar char="•"/>
              <a:defRPr sz="1400">
                <a:solidFill>
                  <a:schemeClr val="tx1"/>
                </a:solidFill>
                <a:latin typeface="Calibri" panose="020F0502020204030204" pitchFamily="34" charset="0"/>
                <a:ea typeface="ＭＳ Ｐゴシック" panose="020B0600070205080204" pitchFamily="34" charset="-128"/>
              </a:defRPr>
            </a:lvl3pPr>
            <a:lvl4pPr marL="1600200" indent="-228600">
              <a:spcBef>
                <a:spcPct val="20000"/>
              </a:spcBef>
              <a:buFont typeface="Arial" panose="020B0604020202020204" pitchFamily="34" charset="0"/>
              <a:buChar char="–"/>
              <a:defRPr sz="1200">
                <a:solidFill>
                  <a:schemeClr val="tx1"/>
                </a:solidFill>
                <a:latin typeface="Calibri" panose="020F0502020204030204" pitchFamily="34" charset="0"/>
                <a:ea typeface="ＭＳ Ｐゴシック" panose="020B0600070205080204" pitchFamily="34" charset="-128"/>
              </a:defRPr>
            </a:lvl4pPr>
            <a:lvl5pPr marL="2057400" indent="-228600">
              <a:spcBef>
                <a:spcPct val="20000"/>
              </a:spcBef>
              <a:buFont typeface="Arial" panose="020B0604020202020204" pitchFamily="34" charset="0"/>
              <a:buChar char="»"/>
              <a:defRPr sz="12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12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12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12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1200">
                <a:solidFill>
                  <a:schemeClr val="tx1"/>
                </a:solidFill>
                <a:latin typeface="Calibri" panose="020F0502020204030204" pitchFamily="34" charset="0"/>
                <a:ea typeface="ＭＳ Ｐゴシック" panose="020B0600070205080204" pitchFamily="34" charset="-128"/>
              </a:defRPr>
            </a:lvl9pPr>
          </a:lstStyle>
          <a:p>
            <a:pPr defTabSz="685800">
              <a:spcBef>
                <a:spcPct val="0"/>
              </a:spcBef>
              <a:buNone/>
              <a:defRPr/>
            </a:pPr>
            <a:r>
              <a:rPr lang="de-DE" altLang="de-DE" sz="900" dirty="0">
                <a:solidFill>
                  <a:prstClr val="black"/>
                </a:solidFill>
                <a:latin typeface="Arial" panose="020B0604020202020204" pitchFamily="34" charset="0"/>
                <a:cs typeface="Arial" panose="020B0604020202020204" pitchFamily="34" charset="0"/>
              </a:rPr>
              <a:t>HER2-negative</a:t>
            </a:r>
            <a:endParaRPr lang="de-DE" altLang="de-DE" sz="1050" dirty="0">
              <a:solidFill>
                <a:prstClr val="black"/>
              </a:solidFill>
              <a:latin typeface="Arial" panose="020B0604020202020204" pitchFamily="34" charset="0"/>
              <a:cs typeface="Arial" panose="020B0604020202020204" pitchFamily="34" charset="0"/>
            </a:endParaRPr>
          </a:p>
        </p:txBody>
      </p:sp>
      <p:sp>
        <p:nvSpPr>
          <p:cNvPr id="3" name="Rechteck 2">
            <a:extLst>
              <a:ext uri="{FF2B5EF4-FFF2-40B4-BE49-F238E27FC236}">
                <a16:creationId xmlns:a16="http://schemas.microsoft.com/office/drawing/2014/main" id="{FCBC3251-E352-BE3F-C14A-3352BF973693}"/>
              </a:ext>
            </a:extLst>
          </p:cNvPr>
          <p:cNvSpPr/>
          <p:nvPr/>
        </p:nvSpPr>
        <p:spPr>
          <a:xfrm>
            <a:off x="1533358" y="1097352"/>
            <a:ext cx="1630370" cy="1012595"/>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spcAft>
                <a:spcPts val="425"/>
              </a:spcAft>
              <a:defRPr/>
            </a:pPr>
            <a:endParaRPr lang="de-DE" sz="1350" dirty="0" err="1">
              <a:solidFill>
                <a:prstClr val="black"/>
              </a:solidFill>
              <a:latin typeface="Arial"/>
            </a:endParaRPr>
          </a:p>
        </p:txBody>
      </p:sp>
      <p:sp>
        <p:nvSpPr>
          <p:cNvPr id="5" name="Rechteck 4">
            <a:extLst>
              <a:ext uri="{FF2B5EF4-FFF2-40B4-BE49-F238E27FC236}">
                <a16:creationId xmlns:a16="http://schemas.microsoft.com/office/drawing/2014/main" id="{6DC707DB-B61D-72B9-BFD4-0A89E86C0636}"/>
              </a:ext>
            </a:extLst>
          </p:cNvPr>
          <p:cNvSpPr/>
          <p:nvPr/>
        </p:nvSpPr>
        <p:spPr>
          <a:xfrm>
            <a:off x="3311941" y="1108116"/>
            <a:ext cx="1675581" cy="1012595"/>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spcAft>
                <a:spcPts val="425"/>
              </a:spcAft>
              <a:defRPr/>
            </a:pPr>
            <a:endParaRPr lang="de-DE" sz="1350" dirty="0" err="1">
              <a:solidFill>
                <a:prstClr val="black"/>
              </a:solidFill>
              <a:latin typeface="Arial"/>
            </a:endParaRPr>
          </a:p>
        </p:txBody>
      </p:sp>
      <p:sp>
        <p:nvSpPr>
          <p:cNvPr id="6" name="Rechteck 5">
            <a:extLst>
              <a:ext uri="{FF2B5EF4-FFF2-40B4-BE49-F238E27FC236}">
                <a16:creationId xmlns:a16="http://schemas.microsoft.com/office/drawing/2014/main" id="{F044D1AE-0C46-B2D7-EB6E-E81119B4A90E}"/>
              </a:ext>
            </a:extLst>
          </p:cNvPr>
          <p:cNvSpPr/>
          <p:nvPr/>
        </p:nvSpPr>
        <p:spPr>
          <a:xfrm>
            <a:off x="5111660" y="1097350"/>
            <a:ext cx="1752016" cy="1012595"/>
          </a:xfrm>
          <a:prstGeom prst="rect">
            <a:avLst/>
          </a:prstGeom>
          <a:gradFill flip="none" rotWithShape="1">
            <a:gsLst>
              <a:gs pos="13000">
                <a:schemeClr val="accent2">
                  <a:lumMod val="75000"/>
                </a:schemeClr>
              </a:gs>
              <a:gs pos="77000">
                <a:srgbClr val="92D050"/>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spcAft>
                <a:spcPts val="425"/>
              </a:spcAft>
              <a:defRPr/>
            </a:pPr>
            <a:endParaRPr lang="de-DE" sz="1350" dirty="0" err="1">
              <a:solidFill>
                <a:prstClr val="black"/>
              </a:solidFill>
              <a:latin typeface="Arial"/>
            </a:endParaRPr>
          </a:p>
        </p:txBody>
      </p:sp>
      <p:sp>
        <p:nvSpPr>
          <p:cNvPr id="8" name="Rechteck 7">
            <a:extLst>
              <a:ext uri="{FF2B5EF4-FFF2-40B4-BE49-F238E27FC236}">
                <a16:creationId xmlns:a16="http://schemas.microsoft.com/office/drawing/2014/main" id="{D0311621-4672-26AF-C24E-FB5B26A15899}"/>
              </a:ext>
            </a:extLst>
          </p:cNvPr>
          <p:cNvSpPr/>
          <p:nvPr/>
        </p:nvSpPr>
        <p:spPr>
          <a:xfrm>
            <a:off x="6987484" y="1097350"/>
            <a:ext cx="1737614" cy="1012595"/>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spcAft>
                <a:spcPts val="425"/>
              </a:spcAft>
              <a:defRPr/>
            </a:pPr>
            <a:endParaRPr lang="de-DE" sz="1350" dirty="0" err="1">
              <a:solidFill>
                <a:prstClr val="black"/>
              </a:solidFill>
              <a:latin typeface="Arial"/>
            </a:endParaRPr>
          </a:p>
        </p:txBody>
      </p:sp>
      <p:sp>
        <p:nvSpPr>
          <p:cNvPr id="9" name="Textfeld 8">
            <a:extLst>
              <a:ext uri="{FF2B5EF4-FFF2-40B4-BE49-F238E27FC236}">
                <a16:creationId xmlns:a16="http://schemas.microsoft.com/office/drawing/2014/main" id="{9CC04A47-CA3D-24E3-0A86-8034D2BD679F}"/>
              </a:ext>
            </a:extLst>
          </p:cNvPr>
          <p:cNvSpPr txBox="1"/>
          <p:nvPr/>
        </p:nvSpPr>
        <p:spPr>
          <a:xfrm>
            <a:off x="1488147" y="1177639"/>
            <a:ext cx="1675581" cy="836126"/>
          </a:xfrm>
          <a:prstGeom prst="rect">
            <a:avLst/>
          </a:prstGeom>
          <a:noFill/>
        </p:spPr>
        <p:txBody>
          <a:bodyPr wrap="square">
            <a:spAutoFit/>
          </a:bodyPr>
          <a:lstStyle/>
          <a:p>
            <a:pPr algn="ctr" defTabSz="685800">
              <a:spcAft>
                <a:spcPts val="425"/>
              </a:spcAft>
              <a:defRPr/>
            </a:pPr>
            <a:r>
              <a:rPr lang="de-DE" sz="1800" b="1" dirty="0">
                <a:solidFill>
                  <a:prstClr val="black"/>
                </a:solidFill>
                <a:latin typeface="Arial" panose="020B0604020202020204" pitchFamily="34" charset="0"/>
                <a:ea typeface="+mn-ea"/>
                <a:cs typeface="Arial" panose="020B0604020202020204" pitchFamily="34" charset="0"/>
              </a:rPr>
              <a:t>0</a:t>
            </a:r>
          </a:p>
          <a:p>
            <a:pPr algn="ctr" defTabSz="685800">
              <a:spcAft>
                <a:spcPts val="425"/>
              </a:spcAft>
              <a:defRPr/>
            </a:pPr>
            <a:r>
              <a:rPr lang="en-US" sz="1350" kern="0" dirty="0">
                <a:solidFill>
                  <a:prstClr val="black"/>
                </a:solidFill>
                <a:latin typeface="Arial" panose="020B0604020202020204" pitchFamily="34" charset="0"/>
                <a:ea typeface="+mn-ea"/>
                <a:cs typeface="Arial" panose="020B0604020202020204" pitchFamily="34" charset="0"/>
              </a:rPr>
              <a:t>≤10% weak, incomplete staining</a:t>
            </a:r>
            <a:endParaRPr lang="de-DE" sz="1350" dirty="0">
              <a:solidFill>
                <a:prstClr val="black"/>
              </a:solidFill>
              <a:latin typeface="Arial" panose="020B0604020202020204" pitchFamily="34" charset="0"/>
              <a:ea typeface="+mn-ea"/>
              <a:cs typeface="Arial" panose="020B0604020202020204" pitchFamily="34" charset="0"/>
            </a:endParaRPr>
          </a:p>
        </p:txBody>
      </p:sp>
      <p:sp>
        <p:nvSpPr>
          <p:cNvPr id="11" name="Textfeld 10">
            <a:extLst>
              <a:ext uri="{FF2B5EF4-FFF2-40B4-BE49-F238E27FC236}">
                <a16:creationId xmlns:a16="http://schemas.microsoft.com/office/drawing/2014/main" id="{3C7B4ADD-8A25-229C-DB1C-5766565E4D5B}"/>
              </a:ext>
            </a:extLst>
          </p:cNvPr>
          <p:cNvSpPr txBox="1"/>
          <p:nvPr/>
        </p:nvSpPr>
        <p:spPr>
          <a:xfrm>
            <a:off x="3296207" y="1155049"/>
            <a:ext cx="1675581" cy="836126"/>
          </a:xfrm>
          <a:prstGeom prst="rect">
            <a:avLst/>
          </a:prstGeom>
          <a:noFill/>
        </p:spPr>
        <p:txBody>
          <a:bodyPr wrap="square">
            <a:spAutoFit/>
          </a:bodyPr>
          <a:lstStyle/>
          <a:p>
            <a:pPr algn="ctr" defTabSz="685800">
              <a:spcAft>
                <a:spcPts val="425"/>
              </a:spcAft>
              <a:defRPr/>
            </a:pPr>
            <a:r>
              <a:rPr lang="de-DE" sz="1800" b="1" dirty="0">
                <a:solidFill>
                  <a:prstClr val="white"/>
                </a:solidFill>
                <a:latin typeface="Arial" panose="020B0604020202020204" pitchFamily="34" charset="0"/>
                <a:ea typeface="+mn-ea"/>
                <a:cs typeface="Arial" panose="020B0604020202020204" pitchFamily="34" charset="0"/>
              </a:rPr>
              <a:t>1+ </a:t>
            </a:r>
          </a:p>
          <a:p>
            <a:pPr algn="ctr" defTabSz="685800">
              <a:spcAft>
                <a:spcPts val="425"/>
              </a:spcAft>
              <a:defRPr/>
            </a:pPr>
            <a:r>
              <a:rPr lang="en-US" sz="1350" dirty="0">
                <a:solidFill>
                  <a:prstClr val="white"/>
                </a:solidFill>
                <a:latin typeface="Arial" panose="020B0604020202020204" pitchFamily="34" charset="0"/>
                <a:ea typeface="+mn-ea"/>
                <a:cs typeface="Arial" panose="020B0604020202020204" pitchFamily="34" charset="0"/>
              </a:rPr>
              <a:t>&gt;10% weak, incomplete staining</a:t>
            </a:r>
          </a:p>
        </p:txBody>
      </p:sp>
      <p:sp>
        <p:nvSpPr>
          <p:cNvPr id="12" name="Textfeld 11">
            <a:extLst>
              <a:ext uri="{FF2B5EF4-FFF2-40B4-BE49-F238E27FC236}">
                <a16:creationId xmlns:a16="http://schemas.microsoft.com/office/drawing/2014/main" id="{9A93D61C-FF0D-7849-CBA5-EC9DAD1AB664}"/>
              </a:ext>
            </a:extLst>
          </p:cNvPr>
          <p:cNvSpPr txBox="1"/>
          <p:nvPr/>
        </p:nvSpPr>
        <p:spPr>
          <a:xfrm>
            <a:off x="5087343" y="1093664"/>
            <a:ext cx="1807801" cy="1043876"/>
          </a:xfrm>
          <a:prstGeom prst="rect">
            <a:avLst/>
          </a:prstGeom>
          <a:noFill/>
        </p:spPr>
        <p:txBody>
          <a:bodyPr wrap="square">
            <a:spAutoFit/>
          </a:bodyPr>
          <a:lstStyle/>
          <a:p>
            <a:pPr algn="ctr" defTabSz="685800">
              <a:spcAft>
                <a:spcPts val="425"/>
              </a:spcAft>
              <a:defRPr/>
            </a:pPr>
            <a:r>
              <a:rPr lang="de-DE" sz="1800" b="1" dirty="0">
                <a:solidFill>
                  <a:prstClr val="black"/>
                </a:solidFill>
                <a:latin typeface="Arial" panose="020B0604020202020204" pitchFamily="34" charset="0"/>
                <a:ea typeface="+mn-ea"/>
                <a:cs typeface="Arial" panose="020B0604020202020204" pitchFamily="34" charset="0"/>
              </a:rPr>
              <a:t>2+</a:t>
            </a:r>
          </a:p>
          <a:p>
            <a:pPr algn="ctr" defTabSz="685800">
              <a:spcAft>
                <a:spcPts val="425"/>
              </a:spcAft>
              <a:defRPr/>
            </a:pPr>
            <a:r>
              <a:rPr lang="en-US" sz="1350" dirty="0">
                <a:solidFill>
                  <a:prstClr val="black"/>
                </a:solidFill>
                <a:latin typeface="Arial" panose="020B0604020202020204" pitchFamily="34" charset="0"/>
                <a:ea typeface="+mn-ea"/>
                <a:cs typeface="Arial" panose="020B0604020202020204" pitchFamily="34" charset="0"/>
              </a:rPr>
              <a:t>&gt;10% weak to moderate, circular staining</a:t>
            </a:r>
          </a:p>
        </p:txBody>
      </p:sp>
      <p:sp>
        <p:nvSpPr>
          <p:cNvPr id="13" name="Textfeld 12">
            <a:extLst>
              <a:ext uri="{FF2B5EF4-FFF2-40B4-BE49-F238E27FC236}">
                <a16:creationId xmlns:a16="http://schemas.microsoft.com/office/drawing/2014/main" id="{2A3B450E-8E6E-5A6E-18B5-D28916C57465}"/>
              </a:ext>
            </a:extLst>
          </p:cNvPr>
          <p:cNvSpPr txBox="1"/>
          <p:nvPr/>
        </p:nvSpPr>
        <p:spPr>
          <a:xfrm>
            <a:off x="7030810" y="1188637"/>
            <a:ext cx="1571221" cy="836126"/>
          </a:xfrm>
          <a:prstGeom prst="rect">
            <a:avLst/>
          </a:prstGeom>
          <a:noFill/>
        </p:spPr>
        <p:txBody>
          <a:bodyPr wrap="square">
            <a:spAutoFit/>
          </a:bodyPr>
          <a:lstStyle/>
          <a:p>
            <a:pPr algn="ctr" defTabSz="685800">
              <a:spcAft>
                <a:spcPts val="425"/>
              </a:spcAft>
              <a:defRPr/>
            </a:pPr>
            <a:r>
              <a:rPr lang="de-DE" sz="1800" b="1" dirty="0">
                <a:solidFill>
                  <a:prstClr val="black"/>
                </a:solidFill>
                <a:latin typeface="Arial" panose="020B0604020202020204" pitchFamily="34" charset="0"/>
                <a:ea typeface="+mn-ea"/>
                <a:cs typeface="Arial" panose="020B0604020202020204" pitchFamily="34" charset="0"/>
              </a:rPr>
              <a:t>3+</a:t>
            </a:r>
          </a:p>
          <a:p>
            <a:pPr algn="ctr" defTabSz="685800">
              <a:spcAft>
                <a:spcPts val="425"/>
              </a:spcAft>
              <a:defRPr/>
            </a:pPr>
            <a:r>
              <a:rPr lang="en-US" sz="1350" dirty="0">
                <a:solidFill>
                  <a:prstClr val="black"/>
                </a:solidFill>
                <a:latin typeface="Arial" panose="020B0604020202020204" pitchFamily="34" charset="0"/>
                <a:ea typeface="+mn-ea"/>
                <a:cs typeface="Arial" panose="020B0604020202020204" pitchFamily="34" charset="0"/>
              </a:rPr>
              <a:t>&gt;10% strong, circular staining</a:t>
            </a:r>
          </a:p>
        </p:txBody>
      </p:sp>
      <p:sp>
        <p:nvSpPr>
          <p:cNvPr id="2" name="Titel 1">
            <a:extLst>
              <a:ext uri="{FF2B5EF4-FFF2-40B4-BE49-F238E27FC236}">
                <a16:creationId xmlns:a16="http://schemas.microsoft.com/office/drawing/2014/main" id="{C1F852A4-B0B6-286E-B815-D08AEC17566F}"/>
              </a:ext>
            </a:extLst>
          </p:cNvPr>
          <p:cNvSpPr>
            <a:spLocks noGrp="1"/>
          </p:cNvSpPr>
          <p:nvPr>
            <p:ph type="title"/>
          </p:nvPr>
        </p:nvSpPr>
        <p:spPr>
          <a:xfrm>
            <a:off x="325303" y="84811"/>
            <a:ext cx="8362950" cy="372885"/>
          </a:xfrm>
        </p:spPr>
        <p:txBody>
          <a:bodyPr>
            <a:normAutofit fontScale="90000"/>
          </a:bodyPr>
          <a:lstStyle/>
          <a:p>
            <a:r>
              <a:rPr lang="de-DE" dirty="0"/>
              <a:t>HER2 </a:t>
            </a:r>
            <a:r>
              <a:rPr lang="de-DE" dirty="0" err="1"/>
              <a:t>expression</a:t>
            </a:r>
            <a:r>
              <a:rPr lang="de-DE" dirty="0"/>
              <a:t> in </a:t>
            </a:r>
            <a:r>
              <a:rPr lang="de-DE" dirty="0" err="1"/>
              <a:t>breast</a:t>
            </a:r>
            <a:r>
              <a:rPr lang="de-DE" dirty="0"/>
              <a:t> </a:t>
            </a:r>
            <a:r>
              <a:rPr lang="de-DE" dirty="0" err="1"/>
              <a:t>cancer</a:t>
            </a:r>
            <a:endParaRPr lang="de-DE" dirty="0"/>
          </a:p>
        </p:txBody>
      </p:sp>
      <p:pic>
        <p:nvPicPr>
          <p:cNvPr id="15" name="Picture 17">
            <a:extLst>
              <a:ext uri="{FF2B5EF4-FFF2-40B4-BE49-F238E27FC236}">
                <a16:creationId xmlns:a16="http://schemas.microsoft.com/office/drawing/2014/main" id="{EDF7536D-B5D0-126C-FE1E-7F6D56BEAA2B}"/>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533358" y="2154560"/>
            <a:ext cx="1630370" cy="1905473"/>
          </a:xfrm>
          <a:prstGeom prst="rect">
            <a:avLst/>
          </a:prstGeom>
        </p:spPr>
      </p:pic>
      <p:pic>
        <p:nvPicPr>
          <p:cNvPr id="16" name="Picture 15">
            <a:extLst>
              <a:ext uri="{FF2B5EF4-FFF2-40B4-BE49-F238E27FC236}">
                <a16:creationId xmlns:a16="http://schemas.microsoft.com/office/drawing/2014/main" id="{023F72A7-EEF4-3199-C869-BA6BEF542325}"/>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3296206" y="2163191"/>
            <a:ext cx="1687057" cy="1896842"/>
          </a:xfrm>
          <a:prstGeom prst="rect">
            <a:avLst/>
          </a:prstGeom>
        </p:spPr>
      </p:pic>
      <p:pic>
        <p:nvPicPr>
          <p:cNvPr id="17" name="Picture 13">
            <a:extLst>
              <a:ext uri="{FF2B5EF4-FFF2-40B4-BE49-F238E27FC236}">
                <a16:creationId xmlns:a16="http://schemas.microsoft.com/office/drawing/2014/main" id="{FC105D09-CD25-6DDA-F8BC-1B1934640FCF}"/>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5111660" y="2159621"/>
            <a:ext cx="1752012" cy="1913042"/>
          </a:xfrm>
          <a:prstGeom prst="rect">
            <a:avLst/>
          </a:prstGeom>
        </p:spPr>
      </p:pic>
      <p:pic>
        <p:nvPicPr>
          <p:cNvPr id="18" name="Picture 11">
            <a:extLst>
              <a:ext uri="{FF2B5EF4-FFF2-40B4-BE49-F238E27FC236}">
                <a16:creationId xmlns:a16="http://schemas.microsoft.com/office/drawing/2014/main" id="{DBE83E91-4913-5186-561A-ACD7BEECC0A2}"/>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6987485" y="2151377"/>
            <a:ext cx="1752012" cy="1910937"/>
          </a:xfrm>
          <a:prstGeom prst="rect">
            <a:avLst/>
          </a:prstGeom>
        </p:spPr>
      </p:pic>
      <p:sp>
        <p:nvSpPr>
          <p:cNvPr id="19" name="Rechteck 18">
            <a:extLst>
              <a:ext uri="{FF2B5EF4-FFF2-40B4-BE49-F238E27FC236}">
                <a16:creationId xmlns:a16="http://schemas.microsoft.com/office/drawing/2014/main" id="{55203CEA-5B41-BFD4-C8FA-865097D0ACF0}"/>
              </a:ext>
            </a:extLst>
          </p:cNvPr>
          <p:cNvSpPr/>
          <p:nvPr/>
        </p:nvSpPr>
        <p:spPr>
          <a:xfrm>
            <a:off x="468076" y="2210414"/>
            <a:ext cx="934474" cy="46996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spcAft>
                <a:spcPts val="425"/>
              </a:spcAft>
              <a:defRPr/>
            </a:pPr>
            <a:endParaRPr lang="de-DE" sz="1500" b="1" dirty="0" err="1">
              <a:solidFill>
                <a:prstClr val="black"/>
              </a:solidFill>
              <a:latin typeface="Arial"/>
            </a:endParaRPr>
          </a:p>
        </p:txBody>
      </p:sp>
      <p:sp>
        <p:nvSpPr>
          <p:cNvPr id="20" name="Rechteck 19">
            <a:extLst>
              <a:ext uri="{FF2B5EF4-FFF2-40B4-BE49-F238E27FC236}">
                <a16:creationId xmlns:a16="http://schemas.microsoft.com/office/drawing/2014/main" id="{12343C82-D2CA-1255-CFE5-26FF308CC375}"/>
              </a:ext>
            </a:extLst>
          </p:cNvPr>
          <p:cNvSpPr/>
          <p:nvPr/>
        </p:nvSpPr>
        <p:spPr>
          <a:xfrm>
            <a:off x="468075" y="2782059"/>
            <a:ext cx="934474" cy="46996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spcAft>
                <a:spcPts val="425"/>
              </a:spcAft>
              <a:defRPr/>
            </a:pPr>
            <a:endParaRPr lang="de-DE" sz="1500" b="1" dirty="0" err="1">
              <a:solidFill>
                <a:prstClr val="black"/>
              </a:solidFill>
              <a:latin typeface="Arial"/>
            </a:endParaRPr>
          </a:p>
        </p:txBody>
      </p:sp>
      <p:sp>
        <p:nvSpPr>
          <p:cNvPr id="21" name="Rechteck 20">
            <a:extLst>
              <a:ext uri="{FF2B5EF4-FFF2-40B4-BE49-F238E27FC236}">
                <a16:creationId xmlns:a16="http://schemas.microsoft.com/office/drawing/2014/main" id="{8A584A8D-A1E2-B4AC-E2B8-2AC525F3A515}"/>
              </a:ext>
            </a:extLst>
          </p:cNvPr>
          <p:cNvSpPr/>
          <p:nvPr/>
        </p:nvSpPr>
        <p:spPr>
          <a:xfrm>
            <a:off x="5127016" y="2203540"/>
            <a:ext cx="820172" cy="469968"/>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spcAft>
                <a:spcPts val="425"/>
              </a:spcAft>
              <a:defRPr/>
            </a:pPr>
            <a:endParaRPr lang="de-DE" sz="1350" dirty="0" err="1">
              <a:solidFill>
                <a:prstClr val="black"/>
              </a:solidFill>
              <a:latin typeface="Arial"/>
            </a:endParaRPr>
          </a:p>
        </p:txBody>
      </p:sp>
      <p:sp>
        <p:nvSpPr>
          <p:cNvPr id="22" name="Rechteck 21">
            <a:extLst>
              <a:ext uri="{FF2B5EF4-FFF2-40B4-BE49-F238E27FC236}">
                <a16:creationId xmlns:a16="http://schemas.microsoft.com/office/drawing/2014/main" id="{A2F2970B-BF5C-25A6-51D1-D95ED880F763}"/>
              </a:ext>
            </a:extLst>
          </p:cNvPr>
          <p:cNvSpPr/>
          <p:nvPr/>
        </p:nvSpPr>
        <p:spPr>
          <a:xfrm>
            <a:off x="6074975" y="2202776"/>
            <a:ext cx="820169" cy="469968"/>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spcAft>
                <a:spcPts val="425"/>
              </a:spcAft>
              <a:defRPr/>
            </a:pPr>
            <a:endParaRPr lang="de-DE" sz="1350" dirty="0" err="1">
              <a:solidFill>
                <a:prstClr val="black"/>
              </a:solidFill>
              <a:latin typeface="Arial"/>
            </a:endParaRPr>
          </a:p>
        </p:txBody>
      </p:sp>
      <p:sp>
        <p:nvSpPr>
          <p:cNvPr id="25" name="Rechteck 24">
            <a:extLst>
              <a:ext uri="{FF2B5EF4-FFF2-40B4-BE49-F238E27FC236}">
                <a16:creationId xmlns:a16="http://schemas.microsoft.com/office/drawing/2014/main" id="{46C135B4-B3D4-5A7E-4D31-92C9CBA7168C}"/>
              </a:ext>
            </a:extLst>
          </p:cNvPr>
          <p:cNvSpPr/>
          <p:nvPr/>
        </p:nvSpPr>
        <p:spPr>
          <a:xfrm>
            <a:off x="6098275" y="2782058"/>
            <a:ext cx="2626820" cy="469968"/>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spcAft>
                <a:spcPts val="425"/>
              </a:spcAft>
              <a:defRPr/>
            </a:pPr>
            <a:endParaRPr lang="de-DE" sz="1800" dirty="0" err="1">
              <a:solidFill>
                <a:prstClr val="black"/>
              </a:solidFill>
              <a:latin typeface="Arial"/>
            </a:endParaRPr>
          </a:p>
        </p:txBody>
      </p:sp>
      <p:sp>
        <p:nvSpPr>
          <p:cNvPr id="26" name="Rechteck 25">
            <a:extLst>
              <a:ext uri="{FF2B5EF4-FFF2-40B4-BE49-F238E27FC236}">
                <a16:creationId xmlns:a16="http://schemas.microsoft.com/office/drawing/2014/main" id="{8C9AED36-B969-D2E0-2E0D-750E55EAC539}"/>
              </a:ext>
            </a:extLst>
          </p:cNvPr>
          <p:cNvSpPr/>
          <p:nvPr/>
        </p:nvSpPr>
        <p:spPr>
          <a:xfrm>
            <a:off x="1533359" y="2782059"/>
            <a:ext cx="4419071" cy="469968"/>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spcAft>
                <a:spcPts val="425"/>
              </a:spcAft>
              <a:defRPr/>
            </a:pPr>
            <a:endParaRPr lang="de-DE" sz="1800" dirty="0" err="1">
              <a:solidFill>
                <a:prstClr val="black"/>
              </a:solidFill>
              <a:latin typeface="Arial"/>
            </a:endParaRPr>
          </a:p>
        </p:txBody>
      </p:sp>
      <p:cxnSp>
        <p:nvCxnSpPr>
          <p:cNvPr id="27" name="Gerade Verbindung mit Pfeil 26">
            <a:extLst>
              <a:ext uri="{FF2B5EF4-FFF2-40B4-BE49-F238E27FC236}">
                <a16:creationId xmlns:a16="http://schemas.microsoft.com/office/drawing/2014/main" id="{C3EC0D3F-80EB-100D-C6A0-FE673307DCC9}"/>
              </a:ext>
            </a:extLst>
          </p:cNvPr>
          <p:cNvCxnSpPr>
            <a:cxnSpLocks/>
          </p:cNvCxnSpPr>
          <p:nvPr/>
        </p:nvCxnSpPr>
        <p:spPr>
          <a:xfrm>
            <a:off x="5509632" y="2008093"/>
            <a:ext cx="0" cy="323293"/>
          </a:xfrm>
          <a:prstGeom prst="straightConnector1">
            <a:avLst/>
          </a:prstGeom>
          <a:ln w="38100">
            <a:solidFill>
              <a:srgbClr val="000000"/>
            </a:solidFill>
            <a:prstDash val="lgDash"/>
            <a:tailEnd type="triangle"/>
          </a:ln>
        </p:spPr>
        <p:style>
          <a:lnRef idx="1">
            <a:schemeClr val="accent1"/>
          </a:lnRef>
          <a:fillRef idx="0">
            <a:schemeClr val="accent1"/>
          </a:fillRef>
          <a:effectRef idx="0">
            <a:schemeClr val="accent1"/>
          </a:effectRef>
          <a:fontRef idx="minor">
            <a:schemeClr val="tx1"/>
          </a:fontRef>
        </p:style>
      </p:cxnSp>
      <p:cxnSp>
        <p:nvCxnSpPr>
          <p:cNvPr id="28" name="Gerade Verbindung mit Pfeil 27">
            <a:extLst>
              <a:ext uri="{FF2B5EF4-FFF2-40B4-BE49-F238E27FC236}">
                <a16:creationId xmlns:a16="http://schemas.microsoft.com/office/drawing/2014/main" id="{346866DC-DD00-3735-037C-8E07FCEC7738}"/>
              </a:ext>
            </a:extLst>
          </p:cNvPr>
          <p:cNvCxnSpPr>
            <a:cxnSpLocks/>
          </p:cNvCxnSpPr>
          <p:nvPr/>
        </p:nvCxnSpPr>
        <p:spPr>
          <a:xfrm>
            <a:off x="6381170" y="2008093"/>
            <a:ext cx="0" cy="323293"/>
          </a:xfrm>
          <a:prstGeom prst="straightConnector1">
            <a:avLst/>
          </a:prstGeom>
          <a:ln w="38100">
            <a:solidFill>
              <a:srgbClr val="000000"/>
            </a:solidFill>
            <a:prstDash val="lgDash"/>
            <a:tailEnd type="triangle"/>
          </a:ln>
        </p:spPr>
        <p:style>
          <a:lnRef idx="1">
            <a:schemeClr val="accent1"/>
          </a:lnRef>
          <a:fillRef idx="0">
            <a:schemeClr val="accent1"/>
          </a:fillRef>
          <a:effectRef idx="0">
            <a:schemeClr val="accent1"/>
          </a:effectRef>
          <a:fontRef idx="minor">
            <a:schemeClr val="tx1"/>
          </a:fontRef>
        </p:style>
      </p:cxnSp>
      <p:sp>
        <p:nvSpPr>
          <p:cNvPr id="29" name="Textfeld 28">
            <a:extLst>
              <a:ext uri="{FF2B5EF4-FFF2-40B4-BE49-F238E27FC236}">
                <a16:creationId xmlns:a16="http://schemas.microsoft.com/office/drawing/2014/main" id="{27812307-0EF0-40D9-DFD0-00BFB5FA3A5D}"/>
              </a:ext>
            </a:extLst>
          </p:cNvPr>
          <p:cNvSpPr txBox="1"/>
          <p:nvPr/>
        </p:nvSpPr>
        <p:spPr>
          <a:xfrm>
            <a:off x="462338" y="2181344"/>
            <a:ext cx="922329" cy="553998"/>
          </a:xfrm>
          <a:prstGeom prst="rect">
            <a:avLst/>
          </a:prstGeom>
          <a:solidFill>
            <a:schemeClr val="bg1">
              <a:lumMod val="85000"/>
            </a:schemeClr>
          </a:solidFill>
        </p:spPr>
        <p:txBody>
          <a:bodyPr wrap="square">
            <a:spAutoFit/>
          </a:bodyPr>
          <a:lstStyle/>
          <a:p>
            <a:pPr algn="ctr" defTabSz="457178">
              <a:spcBef>
                <a:spcPts val="450"/>
              </a:spcBef>
              <a:spcAft>
                <a:spcPts val="450"/>
              </a:spcAft>
              <a:defRPr/>
            </a:pPr>
            <a:r>
              <a:rPr lang="en-US" sz="1500" b="1" kern="0" dirty="0">
                <a:solidFill>
                  <a:prstClr val="black"/>
                </a:solidFill>
                <a:latin typeface="Arial" panose="020B0604020202020204" pitchFamily="34" charset="0"/>
                <a:ea typeface="+mn-ea"/>
                <a:cs typeface="Arial" panose="020B0604020202020204" pitchFamily="34" charset="0"/>
              </a:rPr>
              <a:t>HER2 ISH</a:t>
            </a:r>
          </a:p>
        </p:txBody>
      </p:sp>
      <p:sp>
        <p:nvSpPr>
          <p:cNvPr id="30" name="Textfeld 29">
            <a:extLst>
              <a:ext uri="{FF2B5EF4-FFF2-40B4-BE49-F238E27FC236}">
                <a16:creationId xmlns:a16="http://schemas.microsoft.com/office/drawing/2014/main" id="{B796792E-2A00-2E80-5BBC-87556731139C}"/>
              </a:ext>
            </a:extLst>
          </p:cNvPr>
          <p:cNvSpPr txBox="1"/>
          <p:nvPr/>
        </p:nvSpPr>
        <p:spPr>
          <a:xfrm>
            <a:off x="470552" y="2849879"/>
            <a:ext cx="942603" cy="369332"/>
          </a:xfrm>
          <a:prstGeom prst="rect">
            <a:avLst/>
          </a:prstGeom>
          <a:solidFill>
            <a:schemeClr val="bg1">
              <a:lumMod val="85000"/>
            </a:schemeClr>
          </a:solidFill>
        </p:spPr>
        <p:txBody>
          <a:bodyPr wrap="square">
            <a:spAutoFit/>
          </a:bodyPr>
          <a:lstStyle/>
          <a:p>
            <a:pPr algn="ctr" defTabSz="457178">
              <a:spcBef>
                <a:spcPts val="450"/>
              </a:spcBef>
              <a:spcAft>
                <a:spcPts val="450"/>
              </a:spcAft>
              <a:defRPr/>
            </a:pPr>
            <a:r>
              <a:rPr lang="en-US" sz="900" b="1" kern="0" dirty="0">
                <a:solidFill>
                  <a:prstClr val="black"/>
                </a:solidFill>
                <a:latin typeface="Arial" panose="020B0604020202020204" pitchFamily="34" charset="0"/>
                <a:ea typeface="+mn-ea"/>
                <a:cs typeface="Arial" panose="020B0604020202020204" pitchFamily="34" charset="0"/>
              </a:rPr>
              <a:t>traditional classification</a:t>
            </a:r>
          </a:p>
        </p:txBody>
      </p:sp>
      <p:sp>
        <p:nvSpPr>
          <p:cNvPr id="31" name="Textfeld 30">
            <a:extLst>
              <a:ext uri="{FF2B5EF4-FFF2-40B4-BE49-F238E27FC236}">
                <a16:creationId xmlns:a16="http://schemas.microsoft.com/office/drawing/2014/main" id="{ED958949-8FFE-D6BA-3D60-8E24692C3678}"/>
              </a:ext>
            </a:extLst>
          </p:cNvPr>
          <p:cNvSpPr txBox="1"/>
          <p:nvPr/>
        </p:nvSpPr>
        <p:spPr>
          <a:xfrm>
            <a:off x="5130994" y="2373307"/>
            <a:ext cx="820169" cy="152417"/>
          </a:xfrm>
          <a:prstGeom prst="rect">
            <a:avLst/>
          </a:prstGeom>
          <a:noFill/>
        </p:spPr>
        <p:txBody>
          <a:bodyPr wrap="none" lIns="0" tIns="0" rIns="0" bIns="0" rtlCol="0">
            <a:noAutofit/>
          </a:bodyPr>
          <a:lstStyle/>
          <a:p>
            <a:pPr algn="ctr" defTabSz="685800">
              <a:spcAft>
                <a:spcPts val="425"/>
              </a:spcAft>
              <a:defRPr/>
            </a:pPr>
            <a:r>
              <a:rPr lang="de-DE" sz="1350" dirty="0">
                <a:solidFill>
                  <a:schemeClr val="bg1"/>
                </a:solidFill>
                <a:latin typeface="Arial" panose="020B0604020202020204" pitchFamily="34" charset="0"/>
                <a:ea typeface="+mn-ea"/>
                <a:cs typeface="Arial" panose="020B0604020202020204" pitchFamily="34" charset="0"/>
              </a:rPr>
              <a:t>negative</a:t>
            </a:r>
            <a:endParaRPr lang="en-US" sz="1350" kern="0" dirty="0">
              <a:solidFill>
                <a:schemeClr val="bg1"/>
              </a:solidFill>
              <a:latin typeface="Arial" panose="020B0604020202020204" pitchFamily="34" charset="0"/>
              <a:ea typeface="+mn-ea"/>
              <a:cs typeface="Arial" panose="020B0604020202020204" pitchFamily="34" charset="0"/>
            </a:endParaRPr>
          </a:p>
        </p:txBody>
      </p:sp>
      <p:sp>
        <p:nvSpPr>
          <p:cNvPr id="32" name="Textfeld 31">
            <a:extLst>
              <a:ext uri="{FF2B5EF4-FFF2-40B4-BE49-F238E27FC236}">
                <a16:creationId xmlns:a16="http://schemas.microsoft.com/office/drawing/2014/main" id="{25E9A9F5-63CC-89B4-8885-1DEDBD762D08}"/>
              </a:ext>
            </a:extLst>
          </p:cNvPr>
          <p:cNvSpPr txBox="1"/>
          <p:nvPr/>
        </p:nvSpPr>
        <p:spPr>
          <a:xfrm>
            <a:off x="6036589" y="2384722"/>
            <a:ext cx="820169" cy="152417"/>
          </a:xfrm>
          <a:prstGeom prst="rect">
            <a:avLst/>
          </a:prstGeom>
          <a:noFill/>
        </p:spPr>
        <p:txBody>
          <a:bodyPr wrap="none" lIns="0" tIns="0" rIns="0" bIns="0" rtlCol="0">
            <a:noAutofit/>
          </a:bodyPr>
          <a:lstStyle/>
          <a:p>
            <a:pPr algn="ctr" defTabSz="685800">
              <a:spcAft>
                <a:spcPts val="425"/>
              </a:spcAft>
              <a:defRPr/>
            </a:pPr>
            <a:r>
              <a:rPr lang="de-DE" sz="1350" dirty="0">
                <a:solidFill>
                  <a:prstClr val="black"/>
                </a:solidFill>
                <a:latin typeface="Arial" panose="020B0604020202020204" pitchFamily="34" charset="0"/>
                <a:ea typeface="+mn-ea"/>
                <a:cs typeface="Arial" panose="020B0604020202020204" pitchFamily="34" charset="0"/>
              </a:rPr>
              <a:t>positive</a:t>
            </a:r>
            <a:endParaRPr lang="en-US" sz="1350" kern="0" dirty="0">
              <a:solidFill>
                <a:prstClr val="black"/>
              </a:solidFill>
              <a:latin typeface="Arial" panose="020B0604020202020204" pitchFamily="34" charset="0"/>
              <a:ea typeface="+mn-ea"/>
              <a:cs typeface="Arial" panose="020B0604020202020204" pitchFamily="34" charset="0"/>
            </a:endParaRPr>
          </a:p>
        </p:txBody>
      </p:sp>
      <p:sp>
        <p:nvSpPr>
          <p:cNvPr id="33" name="Textfeld 32">
            <a:extLst>
              <a:ext uri="{FF2B5EF4-FFF2-40B4-BE49-F238E27FC236}">
                <a16:creationId xmlns:a16="http://schemas.microsoft.com/office/drawing/2014/main" id="{1B14589B-2304-FE3E-7818-6DF7842CD615}"/>
              </a:ext>
            </a:extLst>
          </p:cNvPr>
          <p:cNvSpPr txBox="1"/>
          <p:nvPr/>
        </p:nvSpPr>
        <p:spPr>
          <a:xfrm>
            <a:off x="1534731" y="2879297"/>
            <a:ext cx="4389746" cy="184378"/>
          </a:xfrm>
          <a:prstGeom prst="rect">
            <a:avLst/>
          </a:prstGeom>
          <a:noFill/>
        </p:spPr>
        <p:txBody>
          <a:bodyPr wrap="none" lIns="0" tIns="0" rIns="0" bIns="0" rtlCol="0">
            <a:noAutofit/>
          </a:bodyPr>
          <a:lstStyle/>
          <a:p>
            <a:pPr algn="ctr" defTabSz="685800">
              <a:spcAft>
                <a:spcPts val="425"/>
              </a:spcAft>
              <a:defRPr/>
            </a:pPr>
            <a:r>
              <a:rPr lang="de-DE" sz="1800" kern="0" dirty="0">
                <a:solidFill>
                  <a:prstClr val="black"/>
                </a:solidFill>
                <a:latin typeface="Arial" panose="020B0604020202020204" pitchFamily="34" charset="0"/>
                <a:ea typeface="+mn-ea"/>
                <a:cs typeface="Arial" panose="020B0604020202020204" pitchFamily="34" charset="0"/>
              </a:rPr>
              <a:t>HER2-negative</a:t>
            </a:r>
            <a:endParaRPr lang="en-US" sz="1800" kern="0" dirty="0">
              <a:solidFill>
                <a:prstClr val="black"/>
              </a:solidFill>
              <a:latin typeface="Arial" panose="020B0604020202020204" pitchFamily="34" charset="0"/>
              <a:ea typeface="+mn-ea"/>
              <a:cs typeface="Arial" panose="020B0604020202020204" pitchFamily="34" charset="0"/>
            </a:endParaRPr>
          </a:p>
        </p:txBody>
      </p:sp>
      <p:sp>
        <p:nvSpPr>
          <p:cNvPr id="34" name="Textfeld 33">
            <a:extLst>
              <a:ext uri="{FF2B5EF4-FFF2-40B4-BE49-F238E27FC236}">
                <a16:creationId xmlns:a16="http://schemas.microsoft.com/office/drawing/2014/main" id="{CB4DA92B-F3DF-671C-9C2D-8F4DCBD6A3C8}"/>
              </a:ext>
            </a:extLst>
          </p:cNvPr>
          <p:cNvSpPr txBox="1"/>
          <p:nvPr/>
        </p:nvSpPr>
        <p:spPr>
          <a:xfrm>
            <a:off x="6098275" y="2881801"/>
            <a:ext cx="2589978" cy="167602"/>
          </a:xfrm>
          <a:prstGeom prst="rect">
            <a:avLst/>
          </a:prstGeom>
          <a:noFill/>
        </p:spPr>
        <p:txBody>
          <a:bodyPr wrap="none" lIns="0" tIns="0" rIns="0" bIns="0" rtlCol="0">
            <a:noAutofit/>
          </a:bodyPr>
          <a:lstStyle/>
          <a:p>
            <a:pPr algn="ctr" defTabSz="685800">
              <a:spcAft>
                <a:spcPts val="425"/>
              </a:spcAft>
              <a:defRPr/>
            </a:pPr>
            <a:r>
              <a:rPr lang="de-DE" sz="1800" kern="0" dirty="0">
                <a:solidFill>
                  <a:prstClr val="black"/>
                </a:solidFill>
                <a:latin typeface="Arial" panose="020B0604020202020204" pitchFamily="34" charset="0"/>
                <a:ea typeface="+mn-ea"/>
                <a:cs typeface="Arial" panose="020B0604020202020204" pitchFamily="34" charset="0"/>
              </a:rPr>
              <a:t>HER2-positive</a:t>
            </a:r>
            <a:endParaRPr lang="en-US" sz="1800" kern="0" dirty="0">
              <a:solidFill>
                <a:prstClr val="black"/>
              </a:solidFill>
              <a:latin typeface="Arial" panose="020B0604020202020204" pitchFamily="34" charset="0"/>
              <a:ea typeface="+mn-ea"/>
              <a:cs typeface="Arial" panose="020B0604020202020204" pitchFamily="34" charset="0"/>
            </a:endParaRPr>
          </a:p>
        </p:txBody>
      </p:sp>
      <p:sp>
        <p:nvSpPr>
          <p:cNvPr id="45" name="Textfeld 13">
            <a:extLst>
              <a:ext uri="{FF2B5EF4-FFF2-40B4-BE49-F238E27FC236}">
                <a16:creationId xmlns:a16="http://schemas.microsoft.com/office/drawing/2014/main" id="{8E2F5E31-5371-4755-B05F-86FD9FECE9D2}"/>
              </a:ext>
            </a:extLst>
          </p:cNvPr>
          <p:cNvSpPr txBox="1"/>
          <p:nvPr/>
        </p:nvSpPr>
        <p:spPr>
          <a:xfrm>
            <a:off x="462338" y="4212493"/>
            <a:ext cx="3207768" cy="207749"/>
          </a:xfrm>
          <a:prstGeom prst="rect">
            <a:avLst/>
          </a:prstGeom>
          <a:noFill/>
        </p:spPr>
        <p:txBody>
          <a:bodyPr wrap="square" rtlCol="0">
            <a:spAutoFit/>
          </a:bodyPr>
          <a:lstStyle/>
          <a:p>
            <a:pPr defTabSz="685800">
              <a:defRPr/>
            </a:pPr>
            <a:r>
              <a:rPr lang="de-DE" sz="750" dirty="0">
                <a:solidFill>
                  <a:srgbClr val="000000"/>
                </a:solidFill>
                <a:latin typeface="Arial" panose="020B0604020202020204" pitchFamily="34" charset="0"/>
                <a:ea typeface="MS Gothic" panose="020B0609070205080204" pitchFamily="49" charset="-128"/>
                <a:cs typeface="Arial" panose="020B0604020202020204" pitchFamily="34" charset="0"/>
              </a:rPr>
              <a:t>Denkert, </a:t>
            </a:r>
            <a:r>
              <a:rPr lang="de-DE" sz="750" dirty="0" err="1">
                <a:solidFill>
                  <a:srgbClr val="000000"/>
                </a:solidFill>
                <a:latin typeface="Arial" panose="020B0604020202020204" pitchFamily="34" charset="0"/>
                <a:ea typeface="MS Gothic" panose="020B0609070205080204" pitchFamily="49" charset="-128"/>
                <a:cs typeface="Arial" panose="020B0604020202020204" pitchFamily="34" charset="0"/>
              </a:rPr>
              <a:t>Lebeau</a:t>
            </a:r>
            <a:r>
              <a:rPr lang="de-DE" sz="750" dirty="0">
                <a:solidFill>
                  <a:srgbClr val="000000"/>
                </a:solidFill>
                <a:latin typeface="Arial" panose="020B0604020202020204" pitchFamily="34" charset="0"/>
                <a:ea typeface="MS Gothic" panose="020B0609070205080204" pitchFamily="49" charset="-128"/>
                <a:cs typeface="Arial" panose="020B0604020202020204" pitchFamily="34" charset="0"/>
              </a:rPr>
              <a:t>, Schildhaus, Jackisch, </a:t>
            </a:r>
            <a:r>
              <a:rPr lang="de-DE" sz="750" dirty="0" err="1">
                <a:solidFill>
                  <a:srgbClr val="000000"/>
                </a:solidFill>
                <a:latin typeface="Arial" panose="020B0604020202020204" pitchFamily="34" charset="0"/>
                <a:ea typeface="MS Gothic" panose="020B0609070205080204" pitchFamily="49" charset="-128"/>
                <a:cs typeface="Arial" panose="020B0604020202020204" pitchFamily="34" charset="0"/>
              </a:rPr>
              <a:t>Rüschoff</a:t>
            </a:r>
            <a:r>
              <a:rPr lang="de-DE" sz="750" dirty="0">
                <a:solidFill>
                  <a:srgbClr val="000000"/>
                </a:solidFill>
                <a:latin typeface="Arial" panose="020B0604020202020204" pitchFamily="34" charset="0"/>
                <a:ea typeface="MS Gothic" panose="020B0609070205080204" pitchFamily="49" charset="-128"/>
                <a:cs typeface="Arial" panose="020B0604020202020204" pitchFamily="34" charset="0"/>
              </a:rPr>
              <a:t> „Die Pathologie, 2022</a:t>
            </a:r>
            <a:endParaRPr lang="de-DE" sz="750" dirty="0">
              <a:solidFill>
                <a:prstClr val="black"/>
              </a:solidFill>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6677819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26" grpId="0" animBg="1"/>
      <p:bldP spid="33" grpId="0"/>
      <p:bldP spid="34" grpId="0"/>
    </p:bldLst>
  </p:timing>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descr="Diagram&#10;&#10;Description automatically generated">
            <a:extLst>
              <a:ext uri="{FF2B5EF4-FFF2-40B4-BE49-F238E27FC236}">
                <a16:creationId xmlns:a16="http://schemas.microsoft.com/office/drawing/2014/main" id="{538A21DA-DB8E-3C44-9F7D-F284B361811E}"/>
              </a:ext>
            </a:extLst>
          </p:cNvPr>
          <p:cNvPicPr>
            <a:picLocks noChangeAspect="1"/>
          </p:cNvPicPr>
          <p:nvPr/>
        </p:nvPicPr>
        <p:blipFill rotWithShape="1">
          <a:blip r:embed="rId3"/>
          <a:srcRect l="3239"/>
          <a:stretch/>
        </p:blipFill>
        <p:spPr bwMode="auto">
          <a:xfrm>
            <a:off x="613064" y="1127222"/>
            <a:ext cx="8103558" cy="2893820"/>
          </a:xfrm>
          <a:prstGeom prst="rect">
            <a:avLst/>
          </a:prstGeom>
          <a:ln>
            <a:noFill/>
          </a:ln>
          <a:extLst>
            <a:ext uri="{53640926-AAD7-44D8-BBD7-CCE9431645EC}">
              <a14:shadowObscured xmlns:a14="http://schemas.microsoft.com/office/drawing/2010/main"/>
            </a:ext>
          </a:extLst>
        </p:spPr>
      </p:pic>
      <p:sp>
        <p:nvSpPr>
          <p:cNvPr id="18" name="TextBox 17">
            <a:extLst>
              <a:ext uri="{FF2B5EF4-FFF2-40B4-BE49-F238E27FC236}">
                <a16:creationId xmlns:a16="http://schemas.microsoft.com/office/drawing/2014/main" id="{E8E5EC1B-413E-D336-1D30-C094BB7627FF}"/>
              </a:ext>
            </a:extLst>
          </p:cNvPr>
          <p:cNvSpPr txBox="1"/>
          <p:nvPr/>
        </p:nvSpPr>
        <p:spPr>
          <a:xfrm>
            <a:off x="-220006" y="593678"/>
            <a:ext cx="9144000" cy="461665"/>
          </a:xfrm>
          <a:prstGeom prst="rect">
            <a:avLst/>
          </a:prstGeom>
          <a:noFill/>
        </p:spPr>
        <p:txBody>
          <a:bodyPr wrap="square" rtlCol="0">
            <a:spAutoFit/>
          </a:bodyPr>
          <a:lstStyle/>
          <a:p>
            <a:pPr algn="ctr"/>
            <a:r>
              <a:rPr lang="en-US" b="1" dirty="0">
                <a:cs typeface="Calibri" panose="020F0502020204030204" pitchFamily="34" charset="0"/>
              </a:rPr>
              <a:t>PHASE 3 trial: DESTINY-Breast04</a:t>
            </a:r>
          </a:p>
        </p:txBody>
      </p:sp>
      <p:sp>
        <p:nvSpPr>
          <p:cNvPr id="2" name="Title 3">
            <a:extLst>
              <a:ext uri="{FF2B5EF4-FFF2-40B4-BE49-F238E27FC236}">
                <a16:creationId xmlns:a16="http://schemas.microsoft.com/office/drawing/2014/main" id="{12AB0DB6-2EB2-B66E-3D72-1A8307D71FCD}"/>
              </a:ext>
            </a:extLst>
          </p:cNvPr>
          <p:cNvSpPr>
            <a:spLocks noGrp="1"/>
          </p:cNvSpPr>
          <p:nvPr>
            <p:ph type="title"/>
          </p:nvPr>
        </p:nvSpPr>
        <p:spPr>
          <a:xfrm>
            <a:off x="-302508" y="-150539"/>
            <a:ext cx="9144000" cy="807256"/>
          </a:xfrm>
        </p:spPr>
        <p:txBody>
          <a:bodyPr/>
          <a:lstStyle/>
          <a:p>
            <a:r>
              <a:rPr lang="en-US" sz="1800" b="1" dirty="0"/>
              <a:t>Trastuzumab </a:t>
            </a:r>
            <a:r>
              <a:rPr lang="en-US" sz="1800" b="1" dirty="0" err="1"/>
              <a:t>Deruxtecan</a:t>
            </a:r>
            <a:r>
              <a:rPr lang="en-US" sz="1800" b="1" dirty="0"/>
              <a:t> in Previously Treated HER2-Low Advanced Breast Cancer</a:t>
            </a:r>
          </a:p>
        </p:txBody>
      </p:sp>
      <p:sp>
        <p:nvSpPr>
          <p:cNvPr id="3" name="TextBox 2">
            <a:extLst>
              <a:ext uri="{FF2B5EF4-FFF2-40B4-BE49-F238E27FC236}">
                <a16:creationId xmlns:a16="http://schemas.microsoft.com/office/drawing/2014/main" id="{A2878F1B-66E0-B8DD-D2DF-06605E437A7F}"/>
              </a:ext>
            </a:extLst>
          </p:cNvPr>
          <p:cNvSpPr txBox="1"/>
          <p:nvPr/>
        </p:nvSpPr>
        <p:spPr>
          <a:xfrm>
            <a:off x="-103128" y="4173240"/>
            <a:ext cx="2557110" cy="184666"/>
          </a:xfrm>
          <a:prstGeom prst="rect">
            <a:avLst/>
          </a:prstGeom>
          <a:noFill/>
        </p:spPr>
        <p:txBody>
          <a:bodyPr wrap="none" rtlCol="0">
            <a:spAutoFit/>
          </a:bodyPr>
          <a:lstStyle/>
          <a:p>
            <a:r>
              <a:rPr lang="da-DK" sz="600" dirty="0"/>
              <a:t>N Engl J Med. 2022 Jul 7;387(1):9-20. doi: 10.1056/NEJMoa2203690</a:t>
            </a:r>
            <a:endParaRPr lang="en-US" sz="600" dirty="0"/>
          </a:p>
        </p:txBody>
      </p:sp>
    </p:spTree>
    <p:extLst>
      <p:ext uri="{BB962C8B-B14F-4D97-AF65-F5344CB8AC3E}">
        <p14:creationId xmlns:p14="http://schemas.microsoft.com/office/powerpoint/2010/main" val="4192177144"/>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Box 13">
            <a:extLst>
              <a:ext uri="{FF2B5EF4-FFF2-40B4-BE49-F238E27FC236}">
                <a16:creationId xmlns:a16="http://schemas.microsoft.com/office/drawing/2014/main" id="{2BD6F6D1-1E78-CF35-4782-6EF04C70D704}"/>
              </a:ext>
            </a:extLst>
          </p:cNvPr>
          <p:cNvSpPr txBox="1"/>
          <p:nvPr/>
        </p:nvSpPr>
        <p:spPr>
          <a:xfrm>
            <a:off x="134091" y="169311"/>
            <a:ext cx="2934714" cy="323165"/>
          </a:xfrm>
          <a:prstGeom prst="rect">
            <a:avLst/>
          </a:prstGeom>
          <a:noFill/>
        </p:spPr>
        <p:txBody>
          <a:bodyPr wrap="none" rtlCol="0">
            <a:spAutoFit/>
          </a:bodyPr>
          <a:lstStyle/>
          <a:p>
            <a:r>
              <a:rPr lang="en-US" sz="1500" b="1" dirty="0">
                <a:latin typeface="Helvetica" pitchFamily="2" charset="0"/>
              </a:rPr>
              <a:t>PFS in HR+ and in All Patients</a:t>
            </a:r>
          </a:p>
        </p:txBody>
      </p:sp>
      <p:pic>
        <p:nvPicPr>
          <p:cNvPr id="2" name="Picture 1">
            <a:extLst>
              <a:ext uri="{FF2B5EF4-FFF2-40B4-BE49-F238E27FC236}">
                <a16:creationId xmlns:a16="http://schemas.microsoft.com/office/drawing/2014/main" id="{5783BFCB-54D4-A5FD-F21A-23A8FEEAF621}"/>
              </a:ext>
            </a:extLst>
          </p:cNvPr>
          <p:cNvPicPr>
            <a:picLocks noChangeAspect="1"/>
          </p:cNvPicPr>
          <p:nvPr/>
        </p:nvPicPr>
        <p:blipFill>
          <a:blip r:embed="rId3"/>
          <a:stretch>
            <a:fillRect/>
          </a:stretch>
        </p:blipFill>
        <p:spPr>
          <a:xfrm>
            <a:off x="147638" y="601489"/>
            <a:ext cx="8848725" cy="3629025"/>
          </a:xfrm>
          <a:prstGeom prst="rect">
            <a:avLst/>
          </a:prstGeom>
        </p:spPr>
      </p:pic>
      <p:sp>
        <p:nvSpPr>
          <p:cNvPr id="15" name="TextBox 14">
            <a:extLst>
              <a:ext uri="{FF2B5EF4-FFF2-40B4-BE49-F238E27FC236}">
                <a16:creationId xmlns:a16="http://schemas.microsoft.com/office/drawing/2014/main" id="{421D3414-34E6-64A8-37E2-41FA202DBDC1}"/>
              </a:ext>
            </a:extLst>
          </p:cNvPr>
          <p:cNvSpPr txBox="1"/>
          <p:nvPr/>
        </p:nvSpPr>
        <p:spPr>
          <a:xfrm>
            <a:off x="-68752" y="3999681"/>
            <a:ext cx="8320954" cy="461665"/>
          </a:xfrm>
          <a:prstGeom prst="rect">
            <a:avLst/>
          </a:prstGeom>
          <a:noFill/>
        </p:spPr>
        <p:txBody>
          <a:bodyPr wrap="square">
            <a:spAutoFit/>
          </a:bodyPr>
          <a:lstStyle/>
          <a:p>
            <a:r>
              <a:rPr lang="en-US" sz="1200" i="1" dirty="0"/>
              <a:t>88.7% had HR+ disease, 11.3% with HR-</a:t>
            </a:r>
          </a:p>
          <a:p>
            <a:r>
              <a:rPr lang="en-US" sz="1200" i="1" dirty="0"/>
              <a:t>TPC: </a:t>
            </a:r>
            <a:r>
              <a:rPr lang="en-US" sz="1200" i="1" dirty="0" err="1"/>
              <a:t>eribulin</a:t>
            </a:r>
            <a:r>
              <a:rPr lang="en-US" sz="1200" i="1" dirty="0"/>
              <a:t> (51.1%), capecitabine (20.1%), nab-paclitaxel (10.3%), gemcitabine (10.3%), or paclitaxel (8.2%)</a:t>
            </a:r>
          </a:p>
        </p:txBody>
      </p:sp>
      <p:sp>
        <p:nvSpPr>
          <p:cNvPr id="16" name="TextBox 15">
            <a:extLst>
              <a:ext uri="{FF2B5EF4-FFF2-40B4-BE49-F238E27FC236}">
                <a16:creationId xmlns:a16="http://schemas.microsoft.com/office/drawing/2014/main" id="{F24172F2-4A56-9D68-1139-56B13A38CDF2}"/>
              </a:ext>
            </a:extLst>
          </p:cNvPr>
          <p:cNvSpPr txBox="1"/>
          <p:nvPr/>
        </p:nvSpPr>
        <p:spPr>
          <a:xfrm>
            <a:off x="7183207" y="4800883"/>
            <a:ext cx="1492716" cy="230832"/>
          </a:xfrm>
          <a:prstGeom prst="rect">
            <a:avLst/>
          </a:prstGeom>
          <a:noFill/>
        </p:spPr>
        <p:txBody>
          <a:bodyPr wrap="none" rtlCol="0">
            <a:spAutoFit/>
          </a:bodyPr>
          <a:lstStyle/>
          <a:p>
            <a:r>
              <a:rPr lang="en-US" sz="900" dirty="0"/>
              <a:t>Modi S. et al. NEJM 2022</a:t>
            </a:r>
          </a:p>
        </p:txBody>
      </p:sp>
    </p:spTree>
    <p:extLst>
      <p:ext uri="{BB962C8B-B14F-4D97-AF65-F5344CB8AC3E}">
        <p14:creationId xmlns:p14="http://schemas.microsoft.com/office/powerpoint/2010/main" val="1425548431"/>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Box 13">
            <a:extLst>
              <a:ext uri="{FF2B5EF4-FFF2-40B4-BE49-F238E27FC236}">
                <a16:creationId xmlns:a16="http://schemas.microsoft.com/office/drawing/2014/main" id="{2BD6F6D1-1E78-CF35-4782-6EF04C70D704}"/>
              </a:ext>
            </a:extLst>
          </p:cNvPr>
          <p:cNvSpPr txBox="1"/>
          <p:nvPr/>
        </p:nvSpPr>
        <p:spPr>
          <a:xfrm>
            <a:off x="134090" y="169311"/>
            <a:ext cx="2838534" cy="323165"/>
          </a:xfrm>
          <a:prstGeom prst="rect">
            <a:avLst/>
          </a:prstGeom>
          <a:noFill/>
        </p:spPr>
        <p:txBody>
          <a:bodyPr wrap="none" rtlCol="0">
            <a:spAutoFit/>
          </a:bodyPr>
          <a:lstStyle/>
          <a:p>
            <a:r>
              <a:rPr lang="en-US" sz="1500" b="1" dirty="0">
                <a:latin typeface="Helvetica" pitchFamily="2" charset="0"/>
              </a:rPr>
              <a:t>OS in HR+ and in All Patients</a:t>
            </a:r>
          </a:p>
        </p:txBody>
      </p:sp>
      <p:pic>
        <p:nvPicPr>
          <p:cNvPr id="3" name="Picture 2">
            <a:extLst>
              <a:ext uri="{FF2B5EF4-FFF2-40B4-BE49-F238E27FC236}">
                <a16:creationId xmlns:a16="http://schemas.microsoft.com/office/drawing/2014/main" id="{29D7415F-3A8F-E559-2601-DD78DF8A5472}"/>
              </a:ext>
            </a:extLst>
          </p:cNvPr>
          <p:cNvPicPr>
            <a:picLocks noChangeAspect="1"/>
          </p:cNvPicPr>
          <p:nvPr/>
        </p:nvPicPr>
        <p:blipFill>
          <a:blip r:embed="rId3"/>
          <a:stretch>
            <a:fillRect/>
          </a:stretch>
        </p:blipFill>
        <p:spPr>
          <a:xfrm>
            <a:off x="0" y="715894"/>
            <a:ext cx="9144000" cy="3716475"/>
          </a:xfrm>
          <a:prstGeom prst="rect">
            <a:avLst/>
          </a:prstGeom>
        </p:spPr>
      </p:pic>
      <p:sp>
        <p:nvSpPr>
          <p:cNvPr id="15" name="TextBox 15">
            <a:extLst>
              <a:ext uri="{FF2B5EF4-FFF2-40B4-BE49-F238E27FC236}">
                <a16:creationId xmlns:a16="http://schemas.microsoft.com/office/drawing/2014/main" id="{79F252C2-F942-44F8-B2A3-721C72F4BC71}"/>
              </a:ext>
            </a:extLst>
          </p:cNvPr>
          <p:cNvSpPr txBox="1"/>
          <p:nvPr/>
        </p:nvSpPr>
        <p:spPr>
          <a:xfrm>
            <a:off x="7183207" y="4800883"/>
            <a:ext cx="1492716" cy="230832"/>
          </a:xfrm>
          <a:prstGeom prst="rect">
            <a:avLst/>
          </a:prstGeom>
          <a:noFill/>
        </p:spPr>
        <p:txBody>
          <a:bodyPr wrap="none" rtlCol="0">
            <a:spAutoFit/>
          </a:bodyPr>
          <a:lstStyle/>
          <a:p>
            <a:r>
              <a:rPr lang="en-US" sz="900" dirty="0"/>
              <a:t>Modi S. et al. NEJM 2022</a:t>
            </a:r>
          </a:p>
        </p:txBody>
      </p:sp>
    </p:spTree>
    <p:extLst>
      <p:ext uri="{BB962C8B-B14F-4D97-AF65-F5344CB8AC3E}">
        <p14:creationId xmlns:p14="http://schemas.microsoft.com/office/powerpoint/2010/main" val="2615820962"/>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E4C2A4E7-3053-5949-ABB9-6616D1849DC6}"/>
              </a:ext>
            </a:extLst>
          </p:cNvPr>
          <p:cNvSpPr txBox="1"/>
          <p:nvPr/>
        </p:nvSpPr>
        <p:spPr>
          <a:xfrm>
            <a:off x="110782" y="124788"/>
            <a:ext cx="4190571" cy="553998"/>
          </a:xfrm>
          <a:prstGeom prst="rect">
            <a:avLst/>
          </a:prstGeom>
          <a:noFill/>
        </p:spPr>
        <p:txBody>
          <a:bodyPr wrap="none" rtlCol="0">
            <a:spAutoFit/>
          </a:bodyPr>
          <a:lstStyle/>
          <a:p>
            <a:r>
              <a:rPr lang="en-US" sz="1500" b="1" dirty="0">
                <a:latin typeface="Helvetica" pitchFamily="2" charset="0"/>
              </a:rPr>
              <a:t>PFS and OS in HR− (Exploratory Endpoints)</a:t>
            </a:r>
          </a:p>
          <a:p>
            <a:endParaRPr lang="en-US" sz="1500" dirty="0">
              <a:latin typeface="Helvetica" pitchFamily="2" charset="0"/>
            </a:endParaRPr>
          </a:p>
        </p:txBody>
      </p:sp>
      <p:pic>
        <p:nvPicPr>
          <p:cNvPr id="3" name="Picture 2">
            <a:extLst>
              <a:ext uri="{FF2B5EF4-FFF2-40B4-BE49-F238E27FC236}">
                <a16:creationId xmlns:a16="http://schemas.microsoft.com/office/drawing/2014/main" id="{19E41783-58B2-35DA-9691-C8A17533FF48}"/>
              </a:ext>
            </a:extLst>
          </p:cNvPr>
          <p:cNvPicPr>
            <a:picLocks noChangeAspect="1"/>
          </p:cNvPicPr>
          <p:nvPr/>
        </p:nvPicPr>
        <p:blipFill>
          <a:blip r:embed="rId3"/>
          <a:stretch>
            <a:fillRect/>
          </a:stretch>
        </p:blipFill>
        <p:spPr>
          <a:xfrm>
            <a:off x="0" y="655702"/>
            <a:ext cx="9144000" cy="3576891"/>
          </a:xfrm>
          <a:prstGeom prst="rect">
            <a:avLst/>
          </a:prstGeom>
        </p:spPr>
      </p:pic>
      <p:sp>
        <p:nvSpPr>
          <p:cNvPr id="15" name="TextBox 15">
            <a:extLst>
              <a:ext uri="{FF2B5EF4-FFF2-40B4-BE49-F238E27FC236}">
                <a16:creationId xmlns:a16="http://schemas.microsoft.com/office/drawing/2014/main" id="{46043B59-A45C-4A1E-A477-A4D3131083BC}"/>
              </a:ext>
            </a:extLst>
          </p:cNvPr>
          <p:cNvSpPr txBox="1"/>
          <p:nvPr/>
        </p:nvSpPr>
        <p:spPr>
          <a:xfrm>
            <a:off x="7183207" y="4800883"/>
            <a:ext cx="1492716" cy="230832"/>
          </a:xfrm>
          <a:prstGeom prst="rect">
            <a:avLst/>
          </a:prstGeom>
          <a:noFill/>
        </p:spPr>
        <p:txBody>
          <a:bodyPr wrap="none" rtlCol="0">
            <a:spAutoFit/>
          </a:bodyPr>
          <a:lstStyle/>
          <a:p>
            <a:r>
              <a:rPr lang="en-US" sz="900" dirty="0"/>
              <a:t>Modi S. et al. NEJM 2022</a:t>
            </a:r>
          </a:p>
        </p:txBody>
      </p:sp>
    </p:spTree>
    <p:extLst>
      <p:ext uri="{BB962C8B-B14F-4D97-AF65-F5344CB8AC3E}">
        <p14:creationId xmlns:p14="http://schemas.microsoft.com/office/powerpoint/2010/main" val="2512432287"/>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9B794A3-00A1-1B5A-710E-3BCE64E2E62E}"/>
              </a:ext>
            </a:extLst>
          </p:cNvPr>
          <p:cNvPicPr>
            <a:picLocks noChangeAspect="1"/>
          </p:cNvPicPr>
          <p:nvPr/>
        </p:nvPicPr>
        <p:blipFill>
          <a:blip r:embed="rId2"/>
          <a:stretch>
            <a:fillRect/>
          </a:stretch>
        </p:blipFill>
        <p:spPr>
          <a:xfrm>
            <a:off x="0" y="785317"/>
            <a:ext cx="3509842" cy="1644435"/>
          </a:xfrm>
          <a:prstGeom prst="rect">
            <a:avLst/>
          </a:prstGeom>
        </p:spPr>
      </p:pic>
      <p:sp>
        <p:nvSpPr>
          <p:cNvPr id="6" name="TextBox 5">
            <a:extLst>
              <a:ext uri="{FF2B5EF4-FFF2-40B4-BE49-F238E27FC236}">
                <a16:creationId xmlns:a16="http://schemas.microsoft.com/office/drawing/2014/main" id="{13FC12A4-222F-6C88-1F4D-7771966CB4DC}"/>
              </a:ext>
            </a:extLst>
          </p:cNvPr>
          <p:cNvSpPr txBox="1"/>
          <p:nvPr/>
        </p:nvSpPr>
        <p:spPr>
          <a:xfrm>
            <a:off x="110782" y="124788"/>
            <a:ext cx="1992148" cy="553998"/>
          </a:xfrm>
          <a:prstGeom prst="rect">
            <a:avLst/>
          </a:prstGeom>
          <a:noFill/>
        </p:spPr>
        <p:txBody>
          <a:bodyPr wrap="none" rtlCol="0">
            <a:spAutoFit/>
          </a:bodyPr>
          <a:lstStyle/>
          <a:p>
            <a:r>
              <a:rPr lang="en-US" sz="1500" b="1" dirty="0">
                <a:latin typeface="Helvetica" pitchFamily="2" charset="0"/>
              </a:rPr>
              <a:t>Subgroup Analysis</a:t>
            </a:r>
          </a:p>
          <a:p>
            <a:endParaRPr lang="en-US" sz="1500" dirty="0">
              <a:latin typeface="Helvetica" pitchFamily="2" charset="0"/>
            </a:endParaRPr>
          </a:p>
        </p:txBody>
      </p:sp>
      <p:pic>
        <p:nvPicPr>
          <p:cNvPr id="8" name="Picture 7">
            <a:extLst>
              <a:ext uri="{FF2B5EF4-FFF2-40B4-BE49-F238E27FC236}">
                <a16:creationId xmlns:a16="http://schemas.microsoft.com/office/drawing/2014/main" id="{79113BA8-0614-C55C-CFE0-3A1DAAAD2069}"/>
              </a:ext>
            </a:extLst>
          </p:cNvPr>
          <p:cNvPicPr>
            <a:picLocks noChangeAspect="1"/>
          </p:cNvPicPr>
          <p:nvPr/>
        </p:nvPicPr>
        <p:blipFill>
          <a:blip r:embed="rId3"/>
          <a:stretch>
            <a:fillRect/>
          </a:stretch>
        </p:blipFill>
        <p:spPr>
          <a:xfrm>
            <a:off x="3987993" y="788128"/>
            <a:ext cx="3516926" cy="1378039"/>
          </a:xfrm>
          <a:prstGeom prst="rect">
            <a:avLst/>
          </a:prstGeom>
        </p:spPr>
      </p:pic>
      <p:pic>
        <p:nvPicPr>
          <p:cNvPr id="10" name="Picture 9">
            <a:extLst>
              <a:ext uri="{FF2B5EF4-FFF2-40B4-BE49-F238E27FC236}">
                <a16:creationId xmlns:a16="http://schemas.microsoft.com/office/drawing/2014/main" id="{EEFAE077-7902-C374-7F32-582666C794DC}"/>
              </a:ext>
            </a:extLst>
          </p:cNvPr>
          <p:cNvPicPr>
            <a:picLocks noChangeAspect="1"/>
          </p:cNvPicPr>
          <p:nvPr/>
        </p:nvPicPr>
        <p:blipFill>
          <a:blip r:embed="rId4"/>
          <a:stretch>
            <a:fillRect/>
          </a:stretch>
        </p:blipFill>
        <p:spPr>
          <a:xfrm>
            <a:off x="0" y="2842263"/>
            <a:ext cx="3540173" cy="1354223"/>
          </a:xfrm>
          <a:prstGeom prst="rect">
            <a:avLst/>
          </a:prstGeom>
        </p:spPr>
      </p:pic>
      <p:sp>
        <p:nvSpPr>
          <p:cNvPr id="11" name="TextBox 10">
            <a:extLst>
              <a:ext uri="{FF2B5EF4-FFF2-40B4-BE49-F238E27FC236}">
                <a16:creationId xmlns:a16="http://schemas.microsoft.com/office/drawing/2014/main" id="{057EA929-25BA-958F-B308-737B01C35A0E}"/>
              </a:ext>
            </a:extLst>
          </p:cNvPr>
          <p:cNvSpPr txBox="1"/>
          <p:nvPr/>
        </p:nvSpPr>
        <p:spPr>
          <a:xfrm>
            <a:off x="3987993" y="2505380"/>
            <a:ext cx="4379111" cy="1569660"/>
          </a:xfrm>
          <a:prstGeom prst="rect">
            <a:avLst/>
          </a:prstGeom>
          <a:noFill/>
        </p:spPr>
        <p:txBody>
          <a:bodyPr wrap="square" rtlCol="0">
            <a:spAutoFit/>
          </a:bodyPr>
          <a:lstStyle/>
          <a:p>
            <a:pPr marL="171450" indent="-171450">
              <a:buFont typeface="Arial" panose="020B0604020202020204" pitchFamily="34" charset="0"/>
              <a:buChar char="•"/>
            </a:pPr>
            <a:r>
              <a:rPr lang="en-US" sz="1200" dirty="0"/>
              <a:t>Benefit of T-</a:t>
            </a:r>
            <a:r>
              <a:rPr lang="en-US" sz="1200" dirty="0" err="1"/>
              <a:t>DXd</a:t>
            </a:r>
            <a:r>
              <a:rPr lang="en-US" sz="1200" dirty="0"/>
              <a:t> vs TPC was consistent in pts with or without prior CDK4/6i use (Table 1).</a:t>
            </a:r>
          </a:p>
          <a:p>
            <a:pPr marL="171450" indent="-171450">
              <a:buFont typeface="Arial" panose="020B0604020202020204" pitchFamily="34" charset="0"/>
              <a:buChar char="•"/>
            </a:pPr>
            <a:r>
              <a:rPr lang="en-US" sz="1200" dirty="0"/>
              <a:t>Pts with high disease burden (</a:t>
            </a:r>
            <a:r>
              <a:rPr lang="en-US" sz="1200" dirty="0" err="1"/>
              <a:t>ie</a:t>
            </a:r>
            <a:r>
              <a:rPr lang="en-US" sz="1200" dirty="0"/>
              <a:t>, ≥3 metastatic sites) also benefited from T-</a:t>
            </a:r>
            <a:r>
              <a:rPr lang="en-US" sz="1200" dirty="0" err="1"/>
              <a:t>DXd</a:t>
            </a:r>
            <a:r>
              <a:rPr lang="en-US" sz="1200" dirty="0"/>
              <a:t> vs TPC (Table 2).</a:t>
            </a:r>
          </a:p>
          <a:p>
            <a:pPr marL="171450" indent="-171450">
              <a:buFont typeface="Arial" panose="020B0604020202020204" pitchFamily="34" charset="0"/>
              <a:buChar char="•"/>
            </a:pPr>
            <a:r>
              <a:rPr lang="en-US" sz="1200" dirty="0"/>
              <a:t>Pts with rapid progression: T-</a:t>
            </a:r>
            <a:r>
              <a:rPr lang="en-US" sz="1200" dirty="0" err="1"/>
              <a:t>DXd</a:t>
            </a:r>
            <a:r>
              <a:rPr lang="en-US" sz="1200" dirty="0"/>
              <a:t> showed responses in 7/14 (50%) pts in this subgroup vs 0/8 with TPC; this subgroup also had prolonged median PFS with T-</a:t>
            </a:r>
            <a:r>
              <a:rPr lang="en-US" sz="1200" dirty="0" err="1"/>
              <a:t>DXd</a:t>
            </a:r>
            <a:r>
              <a:rPr lang="en-US" sz="1200" dirty="0"/>
              <a:t> vs TPC (Table 3)</a:t>
            </a:r>
          </a:p>
        </p:txBody>
      </p:sp>
    </p:spTree>
    <p:extLst>
      <p:ext uri="{BB962C8B-B14F-4D97-AF65-F5344CB8AC3E}">
        <p14:creationId xmlns:p14="http://schemas.microsoft.com/office/powerpoint/2010/main" val="12644294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CED3633-B479-08C0-0917-0F750CF39D39}"/>
              </a:ext>
            </a:extLst>
          </p:cNvPr>
          <p:cNvSpPr>
            <a:spLocks noGrp="1"/>
          </p:cNvSpPr>
          <p:nvPr>
            <p:ph idx="1"/>
          </p:nvPr>
        </p:nvSpPr>
        <p:spPr>
          <a:xfrm>
            <a:off x="77347" y="94033"/>
            <a:ext cx="8868992" cy="3147278"/>
          </a:xfrm>
        </p:spPr>
        <p:txBody>
          <a:bodyPr/>
          <a:lstStyle/>
          <a:p>
            <a:pPr marL="0" indent="0">
              <a:buNone/>
            </a:pPr>
            <a:r>
              <a:rPr lang="en-US" dirty="0"/>
              <a:t>P1-11-05: </a:t>
            </a:r>
            <a:r>
              <a:rPr lang="en-US" b="1" dirty="0"/>
              <a:t>Provider perceptions of DESTINY-Breast04, HER2-low directed treatment, and interstitial lung disease</a:t>
            </a:r>
          </a:p>
        </p:txBody>
      </p:sp>
      <p:sp>
        <p:nvSpPr>
          <p:cNvPr id="3" name="Text Placeholder 2">
            <a:extLst>
              <a:ext uri="{FF2B5EF4-FFF2-40B4-BE49-F238E27FC236}">
                <a16:creationId xmlns:a16="http://schemas.microsoft.com/office/drawing/2014/main" id="{EE7F6413-C851-34E9-6A99-CDCA18096D55}"/>
              </a:ext>
            </a:extLst>
          </p:cNvPr>
          <p:cNvSpPr txBox="1">
            <a:spLocks/>
          </p:cNvSpPr>
          <p:nvPr/>
        </p:nvSpPr>
        <p:spPr bwMode="auto">
          <a:xfrm>
            <a:off x="197661" y="1104581"/>
            <a:ext cx="8081210" cy="1126182"/>
          </a:xfrm>
          <a:prstGeom prst="rect">
            <a:avLst/>
          </a:prstGeom>
          <a:noFill/>
          <a:ln>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spcBef>
                <a:spcPct val="20000"/>
              </a:spcBef>
              <a:spcAft>
                <a:spcPct val="0"/>
              </a:spcAft>
              <a:buChar char="•"/>
              <a:defRPr sz="2400">
                <a:solidFill>
                  <a:schemeClr val="tx1"/>
                </a:solidFill>
                <a:latin typeface="+mn-lt"/>
                <a:ea typeface="+mn-ea"/>
                <a:cs typeface="+mn-cs"/>
              </a:defRPr>
            </a:lvl1pPr>
            <a:lvl2pPr marL="742950" indent="-285750" algn="l" rtl="0" eaLnBrk="1" fontAlgn="base" hangingPunct="1">
              <a:spcBef>
                <a:spcPct val="20000"/>
              </a:spcBef>
              <a:spcAft>
                <a:spcPct val="0"/>
              </a:spcAft>
              <a:buChar char="–"/>
              <a:defRPr sz="2000">
                <a:solidFill>
                  <a:schemeClr val="tx1"/>
                </a:solidFill>
                <a:latin typeface="+mn-lt"/>
                <a:ea typeface="+mn-ea"/>
              </a:defRPr>
            </a:lvl2pPr>
            <a:lvl3pPr marL="1143000" indent="-228600" algn="l" rtl="0" eaLnBrk="1" fontAlgn="base" hangingPunct="1">
              <a:spcBef>
                <a:spcPct val="20000"/>
              </a:spcBef>
              <a:spcAft>
                <a:spcPct val="0"/>
              </a:spcAft>
              <a:buChar char="•"/>
              <a:defRPr>
                <a:solidFill>
                  <a:schemeClr val="tx1"/>
                </a:solidFill>
                <a:latin typeface="+mn-lt"/>
                <a:ea typeface="+mn-ea"/>
              </a:defRPr>
            </a:lvl3pPr>
            <a:lvl4pPr marL="1600200" indent="-228600" algn="l" rtl="0" eaLnBrk="1" fontAlgn="base" hangingPunct="1">
              <a:spcBef>
                <a:spcPct val="20000"/>
              </a:spcBef>
              <a:spcAft>
                <a:spcPct val="0"/>
              </a:spcAft>
              <a:defRPr sz="2000">
                <a:solidFill>
                  <a:schemeClr val="tx1"/>
                </a:solidFill>
                <a:latin typeface="+mn-lt"/>
                <a:ea typeface="+mn-ea"/>
              </a:defRPr>
            </a:lvl4pPr>
            <a:lvl5pPr marL="2057400" indent="-228600" algn="l" rtl="0" eaLnBrk="1" fontAlgn="base" hangingPunct="1">
              <a:spcBef>
                <a:spcPct val="20000"/>
              </a:spcBef>
              <a:spcAft>
                <a:spcPct val="0"/>
              </a:spcAft>
              <a:buChar char="»"/>
              <a:defRPr sz="2000">
                <a:solidFill>
                  <a:schemeClr val="tx1"/>
                </a:solidFill>
                <a:latin typeface="+mn-lt"/>
                <a:ea typeface="+mn-ea"/>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marL="285750" indent="-285750">
              <a:buFont typeface="Arial" panose="020B0604020202020204" pitchFamily="34" charset="0"/>
              <a:buChar char="•"/>
            </a:pPr>
            <a:r>
              <a:rPr lang="en-US" sz="1800" kern="0" dirty="0"/>
              <a:t>This survey-based study aimed to evaluate community oncologists’ perceptions of the DB04 data, HER2-low directed treatment, and management of ILD. </a:t>
            </a:r>
          </a:p>
          <a:p>
            <a:pPr marL="285750" indent="-285750">
              <a:buFont typeface="Arial" panose="020B0604020202020204" pitchFamily="34" charset="0"/>
              <a:buChar char="•"/>
            </a:pPr>
            <a:r>
              <a:rPr lang="en-US" sz="1800" kern="0" dirty="0"/>
              <a:t>Methods: U.S.-based oncologists (n=83) convened at two live meetings in June 2022 to review clinical updates presented at ASCO 2022. Participant characteristics and demographic data were collected via an online survey prior to the respective meetings. Perceptions/reactions to clinical updates were captured in real-time. Data were summarized using descriptive statistics</a:t>
            </a:r>
          </a:p>
        </p:txBody>
      </p:sp>
    </p:spTree>
    <p:extLst>
      <p:ext uri="{BB962C8B-B14F-4D97-AF65-F5344CB8AC3E}">
        <p14:creationId xmlns:p14="http://schemas.microsoft.com/office/powerpoint/2010/main" val="221413331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7DA5A2C-4EBD-7643-3491-180F9B1D40E9}"/>
              </a:ext>
            </a:extLst>
          </p:cNvPr>
          <p:cNvSpPr>
            <a:spLocks noGrp="1"/>
          </p:cNvSpPr>
          <p:nvPr>
            <p:ph idx="1"/>
          </p:nvPr>
        </p:nvSpPr>
        <p:spPr/>
        <p:txBody>
          <a:bodyPr anchor="ctr"/>
          <a:lstStyle/>
          <a:p>
            <a:pPr marL="0" indent="0" algn="ctr">
              <a:buNone/>
            </a:pPr>
            <a:r>
              <a:rPr lang="en-US" sz="3600" b="1" dirty="0"/>
              <a:t>Adjuvant CDK 4/6 inhibitors</a:t>
            </a:r>
          </a:p>
          <a:p>
            <a:pPr marL="0" indent="0" algn="ctr">
              <a:buNone/>
            </a:pPr>
            <a:endParaRPr lang="en-US" sz="3600" b="1" dirty="0"/>
          </a:p>
        </p:txBody>
      </p:sp>
    </p:spTree>
    <p:extLst>
      <p:ext uri="{BB962C8B-B14F-4D97-AF65-F5344CB8AC3E}">
        <p14:creationId xmlns:p14="http://schemas.microsoft.com/office/powerpoint/2010/main" val="3476333882"/>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CED3633-B479-08C0-0917-0F750CF39D39}"/>
              </a:ext>
            </a:extLst>
          </p:cNvPr>
          <p:cNvSpPr>
            <a:spLocks noGrp="1"/>
          </p:cNvSpPr>
          <p:nvPr>
            <p:ph idx="1"/>
          </p:nvPr>
        </p:nvSpPr>
        <p:spPr>
          <a:xfrm>
            <a:off x="77347" y="94033"/>
            <a:ext cx="8868992" cy="3147278"/>
          </a:xfrm>
        </p:spPr>
        <p:txBody>
          <a:bodyPr/>
          <a:lstStyle/>
          <a:p>
            <a:pPr marL="0" indent="0">
              <a:buNone/>
            </a:pPr>
            <a:r>
              <a:rPr lang="en-US" dirty="0"/>
              <a:t>P1-11-05: </a:t>
            </a:r>
            <a:r>
              <a:rPr lang="en-US" b="1" dirty="0"/>
              <a:t>Provider perceptions of DESTINY-Breast04, HER2-low directed treatment, and interstitial lung disease</a:t>
            </a:r>
          </a:p>
        </p:txBody>
      </p:sp>
      <p:sp>
        <p:nvSpPr>
          <p:cNvPr id="3" name="Text Placeholder 2">
            <a:extLst>
              <a:ext uri="{FF2B5EF4-FFF2-40B4-BE49-F238E27FC236}">
                <a16:creationId xmlns:a16="http://schemas.microsoft.com/office/drawing/2014/main" id="{EE7F6413-C851-34E9-6A99-CDCA18096D55}"/>
              </a:ext>
            </a:extLst>
          </p:cNvPr>
          <p:cNvSpPr txBox="1">
            <a:spLocks/>
          </p:cNvSpPr>
          <p:nvPr/>
        </p:nvSpPr>
        <p:spPr bwMode="auto">
          <a:xfrm>
            <a:off x="197660" y="1122882"/>
            <a:ext cx="8272571" cy="1126182"/>
          </a:xfrm>
          <a:prstGeom prst="rect">
            <a:avLst/>
          </a:prstGeom>
          <a:noFill/>
          <a:ln>
            <a:noFill/>
          </a:ln>
          <a:extLst>
            <a:ext uri="{FAA26D3D-D897-4be2-8F04-BA451C77F1D7}">
              <ma14:placeholderFlag xmlns=""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spcBef>
                <a:spcPct val="20000"/>
              </a:spcBef>
              <a:spcAft>
                <a:spcPct val="0"/>
              </a:spcAft>
              <a:buChar char="•"/>
              <a:defRPr sz="2400">
                <a:solidFill>
                  <a:schemeClr val="tx1"/>
                </a:solidFill>
                <a:latin typeface="+mn-lt"/>
                <a:ea typeface="+mn-ea"/>
                <a:cs typeface="+mn-cs"/>
              </a:defRPr>
            </a:lvl1pPr>
            <a:lvl2pPr marL="742950" indent="-285750" algn="l" rtl="0" eaLnBrk="1" fontAlgn="base" hangingPunct="1">
              <a:spcBef>
                <a:spcPct val="20000"/>
              </a:spcBef>
              <a:spcAft>
                <a:spcPct val="0"/>
              </a:spcAft>
              <a:buChar char="–"/>
              <a:defRPr sz="2000">
                <a:solidFill>
                  <a:schemeClr val="tx1"/>
                </a:solidFill>
                <a:latin typeface="+mn-lt"/>
                <a:ea typeface="+mn-ea"/>
              </a:defRPr>
            </a:lvl2pPr>
            <a:lvl3pPr marL="1143000" indent="-228600" algn="l" rtl="0" eaLnBrk="1" fontAlgn="base" hangingPunct="1">
              <a:spcBef>
                <a:spcPct val="20000"/>
              </a:spcBef>
              <a:spcAft>
                <a:spcPct val="0"/>
              </a:spcAft>
              <a:buChar char="•"/>
              <a:defRPr>
                <a:solidFill>
                  <a:schemeClr val="tx1"/>
                </a:solidFill>
                <a:latin typeface="+mn-lt"/>
                <a:ea typeface="+mn-ea"/>
              </a:defRPr>
            </a:lvl3pPr>
            <a:lvl4pPr marL="1600200" indent="-228600" algn="l" rtl="0" eaLnBrk="1" fontAlgn="base" hangingPunct="1">
              <a:spcBef>
                <a:spcPct val="20000"/>
              </a:spcBef>
              <a:spcAft>
                <a:spcPct val="0"/>
              </a:spcAft>
              <a:defRPr sz="2000">
                <a:solidFill>
                  <a:schemeClr val="tx1"/>
                </a:solidFill>
                <a:latin typeface="+mn-lt"/>
                <a:ea typeface="+mn-ea"/>
              </a:defRPr>
            </a:lvl4pPr>
            <a:lvl5pPr marL="2057400" indent="-228600" algn="l" rtl="0" eaLnBrk="1" fontAlgn="base" hangingPunct="1">
              <a:spcBef>
                <a:spcPct val="20000"/>
              </a:spcBef>
              <a:spcAft>
                <a:spcPct val="0"/>
              </a:spcAft>
              <a:buChar char="»"/>
              <a:defRPr sz="2000">
                <a:solidFill>
                  <a:schemeClr val="tx1"/>
                </a:solidFill>
                <a:latin typeface="+mn-lt"/>
                <a:ea typeface="+mn-ea"/>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marL="285750" indent="-285750">
              <a:buFont typeface="Arial" panose="020B0604020202020204" pitchFamily="34" charset="0"/>
              <a:buChar char="•"/>
            </a:pPr>
            <a:r>
              <a:rPr lang="en-US" sz="1800" kern="0" dirty="0"/>
              <a:t>Demographics: 83.1% community providers (~20.7 years in practice, 88% direct patient care).</a:t>
            </a:r>
          </a:p>
          <a:p>
            <a:pPr marL="285750" indent="-285750">
              <a:buFont typeface="Arial" panose="020B0604020202020204" pitchFamily="34" charset="0"/>
              <a:buChar char="•"/>
            </a:pPr>
            <a:r>
              <a:rPr lang="en-US" sz="1800" kern="0" dirty="0"/>
              <a:t>Awareness of HER2-low as a category: 49.4% prior to DB04 at ASCO 2022. </a:t>
            </a:r>
          </a:p>
          <a:p>
            <a:pPr marL="285750" indent="-285750">
              <a:buFont typeface="Arial" panose="020B0604020202020204" pitchFamily="34" charset="0"/>
              <a:buChar char="•"/>
            </a:pPr>
            <a:r>
              <a:rPr lang="en-US" sz="1800" kern="0" dirty="0"/>
              <a:t>ILD concern:  </a:t>
            </a:r>
            <a:r>
              <a:rPr lang="en-US" sz="1800" kern="0" dirty="0" err="1"/>
              <a:t>TDXd</a:t>
            </a:r>
            <a:r>
              <a:rPr lang="en-US" sz="1800" kern="0" dirty="0"/>
              <a:t> related ILD was cited as the greatest limitation of DB04 trial by 37.3% of respondents. </a:t>
            </a:r>
          </a:p>
          <a:p>
            <a:pPr marL="285750" indent="-285750">
              <a:buFont typeface="Arial" panose="020B0604020202020204" pitchFamily="34" charset="0"/>
              <a:buChar char="•"/>
            </a:pPr>
            <a:r>
              <a:rPr lang="en-US" sz="1800" kern="0" dirty="0"/>
              <a:t>Majority of respondents (60.2%) indicated that they would not limit their use of </a:t>
            </a:r>
            <a:r>
              <a:rPr lang="en-US" sz="1800" kern="0" dirty="0" err="1"/>
              <a:t>TDXd</a:t>
            </a:r>
            <a:r>
              <a:rPr lang="en-US" sz="1800" kern="0" dirty="0"/>
              <a:t> based on ILD rates, with most (55.4%) opting for a risk-management approach involving increased monitoring for the development of ILD-related adverse events</a:t>
            </a:r>
          </a:p>
        </p:txBody>
      </p:sp>
    </p:spTree>
    <p:extLst>
      <p:ext uri="{BB962C8B-B14F-4D97-AF65-F5344CB8AC3E}">
        <p14:creationId xmlns:p14="http://schemas.microsoft.com/office/powerpoint/2010/main" val="1300056461"/>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4C23C54-F58D-E653-BD07-B14F3C07F7A6}"/>
              </a:ext>
            </a:extLst>
          </p:cNvPr>
          <p:cNvSpPr>
            <a:spLocks noGrp="1"/>
          </p:cNvSpPr>
          <p:nvPr>
            <p:ph type="body" idx="1"/>
          </p:nvPr>
        </p:nvSpPr>
        <p:spPr>
          <a:xfrm>
            <a:off x="137504" y="748854"/>
            <a:ext cx="8573359" cy="1126182"/>
          </a:xfrm>
        </p:spPr>
        <p:txBody>
          <a:bodyPr/>
          <a:lstStyle/>
          <a:p>
            <a:pPr marL="285750" indent="-285750">
              <a:buFont typeface="Arial" panose="020B0604020202020204" pitchFamily="34" charset="0"/>
              <a:buChar char="•"/>
            </a:pPr>
            <a:r>
              <a:rPr lang="en-US" dirty="0"/>
              <a:t>T-</a:t>
            </a:r>
            <a:r>
              <a:rPr lang="en-US" dirty="0" err="1"/>
              <a:t>DXd</a:t>
            </a:r>
            <a:r>
              <a:rPr lang="en-US" dirty="0"/>
              <a:t> treatment for HER2-low </a:t>
            </a:r>
            <a:r>
              <a:rPr lang="en-US" dirty="0" err="1"/>
              <a:t>mBC</a:t>
            </a:r>
            <a:r>
              <a:rPr lang="en-US" dirty="0"/>
              <a:t> in the phase 3 study DESTINY-Breast04 showed consistent efficacy independent of disease burden, prior CDK4/6i treatment, or rapid progression status. </a:t>
            </a:r>
          </a:p>
          <a:p>
            <a:pPr marL="285750" indent="-285750">
              <a:buFont typeface="Arial" panose="020B0604020202020204" pitchFamily="34" charset="0"/>
              <a:buChar char="•"/>
            </a:pPr>
            <a:r>
              <a:rPr lang="en-US" dirty="0"/>
              <a:t>With T-</a:t>
            </a:r>
            <a:r>
              <a:rPr lang="en-US" dirty="0" err="1"/>
              <a:t>DXd</a:t>
            </a:r>
            <a:r>
              <a:rPr lang="en-US" dirty="0"/>
              <a:t>, rates of interstitial lung disease/pneumonitis were similar in pts with/without prior CDK4/6i use. ILD is an important identified risk and requires proactive monitoring and management. </a:t>
            </a:r>
          </a:p>
          <a:p>
            <a:pPr marL="285750" indent="-285750">
              <a:buFont typeface="Arial" panose="020B0604020202020204" pitchFamily="34" charset="0"/>
              <a:buChar char="•"/>
            </a:pPr>
            <a:r>
              <a:rPr lang="en-US" dirty="0"/>
              <a:t>These data continue to support the use of T-</a:t>
            </a:r>
            <a:r>
              <a:rPr lang="en-US" dirty="0" err="1"/>
              <a:t>DXd</a:t>
            </a:r>
            <a:r>
              <a:rPr lang="en-US" dirty="0"/>
              <a:t> as the new standard of care across subgroups of pts with HER2-low </a:t>
            </a:r>
            <a:r>
              <a:rPr lang="en-US" dirty="0" err="1"/>
              <a:t>mBC</a:t>
            </a:r>
            <a:endParaRPr lang="en-US" dirty="0"/>
          </a:p>
          <a:p>
            <a:pPr marL="285750" indent="-285750">
              <a:buFont typeface="Arial" panose="020B0604020202020204" pitchFamily="34" charset="0"/>
              <a:buChar char="•"/>
            </a:pPr>
            <a:r>
              <a:rPr lang="en-US" dirty="0"/>
              <a:t>Despite the concern of ILD rates associated with T-</a:t>
            </a:r>
            <a:r>
              <a:rPr lang="en-US" dirty="0" err="1"/>
              <a:t>DXd</a:t>
            </a:r>
            <a:r>
              <a:rPr lang="en-US" dirty="0"/>
              <a:t> use, the majority of providers do not view this as a limiting factor due to the ability to closely monitor patients for the development of adverse events coupled with appropriate provider/patient education.</a:t>
            </a:r>
          </a:p>
        </p:txBody>
      </p:sp>
      <p:sp>
        <p:nvSpPr>
          <p:cNvPr id="4" name="TextBox 3">
            <a:extLst>
              <a:ext uri="{FF2B5EF4-FFF2-40B4-BE49-F238E27FC236}">
                <a16:creationId xmlns:a16="http://schemas.microsoft.com/office/drawing/2014/main" id="{AF0CADAE-5DCD-35F1-26DC-BEE60DA274C9}"/>
              </a:ext>
            </a:extLst>
          </p:cNvPr>
          <p:cNvSpPr txBox="1"/>
          <p:nvPr/>
        </p:nvSpPr>
        <p:spPr>
          <a:xfrm>
            <a:off x="231720" y="214165"/>
            <a:ext cx="1992148" cy="630942"/>
          </a:xfrm>
          <a:prstGeom prst="rect">
            <a:avLst/>
          </a:prstGeom>
          <a:noFill/>
        </p:spPr>
        <p:txBody>
          <a:bodyPr wrap="square" rtlCol="0">
            <a:spAutoFit/>
          </a:bodyPr>
          <a:lstStyle/>
          <a:p>
            <a:r>
              <a:rPr lang="en-US" sz="2000" b="1" dirty="0">
                <a:latin typeface="+mn-lt"/>
              </a:rPr>
              <a:t>Conclusions</a:t>
            </a:r>
          </a:p>
          <a:p>
            <a:endParaRPr lang="en-US" sz="1500" dirty="0">
              <a:latin typeface="Helvetica" pitchFamily="2" charset="0"/>
            </a:endParaRPr>
          </a:p>
        </p:txBody>
      </p:sp>
    </p:spTree>
    <p:extLst>
      <p:ext uri="{BB962C8B-B14F-4D97-AF65-F5344CB8AC3E}">
        <p14:creationId xmlns:p14="http://schemas.microsoft.com/office/powerpoint/2010/main" val="895747030"/>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C6EF82-BCCC-A0DF-B3BC-D297DF0E4A07}"/>
              </a:ext>
            </a:extLst>
          </p:cNvPr>
          <p:cNvSpPr>
            <a:spLocks noGrp="1"/>
          </p:cNvSpPr>
          <p:nvPr>
            <p:ph type="title"/>
          </p:nvPr>
        </p:nvSpPr>
        <p:spPr>
          <a:xfrm>
            <a:off x="320269" y="809227"/>
            <a:ext cx="7886700" cy="2141534"/>
          </a:xfrm>
        </p:spPr>
        <p:txBody>
          <a:bodyPr/>
          <a:lstStyle/>
          <a:p>
            <a:r>
              <a:rPr lang="en-US" dirty="0"/>
              <a:t>Thank you</a:t>
            </a:r>
            <a:br>
              <a:rPr lang="en-US" dirty="0"/>
            </a:br>
            <a:endParaRPr lang="en-US" dirty="0"/>
          </a:p>
        </p:txBody>
      </p:sp>
    </p:spTree>
    <p:extLst>
      <p:ext uri="{BB962C8B-B14F-4D97-AF65-F5344CB8AC3E}">
        <p14:creationId xmlns:p14="http://schemas.microsoft.com/office/powerpoint/2010/main" val="790050835"/>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Calendar&#10;&#10;Description automatically generated">
            <a:extLst>
              <a:ext uri="{FF2B5EF4-FFF2-40B4-BE49-F238E27FC236}">
                <a16:creationId xmlns:a16="http://schemas.microsoft.com/office/drawing/2014/main" id="{13805364-3E24-344F-95DA-43DA6B97ACDC}"/>
              </a:ext>
            </a:extLst>
          </p:cNvPr>
          <p:cNvPicPr>
            <a:picLocks noChangeAspect="1"/>
          </p:cNvPicPr>
          <p:nvPr/>
        </p:nvPicPr>
        <p:blipFill>
          <a:blip r:embed="rId3"/>
          <a:stretch>
            <a:fillRect/>
          </a:stretch>
        </p:blipFill>
        <p:spPr>
          <a:xfrm>
            <a:off x="7037" y="0"/>
            <a:ext cx="9129925" cy="5148263"/>
          </a:xfrm>
          <a:prstGeom prst="rect">
            <a:avLst/>
          </a:prstGeom>
        </p:spPr>
      </p:pic>
      <p:pic>
        <p:nvPicPr>
          <p:cNvPr id="15" name="Picture 14" descr="Graphical user interface, website&#10;&#10;Description automatically generated">
            <a:extLst>
              <a:ext uri="{FF2B5EF4-FFF2-40B4-BE49-F238E27FC236}">
                <a16:creationId xmlns:a16="http://schemas.microsoft.com/office/drawing/2014/main" id="{80727F13-6791-5B49-9F46-3BF36290A24F}"/>
              </a:ext>
            </a:extLst>
          </p:cNvPr>
          <p:cNvPicPr>
            <a:picLocks noChangeAspect="1"/>
          </p:cNvPicPr>
          <p:nvPr/>
        </p:nvPicPr>
        <p:blipFill>
          <a:blip r:embed="rId4"/>
          <a:stretch>
            <a:fillRect/>
          </a:stretch>
        </p:blipFill>
        <p:spPr>
          <a:xfrm>
            <a:off x="7037" y="0"/>
            <a:ext cx="9129925" cy="5148263"/>
          </a:xfrm>
          <a:prstGeom prst="rect">
            <a:avLst/>
          </a:prstGeom>
        </p:spPr>
      </p:pic>
      <p:pic>
        <p:nvPicPr>
          <p:cNvPr id="17" name="Picture 16" descr="Graphical user interface&#10;&#10;Description automatically generated">
            <a:extLst>
              <a:ext uri="{FF2B5EF4-FFF2-40B4-BE49-F238E27FC236}">
                <a16:creationId xmlns:a16="http://schemas.microsoft.com/office/drawing/2014/main" id="{F0D5927F-FD5E-F648-9B5E-758022183824}"/>
              </a:ext>
            </a:extLst>
          </p:cNvPr>
          <p:cNvPicPr>
            <a:picLocks noChangeAspect="1"/>
          </p:cNvPicPr>
          <p:nvPr/>
        </p:nvPicPr>
        <p:blipFill>
          <a:blip r:embed="rId5"/>
          <a:stretch>
            <a:fillRect/>
          </a:stretch>
        </p:blipFill>
        <p:spPr>
          <a:xfrm>
            <a:off x="7037" y="0"/>
            <a:ext cx="9129925" cy="5148263"/>
          </a:xfrm>
          <a:prstGeom prst="rect">
            <a:avLst/>
          </a:prstGeom>
        </p:spPr>
      </p:pic>
      <p:pic>
        <p:nvPicPr>
          <p:cNvPr id="10" name="Picture 9" descr="A picture containing text&#10;&#10;Description automatically generated">
            <a:extLst>
              <a:ext uri="{FF2B5EF4-FFF2-40B4-BE49-F238E27FC236}">
                <a16:creationId xmlns:a16="http://schemas.microsoft.com/office/drawing/2014/main" id="{9661F0C6-188E-94BA-269D-24C866E23D00}"/>
              </a:ext>
            </a:extLst>
          </p:cNvPr>
          <p:cNvPicPr>
            <a:picLocks noChangeAspect="1"/>
          </p:cNvPicPr>
          <p:nvPr/>
        </p:nvPicPr>
        <p:blipFill>
          <a:blip r:embed="rId6"/>
          <a:stretch>
            <a:fillRect/>
          </a:stretch>
        </p:blipFill>
        <p:spPr>
          <a:xfrm>
            <a:off x="-1" y="-12701"/>
            <a:ext cx="9129925" cy="5148263"/>
          </a:xfrm>
          <a:prstGeom prst="rect">
            <a:avLst/>
          </a:prstGeom>
        </p:spPr>
      </p:pic>
      <p:pic>
        <p:nvPicPr>
          <p:cNvPr id="5" name="Picture 4" descr="A picture containing graphical user interface&#10;&#10;Description automatically generated">
            <a:extLst>
              <a:ext uri="{FF2B5EF4-FFF2-40B4-BE49-F238E27FC236}">
                <a16:creationId xmlns:a16="http://schemas.microsoft.com/office/drawing/2014/main" id="{AE206FA8-1ADF-6743-B3FD-1CA6C6C63ADB}"/>
              </a:ext>
            </a:extLst>
          </p:cNvPr>
          <p:cNvPicPr>
            <a:picLocks noChangeAspect="1"/>
          </p:cNvPicPr>
          <p:nvPr/>
        </p:nvPicPr>
        <p:blipFill>
          <a:blip r:embed="rId7"/>
          <a:stretch>
            <a:fillRect/>
          </a:stretch>
        </p:blipFill>
        <p:spPr>
          <a:xfrm>
            <a:off x="-1" y="0"/>
            <a:ext cx="9144001" cy="5148263"/>
          </a:xfrm>
          <a:prstGeom prst="rect">
            <a:avLst/>
          </a:prstGeom>
        </p:spPr>
      </p:pic>
      <p:pic>
        <p:nvPicPr>
          <p:cNvPr id="3" name="Picture 2" descr="Graphical user interface&#10;&#10;Description automatically generated with medium confidence">
            <a:extLst>
              <a:ext uri="{FF2B5EF4-FFF2-40B4-BE49-F238E27FC236}">
                <a16:creationId xmlns:a16="http://schemas.microsoft.com/office/drawing/2014/main" id="{427AC361-97E5-DB4A-97F9-E64F0D38923A}"/>
              </a:ext>
            </a:extLst>
          </p:cNvPr>
          <p:cNvPicPr>
            <a:picLocks noChangeAspect="1"/>
          </p:cNvPicPr>
          <p:nvPr/>
        </p:nvPicPr>
        <p:blipFill>
          <a:blip r:embed="rId8"/>
          <a:stretch>
            <a:fillRect/>
          </a:stretch>
        </p:blipFill>
        <p:spPr>
          <a:xfrm>
            <a:off x="-1276" y="0"/>
            <a:ext cx="9129925" cy="5148263"/>
          </a:xfrm>
          <a:prstGeom prst="rect">
            <a:avLst/>
          </a:prstGeom>
        </p:spPr>
      </p:pic>
      <p:pic>
        <p:nvPicPr>
          <p:cNvPr id="13" name="Picture 12" descr="Graphical user interface&#10;&#10;Description automatically generated with medium confidence">
            <a:extLst>
              <a:ext uri="{FF2B5EF4-FFF2-40B4-BE49-F238E27FC236}">
                <a16:creationId xmlns:a16="http://schemas.microsoft.com/office/drawing/2014/main" id="{74C209DA-DD76-F140-A409-CC2B6FB9E380}"/>
              </a:ext>
            </a:extLst>
          </p:cNvPr>
          <p:cNvPicPr>
            <a:picLocks noChangeAspect="1"/>
          </p:cNvPicPr>
          <p:nvPr/>
        </p:nvPicPr>
        <p:blipFill>
          <a:blip r:embed="rId9"/>
          <a:stretch>
            <a:fillRect/>
          </a:stretch>
        </p:blipFill>
        <p:spPr>
          <a:xfrm>
            <a:off x="7037" y="91440"/>
            <a:ext cx="9129925" cy="5148263"/>
          </a:xfrm>
          <a:prstGeom prst="rect">
            <a:avLst/>
          </a:prstGeom>
        </p:spPr>
      </p:pic>
      <p:pic>
        <p:nvPicPr>
          <p:cNvPr id="11" name="Picture 10" descr="Graphical user interface&#10;&#10;Description automatically generated">
            <a:extLst>
              <a:ext uri="{FF2B5EF4-FFF2-40B4-BE49-F238E27FC236}">
                <a16:creationId xmlns:a16="http://schemas.microsoft.com/office/drawing/2014/main" id="{39E371F3-F698-6E43-9AF5-D6112EDA06B4}"/>
              </a:ext>
            </a:extLst>
          </p:cNvPr>
          <p:cNvPicPr>
            <a:picLocks noChangeAspect="1"/>
          </p:cNvPicPr>
          <p:nvPr/>
        </p:nvPicPr>
        <p:blipFill>
          <a:blip r:embed="rId10"/>
          <a:stretch>
            <a:fillRect/>
          </a:stretch>
        </p:blipFill>
        <p:spPr>
          <a:xfrm>
            <a:off x="7037" y="0"/>
            <a:ext cx="9129925" cy="5148263"/>
          </a:xfrm>
          <a:prstGeom prst="rect">
            <a:avLst/>
          </a:prstGeom>
        </p:spPr>
      </p:pic>
      <p:pic>
        <p:nvPicPr>
          <p:cNvPr id="7" name="Picture 6" descr="Graphical user interface&#10;&#10;Description automatically generated">
            <a:extLst>
              <a:ext uri="{FF2B5EF4-FFF2-40B4-BE49-F238E27FC236}">
                <a16:creationId xmlns:a16="http://schemas.microsoft.com/office/drawing/2014/main" id="{7ECE685F-3E0A-4645-A5C2-F8F5499F2E26}"/>
              </a:ext>
            </a:extLst>
          </p:cNvPr>
          <p:cNvPicPr>
            <a:picLocks noChangeAspect="1"/>
          </p:cNvPicPr>
          <p:nvPr/>
        </p:nvPicPr>
        <p:blipFill>
          <a:blip r:embed="rId11"/>
          <a:stretch>
            <a:fillRect/>
          </a:stretch>
        </p:blipFill>
        <p:spPr>
          <a:xfrm>
            <a:off x="14075" y="12699"/>
            <a:ext cx="9129925" cy="5148263"/>
          </a:xfrm>
          <a:prstGeom prst="rect">
            <a:avLst/>
          </a:prstGeom>
        </p:spPr>
      </p:pic>
      <p:sp>
        <p:nvSpPr>
          <p:cNvPr id="36" name="Rectangle 35">
            <a:extLst>
              <a:ext uri="{FF2B5EF4-FFF2-40B4-BE49-F238E27FC236}">
                <a16:creationId xmlns:a16="http://schemas.microsoft.com/office/drawing/2014/main" id="{A1B4A22D-3BE1-6C4A-812D-C1E98E8E0076}"/>
              </a:ext>
            </a:extLst>
          </p:cNvPr>
          <p:cNvSpPr/>
          <p:nvPr/>
        </p:nvSpPr>
        <p:spPr>
          <a:xfrm>
            <a:off x="0" y="2586831"/>
            <a:ext cx="9129925" cy="461665"/>
          </a:xfrm>
          <a:prstGeom prst="rect">
            <a:avLst/>
          </a:prstGeom>
        </p:spPr>
        <p:txBody>
          <a:bodyPr wrap="square">
            <a:spAutoFit/>
          </a:bodyPr>
          <a:lstStyle/>
          <a:p>
            <a:pPr algn="ctr"/>
            <a:r>
              <a:rPr lang="en-US" spc="600" dirty="0">
                <a:solidFill>
                  <a:srgbClr val="FFC82C"/>
                </a:solidFill>
                <a:latin typeface="Corporate A Medium" panose="02000503080000020004" pitchFamily="2" charset="0"/>
              </a:rPr>
              <a:t>BREAST CANCER</a:t>
            </a:r>
          </a:p>
        </p:txBody>
      </p:sp>
      <p:sp>
        <p:nvSpPr>
          <p:cNvPr id="37" name="Rectangle 36">
            <a:extLst>
              <a:ext uri="{FF2B5EF4-FFF2-40B4-BE49-F238E27FC236}">
                <a16:creationId xmlns:a16="http://schemas.microsoft.com/office/drawing/2014/main" id="{136DD176-7412-694A-BED9-E7F8655CA44E}"/>
              </a:ext>
            </a:extLst>
          </p:cNvPr>
          <p:cNvSpPr/>
          <p:nvPr/>
        </p:nvSpPr>
        <p:spPr>
          <a:xfrm>
            <a:off x="14075" y="3073896"/>
            <a:ext cx="9129925" cy="338554"/>
          </a:xfrm>
          <a:prstGeom prst="rect">
            <a:avLst/>
          </a:prstGeom>
        </p:spPr>
        <p:txBody>
          <a:bodyPr wrap="square">
            <a:spAutoFit/>
          </a:bodyPr>
          <a:lstStyle/>
          <a:p>
            <a:pPr algn="ctr"/>
            <a:r>
              <a:rPr lang="en-US" sz="1600" dirty="0">
                <a:solidFill>
                  <a:schemeClr val="bg1"/>
                </a:solidFill>
                <a:latin typeface="Corporate S Demi" panose="02020500000000000000" pitchFamily="18" charset="0"/>
              </a:rPr>
              <a:t>Wednesday, September 6, 2023</a:t>
            </a:r>
          </a:p>
        </p:txBody>
      </p:sp>
      <p:pic>
        <p:nvPicPr>
          <p:cNvPr id="12" name="Picture 11" descr="A close-up of a sign&#10;&#10;Description automatically generated">
            <a:extLst>
              <a:ext uri="{FF2B5EF4-FFF2-40B4-BE49-F238E27FC236}">
                <a16:creationId xmlns:a16="http://schemas.microsoft.com/office/drawing/2014/main" id="{77D2A35E-AD54-5045-1134-B3EC9C729BA1}"/>
              </a:ext>
            </a:extLst>
          </p:cNvPr>
          <p:cNvPicPr>
            <a:picLocks noChangeAspect="1"/>
          </p:cNvPicPr>
          <p:nvPr/>
        </p:nvPicPr>
        <p:blipFill>
          <a:blip r:embed="rId12"/>
          <a:stretch>
            <a:fillRect/>
          </a:stretch>
        </p:blipFill>
        <p:spPr>
          <a:xfrm>
            <a:off x="7044266" y="4416631"/>
            <a:ext cx="1790699" cy="444928"/>
          </a:xfrm>
          <a:prstGeom prst="rect">
            <a:avLst/>
          </a:prstGeom>
        </p:spPr>
      </p:pic>
    </p:spTree>
    <p:extLst>
      <p:ext uri="{BB962C8B-B14F-4D97-AF65-F5344CB8AC3E}">
        <p14:creationId xmlns:p14="http://schemas.microsoft.com/office/powerpoint/2010/main" val="80605103"/>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a:xfrm>
            <a:off x="1371600" y="1798064"/>
            <a:ext cx="6775498" cy="2204975"/>
          </a:xfrm>
        </p:spPr>
        <p:txBody>
          <a:bodyPr/>
          <a:lstStyle/>
          <a:p>
            <a:r>
              <a:rPr lang="en-US" b="1" dirty="0">
                <a:solidFill>
                  <a:srgbClr val="002E51"/>
                </a:solidFill>
              </a:rPr>
              <a:t>Mark Burkard MD PhD</a:t>
            </a:r>
          </a:p>
          <a:p>
            <a:r>
              <a:rPr lang="en-US" dirty="0">
                <a:solidFill>
                  <a:srgbClr val="002E51"/>
                </a:solidFill>
              </a:rPr>
              <a:t>Mary and Rob Gooze Professor</a:t>
            </a:r>
          </a:p>
          <a:p>
            <a:r>
              <a:rPr lang="en-US" dirty="0">
                <a:solidFill>
                  <a:srgbClr val="002E51"/>
                </a:solidFill>
              </a:rPr>
              <a:t>Departments of Medicine and Oncology</a:t>
            </a:r>
          </a:p>
          <a:p>
            <a:r>
              <a:rPr lang="en-US" dirty="0">
                <a:solidFill>
                  <a:srgbClr val="002E51"/>
                </a:solidFill>
              </a:rPr>
              <a:t>University of Wisconsin Carbone Cancer Center</a:t>
            </a:r>
          </a:p>
          <a:p>
            <a:r>
              <a:rPr lang="en-US" dirty="0">
                <a:solidFill>
                  <a:srgbClr val="002E51"/>
                </a:solidFill>
              </a:rPr>
              <a:t>Madison, WI</a:t>
            </a:r>
          </a:p>
        </p:txBody>
      </p:sp>
      <p:sp>
        <p:nvSpPr>
          <p:cNvPr id="4" name="Title 3"/>
          <p:cNvSpPr>
            <a:spLocks noGrp="1"/>
          </p:cNvSpPr>
          <p:nvPr>
            <p:ph type="title"/>
          </p:nvPr>
        </p:nvSpPr>
        <p:spPr>
          <a:xfrm>
            <a:off x="0" y="127465"/>
            <a:ext cx="9144000" cy="786936"/>
          </a:xfrm>
        </p:spPr>
        <p:txBody>
          <a:bodyPr/>
          <a:lstStyle/>
          <a:p>
            <a:r>
              <a:rPr lang="en-US" b="1" dirty="0">
                <a:solidFill>
                  <a:srgbClr val="002E51"/>
                </a:solidFill>
              </a:rPr>
              <a:t>Novel Targets in Breast Cancer</a:t>
            </a:r>
          </a:p>
        </p:txBody>
      </p:sp>
    </p:spTree>
    <p:extLst>
      <p:ext uri="{BB962C8B-B14F-4D97-AF65-F5344CB8AC3E}">
        <p14:creationId xmlns:p14="http://schemas.microsoft.com/office/powerpoint/2010/main" val="3541431946"/>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ubtitle 1">
            <a:extLst>
              <a:ext uri="{FF2B5EF4-FFF2-40B4-BE49-F238E27FC236}">
                <a16:creationId xmlns:a16="http://schemas.microsoft.com/office/drawing/2014/main" id="{638DED64-56B0-A8A4-7C8B-31EF0362EF1B}"/>
              </a:ext>
            </a:extLst>
          </p:cNvPr>
          <p:cNvSpPr>
            <a:spLocks noGrp="1"/>
          </p:cNvSpPr>
          <p:nvPr>
            <p:ph type="subTitle" idx="1"/>
          </p:nvPr>
        </p:nvSpPr>
        <p:spPr>
          <a:xfrm>
            <a:off x="1371600" y="1249681"/>
            <a:ext cx="6400800" cy="2651759"/>
          </a:xfrm>
        </p:spPr>
        <p:txBody>
          <a:bodyPr/>
          <a:lstStyle/>
          <a:p>
            <a:r>
              <a:rPr lang="en-US" dirty="0"/>
              <a:t>Medical Advisory Board: Strata Oncology</a:t>
            </a:r>
          </a:p>
          <a:p>
            <a:r>
              <a:rPr lang="en-US" dirty="0"/>
              <a:t>Research Support: </a:t>
            </a:r>
            <a:r>
              <a:rPr lang="en-US" dirty="0" err="1"/>
              <a:t>Abbvie</a:t>
            </a:r>
            <a:r>
              <a:rPr lang="en-US" dirty="0"/>
              <a:t>, Arcus, </a:t>
            </a:r>
            <a:r>
              <a:rPr lang="en-US" dirty="0" err="1"/>
              <a:t>Apollomics</a:t>
            </a:r>
            <a:r>
              <a:rPr lang="en-US" dirty="0"/>
              <a:t>, Elevation Oncology, Endeavor, Genentech, Puma, </a:t>
            </a:r>
            <a:r>
              <a:rPr lang="en-US" dirty="0" err="1"/>
              <a:t>Loxo</a:t>
            </a:r>
            <a:r>
              <a:rPr lang="en-US" dirty="0"/>
              <a:t> Oncology, </a:t>
            </a:r>
            <a:r>
              <a:rPr lang="en-US" dirty="0" err="1"/>
              <a:t>Seagen</a:t>
            </a:r>
            <a:endParaRPr lang="en-US" dirty="0"/>
          </a:p>
        </p:txBody>
      </p:sp>
      <p:sp>
        <p:nvSpPr>
          <p:cNvPr id="4" name="Title 3">
            <a:extLst>
              <a:ext uri="{FF2B5EF4-FFF2-40B4-BE49-F238E27FC236}">
                <a16:creationId xmlns:a16="http://schemas.microsoft.com/office/drawing/2014/main" id="{C71AE656-BEE2-1D01-4225-59CF9DA703DA}"/>
              </a:ext>
            </a:extLst>
          </p:cNvPr>
          <p:cNvSpPr>
            <a:spLocks noGrp="1"/>
          </p:cNvSpPr>
          <p:nvPr>
            <p:ph type="title"/>
          </p:nvPr>
        </p:nvSpPr>
        <p:spPr>
          <a:xfrm>
            <a:off x="0" y="132080"/>
            <a:ext cx="9144000" cy="1006507"/>
          </a:xfrm>
        </p:spPr>
        <p:txBody>
          <a:bodyPr>
            <a:normAutofit/>
          </a:bodyPr>
          <a:lstStyle/>
          <a:p>
            <a:r>
              <a:rPr lang="en-US" dirty="0"/>
              <a:t>Disclosures</a:t>
            </a:r>
          </a:p>
        </p:txBody>
      </p:sp>
    </p:spTree>
    <p:extLst>
      <p:ext uri="{BB962C8B-B14F-4D97-AF65-F5344CB8AC3E}">
        <p14:creationId xmlns:p14="http://schemas.microsoft.com/office/powerpoint/2010/main" val="2489084101"/>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Rectangle 68">
            <a:extLst>
              <a:ext uri="{FF2B5EF4-FFF2-40B4-BE49-F238E27FC236}">
                <a16:creationId xmlns:a16="http://schemas.microsoft.com/office/drawing/2014/main" id="{A2575D5F-D0B4-E7A9-870D-B23228387AB7}"/>
              </a:ext>
            </a:extLst>
          </p:cNvPr>
          <p:cNvSpPr/>
          <p:nvPr/>
        </p:nvSpPr>
        <p:spPr bwMode="auto">
          <a:xfrm>
            <a:off x="-83075" y="1221747"/>
            <a:ext cx="9220200" cy="623095"/>
          </a:xfrm>
          <a:prstGeom prst="rect">
            <a:avLst/>
          </a:prstGeom>
          <a:solidFill>
            <a:srgbClr val="00B0F0">
              <a:alpha val="3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pitchFamily="-72" charset="0"/>
              <a:ea typeface="ＭＳ Ｐゴシック" pitchFamily="-72" charset="-128"/>
              <a:cs typeface="ＭＳ Ｐゴシック" pitchFamily="-72" charset="-128"/>
            </a:endParaRPr>
          </a:p>
        </p:txBody>
      </p:sp>
      <p:sp>
        <p:nvSpPr>
          <p:cNvPr id="2" name="Rectangle 1">
            <a:extLst>
              <a:ext uri="{FF2B5EF4-FFF2-40B4-BE49-F238E27FC236}">
                <a16:creationId xmlns:a16="http://schemas.microsoft.com/office/drawing/2014/main" id="{10144252-74FD-924F-36FD-CDCA749456D4}"/>
              </a:ext>
            </a:extLst>
          </p:cNvPr>
          <p:cNvSpPr/>
          <p:nvPr/>
        </p:nvSpPr>
        <p:spPr bwMode="auto">
          <a:xfrm>
            <a:off x="-68783" y="1840528"/>
            <a:ext cx="9220200" cy="357219"/>
          </a:xfrm>
          <a:prstGeom prst="rect">
            <a:avLst/>
          </a:prstGeom>
          <a:solidFill>
            <a:srgbClr val="FF6600">
              <a:alpha val="29804"/>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pitchFamily="-72" charset="0"/>
              <a:ea typeface="ＭＳ Ｐゴシック" pitchFamily="-72" charset="-128"/>
              <a:cs typeface="ＭＳ Ｐゴシック" pitchFamily="-72" charset="-128"/>
            </a:endParaRPr>
          </a:p>
        </p:txBody>
      </p:sp>
      <p:sp>
        <p:nvSpPr>
          <p:cNvPr id="71" name="Rectangle 70">
            <a:extLst>
              <a:ext uri="{FF2B5EF4-FFF2-40B4-BE49-F238E27FC236}">
                <a16:creationId xmlns:a16="http://schemas.microsoft.com/office/drawing/2014/main" id="{1669F4EF-577D-489F-4B47-87D3B57C8051}"/>
              </a:ext>
            </a:extLst>
          </p:cNvPr>
          <p:cNvSpPr/>
          <p:nvPr/>
        </p:nvSpPr>
        <p:spPr bwMode="auto">
          <a:xfrm>
            <a:off x="-68783" y="915568"/>
            <a:ext cx="9220200" cy="307326"/>
          </a:xfrm>
          <a:prstGeom prst="rect">
            <a:avLst/>
          </a:prstGeom>
          <a:solidFill>
            <a:srgbClr val="7030A0">
              <a:alpha val="3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pitchFamily="-72" charset="0"/>
              <a:ea typeface="ＭＳ Ｐゴシック" pitchFamily="-72" charset="-128"/>
              <a:cs typeface="ＭＳ Ｐゴシック" pitchFamily="-72" charset="-128"/>
            </a:endParaRPr>
          </a:p>
        </p:txBody>
      </p:sp>
      <p:sp>
        <p:nvSpPr>
          <p:cNvPr id="66" name="Rectangle 65">
            <a:extLst>
              <a:ext uri="{FF2B5EF4-FFF2-40B4-BE49-F238E27FC236}">
                <a16:creationId xmlns:a16="http://schemas.microsoft.com/office/drawing/2014/main" id="{C5E91C40-4685-9378-943B-F3273F068C97}"/>
              </a:ext>
            </a:extLst>
          </p:cNvPr>
          <p:cNvSpPr/>
          <p:nvPr/>
        </p:nvSpPr>
        <p:spPr bwMode="auto">
          <a:xfrm>
            <a:off x="-76201" y="2191883"/>
            <a:ext cx="9185837" cy="879976"/>
          </a:xfrm>
          <a:prstGeom prst="rect">
            <a:avLst/>
          </a:prstGeom>
          <a:solidFill>
            <a:srgbClr val="00B050">
              <a:alpha val="3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pitchFamily="-72" charset="0"/>
              <a:ea typeface="ＭＳ Ｐゴシック" pitchFamily="-72" charset="-128"/>
              <a:cs typeface="ＭＳ Ｐゴシック" pitchFamily="-72" charset="-128"/>
            </a:endParaRPr>
          </a:p>
        </p:txBody>
      </p:sp>
      <p:sp>
        <p:nvSpPr>
          <p:cNvPr id="4" name="Title 3"/>
          <p:cNvSpPr>
            <a:spLocks noGrp="1"/>
          </p:cNvSpPr>
          <p:nvPr>
            <p:ph type="title"/>
          </p:nvPr>
        </p:nvSpPr>
        <p:spPr>
          <a:xfrm>
            <a:off x="0" y="127465"/>
            <a:ext cx="9144000" cy="807256"/>
          </a:xfrm>
        </p:spPr>
        <p:txBody>
          <a:bodyPr/>
          <a:lstStyle/>
          <a:p>
            <a:r>
              <a:rPr lang="en-US" b="1" dirty="0"/>
              <a:t>Novel Drugs</a:t>
            </a:r>
          </a:p>
        </p:txBody>
      </p:sp>
      <p:sp>
        <p:nvSpPr>
          <p:cNvPr id="8" name="TextBox 7">
            <a:extLst>
              <a:ext uri="{FF2B5EF4-FFF2-40B4-BE49-F238E27FC236}">
                <a16:creationId xmlns:a16="http://schemas.microsoft.com/office/drawing/2014/main" id="{32011EC4-3F30-E974-723F-A517713FDE89}"/>
              </a:ext>
            </a:extLst>
          </p:cNvPr>
          <p:cNvSpPr txBox="1"/>
          <p:nvPr/>
        </p:nvSpPr>
        <p:spPr>
          <a:xfrm>
            <a:off x="1167580" y="2692766"/>
            <a:ext cx="849913" cy="276999"/>
          </a:xfrm>
          <a:prstGeom prst="rect">
            <a:avLst/>
          </a:prstGeom>
          <a:noFill/>
        </p:spPr>
        <p:txBody>
          <a:bodyPr wrap="none" rtlCol="0">
            <a:spAutoFit/>
          </a:bodyPr>
          <a:lstStyle/>
          <a:p>
            <a:r>
              <a:rPr lang="en-US" sz="1200" i="1" dirty="0"/>
              <a:t>tamoxifen</a:t>
            </a:r>
          </a:p>
        </p:txBody>
      </p:sp>
      <p:sp>
        <p:nvSpPr>
          <p:cNvPr id="46" name="TextBox 45">
            <a:extLst>
              <a:ext uri="{FF2B5EF4-FFF2-40B4-BE49-F238E27FC236}">
                <a16:creationId xmlns:a16="http://schemas.microsoft.com/office/drawing/2014/main" id="{8E6F21A2-D004-CAFD-5509-57BDE071A601}"/>
              </a:ext>
            </a:extLst>
          </p:cNvPr>
          <p:cNvSpPr txBox="1"/>
          <p:nvPr/>
        </p:nvSpPr>
        <p:spPr>
          <a:xfrm>
            <a:off x="6999240" y="2680962"/>
            <a:ext cx="736099" cy="276999"/>
          </a:xfrm>
          <a:prstGeom prst="rect">
            <a:avLst/>
          </a:prstGeom>
          <a:noFill/>
        </p:spPr>
        <p:txBody>
          <a:bodyPr wrap="none" rtlCol="0">
            <a:spAutoFit/>
          </a:bodyPr>
          <a:lstStyle/>
          <a:p>
            <a:r>
              <a:rPr lang="en-US" sz="1200" i="1" dirty="0" err="1"/>
              <a:t>alpelisib</a:t>
            </a:r>
            <a:endParaRPr lang="en-US" sz="1200" i="1" dirty="0"/>
          </a:p>
        </p:txBody>
      </p:sp>
      <p:sp>
        <p:nvSpPr>
          <p:cNvPr id="50" name="TextBox 49">
            <a:extLst>
              <a:ext uri="{FF2B5EF4-FFF2-40B4-BE49-F238E27FC236}">
                <a16:creationId xmlns:a16="http://schemas.microsoft.com/office/drawing/2014/main" id="{C8E2A62E-AEB0-2ED2-DCBC-E71C11E816B4}"/>
              </a:ext>
            </a:extLst>
          </p:cNvPr>
          <p:cNvSpPr txBox="1"/>
          <p:nvPr/>
        </p:nvSpPr>
        <p:spPr>
          <a:xfrm>
            <a:off x="3629983" y="2630788"/>
            <a:ext cx="184731" cy="338554"/>
          </a:xfrm>
          <a:prstGeom prst="rect">
            <a:avLst/>
          </a:prstGeom>
          <a:noFill/>
        </p:spPr>
        <p:txBody>
          <a:bodyPr wrap="none" rtlCol="0">
            <a:spAutoFit/>
          </a:bodyPr>
          <a:lstStyle/>
          <a:p>
            <a:endParaRPr lang="en-US" sz="1600" dirty="0"/>
          </a:p>
        </p:txBody>
      </p:sp>
      <p:sp>
        <p:nvSpPr>
          <p:cNvPr id="54" name="TextBox 53">
            <a:extLst>
              <a:ext uri="{FF2B5EF4-FFF2-40B4-BE49-F238E27FC236}">
                <a16:creationId xmlns:a16="http://schemas.microsoft.com/office/drawing/2014/main" id="{964A1DD9-CF1B-E8DF-0061-205C8D41F491}"/>
              </a:ext>
            </a:extLst>
          </p:cNvPr>
          <p:cNvSpPr txBox="1"/>
          <p:nvPr/>
        </p:nvSpPr>
        <p:spPr>
          <a:xfrm>
            <a:off x="6797180" y="1487175"/>
            <a:ext cx="1643399" cy="261610"/>
          </a:xfrm>
          <a:prstGeom prst="rect">
            <a:avLst/>
          </a:prstGeom>
          <a:noFill/>
        </p:spPr>
        <p:txBody>
          <a:bodyPr wrap="none" rtlCol="0">
            <a:spAutoFit/>
          </a:bodyPr>
          <a:lstStyle/>
          <a:p>
            <a:r>
              <a:rPr lang="en-US" sz="1050" i="1" dirty="0"/>
              <a:t>Sacituzumab </a:t>
            </a:r>
            <a:r>
              <a:rPr lang="en-US" sz="1050" i="1" dirty="0" err="1"/>
              <a:t>govitecan</a:t>
            </a:r>
            <a:endParaRPr lang="en-US" sz="1050" i="1" dirty="0"/>
          </a:p>
        </p:txBody>
      </p:sp>
      <p:sp>
        <p:nvSpPr>
          <p:cNvPr id="55" name="TextBox 54">
            <a:extLst>
              <a:ext uri="{FF2B5EF4-FFF2-40B4-BE49-F238E27FC236}">
                <a16:creationId xmlns:a16="http://schemas.microsoft.com/office/drawing/2014/main" id="{76D20D45-395E-840E-75DE-16DB9F3F9405}"/>
              </a:ext>
            </a:extLst>
          </p:cNvPr>
          <p:cNvSpPr txBox="1"/>
          <p:nvPr/>
        </p:nvSpPr>
        <p:spPr>
          <a:xfrm>
            <a:off x="6678435" y="1298054"/>
            <a:ext cx="1781257" cy="261610"/>
          </a:xfrm>
          <a:prstGeom prst="rect">
            <a:avLst/>
          </a:prstGeom>
          <a:noFill/>
        </p:spPr>
        <p:txBody>
          <a:bodyPr wrap="none" rtlCol="0">
            <a:spAutoFit/>
          </a:bodyPr>
          <a:lstStyle/>
          <a:p>
            <a:r>
              <a:rPr lang="en-US" sz="1050" i="1" dirty="0"/>
              <a:t>Trastuzumab </a:t>
            </a:r>
            <a:r>
              <a:rPr lang="en-US" sz="1050" i="1" dirty="0" err="1"/>
              <a:t>dertuxtecan</a:t>
            </a:r>
            <a:endParaRPr lang="en-US" sz="1050" i="1" dirty="0"/>
          </a:p>
        </p:txBody>
      </p:sp>
      <p:sp>
        <p:nvSpPr>
          <p:cNvPr id="56" name="TextBox 55">
            <a:extLst>
              <a:ext uri="{FF2B5EF4-FFF2-40B4-BE49-F238E27FC236}">
                <a16:creationId xmlns:a16="http://schemas.microsoft.com/office/drawing/2014/main" id="{51CB6DD0-5270-5BB5-89A4-AAC7F3AC85A3}"/>
              </a:ext>
            </a:extLst>
          </p:cNvPr>
          <p:cNvSpPr txBox="1"/>
          <p:nvPr/>
        </p:nvSpPr>
        <p:spPr>
          <a:xfrm>
            <a:off x="5621378" y="1647440"/>
            <a:ext cx="1867819" cy="261610"/>
          </a:xfrm>
          <a:prstGeom prst="rect">
            <a:avLst/>
          </a:prstGeom>
          <a:noFill/>
        </p:spPr>
        <p:txBody>
          <a:bodyPr wrap="none" rtlCol="0">
            <a:spAutoFit/>
          </a:bodyPr>
          <a:lstStyle/>
          <a:p>
            <a:r>
              <a:rPr lang="en-US" sz="1050" i="1" dirty="0"/>
              <a:t>Ad-trastuzumab emtansine</a:t>
            </a:r>
          </a:p>
        </p:txBody>
      </p:sp>
      <p:sp>
        <p:nvSpPr>
          <p:cNvPr id="19" name="TextBox 18">
            <a:extLst>
              <a:ext uri="{FF2B5EF4-FFF2-40B4-BE49-F238E27FC236}">
                <a16:creationId xmlns:a16="http://schemas.microsoft.com/office/drawing/2014/main" id="{5AE1F595-DD33-E207-D78A-A4F074191C01}"/>
              </a:ext>
            </a:extLst>
          </p:cNvPr>
          <p:cNvSpPr txBox="1"/>
          <p:nvPr/>
        </p:nvSpPr>
        <p:spPr>
          <a:xfrm>
            <a:off x="4092053" y="2469573"/>
            <a:ext cx="407484" cy="276999"/>
          </a:xfrm>
          <a:prstGeom prst="rect">
            <a:avLst/>
          </a:prstGeom>
          <a:noFill/>
        </p:spPr>
        <p:txBody>
          <a:bodyPr wrap="none" rtlCol="0">
            <a:spAutoFit/>
          </a:bodyPr>
          <a:lstStyle/>
          <a:p>
            <a:r>
              <a:rPr lang="en-US" sz="1200" i="1" dirty="0"/>
              <a:t>AIs</a:t>
            </a:r>
          </a:p>
        </p:txBody>
      </p:sp>
      <p:sp>
        <p:nvSpPr>
          <p:cNvPr id="45" name="TextBox 44">
            <a:extLst>
              <a:ext uri="{FF2B5EF4-FFF2-40B4-BE49-F238E27FC236}">
                <a16:creationId xmlns:a16="http://schemas.microsoft.com/office/drawing/2014/main" id="{8E0C6816-72E6-7542-3FFD-CD22A2B2EBC7}"/>
              </a:ext>
            </a:extLst>
          </p:cNvPr>
          <p:cNvSpPr txBox="1"/>
          <p:nvPr/>
        </p:nvSpPr>
        <p:spPr>
          <a:xfrm>
            <a:off x="7059410" y="925651"/>
            <a:ext cx="1231427" cy="276999"/>
          </a:xfrm>
          <a:prstGeom prst="rect">
            <a:avLst/>
          </a:prstGeom>
          <a:noFill/>
        </p:spPr>
        <p:txBody>
          <a:bodyPr wrap="none" rtlCol="0">
            <a:spAutoFit/>
          </a:bodyPr>
          <a:lstStyle/>
          <a:p>
            <a:r>
              <a:rPr lang="en-US" sz="1200" i="1" dirty="0"/>
              <a:t>pembrolizumab</a:t>
            </a:r>
          </a:p>
        </p:txBody>
      </p:sp>
      <p:sp>
        <p:nvSpPr>
          <p:cNvPr id="57" name="TextBox 56">
            <a:extLst>
              <a:ext uri="{FF2B5EF4-FFF2-40B4-BE49-F238E27FC236}">
                <a16:creationId xmlns:a16="http://schemas.microsoft.com/office/drawing/2014/main" id="{40A2BCFD-ED68-F621-53AF-D501E3A51319}"/>
              </a:ext>
            </a:extLst>
          </p:cNvPr>
          <p:cNvSpPr txBox="1"/>
          <p:nvPr/>
        </p:nvSpPr>
        <p:spPr>
          <a:xfrm>
            <a:off x="4986730" y="2469573"/>
            <a:ext cx="755335" cy="276999"/>
          </a:xfrm>
          <a:prstGeom prst="rect">
            <a:avLst/>
          </a:prstGeom>
          <a:noFill/>
        </p:spPr>
        <p:txBody>
          <a:bodyPr wrap="none" rtlCol="0">
            <a:spAutoFit/>
          </a:bodyPr>
          <a:lstStyle/>
          <a:p>
            <a:r>
              <a:rPr lang="en-US" sz="1200" i="1" dirty="0" err="1"/>
              <a:t>faslodex</a:t>
            </a:r>
            <a:endParaRPr lang="en-US" sz="1200" i="1" dirty="0"/>
          </a:p>
        </p:txBody>
      </p:sp>
      <p:sp>
        <p:nvSpPr>
          <p:cNvPr id="44" name="TextBox 43">
            <a:extLst>
              <a:ext uri="{FF2B5EF4-FFF2-40B4-BE49-F238E27FC236}">
                <a16:creationId xmlns:a16="http://schemas.microsoft.com/office/drawing/2014/main" id="{AB69C7E8-C8B3-B9DF-271E-3B9F50941BA1}"/>
              </a:ext>
            </a:extLst>
          </p:cNvPr>
          <p:cNvSpPr txBox="1"/>
          <p:nvPr/>
        </p:nvSpPr>
        <p:spPr>
          <a:xfrm>
            <a:off x="5657890" y="2673716"/>
            <a:ext cx="753732" cy="276999"/>
          </a:xfrm>
          <a:prstGeom prst="rect">
            <a:avLst/>
          </a:prstGeom>
          <a:noFill/>
        </p:spPr>
        <p:txBody>
          <a:bodyPr wrap="none" rtlCol="0">
            <a:spAutoFit/>
          </a:bodyPr>
          <a:lstStyle/>
          <a:p>
            <a:r>
              <a:rPr lang="en-US" sz="1200" i="1" dirty="0"/>
              <a:t>lapatinib</a:t>
            </a:r>
          </a:p>
        </p:txBody>
      </p:sp>
      <p:sp>
        <p:nvSpPr>
          <p:cNvPr id="51" name="TextBox 50">
            <a:extLst>
              <a:ext uri="{FF2B5EF4-FFF2-40B4-BE49-F238E27FC236}">
                <a16:creationId xmlns:a16="http://schemas.microsoft.com/office/drawing/2014/main" id="{FF9745C8-2F9A-EE88-B341-A474F1163CE3}"/>
              </a:ext>
            </a:extLst>
          </p:cNvPr>
          <p:cNvSpPr txBox="1"/>
          <p:nvPr/>
        </p:nvSpPr>
        <p:spPr>
          <a:xfrm>
            <a:off x="4294054" y="2673716"/>
            <a:ext cx="1029449" cy="276999"/>
          </a:xfrm>
          <a:prstGeom prst="rect">
            <a:avLst/>
          </a:prstGeom>
          <a:noFill/>
        </p:spPr>
        <p:txBody>
          <a:bodyPr wrap="none" rtlCol="0">
            <a:spAutoFit/>
          </a:bodyPr>
          <a:lstStyle/>
          <a:p>
            <a:r>
              <a:rPr lang="en-US" sz="1200" i="1" dirty="0"/>
              <a:t>trastuzumab</a:t>
            </a:r>
          </a:p>
        </p:txBody>
      </p:sp>
      <p:sp>
        <p:nvSpPr>
          <p:cNvPr id="61" name="TextBox 60">
            <a:extLst>
              <a:ext uri="{FF2B5EF4-FFF2-40B4-BE49-F238E27FC236}">
                <a16:creationId xmlns:a16="http://schemas.microsoft.com/office/drawing/2014/main" id="{07F438DD-7013-0458-B28D-1152AB0DBCB4}"/>
              </a:ext>
            </a:extLst>
          </p:cNvPr>
          <p:cNvSpPr txBox="1"/>
          <p:nvPr/>
        </p:nvSpPr>
        <p:spPr>
          <a:xfrm>
            <a:off x="7288035" y="2431679"/>
            <a:ext cx="934871" cy="276999"/>
          </a:xfrm>
          <a:prstGeom prst="rect">
            <a:avLst/>
          </a:prstGeom>
          <a:noFill/>
        </p:spPr>
        <p:txBody>
          <a:bodyPr wrap="none" rtlCol="0">
            <a:spAutoFit/>
          </a:bodyPr>
          <a:lstStyle/>
          <a:p>
            <a:r>
              <a:rPr lang="en-US" sz="1200" i="1" dirty="0" err="1"/>
              <a:t>elacestrant</a:t>
            </a:r>
            <a:endParaRPr lang="en-US" sz="1200" i="1" dirty="0"/>
          </a:p>
        </p:txBody>
      </p:sp>
      <p:sp>
        <p:nvSpPr>
          <p:cNvPr id="64" name="Rectangle 63">
            <a:extLst>
              <a:ext uri="{FF2B5EF4-FFF2-40B4-BE49-F238E27FC236}">
                <a16:creationId xmlns:a16="http://schemas.microsoft.com/office/drawing/2014/main" id="{24BBDD62-CC6F-22B9-5EFA-B46798431DAE}"/>
              </a:ext>
            </a:extLst>
          </p:cNvPr>
          <p:cNvSpPr/>
          <p:nvPr/>
        </p:nvSpPr>
        <p:spPr bwMode="auto">
          <a:xfrm>
            <a:off x="-76200" y="3086269"/>
            <a:ext cx="9220200" cy="1226650"/>
          </a:xfrm>
          <a:prstGeom prst="rect">
            <a:avLst/>
          </a:prstGeom>
          <a:solidFill>
            <a:srgbClr val="FFC000">
              <a:alpha val="3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pitchFamily="-72" charset="0"/>
              <a:ea typeface="ＭＳ Ｐゴシック" pitchFamily="-72" charset="-128"/>
              <a:cs typeface="ＭＳ Ｐゴシック" pitchFamily="-72" charset="-128"/>
            </a:endParaRPr>
          </a:p>
        </p:txBody>
      </p:sp>
      <p:sp>
        <p:nvSpPr>
          <p:cNvPr id="9" name="TextBox 8">
            <a:extLst>
              <a:ext uri="{FF2B5EF4-FFF2-40B4-BE49-F238E27FC236}">
                <a16:creationId xmlns:a16="http://schemas.microsoft.com/office/drawing/2014/main" id="{FF65C5E3-D91E-CF5E-761F-8A9B1445A218}"/>
              </a:ext>
            </a:extLst>
          </p:cNvPr>
          <p:cNvSpPr txBox="1"/>
          <p:nvPr/>
        </p:nvSpPr>
        <p:spPr>
          <a:xfrm>
            <a:off x="577437" y="3205900"/>
            <a:ext cx="1085392" cy="276999"/>
          </a:xfrm>
          <a:prstGeom prst="rect">
            <a:avLst/>
          </a:prstGeom>
          <a:noFill/>
        </p:spPr>
        <p:txBody>
          <a:bodyPr wrap="none" rtlCol="0">
            <a:spAutoFit/>
          </a:bodyPr>
          <a:lstStyle/>
          <a:p>
            <a:r>
              <a:rPr lang="en-US" sz="1200" i="1" dirty="0"/>
              <a:t>doxorubicin</a:t>
            </a:r>
          </a:p>
        </p:txBody>
      </p:sp>
      <p:cxnSp>
        <p:nvCxnSpPr>
          <p:cNvPr id="16" name="Straight Connector 15">
            <a:extLst>
              <a:ext uri="{FF2B5EF4-FFF2-40B4-BE49-F238E27FC236}">
                <a16:creationId xmlns:a16="http://schemas.microsoft.com/office/drawing/2014/main" id="{6A0E69F8-9E9E-C377-E172-38C77C12F77B}"/>
              </a:ext>
            </a:extLst>
          </p:cNvPr>
          <p:cNvCxnSpPr>
            <a:cxnSpLocks/>
          </p:cNvCxnSpPr>
          <p:nvPr/>
        </p:nvCxnSpPr>
        <p:spPr bwMode="auto">
          <a:xfrm>
            <a:off x="1853729" y="2919326"/>
            <a:ext cx="0" cy="130156"/>
          </a:xfrm>
          <a:prstGeom prst="line">
            <a:avLst/>
          </a:prstGeom>
          <a:solidFill>
            <a:schemeClr val="accent1"/>
          </a:solidFill>
          <a:ln w="25400" cap="flat" cmpd="sng" algn="ctr">
            <a:solidFill>
              <a:schemeClr val="tx1"/>
            </a:solidFill>
            <a:prstDash val="solid"/>
            <a:round/>
            <a:headEnd type="none" w="med" len="med"/>
            <a:tailEnd type="none" w="med" len="med"/>
          </a:ln>
          <a:effectLst/>
        </p:spPr>
      </p:cxnSp>
      <p:cxnSp>
        <p:nvCxnSpPr>
          <p:cNvPr id="18" name="Straight Connector 17">
            <a:extLst>
              <a:ext uri="{FF2B5EF4-FFF2-40B4-BE49-F238E27FC236}">
                <a16:creationId xmlns:a16="http://schemas.microsoft.com/office/drawing/2014/main" id="{22562281-B30E-9068-35AC-0DB00C2D248A}"/>
              </a:ext>
            </a:extLst>
          </p:cNvPr>
          <p:cNvCxnSpPr>
            <a:cxnSpLocks/>
          </p:cNvCxnSpPr>
          <p:nvPr/>
        </p:nvCxnSpPr>
        <p:spPr bwMode="auto">
          <a:xfrm>
            <a:off x="1292322" y="3119521"/>
            <a:ext cx="0" cy="130156"/>
          </a:xfrm>
          <a:prstGeom prst="line">
            <a:avLst/>
          </a:prstGeom>
          <a:solidFill>
            <a:schemeClr val="accent1"/>
          </a:solidFill>
          <a:ln w="25400" cap="flat" cmpd="sng" algn="ctr">
            <a:solidFill>
              <a:schemeClr val="tx1"/>
            </a:solidFill>
            <a:prstDash val="solid"/>
            <a:round/>
            <a:headEnd type="none" w="med" len="med"/>
            <a:tailEnd type="none" w="med" len="med"/>
          </a:ln>
          <a:effectLst/>
        </p:spPr>
      </p:cxnSp>
      <p:cxnSp>
        <p:nvCxnSpPr>
          <p:cNvPr id="21" name="Straight Connector 20">
            <a:extLst>
              <a:ext uri="{FF2B5EF4-FFF2-40B4-BE49-F238E27FC236}">
                <a16:creationId xmlns:a16="http://schemas.microsoft.com/office/drawing/2014/main" id="{2FC4DFEA-64B2-6846-6364-51B43642F911}"/>
              </a:ext>
            </a:extLst>
          </p:cNvPr>
          <p:cNvCxnSpPr>
            <a:cxnSpLocks/>
          </p:cNvCxnSpPr>
          <p:nvPr/>
        </p:nvCxnSpPr>
        <p:spPr bwMode="auto">
          <a:xfrm>
            <a:off x="4013114" y="3127554"/>
            <a:ext cx="0" cy="130156"/>
          </a:xfrm>
          <a:prstGeom prst="line">
            <a:avLst/>
          </a:prstGeom>
          <a:solidFill>
            <a:schemeClr val="accent1"/>
          </a:solidFill>
          <a:ln w="25400" cap="flat" cmpd="sng" algn="ctr">
            <a:solidFill>
              <a:schemeClr val="tx1"/>
            </a:solidFill>
            <a:prstDash val="solid"/>
            <a:round/>
            <a:headEnd type="none" w="med" len="med"/>
            <a:tailEnd type="none" w="med" len="med"/>
          </a:ln>
          <a:effectLst/>
        </p:spPr>
      </p:cxnSp>
      <p:sp>
        <p:nvSpPr>
          <p:cNvPr id="22" name="TextBox 21">
            <a:extLst>
              <a:ext uri="{FF2B5EF4-FFF2-40B4-BE49-F238E27FC236}">
                <a16:creationId xmlns:a16="http://schemas.microsoft.com/office/drawing/2014/main" id="{E4BA286E-BD35-2BF2-91DE-962200F44419}"/>
              </a:ext>
            </a:extLst>
          </p:cNvPr>
          <p:cNvSpPr txBox="1"/>
          <p:nvPr/>
        </p:nvSpPr>
        <p:spPr>
          <a:xfrm>
            <a:off x="3358467" y="3205900"/>
            <a:ext cx="923447" cy="276999"/>
          </a:xfrm>
          <a:prstGeom prst="rect">
            <a:avLst/>
          </a:prstGeom>
          <a:noFill/>
        </p:spPr>
        <p:txBody>
          <a:bodyPr wrap="none" rtlCol="0">
            <a:spAutoFit/>
          </a:bodyPr>
          <a:lstStyle/>
          <a:p>
            <a:r>
              <a:rPr lang="en-US" sz="1200" i="1" dirty="0"/>
              <a:t>paclitaxel</a:t>
            </a:r>
          </a:p>
        </p:txBody>
      </p:sp>
      <p:sp>
        <p:nvSpPr>
          <p:cNvPr id="24" name="TextBox 23">
            <a:extLst>
              <a:ext uri="{FF2B5EF4-FFF2-40B4-BE49-F238E27FC236}">
                <a16:creationId xmlns:a16="http://schemas.microsoft.com/office/drawing/2014/main" id="{6EBF1EF6-DFB7-27B3-8F4C-BF033B29EDB1}"/>
              </a:ext>
            </a:extLst>
          </p:cNvPr>
          <p:cNvSpPr txBox="1"/>
          <p:nvPr/>
        </p:nvSpPr>
        <p:spPr>
          <a:xfrm>
            <a:off x="4470815" y="3908419"/>
            <a:ext cx="1171764" cy="276999"/>
          </a:xfrm>
          <a:prstGeom prst="rect">
            <a:avLst/>
          </a:prstGeom>
          <a:noFill/>
        </p:spPr>
        <p:txBody>
          <a:bodyPr wrap="none" rtlCol="0">
            <a:spAutoFit/>
          </a:bodyPr>
          <a:lstStyle/>
          <a:p>
            <a:r>
              <a:rPr lang="en-US" sz="1200" i="1" dirty="0"/>
              <a:t>capecitabine</a:t>
            </a:r>
          </a:p>
        </p:txBody>
      </p:sp>
      <p:sp>
        <p:nvSpPr>
          <p:cNvPr id="26" name="TextBox 25">
            <a:extLst>
              <a:ext uri="{FF2B5EF4-FFF2-40B4-BE49-F238E27FC236}">
                <a16:creationId xmlns:a16="http://schemas.microsoft.com/office/drawing/2014/main" id="{E2FF6BDC-6E45-3527-1E88-3A6D9470DEC4}"/>
              </a:ext>
            </a:extLst>
          </p:cNvPr>
          <p:cNvSpPr txBox="1"/>
          <p:nvPr/>
        </p:nvSpPr>
        <p:spPr>
          <a:xfrm>
            <a:off x="5134824" y="3677545"/>
            <a:ext cx="1133976" cy="276999"/>
          </a:xfrm>
          <a:prstGeom prst="rect">
            <a:avLst/>
          </a:prstGeom>
          <a:noFill/>
        </p:spPr>
        <p:txBody>
          <a:bodyPr wrap="none" rtlCol="0">
            <a:spAutoFit/>
          </a:bodyPr>
          <a:lstStyle/>
          <a:p>
            <a:r>
              <a:rPr lang="en-US" sz="1200" i="1" dirty="0"/>
              <a:t>gemcitabine</a:t>
            </a:r>
          </a:p>
        </p:txBody>
      </p:sp>
      <p:sp>
        <p:nvSpPr>
          <p:cNvPr id="33" name="TextBox 32">
            <a:extLst>
              <a:ext uri="{FF2B5EF4-FFF2-40B4-BE49-F238E27FC236}">
                <a16:creationId xmlns:a16="http://schemas.microsoft.com/office/drawing/2014/main" id="{C350C5F5-2295-EDA1-6045-015CA3A7EE14}"/>
              </a:ext>
            </a:extLst>
          </p:cNvPr>
          <p:cNvSpPr txBox="1"/>
          <p:nvPr/>
        </p:nvSpPr>
        <p:spPr>
          <a:xfrm>
            <a:off x="5381630" y="3446670"/>
            <a:ext cx="1267131" cy="276999"/>
          </a:xfrm>
          <a:prstGeom prst="rect">
            <a:avLst/>
          </a:prstGeom>
          <a:noFill/>
        </p:spPr>
        <p:txBody>
          <a:bodyPr wrap="none" rtlCol="0">
            <a:spAutoFit/>
          </a:bodyPr>
          <a:lstStyle/>
          <a:p>
            <a:r>
              <a:rPr lang="en-US" sz="1200" i="1" dirty="0"/>
              <a:t>nab-paclitaxel</a:t>
            </a:r>
          </a:p>
        </p:txBody>
      </p:sp>
      <p:sp>
        <p:nvSpPr>
          <p:cNvPr id="37" name="TextBox 36">
            <a:extLst>
              <a:ext uri="{FF2B5EF4-FFF2-40B4-BE49-F238E27FC236}">
                <a16:creationId xmlns:a16="http://schemas.microsoft.com/office/drawing/2014/main" id="{6C4B88C3-876B-1E2C-E28B-67A1D352762B}"/>
              </a:ext>
            </a:extLst>
          </p:cNvPr>
          <p:cNvSpPr txBox="1"/>
          <p:nvPr/>
        </p:nvSpPr>
        <p:spPr>
          <a:xfrm>
            <a:off x="5525581" y="3215795"/>
            <a:ext cx="1074596" cy="276999"/>
          </a:xfrm>
          <a:prstGeom prst="rect">
            <a:avLst/>
          </a:prstGeom>
          <a:noFill/>
        </p:spPr>
        <p:txBody>
          <a:bodyPr wrap="none" rtlCol="0">
            <a:spAutoFit/>
          </a:bodyPr>
          <a:lstStyle/>
          <a:p>
            <a:r>
              <a:rPr lang="en-US" sz="1200" i="1" dirty="0"/>
              <a:t>ixabepilone</a:t>
            </a:r>
          </a:p>
        </p:txBody>
      </p:sp>
      <p:sp>
        <p:nvSpPr>
          <p:cNvPr id="42" name="TextBox 41">
            <a:extLst>
              <a:ext uri="{FF2B5EF4-FFF2-40B4-BE49-F238E27FC236}">
                <a16:creationId xmlns:a16="http://schemas.microsoft.com/office/drawing/2014/main" id="{CC81BD11-FF81-6803-2920-3D3194F3ABD6}"/>
              </a:ext>
            </a:extLst>
          </p:cNvPr>
          <p:cNvSpPr txBox="1"/>
          <p:nvPr/>
        </p:nvSpPr>
        <p:spPr>
          <a:xfrm>
            <a:off x="6528332" y="3205900"/>
            <a:ext cx="759703" cy="276999"/>
          </a:xfrm>
          <a:prstGeom prst="rect">
            <a:avLst/>
          </a:prstGeom>
          <a:noFill/>
        </p:spPr>
        <p:txBody>
          <a:bodyPr wrap="none" rtlCol="0">
            <a:spAutoFit/>
          </a:bodyPr>
          <a:lstStyle/>
          <a:p>
            <a:r>
              <a:rPr lang="en-US" sz="1200" i="1" dirty="0" err="1"/>
              <a:t>eribulin</a:t>
            </a:r>
            <a:endParaRPr lang="en-US" sz="1200" i="1" dirty="0"/>
          </a:p>
        </p:txBody>
      </p:sp>
      <p:cxnSp>
        <p:nvCxnSpPr>
          <p:cNvPr id="48" name="Straight Connector 47">
            <a:extLst>
              <a:ext uri="{FF2B5EF4-FFF2-40B4-BE49-F238E27FC236}">
                <a16:creationId xmlns:a16="http://schemas.microsoft.com/office/drawing/2014/main" id="{ACA5ED28-C26A-B981-D49B-40A4E538D7D1}"/>
              </a:ext>
            </a:extLst>
          </p:cNvPr>
          <p:cNvCxnSpPr>
            <a:cxnSpLocks/>
          </p:cNvCxnSpPr>
          <p:nvPr/>
        </p:nvCxnSpPr>
        <p:spPr bwMode="auto">
          <a:xfrm flipH="1">
            <a:off x="4751412" y="2913851"/>
            <a:ext cx="13633" cy="113349"/>
          </a:xfrm>
          <a:prstGeom prst="line">
            <a:avLst/>
          </a:prstGeom>
          <a:solidFill>
            <a:schemeClr val="accent1"/>
          </a:solidFill>
          <a:ln w="25400" cap="flat" cmpd="sng" algn="ctr">
            <a:solidFill>
              <a:schemeClr val="tx1"/>
            </a:solidFill>
            <a:prstDash val="solid"/>
            <a:round/>
            <a:headEnd type="none" w="med" len="med"/>
            <a:tailEnd type="none" w="med" len="med"/>
          </a:ln>
          <a:effectLst/>
        </p:spPr>
      </p:cxnSp>
      <p:cxnSp>
        <p:nvCxnSpPr>
          <p:cNvPr id="59" name="Straight Connector 58">
            <a:extLst>
              <a:ext uri="{FF2B5EF4-FFF2-40B4-BE49-F238E27FC236}">
                <a16:creationId xmlns:a16="http://schemas.microsoft.com/office/drawing/2014/main" id="{7F1DC060-CA1A-6DCE-07A2-EEDDDB19C1DE}"/>
              </a:ext>
            </a:extLst>
          </p:cNvPr>
          <p:cNvCxnSpPr>
            <a:cxnSpLocks/>
          </p:cNvCxnSpPr>
          <p:nvPr/>
        </p:nvCxnSpPr>
        <p:spPr bwMode="auto">
          <a:xfrm>
            <a:off x="6824879" y="3151271"/>
            <a:ext cx="0" cy="130156"/>
          </a:xfrm>
          <a:prstGeom prst="line">
            <a:avLst/>
          </a:prstGeom>
          <a:solidFill>
            <a:schemeClr val="accent1"/>
          </a:solidFill>
          <a:ln w="25400" cap="flat" cmpd="sng" algn="ctr">
            <a:solidFill>
              <a:schemeClr val="tx1"/>
            </a:solidFill>
            <a:prstDash val="solid"/>
            <a:round/>
            <a:headEnd type="none" w="med" len="med"/>
            <a:tailEnd type="none" w="med" len="med"/>
          </a:ln>
          <a:effectLst/>
        </p:spPr>
      </p:cxnSp>
      <p:sp>
        <p:nvSpPr>
          <p:cNvPr id="65" name="TextBox 64">
            <a:extLst>
              <a:ext uri="{FF2B5EF4-FFF2-40B4-BE49-F238E27FC236}">
                <a16:creationId xmlns:a16="http://schemas.microsoft.com/office/drawing/2014/main" id="{C9FABF94-AF65-C22C-FE66-287F341AEEF8}"/>
              </a:ext>
            </a:extLst>
          </p:cNvPr>
          <p:cNvSpPr txBox="1"/>
          <p:nvPr/>
        </p:nvSpPr>
        <p:spPr>
          <a:xfrm>
            <a:off x="-16635" y="3822653"/>
            <a:ext cx="1228221" cy="461665"/>
          </a:xfrm>
          <a:prstGeom prst="rect">
            <a:avLst/>
          </a:prstGeom>
          <a:noFill/>
        </p:spPr>
        <p:txBody>
          <a:bodyPr wrap="none" rtlCol="0">
            <a:spAutoFit/>
          </a:bodyPr>
          <a:lstStyle/>
          <a:p>
            <a:r>
              <a:rPr lang="en-US" b="1" dirty="0">
                <a:solidFill>
                  <a:srgbClr val="FF9900"/>
                </a:solidFill>
              </a:rPr>
              <a:t>Chemo</a:t>
            </a:r>
          </a:p>
        </p:txBody>
      </p:sp>
      <p:grpSp>
        <p:nvGrpSpPr>
          <p:cNvPr id="67" name="Group 66">
            <a:extLst>
              <a:ext uri="{FF2B5EF4-FFF2-40B4-BE49-F238E27FC236}">
                <a16:creationId xmlns:a16="http://schemas.microsoft.com/office/drawing/2014/main" id="{53E6FA5F-62CD-4D1C-8236-9B045B02C719}"/>
              </a:ext>
            </a:extLst>
          </p:cNvPr>
          <p:cNvGrpSpPr/>
          <p:nvPr/>
        </p:nvGrpSpPr>
        <p:grpSpPr>
          <a:xfrm>
            <a:off x="502688" y="2927347"/>
            <a:ext cx="8214592" cy="322330"/>
            <a:chOff x="502688" y="2927347"/>
            <a:chExt cx="8214592" cy="322330"/>
          </a:xfrm>
        </p:grpSpPr>
        <p:cxnSp>
          <p:nvCxnSpPr>
            <p:cNvPr id="5" name="Straight Arrow Connector 4">
              <a:extLst>
                <a:ext uri="{FF2B5EF4-FFF2-40B4-BE49-F238E27FC236}">
                  <a16:creationId xmlns:a16="http://schemas.microsoft.com/office/drawing/2014/main" id="{31322101-A48B-A78C-941B-15614EF8441B}"/>
                </a:ext>
              </a:extLst>
            </p:cNvPr>
            <p:cNvCxnSpPr>
              <a:cxnSpLocks/>
            </p:cNvCxnSpPr>
            <p:nvPr/>
          </p:nvCxnSpPr>
          <p:spPr bwMode="auto">
            <a:xfrm>
              <a:off x="593343" y="3095314"/>
              <a:ext cx="8123937" cy="0"/>
            </a:xfrm>
            <a:prstGeom prst="straightConnector1">
              <a:avLst/>
            </a:prstGeom>
            <a:solidFill>
              <a:schemeClr val="accent1"/>
            </a:solidFill>
            <a:ln w="190500" cap="flat" cmpd="sng" algn="ctr">
              <a:solidFill>
                <a:srgbClr val="FF0000"/>
              </a:solidFill>
              <a:prstDash val="solid"/>
              <a:round/>
              <a:headEnd type="none" w="med" len="med"/>
              <a:tailEnd type="triangle"/>
            </a:ln>
            <a:effectLst/>
          </p:spPr>
        </p:cxnSp>
        <p:sp>
          <p:nvSpPr>
            <p:cNvPr id="7" name="TextBox 6">
              <a:extLst>
                <a:ext uri="{FF2B5EF4-FFF2-40B4-BE49-F238E27FC236}">
                  <a16:creationId xmlns:a16="http://schemas.microsoft.com/office/drawing/2014/main" id="{05EB659C-2F72-8C17-20AE-D635F4CEA20E}"/>
                </a:ext>
              </a:extLst>
            </p:cNvPr>
            <p:cNvSpPr txBox="1"/>
            <p:nvPr/>
          </p:nvSpPr>
          <p:spPr>
            <a:xfrm>
              <a:off x="1853729" y="2935049"/>
              <a:ext cx="765101" cy="307777"/>
            </a:xfrm>
            <a:prstGeom prst="rect">
              <a:avLst/>
            </a:prstGeom>
            <a:noFill/>
          </p:spPr>
          <p:txBody>
            <a:bodyPr wrap="none" rtlCol="0">
              <a:spAutoFit/>
            </a:bodyPr>
            <a:lstStyle/>
            <a:p>
              <a:r>
                <a:rPr lang="en-US" sz="1400" b="1" dirty="0">
                  <a:solidFill>
                    <a:schemeClr val="bg1"/>
                  </a:solidFill>
                </a:rPr>
                <a:t>1980s</a:t>
              </a:r>
            </a:p>
          </p:txBody>
        </p:sp>
        <p:sp>
          <p:nvSpPr>
            <p:cNvPr id="10" name="TextBox 9">
              <a:extLst>
                <a:ext uri="{FF2B5EF4-FFF2-40B4-BE49-F238E27FC236}">
                  <a16:creationId xmlns:a16="http://schemas.microsoft.com/office/drawing/2014/main" id="{70F65300-9FA7-5687-C0BC-750D575F3ADD}"/>
                </a:ext>
              </a:extLst>
            </p:cNvPr>
            <p:cNvSpPr txBox="1"/>
            <p:nvPr/>
          </p:nvSpPr>
          <p:spPr>
            <a:xfrm>
              <a:off x="502688" y="2927348"/>
              <a:ext cx="765101" cy="307777"/>
            </a:xfrm>
            <a:prstGeom prst="rect">
              <a:avLst/>
            </a:prstGeom>
            <a:noFill/>
          </p:spPr>
          <p:txBody>
            <a:bodyPr wrap="none" rtlCol="0">
              <a:spAutoFit/>
            </a:bodyPr>
            <a:lstStyle/>
            <a:p>
              <a:r>
                <a:rPr lang="en-US" sz="1400" b="1" dirty="0">
                  <a:solidFill>
                    <a:schemeClr val="bg1"/>
                  </a:solidFill>
                </a:rPr>
                <a:t>1970s</a:t>
              </a:r>
            </a:p>
          </p:txBody>
        </p:sp>
        <p:sp>
          <p:nvSpPr>
            <p:cNvPr id="11" name="TextBox 10">
              <a:extLst>
                <a:ext uri="{FF2B5EF4-FFF2-40B4-BE49-F238E27FC236}">
                  <a16:creationId xmlns:a16="http://schemas.microsoft.com/office/drawing/2014/main" id="{5569D581-1502-5E23-4B59-F73AF3C7664A}"/>
                </a:ext>
              </a:extLst>
            </p:cNvPr>
            <p:cNvSpPr txBox="1"/>
            <p:nvPr/>
          </p:nvSpPr>
          <p:spPr>
            <a:xfrm>
              <a:off x="3204770" y="2927347"/>
              <a:ext cx="765101" cy="307777"/>
            </a:xfrm>
            <a:prstGeom prst="rect">
              <a:avLst/>
            </a:prstGeom>
            <a:noFill/>
          </p:spPr>
          <p:txBody>
            <a:bodyPr wrap="none" rtlCol="0">
              <a:spAutoFit/>
            </a:bodyPr>
            <a:lstStyle/>
            <a:p>
              <a:r>
                <a:rPr lang="en-US" sz="1400" b="1" dirty="0">
                  <a:solidFill>
                    <a:schemeClr val="bg1"/>
                  </a:solidFill>
                </a:rPr>
                <a:t>1990s</a:t>
              </a:r>
            </a:p>
          </p:txBody>
        </p:sp>
        <p:sp>
          <p:nvSpPr>
            <p:cNvPr id="12" name="TextBox 11">
              <a:extLst>
                <a:ext uri="{FF2B5EF4-FFF2-40B4-BE49-F238E27FC236}">
                  <a16:creationId xmlns:a16="http://schemas.microsoft.com/office/drawing/2014/main" id="{276C369E-4CE1-1DEF-DDAD-CA7E79C1608C}"/>
                </a:ext>
              </a:extLst>
            </p:cNvPr>
            <p:cNvSpPr txBox="1"/>
            <p:nvPr/>
          </p:nvSpPr>
          <p:spPr>
            <a:xfrm>
              <a:off x="4555812" y="2927347"/>
              <a:ext cx="765101" cy="307777"/>
            </a:xfrm>
            <a:prstGeom prst="rect">
              <a:avLst/>
            </a:prstGeom>
            <a:noFill/>
          </p:spPr>
          <p:txBody>
            <a:bodyPr wrap="none" rtlCol="0">
              <a:spAutoFit/>
            </a:bodyPr>
            <a:lstStyle/>
            <a:p>
              <a:r>
                <a:rPr lang="en-US" sz="1400" b="1" dirty="0">
                  <a:solidFill>
                    <a:schemeClr val="bg1"/>
                  </a:solidFill>
                </a:rPr>
                <a:t>2000s</a:t>
              </a:r>
            </a:p>
          </p:txBody>
        </p:sp>
        <p:sp>
          <p:nvSpPr>
            <p:cNvPr id="13" name="TextBox 12">
              <a:extLst>
                <a:ext uri="{FF2B5EF4-FFF2-40B4-BE49-F238E27FC236}">
                  <a16:creationId xmlns:a16="http://schemas.microsoft.com/office/drawing/2014/main" id="{F0BC80C3-42AE-9086-7156-71311DE33045}"/>
                </a:ext>
              </a:extLst>
            </p:cNvPr>
            <p:cNvSpPr txBox="1"/>
            <p:nvPr/>
          </p:nvSpPr>
          <p:spPr>
            <a:xfrm>
              <a:off x="5906853" y="2941900"/>
              <a:ext cx="765101" cy="307777"/>
            </a:xfrm>
            <a:prstGeom prst="rect">
              <a:avLst/>
            </a:prstGeom>
            <a:noFill/>
          </p:spPr>
          <p:txBody>
            <a:bodyPr wrap="none" rtlCol="0">
              <a:spAutoFit/>
            </a:bodyPr>
            <a:lstStyle/>
            <a:p>
              <a:r>
                <a:rPr lang="en-US" sz="1400" b="1" dirty="0">
                  <a:solidFill>
                    <a:schemeClr val="bg1"/>
                  </a:solidFill>
                </a:rPr>
                <a:t>2010s</a:t>
              </a:r>
            </a:p>
          </p:txBody>
        </p:sp>
        <p:sp>
          <p:nvSpPr>
            <p:cNvPr id="14" name="TextBox 13">
              <a:extLst>
                <a:ext uri="{FF2B5EF4-FFF2-40B4-BE49-F238E27FC236}">
                  <a16:creationId xmlns:a16="http://schemas.microsoft.com/office/drawing/2014/main" id="{E7876E31-8037-E8A6-4A4A-C16863F1DE35}"/>
                </a:ext>
              </a:extLst>
            </p:cNvPr>
            <p:cNvSpPr txBox="1"/>
            <p:nvPr/>
          </p:nvSpPr>
          <p:spPr>
            <a:xfrm>
              <a:off x="7257896" y="2941900"/>
              <a:ext cx="765101" cy="307777"/>
            </a:xfrm>
            <a:prstGeom prst="rect">
              <a:avLst/>
            </a:prstGeom>
            <a:noFill/>
          </p:spPr>
          <p:txBody>
            <a:bodyPr wrap="none" rtlCol="0">
              <a:spAutoFit/>
            </a:bodyPr>
            <a:lstStyle/>
            <a:p>
              <a:r>
                <a:rPr lang="en-US" sz="1400" b="1" dirty="0">
                  <a:solidFill>
                    <a:schemeClr val="bg1"/>
                  </a:solidFill>
                </a:rPr>
                <a:t>2020s</a:t>
              </a:r>
            </a:p>
          </p:txBody>
        </p:sp>
      </p:grpSp>
      <p:sp>
        <p:nvSpPr>
          <p:cNvPr id="68" name="TextBox 67">
            <a:extLst>
              <a:ext uri="{FF2B5EF4-FFF2-40B4-BE49-F238E27FC236}">
                <a16:creationId xmlns:a16="http://schemas.microsoft.com/office/drawing/2014/main" id="{4DED9BE0-3837-8879-97FE-FD174754A39C}"/>
              </a:ext>
            </a:extLst>
          </p:cNvPr>
          <p:cNvSpPr txBox="1"/>
          <p:nvPr/>
        </p:nvSpPr>
        <p:spPr>
          <a:xfrm>
            <a:off x="-16635" y="2233439"/>
            <a:ext cx="1461875" cy="461665"/>
          </a:xfrm>
          <a:prstGeom prst="rect">
            <a:avLst/>
          </a:prstGeom>
          <a:noFill/>
        </p:spPr>
        <p:txBody>
          <a:bodyPr wrap="none" rtlCol="0">
            <a:spAutoFit/>
          </a:bodyPr>
          <a:lstStyle/>
          <a:p>
            <a:r>
              <a:rPr lang="en-US" b="1" dirty="0">
                <a:solidFill>
                  <a:srgbClr val="00B050"/>
                </a:solidFill>
              </a:rPr>
              <a:t>Targeted</a:t>
            </a:r>
          </a:p>
        </p:txBody>
      </p:sp>
      <p:sp>
        <p:nvSpPr>
          <p:cNvPr id="70" name="TextBox 69">
            <a:extLst>
              <a:ext uri="{FF2B5EF4-FFF2-40B4-BE49-F238E27FC236}">
                <a16:creationId xmlns:a16="http://schemas.microsoft.com/office/drawing/2014/main" id="{8F48A010-BA33-0506-AB57-2223FE447CDA}"/>
              </a:ext>
            </a:extLst>
          </p:cNvPr>
          <p:cNvSpPr txBox="1"/>
          <p:nvPr/>
        </p:nvSpPr>
        <p:spPr>
          <a:xfrm>
            <a:off x="-16635" y="1278459"/>
            <a:ext cx="1024639" cy="461665"/>
          </a:xfrm>
          <a:prstGeom prst="rect">
            <a:avLst/>
          </a:prstGeom>
          <a:noFill/>
        </p:spPr>
        <p:txBody>
          <a:bodyPr wrap="none" rtlCol="0">
            <a:spAutoFit/>
          </a:bodyPr>
          <a:lstStyle/>
          <a:p>
            <a:r>
              <a:rPr lang="en-US" b="1" dirty="0">
                <a:solidFill>
                  <a:srgbClr val="0070C0"/>
                </a:solidFill>
              </a:rPr>
              <a:t>ADCs</a:t>
            </a:r>
          </a:p>
        </p:txBody>
      </p:sp>
      <p:sp>
        <p:nvSpPr>
          <p:cNvPr id="72" name="TextBox 71">
            <a:extLst>
              <a:ext uri="{FF2B5EF4-FFF2-40B4-BE49-F238E27FC236}">
                <a16:creationId xmlns:a16="http://schemas.microsoft.com/office/drawing/2014/main" id="{4167A9D0-BBF5-F9CE-DA51-A6FD96407559}"/>
              </a:ext>
            </a:extLst>
          </p:cNvPr>
          <p:cNvSpPr txBox="1"/>
          <p:nvPr/>
        </p:nvSpPr>
        <p:spPr>
          <a:xfrm>
            <a:off x="-16635" y="818476"/>
            <a:ext cx="2492990" cy="461665"/>
          </a:xfrm>
          <a:prstGeom prst="rect">
            <a:avLst/>
          </a:prstGeom>
          <a:noFill/>
        </p:spPr>
        <p:txBody>
          <a:bodyPr wrap="none" rtlCol="0">
            <a:spAutoFit/>
          </a:bodyPr>
          <a:lstStyle/>
          <a:p>
            <a:r>
              <a:rPr lang="en-US" b="1" dirty="0">
                <a:solidFill>
                  <a:srgbClr val="7030A0"/>
                </a:solidFill>
              </a:rPr>
              <a:t>Immunotherapy</a:t>
            </a:r>
          </a:p>
        </p:txBody>
      </p:sp>
      <p:sp>
        <p:nvSpPr>
          <p:cNvPr id="73" name="TextBox 72">
            <a:extLst>
              <a:ext uri="{FF2B5EF4-FFF2-40B4-BE49-F238E27FC236}">
                <a16:creationId xmlns:a16="http://schemas.microsoft.com/office/drawing/2014/main" id="{7B06563D-F0A9-293A-1B0B-6D25085E1565}"/>
              </a:ext>
            </a:extLst>
          </p:cNvPr>
          <p:cNvSpPr txBox="1"/>
          <p:nvPr/>
        </p:nvSpPr>
        <p:spPr>
          <a:xfrm>
            <a:off x="6736162" y="1885518"/>
            <a:ext cx="625299" cy="276999"/>
          </a:xfrm>
          <a:prstGeom prst="rect">
            <a:avLst/>
          </a:prstGeom>
          <a:noFill/>
        </p:spPr>
        <p:txBody>
          <a:bodyPr wrap="none" rtlCol="0">
            <a:spAutoFit/>
          </a:bodyPr>
          <a:lstStyle/>
          <a:p>
            <a:r>
              <a:rPr lang="en-US" sz="1200" i="1" dirty="0" err="1"/>
              <a:t>PARPi</a:t>
            </a:r>
            <a:endParaRPr lang="en-US" sz="1200" i="1" dirty="0"/>
          </a:p>
        </p:txBody>
      </p:sp>
      <p:sp>
        <p:nvSpPr>
          <p:cNvPr id="74" name="TextBox 73">
            <a:extLst>
              <a:ext uri="{FF2B5EF4-FFF2-40B4-BE49-F238E27FC236}">
                <a16:creationId xmlns:a16="http://schemas.microsoft.com/office/drawing/2014/main" id="{936A5F88-131D-A099-0FD6-B740C6192F8F}"/>
              </a:ext>
            </a:extLst>
          </p:cNvPr>
          <p:cNvSpPr txBox="1"/>
          <p:nvPr/>
        </p:nvSpPr>
        <p:spPr>
          <a:xfrm>
            <a:off x="6063126" y="1893006"/>
            <a:ext cx="755335" cy="276999"/>
          </a:xfrm>
          <a:prstGeom prst="rect">
            <a:avLst/>
          </a:prstGeom>
          <a:noFill/>
        </p:spPr>
        <p:txBody>
          <a:bodyPr wrap="none" rtlCol="0">
            <a:spAutoFit/>
          </a:bodyPr>
          <a:lstStyle/>
          <a:p>
            <a:r>
              <a:rPr lang="en-US" sz="1200" i="1" dirty="0"/>
              <a:t>CDK4/6i</a:t>
            </a:r>
          </a:p>
        </p:txBody>
      </p:sp>
      <p:sp>
        <p:nvSpPr>
          <p:cNvPr id="3" name="TextBox 2">
            <a:extLst>
              <a:ext uri="{FF2B5EF4-FFF2-40B4-BE49-F238E27FC236}">
                <a16:creationId xmlns:a16="http://schemas.microsoft.com/office/drawing/2014/main" id="{F3790B4D-43CC-C529-7AD0-804E40011447}"/>
              </a:ext>
            </a:extLst>
          </p:cNvPr>
          <p:cNvSpPr txBox="1"/>
          <p:nvPr/>
        </p:nvSpPr>
        <p:spPr>
          <a:xfrm>
            <a:off x="-16635" y="1771774"/>
            <a:ext cx="2457724" cy="461665"/>
          </a:xfrm>
          <a:prstGeom prst="rect">
            <a:avLst/>
          </a:prstGeom>
          <a:noFill/>
        </p:spPr>
        <p:txBody>
          <a:bodyPr wrap="none" rtlCol="0">
            <a:spAutoFit/>
          </a:bodyPr>
          <a:lstStyle/>
          <a:p>
            <a:r>
              <a:rPr lang="en-US" b="1" dirty="0">
                <a:solidFill>
                  <a:srgbClr val="FF6600"/>
                </a:solidFill>
              </a:rPr>
              <a:t>Synthetic lethal</a:t>
            </a:r>
          </a:p>
        </p:txBody>
      </p:sp>
    </p:spTree>
    <p:extLst>
      <p:ext uri="{BB962C8B-B14F-4D97-AF65-F5344CB8AC3E}">
        <p14:creationId xmlns:p14="http://schemas.microsoft.com/office/powerpoint/2010/main" val="2376931628"/>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2C938C0-7ECD-1687-3DD5-26604C78D653}"/>
              </a:ext>
            </a:extLst>
          </p:cNvPr>
          <p:cNvSpPr>
            <a:spLocks noGrp="1"/>
          </p:cNvSpPr>
          <p:nvPr>
            <p:ph type="title"/>
          </p:nvPr>
        </p:nvSpPr>
        <p:spPr>
          <a:xfrm>
            <a:off x="-35485" y="119358"/>
            <a:ext cx="9144000" cy="695496"/>
          </a:xfrm>
        </p:spPr>
        <p:txBody>
          <a:bodyPr/>
          <a:lstStyle/>
          <a:p>
            <a:r>
              <a:rPr lang="en-US" sz="2800" dirty="0"/>
              <a:t>Druggable targets by NGS</a:t>
            </a:r>
          </a:p>
        </p:txBody>
      </p:sp>
      <p:sp>
        <p:nvSpPr>
          <p:cNvPr id="5" name="Rectangle 4">
            <a:extLst>
              <a:ext uri="{FF2B5EF4-FFF2-40B4-BE49-F238E27FC236}">
                <a16:creationId xmlns:a16="http://schemas.microsoft.com/office/drawing/2014/main" id="{8C92C1C3-4A6B-8E7F-E080-FE2DBAA74CAA}"/>
              </a:ext>
            </a:extLst>
          </p:cNvPr>
          <p:cNvSpPr/>
          <p:nvPr/>
        </p:nvSpPr>
        <p:spPr>
          <a:xfrm>
            <a:off x="2192526" y="839500"/>
            <a:ext cx="3323206" cy="2998931"/>
          </a:xfrm>
          <a:prstGeom prst="rect">
            <a:avLst/>
          </a:prstGeom>
          <a:solidFill>
            <a:srgbClr val="B0E2FF"/>
          </a:solidFill>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defTabSz="342900" fontAlgn="auto">
              <a:spcBef>
                <a:spcPts val="0"/>
              </a:spcBef>
              <a:spcAft>
                <a:spcPts val="0"/>
              </a:spcAft>
            </a:pPr>
            <a:endParaRPr lang="en-US" sz="1350" dirty="0">
              <a:solidFill>
                <a:srgbClr val="FFFFFF"/>
              </a:solidFill>
              <a:latin typeface="Calibri" panose="020F0502020204030204"/>
            </a:endParaRPr>
          </a:p>
        </p:txBody>
      </p:sp>
      <p:cxnSp>
        <p:nvCxnSpPr>
          <p:cNvPr id="6" name="Straight Arrow Connector 5">
            <a:extLst>
              <a:ext uri="{FF2B5EF4-FFF2-40B4-BE49-F238E27FC236}">
                <a16:creationId xmlns:a16="http://schemas.microsoft.com/office/drawing/2014/main" id="{92F0765A-8A51-7B4C-5438-C23E5895B6D0}"/>
              </a:ext>
            </a:extLst>
          </p:cNvPr>
          <p:cNvCxnSpPr/>
          <p:nvPr/>
        </p:nvCxnSpPr>
        <p:spPr>
          <a:xfrm flipH="1" flipV="1">
            <a:off x="2038733" y="1173129"/>
            <a:ext cx="16812" cy="2317104"/>
          </a:xfrm>
          <a:prstGeom prst="straightConnector1">
            <a:avLst/>
          </a:prstGeom>
          <a:ln w="50800">
            <a:solidFill>
              <a:srgbClr val="FF0000">
                <a:alpha val="75000"/>
              </a:srgbClr>
            </a:solidFill>
            <a:tailEnd type="triangle"/>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A6A72EE1-CAA4-F259-5C2B-29B55FCE3D98}"/>
              </a:ext>
            </a:extLst>
          </p:cNvPr>
          <p:cNvSpPr txBox="1"/>
          <p:nvPr/>
        </p:nvSpPr>
        <p:spPr>
          <a:xfrm rot="16200000">
            <a:off x="1222104" y="2317658"/>
            <a:ext cx="1197921" cy="319910"/>
          </a:xfrm>
          <a:prstGeom prst="rect">
            <a:avLst/>
          </a:prstGeom>
          <a:noFill/>
        </p:spPr>
        <p:txBody>
          <a:bodyPr wrap="none" rtlCol="0">
            <a:normAutofit fontScale="92500" lnSpcReduction="20000"/>
          </a:bodyPr>
          <a:lstStyle/>
          <a:p>
            <a:pPr defTabSz="342900" fontAlgn="auto">
              <a:spcBef>
                <a:spcPts val="0"/>
              </a:spcBef>
              <a:spcAft>
                <a:spcPts val="0"/>
              </a:spcAft>
            </a:pPr>
            <a:r>
              <a:rPr lang="en-US" sz="1800" b="1" dirty="0" err="1">
                <a:solidFill>
                  <a:srgbClr val="202020"/>
                </a:solidFill>
                <a:latin typeface="Calibri" panose="020F0502020204030204"/>
                <a:ea typeface="+mn-ea"/>
                <a:cs typeface="+mn-cs"/>
              </a:rPr>
              <a:t>Actionability</a:t>
            </a:r>
            <a:endParaRPr lang="en-US" sz="1800" b="1" dirty="0">
              <a:solidFill>
                <a:srgbClr val="202020"/>
              </a:solidFill>
              <a:latin typeface="Calibri" panose="020F0502020204030204"/>
              <a:ea typeface="+mn-ea"/>
              <a:cs typeface="+mn-cs"/>
            </a:endParaRPr>
          </a:p>
        </p:txBody>
      </p:sp>
      <p:cxnSp>
        <p:nvCxnSpPr>
          <p:cNvPr id="8" name="Straight Arrow Connector 7">
            <a:extLst>
              <a:ext uri="{FF2B5EF4-FFF2-40B4-BE49-F238E27FC236}">
                <a16:creationId xmlns:a16="http://schemas.microsoft.com/office/drawing/2014/main" id="{FA604C37-A691-C648-8393-FEF4B6A7A37F}"/>
              </a:ext>
            </a:extLst>
          </p:cNvPr>
          <p:cNvCxnSpPr/>
          <p:nvPr/>
        </p:nvCxnSpPr>
        <p:spPr>
          <a:xfrm rot="5400000" flipH="1" flipV="1">
            <a:off x="3766820" y="2783131"/>
            <a:ext cx="16630" cy="2342496"/>
          </a:xfrm>
          <a:prstGeom prst="straightConnector1">
            <a:avLst/>
          </a:prstGeom>
          <a:ln w="50800">
            <a:solidFill>
              <a:srgbClr val="FF0000">
                <a:alpha val="75000"/>
              </a:srgbClr>
            </a:solidFill>
            <a:tailEnd type="triangl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71A2BE8D-5BA5-ABEA-3CCD-6159BD34D03B}"/>
              </a:ext>
            </a:extLst>
          </p:cNvPr>
          <p:cNvSpPr txBox="1"/>
          <p:nvPr/>
        </p:nvSpPr>
        <p:spPr>
          <a:xfrm>
            <a:off x="3212661" y="3982529"/>
            <a:ext cx="1063257" cy="316442"/>
          </a:xfrm>
          <a:prstGeom prst="rect">
            <a:avLst/>
          </a:prstGeom>
          <a:noFill/>
        </p:spPr>
        <p:txBody>
          <a:bodyPr wrap="none" rtlCol="0">
            <a:normAutofit fontScale="92500" lnSpcReduction="20000"/>
          </a:bodyPr>
          <a:lstStyle/>
          <a:p>
            <a:pPr defTabSz="342900" fontAlgn="auto">
              <a:spcBef>
                <a:spcPts val="0"/>
              </a:spcBef>
              <a:spcAft>
                <a:spcPts val="0"/>
              </a:spcAft>
            </a:pPr>
            <a:r>
              <a:rPr lang="en-US" sz="1800" b="1" dirty="0">
                <a:solidFill>
                  <a:srgbClr val="202020"/>
                </a:solidFill>
                <a:latin typeface="Calibri" panose="020F0502020204030204"/>
                <a:ea typeface="+mn-ea"/>
                <a:cs typeface="+mn-cs"/>
              </a:rPr>
              <a:t>Prevalence</a:t>
            </a:r>
          </a:p>
        </p:txBody>
      </p:sp>
      <p:sp>
        <p:nvSpPr>
          <p:cNvPr id="10" name="TextBox 9">
            <a:extLst>
              <a:ext uri="{FF2B5EF4-FFF2-40B4-BE49-F238E27FC236}">
                <a16:creationId xmlns:a16="http://schemas.microsoft.com/office/drawing/2014/main" id="{62627E54-3C95-ADD6-7823-5879E15713E9}"/>
              </a:ext>
            </a:extLst>
          </p:cNvPr>
          <p:cNvSpPr txBox="1"/>
          <p:nvPr/>
        </p:nvSpPr>
        <p:spPr>
          <a:xfrm>
            <a:off x="5652713" y="1654886"/>
            <a:ext cx="767228" cy="257109"/>
          </a:xfrm>
          <a:prstGeom prst="rect">
            <a:avLst/>
          </a:prstGeom>
          <a:noFill/>
        </p:spPr>
        <p:txBody>
          <a:bodyPr wrap="none" rtlCol="0">
            <a:normAutofit fontScale="92500" lnSpcReduction="10000"/>
          </a:bodyPr>
          <a:lstStyle/>
          <a:p>
            <a:pPr defTabSz="342900" fontAlgn="auto">
              <a:spcBef>
                <a:spcPts val="0"/>
              </a:spcBef>
              <a:spcAft>
                <a:spcPts val="0"/>
              </a:spcAft>
            </a:pPr>
            <a:r>
              <a:rPr lang="en-US" sz="1350" b="1" dirty="0">
                <a:solidFill>
                  <a:srgbClr val="00B050"/>
                </a:solidFill>
                <a:latin typeface="Calibri" panose="020F0502020204030204"/>
                <a:ea typeface="+mn-ea"/>
                <a:cs typeface="+mn-cs"/>
              </a:rPr>
              <a:t>Approved</a:t>
            </a:r>
          </a:p>
        </p:txBody>
      </p:sp>
      <p:sp>
        <p:nvSpPr>
          <p:cNvPr id="11" name="TextBox 10">
            <a:extLst>
              <a:ext uri="{FF2B5EF4-FFF2-40B4-BE49-F238E27FC236}">
                <a16:creationId xmlns:a16="http://schemas.microsoft.com/office/drawing/2014/main" id="{07DEBE85-7777-9F99-AB9F-74C6F9F111F0}"/>
              </a:ext>
            </a:extLst>
          </p:cNvPr>
          <p:cNvSpPr txBox="1"/>
          <p:nvPr/>
        </p:nvSpPr>
        <p:spPr>
          <a:xfrm>
            <a:off x="5652713" y="2886640"/>
            <a:ext cx="1665698" cy="257109"/>
          </a:xfrm>
          <a:prstGeom prst="rect">
            <a:avLst/>
          </a:prstGeom>
          <a:noFill/>
        </p:spPr>
        <p:txBody>
          <a:bodyPr wrap="none" rtlCol="0">
            <a:normAutofit fontScale="92500" lnSpcReduction="10000"/>
          </a:bodyPr>
          <a:lstStyle/>
          <a:p>
            <a:pPr defTabSz="342900" fontAlgn="auto">
              <a:spcBef>
                <a:spcPts val="0"/>
              </a:spcBef>
              <a:spcAft>
                <a:spcPts val="0"/>
              </a:spcAft>
            </a:pPr>
            <a:r>
              <a:rPr lang="en-US" sz="1350" b="1" dirty="0">
                <a:solidFill>
                  <a:srgbClr val="FF0000"/>
                </a:solidFill>
                <a:latin typeface="Calibri" panose="020F0502020204030204"/>
                <a:ea typeface="+mn-ea"/>
                <a:cs typeface="+mn-cs"/>
              </a:rPr>
              <a:t>Off label/investigational</a:t>
            </a:r>
          </a:p>
        </p:txBody>
      </p:sp>
      <p:sp>
        <p:nvSpPr>
          <p:cNvPr id="12" name="Right Triangle 11">
            <a:extLst>
              <a:ext uri="{FF2B5EF4-FFF2-40B4-BE49-F238E27FC236}">
                <a16:creationId xmlns:a16="http://schemas.microsoft.com/office/drawing/2014/main" id="{8ED305BE-C8CC-659B-2A5F-88A6A9358F9E}"/>
              </a:ext>
            </a:extLst>
          </p:cNvPr>
          <p:cNvSpPr/>
          <p:nvPr/>
        </p:nvSpPr>
        <p:spPr>
          <a:xfrm flipV="1">
            <a:off x="5523848" y="839500"/>
            <a:ext cx="257729" cy="2047141"/>
          </a:xfrm>
          <a:prstGeom prst="rtTriangl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defTabSz="342900" fontAlgn="auto">
              <a:spcBef>
                <a:spcPts val="0"/>
              </a:spcBef>
              <a:spcAft>
                <a:spcPts val="0"/>
              </a:spcAft>
            </a:pPr>
            <a:endParaRPr lang="en-US" sz="1350">
              <a:solidFill>
                <a:srgbClr val="FFFFFF"/>
              </a:solidFill>
              <a:latin typeface="Calibri" panose="020F0502020204030204"/>
            </a:endParaRPr>
          </a:p>
        </p:txBody>
      </p:sp>
      <p:sp>
        <p:nvSpPr>
          <p:cNvPr id="13" name="Right Triangle 12">
            <a:extLst>
              <a:ext uri="{FF2B5EF4-FFF2-40B4-BE49-F238E27FC236}">
                <a16:creationId xmlns:a16="http://schemas.microsoft.com/office/drawing/2014/main" id="{4DD640E7-EBC2-AB74-2E5F-AD95B4377966}"/>
              </a:ext>
            </a:extLst>
          </p:cNvPr>
          <p:cNvSpPr/>
          <p:nvPr/>
        </p:nvSpPr>
        <p:spPr>
          <a:xfrm flipV="1">
            <a:off x="5523848" y="2262703"/>
            <a:ext cx="176126" cy="1575727"/>
          </a:xfrm>
          <a:prstGeom prst="rtTriangl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defTabSz="342900" fontAlgn="auto">
              <a:spcBef>
                <a:spcPts val="0"/>
              </a:spcBef>
              <a:spcAft>
                <a:spcPts val="0"/>
              </a:spcAft>
            </a:pPr>
            <a:endParaRPr lang="en-US" sz="1350">
              <a:solidFill>
                <a:srgbClr val="FFFFFF"/>
              </a:solidFill>
              <a:latin typeface="Calibri" panose="020F0502020204030204"/>
            </a:endParaRPr>
          </a:p>
        </p:txBody>
      </p:sp>
      <p:sp>
        <p:nvSpPr>
          <p:cNvPr id="14" name="TextBox 13">
            <a:extLst>
              <a:ext uri="{FF2B5EF4-FFF2-40B4-BE49-F238E27FC236}">
                <a16:creationId xmlns:a16="http://schemas.microsoft.com/office/drawing/2014/main" id="{FF3919FB-8617-3AF7-8AF6-EFAE5C12013C}"/>
              </a:ext>
            </a:extLst>
          </p:cNvPr>
          <p:cNvSpPr txBox="1"/>
          <p:nvPr/>
        </p:nvSpPr>
        <p:spPr>
          <a:xfrm>
            <a:off x="5453186" y="627121"/>
            <a:ext cx="625268" cy="257109"/>
          </a:xfrm>
          <a:prstGeom prst="rect">
            <a:avLst/>
          </a:prstGeom>
          <a:noFill/>
        </p:spPr>
        <p:txBody>
          <a:bodyPr wrap="none" rtlCol="0">
            <a:normAutofit fontScale="92500" lnSpcReduction="10000"/>
          </a:bodyPr>
          <a:lstStyle/>
          <a:p>
            <a:pPr defTabSz="342900" fontAlgn="auto">
              <a:spcBef>
                <a:spcPts val="0"/>
              </a:spcBef>
              <a:spcAft>
                <a:spcPts val="0"/>
              </a:spcAft>
            </a:pPr>
            <a:r>
              <a:rPr lang="en-US" sz="1350" dirty="0">
                <a:solidFill>
                  <a:srgbClr val="202020"/>
                </a:solidFill>
                <a:latin typeface="Calibri" panose="020F0502020204030204"/>
                <a:ea typeface="+mn-ea"/>
                <a:cs typeface="+mn-cs"/>
              </a:rPr>
              <a:t>efficacy</a:t>
            </a:r>
          </a:p>
        </p:txBody>
      </p:sp>
      <p:grpSp>
        <p:nvGrpSpPr>
          <p:cNvPr id="15" name="Group 14">
            <a:extLst>
              <a:ext uri="{FF2B5EF4-FFF2-40B4-BE49-F238E27FC236}">
                <a16:creationId xmlns:a16="http://schemas.microsoft.com/office/drawing/2014/main" id="{E4607BEA-ADE2-1880-2E89-2DEA7DB1B127}"/>
              </a:ext>
            </a:extLst>
          </p:cNvPr>
          <p:cNvGrpSpPr/>
          <p:nvPr/>
        </p:nvGrpSpPr>
        <p:grpSpPr>
          <a:xfrm>
            <a:off x="2239214" y="962245"/>
            <a:ext cx="952649" cy="314657"/>
            <a:chOff x="3156923" y="1341613"/>
            <a:chExt cx="1466428" cy="489664"/>
          </a:xfrm>
        </p:grpSpPr>
        <p:sp>
          <p:nvSpPr>
            <p:cNvPr id="16" name="Oval 15">
              <a:extLst>
                <a:ext uri="{FF2B5EF4-FFF2-40B4-BE49-F238E27FC236}">
                  <a16:creationId xmlns:a16="http://schemas.microsoft.com/office/drawing/2014/main" id="{4FA967DD-2F35-3061-E3E8-E61190B51365}"/>
                </a:ext>
              </a:extLst>
            </p:cNvPr>
            <p:cNvSpPr/>
            <p:nvPr/>
          </p:nvSpPr>
          <p:spPr>
            <a:xfrm>
              <a:off x="3156923" y="1341613"/>
              <a:ext cx="179109" cy="179109"/>
            </a:xfrm>
            <a:prstGeom prst="ellipse">
              <a:avLst/>
            </a:prstGeom>
            <a:solidFill>
              <a:schemeClr val="bg1"/>
            </a:solidFill>
            <a:ln w="38100"/>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25000" lnSpcReduction="20000"/>
            </a:bodyPr>
            <a:lstStyle/>
            <a:p>
              <a:pPr algn="ctr" defTabSz="342900" fontAlgn="auto">
                <a:spcBef>
                  <a:spcPts val="0"/>
                </a:spcBef>
                <a:spcAft>
                  <a:spcPts val="0"/>
                </a:spcAft>
              </a:pPr>
              <a:endParaRPr lang="en-US" sz="1350">
                <a:solidFill>
                  <a:srgbClr val="00B050"/>
                </a:solidFill>
                <a:latin typeface="Calibri" panose="020F0502020204030204"/>
              </a:endParaRPr>
            </a:p>
          </p:txBody>
        </p:sp>
        <p:sp>
          <p:nvSpPr>
            <p:cNvPr id="17" name="TextBox 16">
              <a:extLst>
                <a:ext uri="{FF2B5EF4-FFF2-40B4-BE49-F238E27FC236}">
                  <a16:creationId xmlns:a16="http://schemas.microsoft.com/office/drawing/2014/main" id="{519F9E7A-B7B7-B3DB-6CF0-53F296A78D00}"/>
                </a:ext>
              </a:extLst>
            </p:cNvPr>
            <p:cNvSpPr txBox="1"/>
            <p:nvPr/>
          </p:nvSpPr>
          <p:spPr>
            <a:xfrm>
              <a:off x="3246478" y="1431168"/>
              <a:ext cx="1376873" cy="400109"/>
            </a:xfrm>
            <a:prstGeom prst="rect">
              <a:avLst/>
            </a:prstGeom>
            <a:noFill/>
          </p:spPr>
          <p:txBody>
            <a:bodyPr wrap="none" rtlCol="0">
              <a:normAutofit fontScale="92500" lnSpcReduction="10000"/>
            </a:bodyPr>
            <a:lstStyle/>
            <a:p>
              <a:pPr defTabSz="342900" fontAlgn="auto">
                <a:spcBef>
                  <a:spcPts val="0"/>
                </a:spcBef>
                <a:spcAft>
                  <a:spcPts val="0"/>
                </a:spcAft>
              </a:pPr>
              <a:r>
                <a:rPr lang="en-US" sz="1350" i="1" dirty="0">
                  <a:solidFill>
                    <a:srgbClr val="202020"/>
                  </a:solidFill>
                  <a:latin typeface="Calibri" panose="020F0502020204030204"/>
                  <a:ea typeface="+mn-ea"/>
                  <a:cs typeface="+mn-cs"/>
                </a:rPr>
                <a:t>NTRK fusion</a:t>
              </a:r>
            </a:p>
          </p:txBody>
        </p:sp>
      </p:grpSp>
      <p:sp>
        <p:nvSpPr>
          <p:cNvPr id="18" name="Oval 17">
            <a:extLst>
              <a:ext uri="{FF2B5EF4-FFF2-40B4-BE49-F238E27FC236}">
                <a16:creationId xmlns:a16="http://schemas.microsoft.com/office/drawing/2014/main" id="{45A55FB5-4A8E-F25C-D5D8-318051F43941}"/>
              </a:ext>
            </a:extLst>
          </p:cNvPr>
          <p:cNvSpPr/>
          <p:nvPr/>
        </p:nvSpPr>
        <p:spPr>
          <a:xfrm>
            <a:off x="6493310" y="972193"/>
            <a:ext cx="116356" cy="115095"/>
          </a:xfrm>
          <a:prstGeom prst="ellipse">
            <a:avLst/>
          </a:prstGeom>
          <a:solidFill>
            <a:schemeClr val="bg1"/>
          </a:solidFill>
          <a:ln w="38100"/>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25000" lnSpcReduction="20000"/>
          </a:bodyPr>
          <a:lstStyle/>
          <a:p>
            <a:pPr algn="ctr" defTabSz="342900" fontAlgn="auto">
              <a:spcBef>
                <a:spcPts val="0"/>
              </a:spcBef>
              <a:spcAft>
                <a:spcPts val="0"/>
              </a:spcAft>
            </a:pPr>
            <a:endParaRPr lang="en-US" sz="1350">
              <a:solidFill>
                <a:srgbClr val="00B050"/>
              </a:solidFill>
              <a:latin typeface="Calibri" panose="020F0502020204030204"/>
            </a:endParaRPr>
          </a:p>
        </p:txBody>
      </p:sp>
      <p:sp>
        <p:nvSpPr>
          <p:cNvPr id="19" name="TextBox 18">
            <a:extLst>
              <a:ext uri="{FF2B5EF4-FFF2-40B4-BE49-F238E27FC236}">
                <a16:creationId xmlns:a16="http://schemas.microsoft.com/office/drawing/2014/main" id="{65D3B489-A983-8B5E-002C-1B35C9D0E582}"/>
              </a:ext>
            </a:extLst>
          </p:cNvPr>
          <p:cNvSpPr txBox="1"/>
          <p:nvPr/>
        </p:nvSpPr>
        <p:spPr>
          <a:xfrm>
            <a:off x="6584543" y="911074"/>
            <a:ext cx="875032" cy="257109"/>
          </a:xfrm>
          <a:prstGeom prst="rect">
            <a:avLst/>
          </a:prstGeom>
          <a:noFill/>
        </p:spPr>
        <p:txBody>
          <a:bodyPr wrap="none" rtlCol="0">
            <a:normAutofit fontScale="92500" lnSpcReduction="10000"/>
          </a:bodyPr>
          <a:lstStyle/>
          <a:p>
            <a:pPr defTabSz="342900" fontAlgn="auto">
              <a:spcBef>
                <a:spcPts val="0"/>
              </a:spcBef>
              <a:spcAft>
                <a:spcPts val="0"/>
              </a:spcAft>
            </a:pPr>
            <a:r>
              <a:rPr lang="en-US" sz="1350" dirty="0">
                <a:solidFill>
                  <a:srgbClr val="202020"/>
                </a:solidFill>
                <a:latin typeface="Calibri" panose="020F0502020204030204"/>
                <a:ea typeface="+mn-ea"/>
                <a:cs typeface="+mn-cs"/>
              </a:rPr>
              <a:t>All BC types</a:t>
            </a:r>
          </a:p>
        </p:txBody>
      </p:sp>
      <p:sp>
        <p:nvSpPr>
          <p:cNvPr id="20" name="Oval 19">
            <a:extLst>
              <a:ext uri="{FF2B5EF4-FFF2-40B4-BE49-F238E27FC236}">
                <a16:creationId xmlns:a16="http://schemas.microsoft.com/office/drawing/2014/main" id="{3139F118-BC26-6FC9-E661-D8E6CB52C92C}"/>
              </a:ext>
            </a:extLst>
          </p:cNvPr>
          <p:cNvSpPr/>
          <p:nvPr/>
        </p:nvSpPr>
        <p:spPr>
          <a:xfrm>
            <a:off x="6493310" y="1177623"/>
            <a:ext cx="116356" cy="115095"/>
          </a:xfrm>
          <a:prstGeom prst="ellipse">
            <a:avLst/>
          </a:prstGeom>
          <a:solidFill>
            <a:srgbClr val="FFC000"/>
          </a:solidFill>
          <a:ln w="38100"/>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25000" lnSpcReduction="20000"/>
          </a:bodyPr>
          <a:lstStyle/>
          <a:p>
            <a:pPr algn="ctr" defTabSz="342900" fontAlgn="auto">
              <a:spcBef>
                <a:spcPts val="0"/>
              </a:spcBef>
              <a:spcAft>
                <a:spcPts val="0"/>
              </a:spcAft>
            </a:pPr>
            <a:endParaRPr lang="en-US" sz="1350">
              <a:solidFill>
                <a:srgbClr val="00B050"/>
              </a:solidFill>
              <a:latin typeface="Calibri" panose="020F0502020204030204"/>
            </a:endParaRPr>
          </a:p>
        </p:txBody>
      </p:sp>
      <p:sp>
        <p:nvSpPr>
          <p:cNvPr id="21" name="TextBox 20">
            <a:extLst>
              <a:ext uri="{FF2B5EF4-FFF2-40B4-BE49-F238E27FC236}">
                <a16:creationId xmlns:a16="http://schemas.microsoft.com/office/drawing/2014/main" id="{24D8D5C0-61E9-6B1B-857C-F973B313F043}"/>
              </a:ext>
            </a:extLst>
          </p:cNvPr>
          <p:cNvSpPr txBox="1"/>
          <p:nvPr/>
        </p:nvSpPr>
        <p:spPr>
          <a:xfrm>
            <a:off x="6584543" y="1125493"/>
            <a:ext cx="409884" cy="257109"/>
          </a:xfrm>
          <a:prstGeom prst="rect">
            <a:avLst/>
          </a:prstGeom>
          <a:noFill/>
        </p:spPr>
        <p:txBody>
          <a:bodyPr wrap="none" rtlCol="0">
            <a:normAutofit fontScale="92500" lnSpcReduction="10000"/>
          </a:bodyPr>
          <a:lstStyle/>
          <a:p>
            <a:pPr defTabSz="342900" fontAlgn="auto">
              <a:spcBef>
                <a:spcPts val="0"/>
              </a:spcBef>
              <a:spcAft>
                <a:spcPts val="0"/>
              </a:spcAft>
            </a:pPr>
            <a:r>
              <a:rPr lang="en-US" sz="1350" dirty="0">
                <a:solidFill>
                  <a:srgbClr val="202020"/>
                </a:solidFill>
                <a:latin typeface="Calibri" panose="020F0502020204030204"/>
                <a:ea typeface="+mn-ea"/>
                <a:cs typeface="+mn-cs"/>
              </a:rPr>
              <a:t>HR+</a:t>
            </a:r>
          </a:p>
        </p:txBody>
      </p:sp>
      <p:grpSp>
        <p:nvGrpSpPr>
          <p:cNvPr id="22" name="Group 21">
            <a:extLst>
              <a:ext uri="{FF2B5EF4-FFF2-40B4-BE49-F238E27FC236}">
                <a16:creationId xmlns:a16="http://schemas.microsoft.com/office/drawing/2014/main" id="{EEE7CE88-4EFC-ECC6-7119-A56CB4A958AE}"/>
              </a:ext>
            </a:extLst>
          </p:cNvPr>
          <p:cNvGrpSpPr/>
          <p:nvPr/>
        </p:nvGrpSpPr>
        <p:grpSpPr>
          <a:xfrm>
            <a:off x="2286933" y="1362826"/>
            <a:ext cx="475551" cy="257109"/>
            <a:chOff x="3230377" y="1964989"/>
            <a:chExt cx="732023" cy="400108"/>
          </a:xfrm>
        </p:grpSpPr>
        <p:sp>
          <p:nvSpPr>
            <p:cNvPr id="23" name="Oval 22">
              <a:extLst>
                <a:ext uri="{FF2B5EF4-FFF2-40B4-BE49-F238E27FC236}">
                  <a16:creationId xmlns:a16="http://schemas.microsoft.com/office/drawing/2014/main" id="{E300C7E9-B13B-C401-8AF2-F5BED65CF192}"/>
                </a:ext>
              </a:extLst>
            </p:cNvPr>
            <p:cNvSpPr/>
            <p:nvPr/>
          </p:nvSpPr>
          <p:spPr>
            <a:xfrm>
              <a:off x="3230377" y="1973571"/>
              <a:ext cx="179109" cy="179109"/>
            </a:xfrm>
            <a:prstGeom prst="ellipse">
              <a:avLst/>
            </a:prstGeom>
            <a:solidFill>
              <a:schemeClr val="bg1"/>
            </a:solidFill>
            <a:ln w="38100"/>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25000" lnSpcReduction="20000"/>
            </a:bodyPr>
            <a:lstStyle/>
            <a:p>
              <a:pPr algn="ctr" defTabSz="342900" fontAlgn="auto">
                <a:spcBef>
                  <a:spcPts val="0"/>
                </a:spcBef>
                <a:spcAft>
                  <a:spcPts val="0"/>
                </a:spcAft>
              </a:pPr>
              <a:endParaRPr lang="en-US" sz="1350">
                <a:solidFill>
                  <a:srgbClr val="00B050"/>
                </a:solidFill>
                <a:latin typeface="Calibri" panose="020F0502020204030204"/>
              </a:endParaRPr>
            </a:p>
          </p:txBody>
        </p:sp>
        <p:sp>
          <p:nvSpPr>
            <p:cNvPr id="24" name="TextBox 23">
              <a:extLst>
                <a:ext uri="{FF2B5EF4-FFF2-40B4-BE49-F238E27FC236}">
                  <a16:creationId xmlns:a16="http://schemas.microsoft.com/office/drawing/2014/main" id="{349BB122-262C-8F28-8242-29B7CD4F4650}"/>
                </a:ext>
              </a:extLst>
            </p:cNvPr>
            <p:cNvSpPr txBox="1"/>
            <p:nvPr/>
          </p:nvSpPr>
          <p:spPr>
            <a:xfrm>
              <a:off x="3357106" y="1964989"/>
              <a:ext cx="605294" cy="400108"/>
            </a:xfrm>
            <a:prstGeom prst="rect">
              <a:avLst/>
            </a:prstGeom>
            <a:noFill/>
          </p:spPr>
          <p:txBody>
            <a:bodyPr wrap="none" rtlCol="0">
              <a:normAutofit fontScale="92500" lnSpcReduction="10000"/>
            </a:bodyPr>
            <a:lstStyle/>
            <a:p>
              <a:pPr defTabSz="342900" fontAlgn="auto">
                <a:spcBef>
                  <a:spcPts val="0"/>
                </a:spcBef>
                <a:spcAft>
                  <a:spcPts val="0"/>
                </a:spcAft>
              </a:pPr>
              <a:r>
                <a:rPr lang="en-US" sz="1350" i="1" dirty="0">
                  <a:solidFill>
                    <a:srgbClr val="202020"/>
                  </a:solidFill>
                  <a:latin typeface="Calibri" panose="020F0502020204030204"/>
                  <a:ea typeface="+mn-ea"/>
                  <a:cs typeface="+mn-cs"/>
                </a:rPr>
                <a:t>MSI</a:t>
              </a:r>
            </a:p>
          </p:txBody>
        </p:sp>
      </p:grpSp>
      <p:grpSp>
        <p:nvGrpSpPr>
          <p:cNvPr id="25" name="Group 24">
            <a:extLst>
              <a:ext uri="{FF2B5EF4-FFF2-40B4-BE49-F238E27FC236}">
                <a16:creationId xmlns:a16="http://schemas.microsoft.com/office/drawing/2014/main" id="{6A8A0045-3A06-D7AA-8DA9-6307FB70079A}"/>
              </a:ext>
            </a:extLst>
          </p:cNvPr>
          <p:cNvGrpSpPr/>
          <p:nvPr/>
        </p:nvGrpSpPr>
        <p:grpSpPr>
          <a:xfrm>
            <a:off x="2556812" y="1650204"/>
            <a:ext cx="833966" cy="257109"/>
            <a:chOff x="3645807" y="2412201"/>
            <a:chExt cx="1283737" cy="400108"/>
          </a:xfrm>
        </p:grpSpPr>
        <p:sp>
          <p:nvSpPr>
            <p:cNvPr id="26" name="Oval 25">
              <a:extLst>
                <a:ext uri="{FF2B5EF4-FFF2-40B4-BE49-F238E27FC236}">
                  <a16:creationId xmlns:a16="http://schemas.microsoft.com/office/drawing/2014/main" id="{0D908FC1-0A74-13C5-379B-A8629AE447E2}"/>
                </a:ext>
              </a:extLst>
            </p:cNvPr>
            <p:cNvSpPr/>
            <p:nvPr/>
          </p:nvSpPr>
          <p:spPr>
            <a:xfrm>
              <a:off x="3645807" y="2447440"/>
              <a:ext cx="179109" cy="179109"/>
            </a:xfrm>
            <a:prstGeom prst="ellipse">
              <a:avLst/>
            </a:prstGeom>
            <a:solidFill>
              <a:schemeClr val="bg1"/>
            </a:solidFill>
            <a:ln w="38100"/>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25000" lnSpcReduction="20000"/>
            </a:bodyPr>
            <a:lstStyle/>
            <a:p>
              <a:pPr algn="ctr" defTabSz="342900" fontAlgn="auto">
                <a:spcBef>
                  <a:spcPts val="0"/>
                </a:spcBef>
                <a:spcAft>
                  <a:spcPts val="0"/>
                </a:spcAft>
              </a:pPr>
              <a:endParaRPr lang="en-US" sz="1350">
                <a:solidFill>
                  <a:srgbClr val="00B050"/>
                </a:solidFill>
                <a:latin typeface="Calibri" panose="020F0502020204030204"/>
              </a:endParaRPr>
            </a:p>
          </p:txBody>
        </p:sp>
        <p:sp>
          <p:nvSpPr>
            <p:cNvPr id="27" name="TextBox 26">
              <a:extLst>
                <a:ext uri="{FF2B5EF4-FFF2-40B4-BE49-F238E27FC236}">
                  <a16:creationId xmlns:a16="http://schemas.microsoft.com/office/drawing/2014/main" id="{350FD99C-336F-3708-0F15-1FFCB090601F}"/>
                </a:ext>
              </a:extLst>
            </p:cNvPr>
            <p:cNvSpPr txBox="1"/>
            <p:nvPr/>
          </p:nvSpPr>
          <p:spPr>
            <a:xfrm>
              <a:off x="3759994" y="2412201"/>
              <a:ext cx="1169550" cy="400108"/>
            </a:xfrm>
            <a:prstGeom prst="rect">
              <a:avLst/>
            </a:prstGeom>
            <a:noFill/>
          </p:spPr>
          <p:txBody>
            <a:bodyPr wrap="none" rtlCol="0">
              <a:normAutofit fontScale="92500" lnSpcReduction="10000"/>
            </a:bodyPr>
            <a:lstStyle/>
            <a:p>
              <a:pPr defTabSz="342900" fontAlgn="auto">
                <a:spcBef>
                  <a:spcPts val="0"/>
                </a:spcBef>
                <a:spcAft>
                  <a:spcPts val="0"/>
                </a:spcAft>
              </a:pPr>
              <a:r>
                <a:rPr lang="en-US" sz="1350" i="1" dirty="0">
                  <a:solidFill>
                    <a:srgbClr val="202020"/>
                  </a:solidFill>
                  <a:latin typeface="Calibri" panose="020F0502020204030204"/>
                  <a:ea typeface="+mn-ea"/>
                  <a:cs typeface="+mn-cs"/>
                </a:rPr>
                <a:t>High TMB</a:t>
              </a:r>
            </a:p>
          </p:txBody>
        </p:sp>
      </p:grpSp>
      <p:grpSp>
        <p:nvGrpSpPr>
          <p:cNvPr id="28" name="Group 27">
            <a:extLst>
              <a:ext uri="{FF2B5EF4-FFF2-40B4-BE49-F238E27FC236}">
                <a16:creationId xmlns:a16="http://schemas.microsoft.com/office/drawing/2014/main" id="{E27E6702-F86B-1C42-812F-B12598C119EA}"/>
              </a:ext>
            </a:extLst>
          </p:cNvPr>
          <p:cNvGrpSpPr/>
          <p:nvPr/>
        </p:nvGrpSpPr>
        <p:grpSpPr>
          <a:xfrm>
            <a:off x="2627339" y="2696315"/>
            <a:ext cx="914119" cy="294214"/>
            <a:chOff x="3754369" y="4040144"/>
            <a:chExt cx="1407119" cy="457851"/>
          </a:xfrm>
        </p:grpSpPr>
        <p:sp>
          <p:nvSpPr>
            <p:cNvPr id="29" name="Oval 28">
              <a:extLst>
                <a:ext uri="{FF2B5EF4-FFF2-40B4-BE49-F238E27FC236}">
                  <a16:creationId xmlns:a16="http://schemas.microsoft.com/office/drawing/2014/main" id="{E15A49F6-E10A-A94B-D5E5-64761CCBFEA1}"/>
                </a:ext>
              </a:extLst>
            </p:cNvPr>
            <p:cNvSpPr/>
            <p:nvPr/>
          </p:nvSpPr>
          <p:spPr>
            <a:xfrm>
              <a:off x="3754369" y="4040144"/>
              <a:ext cx="179109" cy="179109"/>
            </a:xfrm>
            <a:prstGeom prst="ellipse">
              <a:avLst/>
            </a:prstGeom>
            <a:solidFill>
              <a:srgbClr val="FFC000"/>
            </a:solidFill>
            <a:ln w="38100"/>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25000" lnSpcReduction="20000"/>
            </a:bodyPr>
            <a:lstStyle/>
            <a:p>
              <a:pPr algn="ctr" defTabSz="342900" fontAlgn="auto">
                <a:spcBef>
                  <a:spcPts val="0"/>
                </a:spcBef>
                <a:spcAft>
                  <a:spcPts val="0"/>
                </a:spcAft>
              </a:pPr>
              <a:endParaRPr lang="en-US" sz="1350">
                <a:solidFill>
                  <a:srgbClr val="00B050"/>
                </a:solidFill>
                <a:latin typeface="Calibri" panose="020F0502020204030204"/>
              </a:endParaRPr>
            </a:p>
          </p:txBody>
        </p:sp>
        <p:sp>
          <p:nvSpPr>
            <p:cNvPr id="30" name="TextBox 29">
              <a:extLst>
                <a:ext uri="{FF2B5EF4-FFF2-40B4-BE49-F238E27FC236}">
                  <a16:creationId xmlns:a16="http://schemas.microsoft.com/office/drawing/2014/main" id="{4B9D8ACC-7F5D-F6A0-75A0-337A3D67AC65}"/>
                </a:ext>
              </a:extLst>
            </p:cNvPr>
            <p:cNvSpPr txBox="1"/>
            <p:nvPr/>
          </p:nvSpPr>
          <p:spPr>
            <a:xfrm>
              <a:off x="3810177" y="4097885"/>
              <a:ext cx="1351311" cy="400110"/>
            </a:xfrm>
            <a:prstGeom prst="rect">
              <a:avLst/>
            </a:prstGeom>
            <a:noFill/>
          </p:spPr>
          <p:txBody>
            <a:bodyPr wrap="none" rtlCol="0">
              <a:normAutofit fontScale="92500" lnSpcReduction="10000"/>
            </a:bodyPr>
            <a:lstStyle/>
            <a:p>
              <a:pPr defTabSz="342900" fontAlgn="auto">
                <a:spcBef>
                  <a:spcPts val="0"/>
                </a:spcBef>
                <a:spcAft>
                  <a:spcPts val="0"/>
                </a:spcAft>
              </a:pPr>
              <a:r>
                <a:rPr lang="en-US" sz="1350" i="1" dirty="0">
                  <a:solidFill>
                    <a:srgbClr val="202020"/>
                  </a:solidFill>
                  <a:latin typeface="Calibri" panose="020F0502020204030204"/>
                  <a:ea typeface="+mn-ea"/>
                  <a:cs typeface="+mn-cs"/>
                </a:rPr>
                <a:t>FGFR fusion</a:t>
              </a:r>
            </a:p>
          </p:txBody>
        </p:sp>
      </p:grpSp>
      <p:sp>
        <p:nvSpPr>
          <p:cNvPr id="31" name="Oval 30">
            <a:extLst>
              <a:ext uri="{FF2B5EF4-FFF2-40B4-BE49-F238E27FC236}">
                <a16:creationId xmlns:a16="http://schemas.microsoft.com/office/drawing/2014/main" id="{0B36810F-CF44-1CB4-366B-C543E9CC2E8D}"/>
              </a:ext>
            </a:extLst>
          </p:cNvPr>
          <p:cNvSpPr/>
          <p:nvPr/>
        </p:nvSpPr>
        <p:spPr>
          <a:xfrm>
            <a:off x="4225660" y="3066425"/>
            <a:ext cx="116356" cy="115095"/>
          </a:xfrm>
          <a:prstGeom prst="ellipse">
            <a:avLst/>
          </a:prstGeom>
          <a:solidFill>
            <a:srgbClr val="FFC000"/>
          </a:solidFill>
          <a:ln w="38100"/>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25000" lnSpcReduction="20000"/>
          </a:bodyPr>
          <a:lstStyle/>
          <a:p>
            <a:pPr algn="ctr" defTabSz="342900" fontAlgn="auto">
              <a:spcBef>
                <a:spcPts val="0"/>
              </a:spcBef>
              <a:spcAft>
                <a:spcPts val="0"/>
              </a:spcAft>
            </a:pPr>
            <a:endParaRPr lang="en-US" sz="1350">
              <a:solidFill>
                <a:srgbClr val="00B050"/>
              </a:solidFill>
              <a:latin typeface="Calibri" panose="020F0502020204030204"/>
            </a:endParaRPr>
          </a:p>
        </p:txBody>
      </p:sp>
      <p:sp>
        <p:nvSpPr>
          <p:cNvPr id="32" name="TextBox 31">
            <a:extLst>
              <a:ext uri="{FF2B5EF4-FFF2-40B4-BE49-F238E27FC236}">
                <a16:creationId xmlns:a16="http://schemas.microsoft.com/office/drawing/2014/main" id="{C2EBA748-B117-5A18-D6D1-48C9E64DCA7D}"/>
              </a:ext>
            </a:extLst>
          </p:cNvPr>
          <p:cNvSpPr txBox="1"/>
          <p:nvPr/>
        </p:nvSpPr>
        <p:spPr>
          <a:xfrm>
            <a:off x="4301019" y="3103100"/>
            <a:ext cx="857037" cy="257109"/>
          </a:xfrm>
          <a:prstGeom prst="rect">
            <a:avLst/>
          </a:prstGeom>
          <a:noFill/>
        </p:spPr>
        <p:txBody>
          <a:bodyPr wrap="none" rtlCol="0">
            <a:normAutofit fontScale="92500" lnSpcReduction="10000"/>
          </a:bodyPr>
          <a:lstStyle/>
          <a:p>
            <a:pPr defTabSz="342900" fontAlgn="auto">
              <a:spcBef>
                <a:spcPts val="0"/>
              </a:spcBef>
              <a:spcAft>
                <a:spcPts val="0"/>
              </a:spcAft>
            </a:pPr>
            <a:r>
              <a:rPr lang="en-US" sz="1350" i="1" dirty="0">
                <a:solidFill>
                  <a:srgbClr val="202020"/>
                </a:solidFill>
                <a:latin typeface="Calibri" panose="020F0502020204030204"/>
                <a:ea typeface="+mn-ea"/>
                <a:cs typeface="+mn-cs"/>
              </a:rPr>
              <a:t>FGFR1 amp</a:t>
            </a:r>
          </a:p>
        </p:txBody>
      </p:sp>
      <p:sp>
        <p:nvSpPr>
          <p:cNvPr id="33" name="Oval 32">
            <a:extLst>
              <a:ext uri="{FF2B5EF4-FFF2-40B4-BE49-F238E27FC236}">
                <a16:creationId xmlns:a16="http://schemas.microsoft.com/office/drawing/2014/main" id="{7BEBB07A-035A-5C87-BD27-EFFF7C1A8F33}"/>
              </a:ext>
            </a:extLst>
          </p:cNvPr>
          <p:cNvSpPr/>
          <p:nvPr/>
        </p:nvSpPr>
        <p:spPr>
          <a:xfrm>
            <a:off x="4758109" y="1148248"/>
            <a:ext cx="116356" cy="115095"/>
          </a:xfrm>
          <a:prstGeom prst="ellipse">
            <a:avLst/>
          </a:prstGeom>
          <a:solidFill>
            <a:srgbClr val="FFC000"/>
          </a:solidFill>
          <a:ln w="38100"/>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25000" lnSpcReduction="20000"/>
          </a:bodyPr>
          <a:lstStyle/>
          <a:p>
            <a:pPr algn="ctr" defTabSz="342900" fontAlgn="auto">
              <a:spcBef>
                <a:spcPts val="0"/>
              </a:spcBef>
              <a:spcAft>
                <a:spcPts val="0"/>
              </a:spcAft>
            </a:pPr>
            <a:endParaRPr lang="en-US" sz="1350">
              <a:solidFill>
                <a:srgbClr val="00B050"/>
              </a:solidFill>
              <a:latin typeface="Calibri" panose="020F0502020204030204"/>
            </a:endParaRPr>
          </a:p>
        </p:txBody>
      </p:sp>
      <p:sp>
        <p:nvSpPr>
          <p:cNvPr id="34" name="TextBox 33">
            <a:extLst>
              <a:ext uri="{FF2B5EF4-FFF2-40B4-BE49-F238E27FC236}">
                <a16:creationId xmlns:a16="http://schemas.microsoft.com/office/drawing/2014/main" id="{C2834827-F26F-B9DC-E63C-2B9B3CEAB7DC}"/>
              </a:ext>
            </a:extLst>
          </p:cNvPr>
          <p:cNvSpPr txBox="1"/>
          <p:nvPr/>
        </p:nvSpPr>
        <p:spPr>
          <a:xfrm>
            <a:off x="4526055" y="1257826"/>
            <a:ext cx="737515" cy="257109"/>
          </a:xfrm>
          <a:prstGeom prst="rect">
            <a:avLst/>
          </a:prstGeom>
          <a:noFill/>
        </p:spPr>
        <p:txBody>
          <a:bodyPr wrap="none" rtlCol="0">
            <a:normAutofit fontScale="92500" lnSpcReduction="10000"/>
          </a:bodyPr>
          <a:lstStyle/>
          <a:p>
            <a:pPr defTabSz="342900" fontAlgn="auto">
              <a:spcBef>
                <a:spcPts val="0"/>
              </a:spcBef>
              <a:spcAft>
                <a:spcPts val="0"/>
              </a:spcAft>
            </a:pPr>
            <a:r>
              <a:rPr lang="en-US" sz="1350" i="1" dirty="0">
                <a:solidFill>
                  <a:srgbClr val="202020"/>
                </a:solidFill>
                <a:latin typeface="Calibri" panose="020F0502020204030204"/>
                <a:ea typeface="+mn-ea"/>
                <a:cs typeface="+mn-cs"/>
              </a:rPr>
              <a:t>ESR1 </a:t>
            </a:r>
            <a:r>
              <a:rPr lang="en-US" sz="1350" i="1" dirty="0" err="1">
                <a:solidFill>
                  <a:srgbClr val="202020"/>
                </a:solidFill>
                <a:latin typeface="Calibri" panose="020F0502020204030204"/>
                <a:ea typeface="+mn-ea"/>
                <a:cs typeface="+mn-cs"/>
              </a:rPr>
              <a:t>mut</a:t>
            </a:r>
            <a:endParaRPr lang="en-US" sz="1350" i="1" dirty="0">
              <a:solidFill>
                <a:srgbClr val="202020"/>
              </a:solidFill>
              <a:latin typeface="Calibri" panose="020F0502020204030204"/>
              <a:ea typeface="+mn-ea"/>
              <a:cs typeface="+mn-cs"/>
            </a:endParaRPr>
          </a:p>
        </p:txBody>
      </p:sp>
      <p:grpSp>
        <p:nvGrpSpPr>
          <p:cNvPr id="35" name="Group 34">
            <a:extLst>
              <a:ext uri="{FF2B5EF4-FFF2-40B4-BE49-F238E27FC236}">
                <a16:creationId xmlns:a16="http://schemas.microsoft.com/office/drawing/2014/main" id="{33F5AC54-ECDD-241B-DEF9-C7239F593298}"/>
              </a:ext>
            </a:extLst>
          </p:cNvPr>
          <p:cNvGrpSpPr/>
          <p:nvPr/>
        </p:nvGrpSpPr>
        <p:grpSpPr>
          <a:xfrm>
            <a:off x="3237766" y="2370283"/>
            <a:ext cx="822129" cy="257109"/>
            <a:chOff x="4694011" y="3532775"/>
            <a:chExt cx="1265517" cy="400108"/>
          </a:xfrm>
        </p:grpSpPr>
        <p:sp>
          <p:nvSpPr>
            <p:cNvPr id="36" name="Oval 35">
              <a:extLst>
                <a:ext uri="{FF2B5EF4-FFF2-40B4-BE49-F238E27FC236}">
                  <a16:creationId xmlns:a16="http://schemas.microsoft.com/office/drawing/2014/main" id="{EAABDD05-A2DB-6569-94D2-609C8A32E664}"/>
                </a:ext>
              </a:extLst>
            </p:cNvPr>
            <p:cNvSpPr/>
            <p:nvPr/>
          </p:nvSpPr>
          <p:spPr>
            <a:xfrm>
              <a:off x="4694011" y="3544264"/>
              <a:ext cx="179109" cy="179109"/>
            </a:xfrm>
            <a:prstGeom prst="ellipse">
              <a:avLst/>
            </a:prstGeom>
            <a:solidFill>
              <a:srgbClr val="FFC000"/>
            </a:solidFill>
            <a:ln w="38100"/>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25000" lnSpcReduction="20000"/>
            </a:bodyPr>
            <a:lstStyle/>
            <a:p>
              <a:pPr algn="ctr" defTabSz="342900" fontAlgn="auto">
                <a:spcBef>
                  <a:spcPts val="0"/>
                </a:spcBef>
                <a:spcAft>
                  <a:spcPts val="0"/>
                </a:spcAft>
              </a:pPr>
              <a:endParaRPr lang="en-US" sz="1350">
                <a:solidFill>
                  <a:srgbClr val="00B050"/>
                </a:solidFill>
                <a:latin typeface="Calibri" panose="020F0502020204030204"/>
              </a:endParaRPr>
            </a:p>
          </p:txBody>
        </p:sp>
        <p:sp>
          <p:nvSpPr>
            <p:cNvPr id="37" name="TextBox 36">
              <a:extLst>
                <a:ext uri="{FF2B5EF4-FFF2-40B4-BE49-F238E27FC236}">
                  <a16:creationId xmlns:a16="http://schemas.microsoft.com/office/drawing/2014/main" id="{7EE69828-902A-19C0-5938-DA27F02979DD}"/>
                </a:ext>
              </a:extLst>
            </p:cNvPr>
            <p:cNvSpPr txBox="1"/>
            <p:nvPr/>
          </p:nvSpPr>
          <p:spPr>
            <a:xfrm>
              <a:off x="4783564" y="3532775"/>
              <a:ext cx="1175964" cy="400108"/>
            </a:xfrm>
            <a:prstGeom prst="rect">
              <a:avLst/>
            </a:prstGeom>
            <a:noFill/>
          </p:spPr>
          <p:txBody>
            <a:bodyPr wrap="none" rtlCol="0">
              <a:normAutofit fontScale="92500" lnSpcReduction="10000"/>
            </a:bodyPr>
            <a:lstStyle/>
            <a:p>
              <a:pPr defTabSz="342900" fontAlgn="auto">
                <a:spcBef>
                  <a:spcPts val="0"/>
                </a:spcBef>
                <a:spcAft>
                  <a:spcPts val="0"/>
                </a:spcAft>
              </a:pPr>
              <a:r>
                <a:rPr lang="en-US" sz="1350" i="1" dirty="0">
                  <a:solidFill>
                    <a:srgbClr val="202020"/>
                  </a:solidFill>
                  <a:latin typeface="Calibri" panose="020F0502020204030204"/>
                  <a:ea typeface="+mn-ea"/>
                  <a:cs typeface="+mn-cs"/>
                </a:rPr>
                <a:t>HER2 </a:t>
              </a:r>
              <a:r>
                <a:rPr lang="en-US" sz="1350" i="1" dirty="0" err="1">
                  <a:solidFill>
                    <a:srgbClr val="202020"/>
                  </a:solidFill>
                  <a:latin typeface="Calibri" panose="020F0502020204030204"/>
                  <a:ea typeface="+mn-ea"/>
                  <a:cs typeface="+mn-cs"/>
                </a:rPr>
                <a:t>mut</a:t>
              </a:r>
              <a:endParaRPr lang="en-US" sz="1350" i="1" dirty="0">
                <a:solidFill>
                  <a:srgbClr val="202020"/>
                </a:solidFill>
                <a:latin typeface="Calibri" panose="020F0502020204030204"/>
                <a:ea typeface="+mn-ea"/>
                <a:cs typeface="+mn-cs"/>
              </a:endParaRPr>
            </a:p>
          </p:txBody>
        </p:sp>
      </p:grpSp>
      <p:grpSp>
        <p:nvGrpSpPr>
          <p:cNvPr id="38" name="Group 37">
            <a:extLst>
              <a:ext uri="{FF2B5EF4-FFF2-40B4-BE49-F238E27FC236}">
                <a16:creationId xmlns:a16="http://schemas.microsoft.com/office/drawing/2014/main" id="{84661EFF-5CBE-D135-BCCD-1B23D1B467C7}"/>
              </a:ext>
            </a:extLst>
          </p:cNvPr>
          <p:cNvGrpSpPr/>
          <p:nvPr/>
        </p:nvGrpSpPr>
        <p:grpSpPr>
          <a:xfrm>
            <a:off x="3154483" y="2540978"/>
            <a:ext cx="700609" cy="257109"/>
            <a:chOff x="4565810" y="3798409"/>
            <a:chExt cx="1078459" cy="400108"/>
          </a:xfrm>
        </p:grpSpPr>
        <p:sp>
          <p:nvSpPr>
            <p:cNvPr id="39" name="TextBox 38">
              <a:extLst>
                <a:ext uri="{FF2B5EF4-FFF2-40B4-BE49-F238E27FC236}">
                  <a16:creationId xmlns:a16="http://schemas.microsoft.com/office/drawing/2014/main" id="{8A057568-A07D-A23A-F8F4-470D3E7BCBB2}"/>
                </a:ext>
              </a:extLst>
            </p:cNvPr>
            <p:cNvSpPr txBox="1"/>
            <p:nvPr/>
          </p:nvSpPr>
          <p:spPr>
            <a:xfrm>
              <a:off x="4655365" y="3798409"/>
              <a:ext cx="988904" cy="400108"/>
            </a:xfrm>
            <a:prstGeom prst="rect">
              <a:avLst/>
            </a:prstGeom>
            <a:noFill/>
          </p:spPr>
          <p:txBody>
            <a:bodyPr wrap="none" rtlCol="0">
              <a:normAutofit fontScale="92500" lnSpcReduction="10000"/>
            </a:bodyPr>
            <a:lstStyle/>
            <a:p>
              <a:pPr defTabSz="342900" fontAlgn="auto">
                <a:spcBef>
                  <a:spcPts val="0"/>
                </a:spcBef>
                <a:spcAft>
                  <a:spcPts val="0"/>
                </a:spcAft>
              </a:pPr>
              <a:r>
                <a:rPr lang="en-US" sz="1350" i="1" dirty="0" err="1">
                  <a:solidFill>
                    <a:srgbClr val="202020"/>
                  </a:solidFill>
                  <a:latin typeface="Calibri" panose="020F0502020204030204"/>
                  <a:ea typeface="+mn-ea"/>
                  <a:cs typeface="+mn-cs"/>
                </a:rPr>
                <a:t>Akt</a:t>
              </a:r>
              <a:r>
                <a:rPr lang="en-US" sz="1350" i="1" dirty="0">
                  <a:solidFill>
                    <a:srgbClr val="202020"/>
                  </a:solidFill>
                  <a:latin typeface="Calibri" panose="020F0502020204030204"/>
                  <a:ea typeface="+mn-ea"/>
                  <a:cs typeface="+mn-cs"/>
                </a:rPr>
                <a:t> </a:t>
              </a:r>
              <a:r>
                <a:rPr lang="en-US" sz="1350" i="1" dirty="0" err="1">
                  <a:solidFill>
                    <a:srgbClr val="202020"/>
                  </a:solidFill>
                  <a:latin typeface="Calibri" panose="020F0502020204030204"/>
                  <a:ea typeface="+mn-ea"/>
                  <a:cs typeface="+mn-cs"/>
                </a:rPr>
                <a:t>mut</a:t>
              </a:r>
              <a:endParaRPr lang="en-US" sz="1350" i="1" dirty="0">
                <a:solidFill>
                  <a:srgbClr val="202020"/>
                </a:solidFill>
                <a:latin typeface="Calibri" panose="020F0502020204030204"/>
                <a:ea typeface="+mn-ea"/>
                <a:cs typeface="+mn-cs"/>
              </a:endParaRPr>
            </a:p>
          </p:txBody>
        </p:sp>
        <p:sp>
          <p:nvSpPr>
            <p:cNvPr id="40" name="Oval 39">
              <a:extLst>
                <a:ext uri="{FF2B5EF4-FFF2-40B4-BE49-F238E27FC236}">
                  <a16:creationId xmlns:a16="http://schemas.microsoft.com/office/drawing/2014/main" id="{3ED0089B-CA5F-E4E4-0130-2D65A3195F13}"/>
                </a:ext>
              </a:extLst>
            </p:cNvPr>
            <p:cNvSpPr/>
            <p:nvPr/>
          </p:nvSpPr>
          <p:spPr>
            <a:xfrm>
              <a:off x="4565810" y="3809898"/>
              <a:ext cx="179109" cy="179109"/>
            </a:xfrm>
            <a:prstGeom prst="ellipse">
              <a:avLst/>
            </a:prstGeom>
            <a:solidFill>
              <a:srgbClr val="FFC000"/>
            </a:solidFill>
            <a:ln w="38100"/>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25000" lnSpcReduction="20000"/>
            </a:bodyPr>
            <a:lstStyle/>
            <a:p>
              <a:pPr algn="ctr" defTabSz="342900" fontAlgn="auto">
                <a:spcBef>
                  <a:spcPts val="0"/>
                </a:spcBef>
                <a:spcAft>
                  <a:spcPts val="0"/>
                </a:spcAft>
              </a:pPr>
              <a:endParaRPr lang="en-US" sz="1350">
                <a:solidFill>
                  <a:srgbClr val="00B050"/>
                </a:solidFill>
                <a:latin typeface="Calibri" panose="020F0502020204030204"/>
              </a:endParaRPr>
            </a:p>
          </p:txBody>
        </p:sp>
      </p:grpSp>
      <p:grpSp>
        <p:nvGrpSpPr>
          <p:cNvPr id="41" name="Group 40">
            <a:extLst>
              <a:ext uri="{FF2B5EF4-FFF2-40B4-BE49-F238E27FC236}">
                <a16:creationId xmlns:a16="http://schemas.microsoft.com/office/drawing/2014/main" id="{F4B65083-6743-1613-0537-15FC01C917DE}"/>
              </a:ext>
            </a:extLst>
          </p:cNvPr>
          <p:cNvGrpSpPr/>
          <p:nvPr/>
        </p:nvGrpSpPr>
        <p:grpSpPr>
          <a:xfrm>
            <a:off x="4536515" y="1603764"/>
            <a:ext cx="925140" cy="274889"/>
            <a:chOff x="6693195" y="2339935"/>
            <a:chExt cx="1424082" cy="427779"/>
          </a:xfrm>
        </p:grpSpPr>
        <p:sp>
          <p:nvSpPr>
            <p:cNvPr id="42" name="Oval 41">
              <a:extLst>
                <a:ext uri="{FF2B5EF4-FFF2-40B4-BE49-F238E27FC236}">
                  <a16:creationId xmlns:a16="http://schemas.microsoft.com/office/drawing/2014/main" id="{3490F41B-BFEC-3207-9C94-677047C52C2F}"/>
                </a:ext>
              </a:extLst>
            </p:cNvPr>
            <p:cNvSpPr/>
            <p:nvPr/>
          </p:nvSpPr>
          <p:spPr>
            <a:xfrm>
              <a:off x="6693195" y="2339935"/>
              <a:ext cx="179109" cy="179109"/>
            </a:xfrm>
            <a:prstGeom prst="ellipse">
              <a:avLst/>
            </a:prstGeom>
            <a:solidFill>
              <a:srgbClr val="FFC000"/>
            </a:solidFill>
            <a:ln w="38100"/>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25000" lnSpcReduction="20000"/>
            </a:bodyPr>
            <a:lstStyle/>
            <a:p>
              <a:pPr algn="ctr" defTabSz="342900" fontAlgn="auto">
                <a:spcBef>
                  <a:spcPts val="0"/>
                </a:spcBef>
                <a:spcAft>
                  <a:spcPts val="0"/>
                </a:spcAft>
              </a:pPr>
              <a:endParaRPr lang="en-US" sz="1350">
                <a:solidFill>
                  <a:srgbClr val="00B050"/>
                </a:solidFill>
                <a:latin typeface="Calibri" panose="020F0502020204030204"/>
              </a:endParaRPr>
            </a:p>
          </p:txBody>
        </p:sp>
        <p:sp>
          <p:nvSpPr>
            <p:cNvPr id="43" name="TextBox 42">
              <a:extLst>
                <a:ext uri="{FF2B5EF4-FFF2-40B4-BE49-F238E27FC236}">
                  <a16:creationId xmlns:a16="http://schemas.microsoft.com/office/drawing/2014/main" id="{E413FD4B-660A-2F7D-ECEA-77872362A388}"/>
                </a:ext>
              </a:extLst>
            </p:cNvPr>
            <p:cNvSpPr txBox="1"/>
            <p:nvPr/>
          </p:nvSpPr>
          <p:spPr>
            <a:xfrm>
              <a:off x="6774602" y="2367604"/>
              <a:ext cx="1342675" cy="400110"/>
            </a:xfrm>
            <a:prstGeom prst="rect">
              <a:avLst/>
            </a:prstGeom>
            <a:noFill/>
          </p:spPr>
          <p:txBody>
            <a:bodyPr wrap="none" rtlCol="0">
              <a:normAutofit fontScale="92500" lnSpcReduction="10000"/>
            </a:bodyPr>
            <a:lstStyle/>
            <a:p>
              <a:pPr defTabSz="342900" fontAlgn="auto">
                <a:spcBef>
                  <a:spcPts val="0"/>
                </a:spcBef>
                <a:spcAft>
                  <a:spcPts val="0"/>
                </a:spcAft>
              </a:pPr>
              <a:r>
                <a:rPr lang="en-US" sz="1350" i="1" dirty="0">
                  <a:solidFill>
                    <a:srgbClr val="202020"/>
                  </a:solidFill>
                  <a:latin typeface="Calibri" panose="020F0502020204030204"/>
                  <a:ea typeface="+mn-ea"/>
                  <a:cs typeface="+mn-cs"/>
                </a:rPr>
                <a:t>PIK3CA </a:t>
              </a:r>
              <a:r>
                <a:rPr lang="en-US" sz="1350" i="1" dirty="0" err="1">
                  <a:solidFill>
                    <a:srgbClr val="202020"/>
                  </a:solidFill>
                  <a:latin typeface="Calibri" panose="020F0502020204030204"/>
                  <a:ea typeface="+mn-ea"/>
                  <a:cs typeface="+mn-cs"/>
                </a:rPr>
                <a:t>mut</a:t>
              </a:r>
              <a:endParaRPr lang="en-US" sz="1350" i="1" dirty="0">
                <a:solidFill>
                  <a:srgbClr val="202020"/>
                </a:solidFill>
                <a:latin typeface="Calibri" panose="020F0502020204030204"/>
                <a:ea typeface="+mn-ea"/>
                <a:cs typeface="+mn-cs"/>
              </a:endParaRPr>
            </a:p>
          </p:txBody>
        </p:sp>
      </p:grpSp>
      <p:grpSp>
        <p:nvGrpSpPr>
          <p:cNvPr id="44" name="Group 43">
            <a:extLst>
              <a:ext uri="{FF2B5EF4-FFF2-40B4-BE49-F238E27FC236}">
                <a16:creationId xmlns:a16="http://schemas.microsoft.com/office/drawing/2014/main" id="{B243B3C7-03D0-3009-613E-637208D41F07}"/>
              </a:ext>
            </a:extLst>
          </p:cNvPr>
          <p:cNvGrpSpPr/>
          <p:nvPr/>
        </p:nvGrpSpPr>
        <p:grpSpPr>
          <a:xfrm>
            <a:off x="4767104" y="3504462"/>
            <a:ext cx="582874" cy="257109"/>
            <a:chOff x="7048143" y="5297767"/>
            <a:chExt cx="897226" cy="400108"/>
          </a:xfrm>
        </p:grpSpPr>
        <p:sp>
          <p:nvSpPr>
            <p:cNvPr id="45" name="Oval 44">
              <a:extLst>
                <a:ext uri="{FF2B5EF4-FFF2-40B4-BE49-F238E27FC236}">
                  <a16:creationId xmlns:a16="http://schemas.microsoft.com/office/drawing/2014/main" id="{B1D00BC7-6802-4D41-6991-A949111E34D7}"/>
                </a:ext>
              </a:extLst>
            </p:cNvPr>
            <p:cNvSpPr/>
            <p:nvPr/>
          </p:nvSpPr>
          <p:spPr>
            <a:xfrm>
              <a:off x="7766260" y="5413011"/>
              <a:ext cx="179109" cy="179109"/>
            </a:xfrm>
            <a:prstGeom prst="ellipse">
              <a:avLst/>
            </a:prstGeom>
            <a:solidFill>
              <a:schemeClr val="bg1"/>
            </a:solidFill>
            <a:ln w="38100"/>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25000" lnSpcReduction="20000"/>
            </a:bodyPr>
            <a:lstStyle/>
            <a:p>
              <a:pPr algn="ctr" defTabSz="342900" fontAlgn="auto">
                <a:spcBef>
                  <a:spcPts val="0"/>
                </a:spcBef>
                <a:spcAft>
                  <a:spcPts val="0"/>
                </a:spcAft>
              </a:pPr>
              <a:endParaRPr lang="en-US" sz="1350">
                <a:solidFill>
                  <a:srgbClr val="00B050"/>
                </a:solidFill>
                <a:latin typeface="Calibri" panose="020F0502020204030204"/>
              </a:endParaRPr>
            </a:p>
          </p:txBody>
        </p:sp>
        <p:sp>
          <p:nvSpPr>
            <p:cNvPr id="46" name="TextBox 45">
              <a:extLst>
                <a:ext uri="{FF2B5EF4-FFF2-40B4-BE49-F238E27FC236}">
                  <a16:creationId xmlns:a16="http://schemas.microsoft.com/office/drawing/2014/main" id="{056D68F1-D1F0-A8AB-1E21-DFD83CE694AC}"/>
                </a:ext>
              </a:extLst>
            </p:cNvPr>
            <p:cNvSpPr txBox="1"/>
            <p:nvPr/>
          </p:nvSpPr>
          <p:spPr>
            <a:xfrm>
              <a:off x="7048143" y="5297767"/>
              <a:ext cx="714298" cy="400108"/>
            </a:xfrm>
            <a:prstGeom prst="rect">
              <a:avLst/>
            </a:prstGeom>
            <a:noFill/>
          </p:spPr>
          <p:txBody>
            <a:bodyPr wrap="none" rtlCol="0">
              <a:normAutofit fontScale="92500" lnSpcReduction="10000"/>
            </a:bodyPr>
            <a:lstStyle/>
            <a:p>
              <a:pPr defTabSz="342900" fontAlgn="auto">
                <a:spcBef>
                  <a:spcPts val="0"/>
                </a:spcBef>
                <a:spcAft>
                  <a:spcPts val="0"/>
                </a:spcAft>
              </a:pPr>
              <a:r>
                <a:rPr lang="en-US" sz="1350" i="1" dirty="0">
                  <a:solidFill>
                    <a:srgbClr val="202020"/>
                  </a:solidFill>
                  <a:latin typeface="Calibri" panose="020F0502020204030204"/>
                  <a:ea typeface="+mn-ea"/>
                  <a:cs typeface="+mn-cs"/>
                </a:rPr>
                <a:t>TP53</a:t>
              </a:r>
            </a:p>
          </p:txBody>
        </p:sp>
      </p:grpSp>
      <p:sp>
        <p:nvSpPr>
          <p:cNvPr id="47" name="Oval 46">
            <a:extLst>
              <a:ext uri="{FF2B5EF4-FFF2-40B4-BE49-F238E27FC236}">
                <a16:creationId xmlns:a16="http://schemas.microsoft.com/office/drawing/2014/main" id="{F0AD8DA3-F5E4-ED08-18DF-C454F28785C0}"/>
              </a:ext>
            </a:extLst>
          </p:cNvPr>
          <p:cNvSpPr/>
          <p:nvPr/>
        </p:nvSpPr>
        <p:spPr>
          <a:xfrm>
            <a:off x="3689169" y="3316654"/>
            <a:ext cx="116356" cy="115095"/>
          </a:xfrm>
          <a:prstGeom prst="ellipse">
            <a:avLst/>
          </a:prstGeom>
          <a:solidFill>
            <a:schemeClr val="bg1"/>
          </a:solidFill>
          <a:ln w="38100"/>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25000" lnSpcReduction="20000"/>
          </a:bodyPr>
          <a:lstStyle/>
          <a:p>
            <a:pPr algn="ctr" defTabSz="342900" fontAlgn="auto">
              <a:spcBef>
                <a:spcPts val="0"/>
              </a:spcBef>
              <a:spcAft>
                <a:spcPts val="0"/>
              </a:spcAft>
            </a:pPr>
            <a:endParaRPr lang="en-US" sz="1350">
              <a:solidFill>
                <a:srgbClr val="00B050"/>
              </a:solidFill>
              <a:latin typeface="Calibri" panose="020F0502020204030204"/>
            </a:endParaRPr>
          </a:p>
        </p:txBody>
      </p:sp>
      <p:sp>
        <p:nvSpPr>
          <p:cNvPr id="48" name="TextBox 47">
            <a:extLst>
              <a:ext uri="{FF2B5EF4-FFF2-40B4-BE49-F238E27FC236}">
                <a16:creationId xmlns:a16="http://schemas.microsoft.com/office/drawing/2014/main" id="{323FB6B9-986C-9D46-A65A-A9409C85F33B}"/>
              </a:ext>
            </a:extLst>
          </p:cNvPr>
          <p:cNvSpPr txBox="1"/>
          <p:nvPr/>
        </p:nvSpPr>
        <p:spPr>
          <a:xfrm>
            <a:off x="3307376" y="3385647"/>
            <a:ext cx="481587" cy="257109"/>
          </a:xfrm>
          <a:prstGeom prst="rect">
            <a:avLst/>
          </a:prstGeom>
          <a:noFill/>
        </p:spPr>
        <p:txBody>
          <a:bodyPr wrap="none" rtlCol="0">
            <a:normAutofit fontScale="92500" lnSpcReduction="10000"/>
          </a:bodyPr>
          <a:lstStyle/>
          <a:p>
            <a:pPr defTabSz="342900" fontAlgn="auto">
              <a:spcBef>
                <a:spcPts val="0"/>
              </a:spcBef>
              <a:spcAft>
                <a:spcPts val="0"/>
              </a:spcAft>
            </a:pPr>
            <a:r>
              <a:rPr lang="en-US" sz="1350" i="1" dirty="0">
                <a:solidFill>
                  <a:srgbClr val="202020"/>
                </a:solidFill>
                <a:latin typeface="Calibri" panose="020F0502020204030204"/>
                <a:ea typeface="+mn-ea"/>
                <a:cs typeface="+mn-cs"/>
              </a:rPr>
              <a:t>PTEN</a:t>
            </a:r>
          </a:p>
        </p:txBody>
      </p:sp>
      <p:grpSp>
        <p:nvGrpSpPr>
          <p:cNvPr id="49" name="Group 48">
            <a:extLst>
              <a:ext uri="{FF2B5EF4-FFF2-40B4-BE49-F238E27FC236}">
                <a16:creationId xmlns:a16="http://schemas.microsoft.com/office/drawing/2014/main" id="{7E68D927-217B-1FED-C528-583DB04FE72E}"/>
              </a:ext>
            </a:extLst>
          </p:cNvPr>
          <p:cNvGrpSpPr/>
          <p:nvPr/>
        </p:nvGrpSpPr>
        <p:grpSpPr>
          <a:xfrm>
            <a:off x="3354124" y="1402849"/>
            <a:ext cx="1023527" cy="257109"/>
            <a:chOff x="4873120" y="2027272"/>
            <a:chExt cx="1575531" cy="400108"/>
          </a:xfrm>
        </p:grpSpPr>
        <p:sp>
          <p:nvSpPr>
            <p:cNvPr id="50" name="Oval 49">
              <a:extLst>
                <a:ext uri="{FF2B5EF4-FFF2-40B4-BE49-F238E27FC236}">
                  <a16:creationId xmlns:a16="http://schemas.microsoft.com/office/drawing/2014/main" id="{7355EBDE-44BC-6A4F-E633-E4DBC51A37D1}"/>
                </a:ext>
              </a:extLst>
            </p:cNvPr>
            <p:cNvSpPr/>
            <p:nvPr/>
          </p:nvSpPr>
          <p:spPr>
            <a:xfrm>
              <a:off x="4873120" y="2027272"/>
              <a:ext cx="179109" cy="179109"/>
            </a:xfrm>
            <a:prstGeom prst="ellipse">
              <a:avLst/>
            </a:prstGeom>
            <a:solidFill>
              <a:schemeClr val="bg1"/>
            </a:solidFill>
            <a:ln w="38100"/>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25000" lnSpcReduction="20000"/>
            </a:bodyPr>
            <a:lstStyle/>
            <a:p>
              <a:pPr algn="ctr" defTabSz="342900" fontAlgn="auto">
                <a:spcBef>
                  <a:spcPts val="0"/>
                </a:spcBef>
                <a:spcAft>
                  <a:spcPts val="0"/>
                </a:spcAft>
              </a:pPr>
              <a:endParaRPr lang="en-US" sz="1350">
                <a:solidFill>
                  <a:srgbClr val="00B050"/>
                </a:solidFill>
                <a:latin typeface="Calibri" panose="020F0502020204030204"/>
              </a:endParaRPr>
            </a:p>
          </p:txBody>
        </p:sp>
        <p:sp>
          <p:nvSpPr>
            <p:cNvPr id="51" name="TextBox 50">
              <a:extLst>
                <a:ext uri="{FF2B5EF4-FFF2-40B4-BE49-F238E27FC236}">
                  <a16:creationId xmlns:a16="http://schemas.microsoft.com/office/drawing/2014/main" id="{668491AF-2FB7-E0BA-AF08-9C57D614567A}"/>
                </a:ext>
              </a:extLst>
            </p:cNvPr>
            <p:cNvSpPr txBox="1"/>
            <p:nvPr/>
          </p:nvSpPr>
          <p:spPr>
            <a:xfrm>
              <a:off x="4945591" y="2027272"/>
              <a:ext cx="1503060" cy="400108"/>
            </a:xfrm>
            <a:prstGeom prst="rect">
              <a:avLst/>
            </a:prstGeom>
            <a:noFill/>
          </p:spPr>
          <p:txBody>
            <a:bodyPr wrap="none" rtlCol="0">
              <a:normAutofit fontScale="92500" lnSpcReduction="10000"/>
            </a:bodyPr>
            <a:lstStyle/>
            <a:p>
              <a:pPr defTabSz="342900" fontAlgn="auto">
                <a:spcBef>
                  <a:spcPts val="0"/>
                </a:spcBef>
                <a:spcAft>
                  <a:spcPts val="0"/>
                </a:spcAft>
              </a:pPr>
              <a:r>
                <a:rPr lang="en-US" sz="1350" i="1" dirty="0">
                  <a:solidFill>
                    <a:srgbClr val="202020"/>
                  </a:solidFill>
                  <a:latin typeface="Calibri" panose="020F0502020204030204"/>
                  <a:ea typeface="+mn-ea"/>
                  <a:cs typeface="+mn-cs"/>
                </a:rPr>
                <a:t>BRCA1/2 </a:t>
              </a:r>
              <a:r>
                <a:rPr lang="en-US" sz="1350" i="1" dirty="0" err="1">
                  <a:solidFill>
                    <a:srgbClr val="202020"/>
                  </a:solidFill>
                  <a:latin typeface="Calibri" panose="020F0502020204030204"/>
                  <a:ea typeface="+mn-ea"/>
                  <a:cs typeface="+mn-cs"/>
                </a:rPr>
                <a:t>mut</a:t>
              </a:r>
              <a:endParaRPr lang="en-US" sz="1350" i="1" dirty="0">
                <a:solidFill>
                  <a:srgbClr val="202020"/>
                </a:solidFill>
                <a:latin typeface="Calibri" panose="020F0502020204030204"/>
                <a:ea typeface="+mn-ea"/>
                <a:cs typeface="+mn-cs"/>
              </a:endParaRPr>
            </a:p>
          </p:txBody>
        </p:sp>
      </p:grpSp>
      <p:sp>
        <p:nvSpPr>
          <p:cNvPr id="52" name="TextBox 51">
            <a:extLst>
              <a:ext uri="{FF2B5EF4-FFF2-40B4-BE49-F238E27FC236}">
                <a16:creationId xmlns:a16="http://schemas.microsoft.com/office/drawing/2014/main" id="{B944757E-8375-8ADE-E5AE-6B666D78AF23}"/>
              </a:ext>
            </a:extLst>
          </p:cNvPr>
          <p:cNvSpPr txBox="1"/>
          <p:nvPr/>
        </p:nvSpPr>
        <p:spPr>
          <a:xfrm>
            <a:off x="5699974" y="3595809"/>
            <a:ext cx="1690080" cy="632885"/>
          </a:xfrm>
          <a:prstGeom prst="rect">
            <a:avLst/>
          </a:prstGeom>
          <a:noFill/>
        </p:spPr>
        <p:txBody>
          <a:bodyPr wrap="none" rtlCol="0">
            <a:normAutofit fontScale="92500" lnSpcReduction="20000"/>
          </a:bodyPr>
          <a:lstStyle/>
          <a:p>
            <a:pPr defTabSz="342900" fontAlgn="auto">
              <a:spcBef>
                <a:spcPts val="0"/>
              </a:spcBef>
              <a:spcAft>
                <a:spcPts val="0"/>
              </a:spcAft>
            </a:pPr>
            <a:r>
              <a:rPr lang="en-US" sz="1050" i="1" dirty="0" err="1">
                <a:solidFill>
                  <a:srgbClr val="202020"/>
                </a:solidFill>
                <a:latin typeface="Calibri" panose="020F0502020204030204"/>
                <a:ea typeface="+mn-ea"/>
                <a:cs typeface="+mn-cs"/>
              </a:rPr>
              <a:t>Mut</a:t>
            </a:r>
            <a:r>
              <a:rPr lang="en-US" sz="1050" i="1" dirty="0">
                <a:solidFill>
                  <a:srgbClr val="202020"/>
                </a:solidFill>
                <a:latin typeface="Calibri" panose="020F0502020204030204"/>
                <a:ea typeface="+mn-ea"/>
                <a:cs typeface="+mn-cs"/>
              </a:rPr>
              <a:t>=mutation</a:t>
            </a:r>
          </a:p>
          <a:p>
            <a:pPr defTabSz="342900" fontAlgn="auto">
              <a:spcBef>
                <a:spcPts val="0"/>
              </a:spcBef>
              <a:spcAft>
                <a:spcPts val="0"/>
              </a:spcAft>
            </a:pPr>
            <a:r>
              <a:rPr lang="en-US" sz="1050" i="1" dirty="0">
                <a:solidFill>
                  <a:srgbClr val="202020"/>
                </a:solidFill>
                <a:latin typeface="Calibri" panose="020F0502020204030204"/>
                <a:ea typeface="+mn-ea"/>
                <a:cs typeface="+mn-cs"/>
              </a:rPr>
              <a:t>Amp=amplification</a:t>
            </a:r>
          </a:p>
          <a:p>
            <a:pPr defTabSz="342900" fontAlgn="auto">
              <a:spcBef>
                <a:spcPts val="0"/>
              </a:spcBef>
              <a:spcAft>
                <a:spcPts val="0"/>
              </a:spcAft>
            </a:pPr>
            <a:r>
              <a:rPr lang="en-US" sz="1050" i="1" dirty="0">
                <a:solidFill>
                  <a:srgbClr val="202020"/>
                </a:solidFill>
                <a:latin typeface="Calibri" panose="020F0502020204030204"/>
                <a:ea typeface="+mn-ea"/>
                <a:cs typeface="+mn-cs"/>
              </a:rPr>
              <a:t>MSI = microsatellite instability</a:t>
            </a:r>
          </a:p>
          <a:p>
            <a:pPr defTabSz="342900" fontAlgn="auto">
              <a:spcBef>
                <a:spcPts val="0"/>
              </a:spcBef>
              <a:spcAft>
                <a:spcPts val="0"/>
              </a:spcAft>
            </a:pPr>
            <a:r>
              <a:rPr lang="en-US" sz="1050" i="1" dirty="0">
                <a:solidFill>
                  <a:srgbClr val="202020"/>
                </a:solidFill>
                <a:latin typeface="Calibri" panose="020F0502020204030204"/>
                <a:ea typeface="+mn-ea"/>
                <a:cs typeface="+mn-cs"/>
              </a:rPr>
              <a:t>TMB = tumor mutational burden</a:t>
            </a:r>
          </a:p>
        </p:txBody>
      </p:sp>
      <p:sp>
        <p:nvSpPr>
          <p:cNvPr id="53" name="TextBox 52">
            <a:extLst>
              <a:ext uri="{FF2B5EF4-FFF2-40B4-BE49-F238E27FC236}">
                <a16:creationId xmlns:a16="http://schemas.microsoft.com/office/drawing/2014/main" id="{39763F14-6F2A-5A0B-6516-8AA9176445A8}"/>
              </a:ext>
            </a:extLst>
          </p:cNvPr>
          <p:cNvSpPr txBox="1"/>
          <p:nvPr/>
        </p:nvSpPr>
        <p:spPr>
          <a:xfrm>
            <a:off x="7272202" y="4767528"/>
            <a:ext cx="1707390" cy="276999"/>
          </a:xfrm>
          <a:prstGeom prst="rect">
            <a:avLst/>
          </a:prstGeom>
          <a:noFill/>
        </p:spPr>
        <p:txBody>
          <a:bodyPr wrap="none" rtlCol="0">
            <a:spAutoFit/>
          </a:bodyPr>
          <a:lstStyle/>
          <a:p>
            <a:pPr defTabSz="342900" fontAlgn="auto">
              <a:spcBef>
                <a:spcPts val="0"/>
              </a:spcBef>
              <a:spcAft>
                <a:spcPts val="0"/>
              </a:spcAft>
            </a:pPr>
            <a:r>
              <a:rPr lang="en-US" sz="1200" i="1" dirty="0">
                <a:solidFill>
                  <a:srgbClr val="202020"/>
                </a:solidFill>
                <a:latin typeface="Calibri" panose="020F0502020204030204"/>
                <a:ea typeface="+mn-ea"/>
                <a:cs typeface="+mn-cs"/>
              </a:rPr>
              <a:t>M. Burkard, unpublished</a:t>
            </a:r>
          </a:p>
        </p:txBody>
      </p:sp>
    </p:spTree>
    <p:extLst>
      <p:ext uri="{BB962C8B-B14F-4D97-AF65-F5344CB8AC3E}">
        <p14:creationId xmlns:p14="http://schemas.microsoft.com/office/powerpoint/2010/main" val="1880324122"/>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2C938C0-7ECD-1687-3DD5-26604C78D653}"/>
              </a:ext>
            </a:extLst>
          </p:cNvPr>
          <p:cNvSpPr>
            <a:spLocks noGrp="1"/>
          </p:cNvSpPr>
          <p:nvPr>
            <p:ph type="title"/>
          </p:nvPr>
        </p:nvSpPr>
        <p:spPr>
          <a:xfrm>
            <a:off x="-35485" y="119358"/>
            <a:ext cx="9144000" cy="695496"/>
          </a:xfrm>
        </p:spPr>
        <p:txBody>
          <a:bodyPr/>
          <a:lstStyle/>
          <a:p>
            <a:r>
              <a:rPr lang="en-US" sz="2800" dirty="0"/>
              <a:t>Druggable targets by NGS</a:t>
            </a:r>
          </a:p>
        </p:txBody>
      </p:sp>
      <p:sp>
        <p:nvSpPr>
          <p:cNvPr id="5" name="Rectangle 4">
            <a:extLst>
              <a:ext uri="{FF2B5EF4-FFF2-40B4-BE49-F238E27FC236}">
                <a16:creationId xmlns:a16="http://schemas.microsoft.com/office/drawing/2014/main" id="{8C92C1C3-4A6B-8E7F-E080-FE2DBAA74CAA}"/>
              </a:ext>
            </a:extLst>
          </p:cNvPr>
          <p:cNvSpPr/>
          <p:nvPr/>
        </p:nvSpPr>
        <p:spPr>
          <a:xfrm>
            <a:off x="2192526" y="839500"/>
            <a:ext cx="3323206" cy="2998931"/>
          </a:xfrm>
          <a:prstGeom prst="rect">
            <a:avLst/>
          </a:prstGeom>
          <a:solidFill>
            <a:srgbClr val="B0E2FF"/>
          </a:solidFill>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defTabSz="342900" fontAlgn="auto">
              <a:spcBef>
                <a:spcPts val="0"/>
              </a:spcBef>
              <a:spcAft>
                <a:spcPts val="0"/>
              </a:spcAft>
            </a:pPr>
            <a:endParaRPr lang="en-US" sz="1350" dirty="0">
              <a:solidFill>
                <a:srgbClr val="FFFFFF"/>
              </a:solidFill>
              <a:latin typeface="Calibri" panose="020F0502020204030204"/>
            </a:endParaRPr>
          </a:p>
        </p:txBody>
      </p:sp>
      <p:cxnSp>
        <p:nvCxnSpPr>
          <p:cNvPr id="6" name="Straight Arrow Connector 5">
            <a:extLst>
              <a:ext uri="{FF2B5EF4-FFF2-40B4-BE49-F238E27FC236}">
                <a16:creationId xmlns:a16="http://schemas.microsoft.com/office/drawing/2014/main" id="{92F0765A-8A51-7B4C-5438-C23E5895B6D0}"/>
              </a:ext>
            </a:extLst>
          </p:cNvPr>
          <p:cNvCxnSpPr/>
          <p:nvPr/>
        </p:nvCxnSpPr>
        <p:spPr>
          <a:xfrm flipH="1" flipV="1">
            <a:off x="2038733" y="1173129"/>
            <a:ext cx="16812" cy="2317104"/>
          </a:xfrm>
          <a:prstGeom prst="straightConnector1">
            <a:avLst/>
          </a:prstGeom>
          <a:ln w="50800">
            <a:solidFill>
              <a:srgbClr val="FF0000">
                <a:alpha val="75000"/>
              </a:srgbClr>
            </a:solidFill>
            <a:tailEnd type="triangle"/>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A6A72EE1-CAA4-F259-5C2B-29B55FCE3D98}"/>
              </a:ext>
            </a:extLst>
          </p:cNvPr>
          <p:cNvSpPr txBox="1"/>
          <p:nvPr/>
        </p:nvSpPr>
        <p:spPr>
          <a:xfrm rot="16200000">
            <a:off x="1222104" y="2317658"/>
            <a:ext cx="1197921" cy="319910"/>
          </a:xfrm>
          <a:prstGeom prst="rect">
            <a:avLst/>
          </a:prstGeom>
          <a:noFill/>
        </p:spPr>
        <p:txBody>
          <a:bodyPr wrap="none" rtlCol="0">
            <a:normAutofit fontScale="92500" lnSpcReduction="20000"/>
          </a:bodyPr>
          <a:lstStyle/>
          <a:p>
            <a:pPr defTabSz="342900" fontAlgn="auto">
              <a:spcBef>
                <a:spcPts val="0"/>
              </a:spcBef>
              <a:spcAft>
                <a:spcPts val="0"/>
              </a:spcAft>
            </a:pPr>
            <a:r>
              <a:rPr lang="en-US" sz="1800" b="1" dirty="0" err="1">
                <a:solidFill>
                  <a:srgbClr val="202020"/>
                </a:solidFill>
                <a:latin typeface="Calibri" panose="020F0502020204030204"/>
                <a:ea typeface="+mn-ea"/>
                <a:cs typeface="+mn-cs"/>
              </a:rPr>
              <a:t>Actionability</a:t>
            </a:r>
            <a:endParaRPr lang="en-US" sz="1800" b="1" dirty="0">
              <a:solidFill>
                <a:srgbClr val="202020"/>
              </a:solidFill>
              <a:latin typeface="Calibri" panose="020F0502020204030204"/>
              <a:ea typeface="+mn-ea"/>
              <a:cs typeface="+mn-cs"/>
            </a:endParaRPr>
          </a:p>
        </p:txBody>
      </p:sp>
      <p:cxnSp>
        <p:nvCxnSpPr>
          <p:cNvPr id="8" name="Straight Arrow Connector 7">
            <a:extLst>
              <a:ext uri="{FF2B5EF4-FFF2-40B4-BE49-F238E27FC236}">
                <a16:creationId xmlns:a16="http://schemas.microsoft.com/office/drawing/2014/main" id="{FA604C37-A691-C648-8393-FEF4B6A7A37F}"/>
              </a:ext>
            </a:extLst>
          </p:cNvPr>
          <p:cNvCxnSpPr/>
          <p:nvPr/>
        </p:nvCxnSpPr>
        <p:spPr>
          <a:xfrm rot="5400000" flipH="1" flipV="1">
            <a:off x="3766820" y="2783131"/>
            <a:ext cx="16630" cy="2342496"/>
          </a:xfrm>
          <a:prstGeom prst="straightConnector1">
            <a:avLst/>
          </a:prstGeom>
          <a:ln w="50800">
            <a:solidFill>
              <a:srgbClr val="FF0000">
                <a:alpha val="75000"/>
              </a:srgbClr>
            </a:solidFill>
            <a:tailEnd type="triangl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71A2BE8D-5BA5-ABEA-3CCD-6159BD34D03B}"/>
              </a:ext>
            </a:extLst>
          </p:cNvPr>
          <p:cNvSpPr txBox="1"/>
          <p:nvPr/>
        </p:nvSpPr>
        <p:spPr>
          <a:xfrm>
            <a:off x="3212661" y="3982529"/>
            <a:ext cx="1063257" cy="316442"/>
          </a:xfrm>
          <a:prstGeom prst="rect">
            <a:avLst/>
          </a:prstGeom>
          <a:noFill/>
        </p:spPr>
        <p:txBody>
          <a:bodyPr wrap="none" rtlCol="0">
            <a:normAutofit fontScale="92500" lnSpcReduction="20000"/>
          </a:bodyPr>
          <a:lstStyle/>
          <a:p>
            <a:pPr defTabSz="342900" fontAlgn="auto">
              <a:spcBef>
                <a:spcPts val="0"/>
              </a:spcBef>
              <a:spcAft>
                <a:spcPts val="0"/>
              </a:spcAft>
            </a:pPr>
            <a:r>
              <a:rPr lang="en-US" sz="1800" b="1" dirty="0">
                <a:solidFill>
                  <a:srgbClr val="202020"/>
                </a:solidFill>
                <a:latin typeface="Calibri" panose="020F0502020204030204"/>
                <a:ea typeface="+mn-ea"/>
                <a:cs typeface="+mn-cs"/>
              </a:rPr>
              <a:t>Prevalence</a:t>
            </a:r>
          </a:p>
        </p:txBody>
      </p:sp>
      <p:sp>
        <p:nvSpPr>
          <p:cNvPr id="10" name="TextBox 9">
            <a:extLst>
              <a:ext uri="{FF2B5EF4-FFF2-40B4-BE49-F238E27FC236}">
                <a16:creationId xmlns:a16="http://schemas.microsoft.com/office/drawing/2014/main" id="{62627E54-3C95-ADD6-7823-5879E15713E9}"/>
              </a:ext>
            </a:extLst>
          </p:cNvPr>
          <p:cNvSpPr txBox="1"/>
          <p:nvPr/>
        </p:nvSpPr>
        <p:spPr>
          <a:xfrm>
            <a:off x="5652713" y="1654886"/>
            <a:ext cx="767228" cy="257109"/>
          </a:xfrm>
          <a:prstGeom prst="rect">
            <a:avLst/>
          </a:prstGeom>
          <a:noFill/>
        </p:spPr>
        <p:txBody>
          <a:bodyPr wrap="none" rtlCol="0">
            <a:normAutofit fontScale="92500" lnSpcReduction="10000"/>
          </a:bodyPr>
          <a:lstStyle/>
          <a:p>
            <a:pPr defTabSz="342900" fontAlgn="auto">
              <a:spcBef>
                <a:spcPts val="0"/>
              </a:spcBef>
              <a:spcAft>
                <a:spcPts val="0"/>
              </a:spcAft>
            </a:pPr>
            <a:r>
              <a:rPr lang="en-US" sz="1350" b="1" dirty="0">
                <a:solidFill>
                  <a:srgbClr val="00B050"/>
                </a:solidFill>
                <a:latin typeface="Calibri" panose="020F0502020204030204"/>
                <a:ea typeface="+mn-ea"/>
                <a:cs typeface="+mn-cs"/>
              </a:rPr>
              <a:t>Approved</a:t>
            </a:r>
          </a:p>
        </p:txBody>
      </p:sp>
      <p:sp>
        <p:nvSpPr>
          <p:cNvPr id="11" name="TextBox 10">
            <a:extLst>
              <a:ext uri="{FF2B5EF4-FFF2-40B4-BE49-F238E27FC236}">
                <a16:creationId xmlns:a16="http://schemas.microsoft.com/office/drawing/2014/main" id="{07DEBE85-7777-9F99-AB9F-74C6F9F111F0}"/>
              </a:ext>
            </a:extLst>
          </p:cNvPr>
          <p:cNvSpPr txBox="1"/>
          <p:nvPr/>
        </p:nvSpPr>
        <p:spPr>
          <a:xfrm>
            <a:off x="5652713" y="2886640"/>
            <a:ext cx="1665698" cy="257109"/>
          </a:xfrm>
          <a:prstGeom prst="rect">
            <a:avLst/>
          </a:prstGeom>
          <a:noFill/>
        </p:spPr>
        <p:txBody>
          <a:bodyPr wrap="none" rtlCol="0">
            <a:normAutofit fontScale="92500" lnSpcReduction="10000"/>
          </a:bodyPr>
          <a:lstStyle/>
          <a:p>
            <a:pPr defTabSz="342900" fontAlgn="auto">
              <a:spcBef>
                <a:spcPts val="0"/>
              </a:spcBef>
              <a:spcAft>
                <a:spcPts val="0"/>
              </a:spcAft>
            </a:pPr>
            <a:r>
              <a:rPr lang="en-US" sz="1350" b="1" dirty="0">
                <a:solidFill>
                  <a:srgbClr val="FF0000"/>
                </a:solidFill>
                <a:latin typeface="Calibri" panose="020F0502020204030204"/>
                <a:ea typeface="+mn-ea"/>
                <a:cs typeface="+mn-cs"/>
              </a:rPr>
              <a:t>Off label/investigational</a:t>
            </a:r>
          </a:p>
        </p:txBody>
      </p:sp>
      <p:sp>
        <p:nvSpPr>
          <p:cNvPr id="12" name="Right Triangle 11">
            <a:extLst>
              <a:ext uri="{FF2B5EF4-FFF2-40B4-BE49-F238E27FC236}">
                <a16:creationId xmlns:a16="http://schemas.microsoft.com/office/drawing/2014/main" id="{8ED305BE-C8CC-659B-2A5F-88A6A9358F9E}"/>
              </a:ext>
            </a:extLst>
          </p:cNvPr>
          <p:cNvSpPr/>
          <p:nvPr/>
        </p:nvSpPr>
        <p:spPr>
          <a:xfrm flipV="1">
            <a:off x="5523848" y="839500"/>
            <a:ext cx="257729" cy="2047141"/>
          </a:xfrm>
          <a:prstGeom prst="rtTriangl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defTabSz="342900" fontAlgn="auto">
              <a:spcBef>
                <a:spcPts val="0"/>
              </a:spcBef>
              <a:spcAft>
                <a:spcPts val="0"/>
              </a:spcAft>
            </a:pPr>
            <a:endParaRPr lang="en-US" sz="1350">
              <a:solidFill>
                <a:srgbClr val="FFFFFF"/>
              </a:solidFill>
              <a:latin typeface="Calibri" panose="020F0502020204030204"/>
            </a:endParaRPr>
          </a:p>
        </p:txBody>
      </p:sp>
      <p:sp>
        <p:nvSpPr>
          <p:cNvPr id="13" name="Right Triangle 12">
            <a:extLst>
              <a:ext uri="{FF2B5EF4-FFF2-40B4-BE49-F238E27FC236}">
                <a16:creationId xmlns:a16="http://schemas.microsoft.com/office/drawing/2014/main" id="{4DD640E7-EBC2-AB74-2E5F-AD95B4377966}"/>
              </a:ext>
            </a:extLst>
          </p:cNvPr>
          <p:cNvSpPr/>
          <p:nvPr/>
        </p:nvSpPr>
        <p:spPr>
          <a:xfrm flipV="1">
            <a:off x="5523848" y="2262703"/>
            <a:ext cx="176126" cy="1575727"/>
          </a:xfrm>
          <a:prstGeom prst="rtTriangl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defTabSz="342900" fontAlgn="auto">
              <a:spcBef>
                <a:spcPts val="0"/>
              </a:spcBef>
              <a:spcAft>
                <a:spcPts val="0"/>
              </a:spcAft>
            </a:pPr>
            <a:endParaRPr lang="en-US" sz="1350">
              <a:solidFill>
                <a:srgbClr val="FFFFFF"/>
              </a:solidFill>
              <a:latin typeface="Calibri" panose="020F0502020204030204"/>
            </a:endParaRPr>
          </a:p>
        </p:txBody>
      </p:sp>
      <p:sp>
        <p:nvSpPr>
          <p:cNvPr id="14" name="TextBox 13">
            <a:extLst>
              <a:ext uri="{FF2B5EF4-FFF2-40B4-BE49-F238E27FC236}">
                <a16:creationId xmlns:a16="http://schemas.microsoft.com/office/drawing/2014/main" id="{FF3919FB-8617-3AF7-8AF6-EFAE5C12013C}"/>
              </a:ext>
            </a:extLst>
          </p:cNvPr>
          <p:cNvSpPr txBox="1"/>
          <p:nvPr/>
        </p:nvSpPr>
        <p:spPr>
          <a:xfrm>
            <a:off x="5453186" y="627121"/>
            <a:ext cx="625268" cy="257109"/>
          </a:xfrm>
          <a:prstGeom prst="rect">
            <a:avLst/>
          </a:prstGeom>
          <a:noFill/>
        </p:spPr>
        <p:txBody>
          <a:bodyPr wrap="none" rtlCol="0">
            <a:normAutofit fontScale="92500" lnSpcReduction="10000"/>
          </a:bodyPr>
          <a:lstStyle/>
          <a:p>
            <a:pPr defTabSz="342900" fontAlgn="auto">
              <a:spcBef>
                <a:spcPts val="0"/>
              </a:spcBef>
              <a:spcAft>
                <a:spcPts val="0"/>
              </a:spcAft>
            </a:pPr>
            <a:r>
              <a:rPr lang="en-US" sz="1350" dirty="0">
                <a:solidFill>
                  <a:srgbClr val="202020"/>
                </a:solidFill>
                <a:latin typeface="Calibri" panose="020F0502020204030204"/>
                <a:ea typeface="+mn-ea"/>
                <a:cs typeface="+mn-cs"/>
              </a:rPr>
              <a:t>efficacy</a:t>
            </a:r>
          </a:p>
        </p:txBody>
      </p:sp>
      <p:grpSp>
        <p:nvGrpSpPr>
          <p:cNvPr id="15" name="Group 14">
            <a:extLst>
              <a:ext uri="{FF2B5EF4-FFF2-40B4-BE49-F238E27FC236}">
                <a16:creationId xmlns:a16="http://schemas.microsoft.com/office/drawing/2014/main" id="{E4607BEA-ADE2-1880-2E89-2DEA7DB1B127}"/>
              </a:ext>
            </a:extLst>
          </p:cNvPr>
          <p:cNvGrpSpPr/>
          <p:nvPr/>
        </p:nvGrpSpPr>
        <p:grpSpPr>
          <a:xfrm>
            <a:off x="2239214" y="962245"/>
            <a:ext cx="952649" cy="314657"/>
            <a:chOff x="3156923" y="1341613"/>
            <a:chExt cx="1466428" cy="489664"/>
          </a:xfrm>
        </p:grpSpPr>
        <p:sp>
          <p:nvSpPr>
            <p:cNvPr id="16" name="Oval 15">
              <a:extLst>
                <a:ext uri="{FF2B5EF4-FFF2-40B4-BE49-F238E27FC236}">
                  <a16:creationId xmlns:a16="http://schemas.microsoft.com/office/drawing/2014/main" id="{4FA967DD-2F35-3061-E3E8-E61190B51365}"/>
                </a:ext>
              </a:extLst>
            </p:cNvPr>
            <p:cNvSpPr/>
            <p:nvPr/>
          </p:nvSpPr>
          <p:spPr>
            <a:xfrm>
              <a:off x="3156923" y="1341613"/>
              <a:ext cx="179109" cy="179109"/>
            </a:xfrm>
            <a:prstGeom prst="ellipse">
              <a:avLst/>
            </a:prstGeom>
            <a:solidFill>
              <a:schemeClr val="bg1"/>
            </a:solidFill>
            <a:ln w="38100"/>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25000" lnSpcReduction="20000"/>
            </a:bodyPr>
            <a:lstStyle/>
            <a:p>
              <a:pPr algn="ctr" defTabSz="342900" fontAlgn="auto">
                <a:spcBef>
                  <a:spcPts val="0"/>
                </a:spcBef>
                <a:spcAft>
                  <a:spcPts val="0"/>
                </a:spcAft>
              </a:pPr>
              <a:endParaRPr lang="en-US" sz="1350">
                <a:solidFill>
                  <a:srgbClr val="00B050"/>
                </a:solidFill>
                <a:latin typeface="Calibri" panose="020F0502020204030204"/>
              </a:endParaRPr>
            </a:p>
          </p:txBody>
        </p:sp>
        <p:sp>
          <p:nvSpPr>
            <p:cNvPr id="17" name="TextBox 16">
              <a:extLst>
                <a:ext uri="{FF2B5EF4-FFF2-40B4-BE49-F238E27FC236}">
                  <a16:creationId xmlns:a16="http://schemas.microsoft.com/office/drawing/2014/main" id="{519F9E7A-B7B7-B3DB-6CF0-53F296A78D00}"/>
                </a:ext>
              </a:extLst>
            </p:cNvPr>
            <p:cNvSpPr txBox="1"/>
            <p:nvPr/>
          </p:nvSpPr>
          <p:spPr>
            <a:xfrm>
              <a:off x="3246478" y="1431168"/>
              <a:ext cx="1376873" cy="400109"/>
            </a:xfrm>
            <a:prstGeom prst="rect">
              <a:avLst/>
            </a:prstGeom>
            <a:noFill/>
          </p:spPr>
          <p:txBody>
            <a:bodyPr wrap="none" rtlCol="0">
              <a:normAutofit fontScale="92500" lnSpcReduction="10000"/>
            </a:bodyPr>
            <a:lstStyle/>
            <a:p>
              <a:pPr defTabSz="342900" fontAlgn="auto">
                <a:spcBef>
                  <a:spcPts val="0"/>
                </a:spcBef>
                <a:spcAft>
                  <a:spcPts val="0"/>
                </a:spcAft>
              </a:pPr>
              <a:r>
                <a:rPr lang="en-US" sz="1350" i="1" dirty="0">
                  <a:solidFill>
                    <a:srgbClr val="202020"/>
                  </a:solidFill>
                  <a:latin typeface="Calibri" panose="020F0502020204030204"/>
                  <a:ea typeface="+mn-ea"/>
                  <a:cs typeface="+mn-cs"/>
                </a:rPr>
                <a:t>NTRK fusion</a:t>
              </a:r>
            </a:p>
          </p:txBody>
        </p:sp>
      </p:grpSp>
      <p:sp>
        <p:nvSpPr>
          <p:cNvPr id="18" name="Oval 17">
            <a:extLst>
              <a:ext uri="{FF2B5EF4-FFF2-40B4-BE49-F238E27FC236}">
                <a16:creationId xmlns:a16="http://schemas.microsoft.com/office/drawing/2014/main" id="{45A55FB5-4A8E-F25C-D5D8-318051F43941}"/>
              </a:ext>
            </a:extLst>
          </p:cNvPr>
          <p:cNvSpPr/>
          <p:nvPr/>
        </p:nvSpPr>
        <p:spPr>
          <a:xfrm>
            <a:off x="6493310" y="972193"/>
            <a:ext cx="116356" cy="115095"/>
          </a:xfrm>
          <a:prstGeom prst="ellipse">
            <a:avLst/>
          </a:prstGeom>
          <a:solidFill>
            <a:schemeClr val="bg1"/>
          </a:solidFill>
          <a:ln w="38100"/>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25000" lnSpcReduction="20000"/>
          </a:bodyPr>
          <a:lstStyle/>
          <a:p>
            <a:pPr algn="ctr" defTabSz="342900" fontAlgn="auto">
              <a:spcBef>
                <a:spcPts val="0"/>
              </a:spcBef>
              <a:spcAft>
                <a:spcPts val="0"/>
              </a:spcAft>
            </a:pPr>
            <a:endParaRPr lang="en-US" sz="1350">
              <a:solidFill>
                <a:srgbClr val="00B050"/>
              </a:solidFill>
              <a:latin typeface="Calibri" panose="020F0502020204030204"/>
            </a:endParaRPr>
          </a:p>
        </p:txBody>
      </p:sp>
      <p:sp>
        <p:nvSpPr>
          <p:cNvPr id="19" name="TextBox 18">
            <a:extLst>
              <a:ext uri="{FF2B5EF4-FFF2-40B4-BE49-F238E27FC236}">
                <a16:creationId xmlns:a16="http://schemas.microsoft.com/office/drawing/2014/main" id="{65D3B489-A983-8B5E-002C-1B35C9D0E582}"/>
              </a:ext>
            </a:extLst>
          </p:cNvPr>
          <p:cNvSpPr txBox="1"/>
          <p:nvPr/>
        </p:nvSpPr>
        <p:spPr>
          <a:xfrm>
            <a:off x="6584543" y="911074"/>
            <a:ext cx="875032" cy="257109"/>
          </a:xfrm>
          <a:prstGeom prst="rect">
            <a:avLst/>
          </a:prstGeom>
          <a:noFill/>
        </p:spPr>
        <p:txBody>
          <a:bodyPr wrap="none" rtlCol="0">
            <a:normAutofit fontScale="92500" lnSpcReduction="10000"/>
          </a:bodyPr>
          <a:lstStyle/>
          <a:p>
            <a:pPr defTabSz="342900" fontAlgn="auto">
              <a:spcBef>
                <a:spcPts val="0"/>
              </a:spcBef>
              <a:spcAft>
                <a:spcPts val="0"/>
              </a:spcAft>
            </a:pPr>
            <a:r>
              <a:rPr lang="en-US" sz="1350" dirty="0">
                <a:solidFill>
                  <a:srgbClr val="202020"/>
                </a:solidFill>
                <a:latin typeface="Calibri" panose="020F0502020204030204"/>
                <a:ea typeface="+mn-ea"/>
                <a:cs typeface="+mn-cs"/>
              </a:rPr>
              <a:t>All BC types</a:t>
            </a:r>
          </a:p>
        </p:txBody>
      </p:sp>
      <p:sp>
        <p:nvSpPr>
          <p:cNvPr id="20" name="Oval 19">
            <a:extLst>
              <a:ext uri="{FF2B5EF4-FFF2-40B4-BE49-F238E27FC236}">
                <a16:creationId xmlns:a16="http://schemas.microsoft.com/office/drawing/2014/main" id="{3139F118-BC26-6FC9-E661-D8E6CB52C92C}"/>
              </a:ext>
            </a:extLst>
          </p:cNvPr>
          <p:cNvSpPr/>
          <p:nvPr/>
        </p:nvSpPr>
        <p:spPr>
          <a:xfrm>
            <a:off x="6493310" y="1177623"/>
            <a:ext cx="116356" cy="115095"/>
          </a:xfrm>
          <a:prstGeom prst="ellipse">
            <a:avLst/>
          </a:prstGeom>
          <a:solidFill>
            <a:srgbClr val="FFC000"/>
          </a:solidFill>
          <a:ln w="38100"/>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25000" lnSpcReduction="20000"/>
          </a:bodyPr>
          <a:lstStyle/>
          <a:p>
            <a:pPr algn="ctr" defTabSz="342900" fontAlgn="auto">
              <a:spcBef>
                <a:spcPts val="0"/>
              </a:spcBef>
              <a:spcAft>
                <a:spcPts val="0"/>
              </a:spcAft>
            </a:pPr>
            <a:endParaRPr lang="en-US" sz="1350">
              <a:solidFill>
                <a:srgbClr val="00B050"/>
              </a:solidFill>
              <a:latin typeface="Calibri" panose="020F0502020204030204"/>
            </a:endParaRPr>
          </a:p>
        </p:txBody>
      </p:sp>
      <p:sp>
        <p:nvSpPr>
          <p:cNvPr id="21" name="TextBox 20">
            <a:extLst>
              <a:ext uri="{FF2B5EF4-FFF2-40B4-BE49-F238E27FC236}">
                <a16:creationId xmlns:a16="http://schemas.microsoft.com/office/drawing/2014/main" id="{24D8D5C0-61E9-6B1B-857C-F973B313F043}"/>
              </a:ext>
            </a:extLst>
          </p:cNvPr>
          <p:cNvSpPr txBox="1"/>
          <p:nvPr/>
        </p:nvSpPr>
        <p:spPr>
          <a:xfrm>
            <a:off x="6584543" y="1125493"/>
            <a:ext cx="409884" cy="257109"/>
          </a:xfrm>
          <a:prstGeom prst="rect">
            <a:avLst/>
          </a:prstGeom>
          <a:noFill/>
        </p:spPr>
        <p:txBody>
          <a:bodyPr wrap="none" rtlCol="0">
            <a:normAutofit fontScale="92500" lnSpcReduction="10000"/>
          </a:bodyPr>
          <a:lstStyle/>
          <a:p>
            <a:pPr defTabSz="342900" fontAlgn="auto">
              <a:spcBef>
                <a:spcPts val="0"/>
              </a:spcBef>
              <a:spcAft>
                <a:spcPts val="0"/>
              </a:spcAft>
            </a:pPr>
            <a:r>
              <a:rPr lang="en-US" sz="1350" dirty="0">
                <a:solidFill>
                  <a:srgbClr val="202020"/>
                </a:solidFill>
                <a:latin typeface="Calibri" panose="020F0502020204030204"/>
                <a:ea typeface="+mn-ea"/>
                <a:cs typeface="+mn-cs"/>
              </a:rPr>
              <a:t>HR+</a:t>
            </a:r>
          </a:p>
        </p:txBody>
      </p:sp>
      <p:grpSp>
        <p:nvGrpSpPr>
          <p:cNvPr id="22" name="Group 21">
            <a:extLst>
              <a:ext uri="{FF2B5EF4-FFF2-40B4-BE49-F238E27FC236}">
                <a16:creationId xmlns:a16="http://schemas.microsoft.com/office/drawing/2014/main" id="{EEE7CE88-4EFC-ECC6-7119-A56CB4A958AE}"/>
              </a:ext>
            </a:extLst>
          </p:cNvPr>
          <p:cNvGrpSpPr/>
          <p:nvPr/>
        </p:nvGrpSpPr>
        <p:grpSpPr>
          <a:xfrm>
            <a:off x="2286933" y="1362826"/>
            <a:ext cx="475551" cy="257109"/>
            <a:chOff x="3230377" y="1964989"/>
            <a:chExt cx="732023" cy="400108"/>
          </a:xfrm>
        </p:grpSpPr>
        <p:sp>
          <p:nvSpPr>
            <p:cNvPr id="23" name="Oval 22">
              <a:extLst>
                <a:ext uri="{FF2B5EF4-FFF2-40B4-BE49-F238E27FC236}">
                  <a16:creationId xmlns:a16="http://schemas.microsoft.com/office/drawing/2014/main" id="{E300C7E9-B13B-C401-8AF2-F5BED65CF192}"/>
                </a:ext>
              </a:extLst>
            </p:cNvPr>
            <p:cNvSpPr/>
            <p:nvPr/>
          </p:nvSpPr>
          <p:spPr>
            <a:xfrm>
              <a:off x="3230377" y="1973571"/>
              <a:ext cx="179109" cy="179109"/>
            </a:xfrm>
            <a:prstGeom prst="ellipse">
              <a:avLst/>
            </a:prstGeom>
            <a:solidFill>
              <a:schemeClr val="bg1"/>
            </a:solidFill>
            <a:ln w="38100"/>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25000" lnSpcReduction="20000"/>
            </a:bodyPr>
            <a:lstStyle/>
            <a:p>
              <a:pPr algn="ctr" defTabSz="342900" fontAlgn="auto">
                <a:spcBef>
                  <a:spcPts val="0"/>
                </a:spcBef>
                <a:spcAft>
                  <a:spcPts val="0"/>
                </a:spcAft>
              </a:pPr>
              <a:endParaRPr lang="en-US" sz="1350">
                <a:solidFill>
                  <a:srgbClr val="00B050"/>
                </a:solidFill>
                <a:latin typeface="Calibri" panose="020F0502020204030204"/>
              </a:endParaRPr>
            </a:p>
          </p:txBody>
        </p:sp>
        <p:sp>
          <p:nvSpPr>
            <p:cNvPr id="24" name="TextBox 23">
              <a:extLst>
                <a:ext uri="{FF2B5EF4-FFF2-40B4-BE49-F238E27FC236}">
                  <a16:creationId xmlns:a16="http://schemas.microsoft.com/office/drawing/2014/main" id="{349BB122-262C-8F28-8242-29B7CD4F4650}"/>
                </a:ext>
              </a:extLst>
            </p:cNvPr>
            <p:cNvSpPr txBox="1"/>
            <p:nvPr/>
          </p:nvSpPr>
          <p:spPr>
            <a:xfrm>
              <a:off x="3357106" y="1964989"/>
              <a:ext cx="605294" cy="400108"/>
            </a:xfrm>
            <a:prstGeom prst="rect">
              <a:avLst/>
            </a:prstGeom>
            <a:noFill/>
          </p:spPr>
          <p:txBody>
            <a:bodyPr wrap="none" rtlCol="0">
              <a:normAutofit fontScale="92500" lnSpcReduction="10000"/>
            </a:bodyPr>
            <a:lstStyle/>
            <a:p>
              <a:pPr defTabSz="342900" fontAlgn="auto">
                <a:spcBef>
                  <a:spcPts val="0"/>
                </a:spcBef>
                <a:spcAft>
                  <a:spcPts val="0"/>
                </a:spcAft>
              </a:pPr>
              <a:r>
                <a:rPr lang="en-US" sz="1350" i="1" dirty="0">
                  <a:solidFill>
                    <a:srgbClr val="202020"/>
                  </a:solidFill>
                  <a:latin typeface="Calibri" panose="020F0502020204030204"/>
                  <a:ea typeface="+mn-ea"/>
                  <a:cs typeface="+mn-cs"/>
                </a:rPr>
                <a:t>MSI</a:t>
              </a:r>
            </a:p>
          </p:txBody>
        </p:sp>
      </p:grpSp>
      <p:grpSp>
        <p:nvGrpSpPr>
          <p:cNvPr id="25" name="Group 24">
            <a:extLst>
              <a:ext uri="{FF2B5EF4-FFF2-40B4-BE49-F238E27FC236}">
                <a16:creationId xmlns:a16="http://schemas.microsoft.com/office/drawing/2014/main" id="{6A8A0045-3A06-D7AA-8DA9-6307FB70079A}"/>
              </a:ext>
            </a:extLst>
          </p:cNvPr>
          <p:cNvGrpSpPr/>
          <p:nvPr/>
        </p:nvGrpSpPr>
        <p:grpSpPr>
          <a:xfrm>
            <a:off x="2556812" y="1650204"/>
            <a:ext cx="833966" cy="257109"/>
            <a:chOff x="3645807" y="2412201"/>
            <a:chExt cx="1283737" cy="400108"/>
          </a:xfrm>
        </p:grpSpPr>
        <p:sp>
          <p:nvSpPr>
            <p:cNvPr id="26" name="Oval 25">
              <a:extLst>
                <a:ext uri="{FF2B5EF4-FFF2-40B4-BE49-F238E27FC236}">
                  <a16:creationId xmlns:a16="http://schemas.microsoft.com/office/drawing/2014/main" id="{0D908FC1-0A74-13C5-379B-A8629AE447E2}"/>
                </a:ext>
              </a:extLst>
            </p:cNvPr>
            <p:cNvSpPr/>
            <p:nvPr/>
          </p:nvSpPr>
          <p:spPr>
            <a:xfrm>
              <a:off x="3645807" y="2447440"/>
              <a:ext cx="179109" cy="179109"/>
            </a:xfrm>
            <a:prstGeom prst="ellipse">
              <a:avLst/>
            </a:prstGeom>
            <a:solidFill>
              <a:schemeClr val="bg1"/>
            </a:solidFill>
            <a:ln w="38100"/>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25000" lnSpcReduction="20000"/>
            </a:bodyPr>
            <a:lstStyle/>
            <a:p>
              <a:pPr algn="ctr" defTabSz="342900" fontAlgn="auto">
                <a:spcBef>
                  <a:spcPts val="0"/>
                </a:spcBef>
                <a:spcAft>
                  <a:spcPts val="0"/>
                </a:spcAft>
              </a:pPr>
              <a:endParaRPr lang="en-US" sz="1350">
                <a:solidFill>
                  <a:srgbClr val="00B050"/>
                </a:solidFill>
                <a:latin typeface="Calibri" panose="020F0502020204030204"/>
              </a:endParaRPr>
            </a:p>
          </p:txBody>
        </p:sp>
        <p:sp>
          <p:nvSpPr>
            <p:cNvPr id="27" name="TextBox 26">
              <a:extLst>
                <a:ext uri="{FF2B5EF4-FFF2-40B4-BE49-F238E27FC236}">
                  <a16:creationId xmlns:a16="http://schemas.microsoft.com/office/drawing/2014/main" id="{350FD99C-336F-3708-0F15-1FFCB090601F}"/>
                </a:ext>
              </a:extLst>
            </p:cNvPr>
            <p:cNvSpPr txBox="1"/>
            <p:nvPr/>
          </p:nvSpPr>
          <p:spPr>
            <a:xfrm>
              <a:off x="3759994" y="2412201"/>
              <a:ext cx="1169550" cy="400108"/>
            </a:xfrm>
            <a:prstGeom prst="rect">
              <a:avLst/>
            </a:prstGeom>
            <a:noFill/>
          </p:spPr>
          <p:txBody>
            <a:bodyPr wrap="none" rtlCol="0">
              <a:normAutofit fontScale="92500" lnSpcReduction="10000"/>
            </a:bodyPr>
            <a:lstStyle/>
            <a:p>
              <a:pPr defTabSz="342900" fontAlgn="auto">
                <a:spcBef>
                  <a:spcPts val="0"/>
                </a:spcBef>
                <a:spcAft>
                  <a:spcPts val="0"/>
                </a:spcAft>
              </a:pPr>
              <a:r>
                <a:rPr lang="en-US" sz="1350" i="1" dirty="0">
                  <a:solidFill>
                    <a:srgbClr val="202020"/>
                  </a:solidFill>
                  <a:latin typeface="Calibri" panose="020F0502020204030204"/>
                  <a:ea typeface="+mn-ea"/>
                  <a:cs typeface="+mn-cs"/>
                </a:rPr>
                <a:t>High TMB</a:t>
              </a:r>
            </a:p>
          </p:txBody>
        </p:sp>
      </p:grpSp>
      <p:grpSp>
        <p:nvGrpSpPr>
          <p:cNvPr id="28" name="Group 27">
            <a:extLst>
              <a:ext uri="{FF2B5EF4-FFF2-40B4-BE49-F238E27FC236}">
                <a16:creationId xmlns:a16="http://schemas.microsoft.com/office/drawing/2014/main" id="{E27E6702-F86B-1C42-812F-B12598C119EA}"/>
              </a:ext>
            </a:extLst>
          </p:cNvPr>
          <p:cNvGrpSpPr/>
          <p:nvPr/>
        </p:nvGrpSpPr>
        <p:grpSpPr>
          <a:xfrm>
            <a:off x="2627339" y="2696315"/>
            <a:ext cx="914119" cy="294214"/>
            <a:chOff x="3754369" y="4040144"/>
            <a:chExt cx="1407119" cy="457851"/>
          </a:xfrm>
        </p:grpSpPr>
        <p:sp>
          <p:nvSpPr>
            <p:cNvPr id="29" name="Oval 28">
              <a:extLst>
                <a:ext uri="{FF2B5EF4-FFF2-40B4-BE49-F238E27FC236}">
                  <a16:creationId xmlns:a16="http://schemas.microsoft.com/office/drawing/2014/main" id="{E15A49F6-E10A-A94B-D5E5-64761CCBFEA1}"/>
                </a:ext>
              </a:extLst>
            </p:cNvPr>
            <p:cNvSpPr/>
            <p:nvPr/>
          </p:nvSpPr>
          <p:spPr>
            <a:xfrm>
              <a:off x="3754369" y="4040144"/>
              <a:ext cx="179109" cy="179109"/>
            </a:xfrm>
            <a:prstGeom prst="ellipse">
              <a:avLst/>
            </a:prstGeom>
            <a:solidFill>
              <a:srgbClr val="FFC000"/>
            </a:solidFill>
            <a:ln w="38100"/>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25000" lnSpcReduction="20000"/>
            </a:bodyPr>
            <a:lstStyle/>
            <a:p>
              <a:pPr algn="ctr" defTabSz="342900" fontAlgn="auto">
                <a:spcBef>
                  <a:spcPts val="0"/>
                </a:spcBef>
                <a:spcAft>
                  <a:spcPts val="0"/>
                </a:spcAft>
              </a:pPr>
              <a:endParaRPr lang="en-US" sz="1350">
                <a:solidFill>
                  <a:srgbClr val="00B050"/>
                </a:solidFill>
                <a:latin typeface="Calibri" panose="020F0502020204030204"/>
              </a:endParaRPr>
            </a:p>
          </p:txBody>
        </p:sp>
        <p:sp>
          <p:nvSpPr>
            <p:cNvPr id="30" name="TextBox 29">
              <a:extLst>
                <a:ext uri="{FF2B5EF4-FFF2-40B4-BE49-F238E27FC236}">
                  <a16:creationId xmlns:a16="http://schemas.microsoft.com/office/drawing/2014/main" id="{4B9D8ACC-7F5D-F6A0-75A0-337A3D67AC65}"/>
                </a:ext>
              </a:extLst>
            </p:cNvPr>
            <p:cNvSpPr txBox="1"/>
            <p:nvPr/>
          </p:nvSpPr>
          <p:spPr>
            <a:xfrm>
              <a:off x="3810177" y="4097885"/>
              <a:ext cx="1351311" cy="400110"/>
            </a:xfrm>
            <a:prstGeom prst="rect">
              <a:avLst/>
            </a:prstGeom>
            <a:noFill/>
          </p:spPr>
          <p:txBody>
            <a:bodyPr wrap="none" rtlCol="0">
              <a:normAutofit fontScale="92500" lnSpcReduction="10000"/>
            </a:bodyPr>
            <a:lstStyle/>
            <a:p>
              <a:pPr defTabSz="342900" fontAlgn="auto">
                <a:spcBef>
                  <a:spcPts val="0"/>
                </a:spcBef>
                <a:spcAft>
                  <a:spcPts val="0"/>
                </a:spcAft>
              </a:pPr>
              <a:r>
                <a:rPr lang="en-US" sz="1350" i="1" dirty="0">
                  <a:solidFill>
                    <a:srgbClr val="202020"/>
                  </a:solidFill>
                  <a:latin typeface="Calibri" panose="020F0502020204030204"/>
                  <a:ea typeface="+mn-ea"/>
                  <a:cs typeface="+mn-cs"/>
                </a:rPr>
                <a:t>FGFR fusion</a:t>
              </a:r>
            </a:p>
          </p:txBody>
        </p:sp>
      </p:grpSp>
      <p:sp>
        <p:nvSpPr>
          <p:cNvPr id="31" name="Oval 30">
            <a:extLst>
              <a:ext uri="{FF2B5EF4-FFF2-40B4-BE49-F238E27FC236}">
                <a16:creationId xmlns:a16="http://schemas.microsoft.com/office/drawing/2014/main" id="{0B36810F-CF44-1CB4-366B-C543E9CC2E8D}"/>
              </a:ext>
            </a:extLst>
          </p:cNvPr>
          <p:cNvSpPr/>
          <p:nvPr/>
        </p:nvSpPr>
        <p:spPr>
          <a:xfrm>
            <a:off x="4225660" y="3066425"/>
            <a:ext cx="116356" cy="115095"/>
          </a:xfrm>
          <a:prstGeom prst="ellipse">
            <a:avLst/>
          </a:prstGeom>
          <a:solidFill>
            <a:srgbClr val="FFC000"/>
          </a:solidFill>
          <a:ln w="38100"/>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25000" lnSpcReduction="20000"/>
          </a:bodyPr>
          <a:lstStyle/>
          <a:p>
            <a:pPr algn="ctr" defTabSz="342900" fontAlgn="auto">
              <a:spcBef>
                <a:spcPts val="0"/>
              </a:spcBef>
              <a:spcAft>
                <a:spcPts val="0"/>
              </a:spcAft>
            </a:pPr>
            <a:endParaRPr lang="en-US" sz="1350">
              <a:solidFill>
                <a:srgbClr val="00B050"/>
              </a:solidFill>
              <a:latin typeface="Calibri" panose="020F0502020204030204"/>
            </a:endParaRPr>
          </a:p>
        </p:txBody>
      </p:sp>
      <p:sp>
        <p:nvSpPr>
          <p:cNvPr id="32" name="TextBox 31">
            <a:extLst>
              <a:ext uri="{FF2B5EF4-FFF2-40B4-BE49-F238E27FC236}">
                <a16:creationId xmlns:a16="http://schemas.microsoft.com/office/drawing/2014/main" id="{C2EBA748-B117-5A18-D6D1-48C9E64DCA7D}"/>
              </a:ext>
            </a:extLst>
          </p:cNvPr>
          <p:cNvSpPr txBox="1"/>
          <p:nvPr/>
        </p:nvSpPr>
        <p:spPr>
          <a:xfrm>
            <a:off x="4301019" y="3103100"/>
            <a:ext cx="857037" cy="257109"/>
          </a:xfrm>
          <a:prstGeom prst="rect">
            <a:avLst/>
          </a:prstGeom>
          <a:noFill/>
        </p:spPr>
        <p:txBody>
          <a:bodyPr wrap="none" rtlCol="0">
            <a:normAutofit fontScale="92500" lnSpcReduction="10000"/>
          </a:bodyPr>
          <a:lstStyle/>
          <a:p>
            <a:pPr defTabSz="342900" fontAlgn="auto">
              <a:spcBef>
                <a:spcPts val="0"/>
              </a:spcBef>
              <a:spcAft>
                <a:spcPts val="0"/>
              </a:spcAft>
            </a:pPr>
            <a:r>
              <a:rPr lang="en-US" sz="1350" i="1" dirty="0">
                <a:solidFill>
                  <a:srgbClr val="202020"/>
                </a:solidFill>
                <a:latin typeface="Calibri" panose="020F0502020204030204"/>
                <a:ea typeface="+mn-ea"/>
                <a:cs typeface="+mn-cs"/>
              </a:rPr>
              <a:t>FGFR1 amp</a:t>
            </a:r>
          </a:p>
        </p:txBody>
      </p:sp>
      <p:sp>
        <p:nvSpPr>
          <p:cNvPr id="33" name="Oval 32">
            <a:extLst>
              <a:ext uri="{FF2B5EF4-FFF2-40B4-BE49-F238E27FC236}">
                <a16:creationId xmlns:a16="http://schemas.microsoft.com/office/drawing/2014/main" id="{7BEBB07A-035A-5C87-BD27-EFFF7C1A8F33}"/>
              </a:ext>
            </a:extLst>
          </p:cNvPr>
          <p:cNvSpPr/>
          <p:nvPr/>
        </p:nvSpPr>
        <p:spPr>
          <a:xfrm>
            <a:off x="4758109" y="1148248"/>
            <a:ext cx="116356" cy="115095"/>
          </a:xfrm>
          <a:prstGeom prst="ellipse">
            <a:avLst/>
          </a:prstGeom>
          <a:solidFill>
            <a:srgbClr val="FFC000"/>
          </a:solidFill>
          <a:ln w="38100"/>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25000" lnSpcReduction="20000"/>
          </a:bodyPr>
          <a:lstStyle/>
          <a:p>
            <a:pPr algn="ctr" defTabSz="342900" fontAlgn="auto">
              <a:spcBef>
                <a:spcPts val="0"/>
              </a:spcBef>
              <a:spcAft>
                <a:spcPts val="0"/>
              </a:spcAft>
            </a:pPr>
            <a:endParaRPr lang="en-US" sz="1350">
              <a:solidFill>
                <a:srgbClr val="00B050"/>
              </a:solidFill>
              <a:latin typeface="Calibri" panose="020F0502020204030204"/>
            </a:endParaRPr>
          </a:p>
        </p:txBody>
      </p:sp>
      <p:sp>
        <p:nvSpPr>
          <p:cNvPr id="34" name="TextBox 33">
            <a:extLst>
              <a:ext uri="{FF2B5EF4-FFF2-40B4-BE49-F238E27FC236}">
                <a16:creationId xmlns:a16="http://schemas.microsoft.com/office/drawing/2014/main" id="{C2834827-F26F-B9DC-E63C-2B9B3CEAB7DC}"/>
              </a:ext>
            </a:extLst>
          </p:cNvPr>
          <p:cNvSpPr txBox="1"/>
          <p:nvPr/>
        </p:nvSpPr>
        <p:spPr>
          <a:xfrm>
            <a:off x="4526055" y="1257826"/>
            <a:ext cx="737515" cy="257109"/>
          </a:xfrm>
          <a:prstGeom prst="rect">
            <a:avLst/>
          </a:prstGeom>
          <a:noFill/>
        </p:spPr>
        <p:txBody>
          <a:bodyPr wrap="none" rtlCol="0">
            <a:normAutofit fontScale="92500" lnSpcReduction="10000"/>
          </a:bodyPr>
          <a:lstStyle/>
          <a:p>
            <a:pPr defTabSz="342900" fontAlgn="auto">
              <a:spcBef>
                <a:spcPts val="0"/>
              </a:spcBef>
              <a:spcAft>
                <a:spcPts val="0"/>
              </a:spcAft>
            </a:pPr>
            <a:r>
              <a:rPr lang="en-US" sz="1350" i="1" dirty="0">
                <a:solidFill>
                  <a:srgbClr val="202020"/>
                </a:solidFill>
                <a:latin typeface="Calibri" panose="020F0502020204030204"/>
                <a:ea typeface="+mn-ea"/>
                <a:cs typeface="+mn-cs"/>
              </a:rPr>
              <a:t>ESR1 </a:t>
            </a:r>
            <a:r>
              <a:rPr lang="en-US" sz="1350" i="1" dirty="0" err="1">
                <a:solidFill>
                  <a:srgbClr val="202020"/>
                </a:solidFill>
                <a:latin typeface="Calibri" panose="020F0502020204030204"/>
                <a:ea typeface="+mn-ea"/>
                <a:cs typeface="+mn-cs"/>
              </a:rPr>
              <a:t>mut</a:t>
            </a:r>
            <a:endParaRPr lang="en-US" sz="1350" i="1" dirty="0">
              <a:solidFill>
                <a:srgbClr val="202020"/>
              </a:solidFill>
              <a:latin typeface="Calibri" panose="020F0502020204030204"/>
              <a:ea typeface="+mn-ea"/>
              <a:cs typeface="+mn-cs"/>
            </a:endParaRPr>
          </a:p>
        </p:txBody>
      </p:sp>
      <p:grpSp>
        <p:nvGrpSpPr>
          <p:cNvPr id="35" name="Group 34">
            <a:extLst>
              <a:ext uri="{FF2B5EF4-FFF2-40B4-BE49-F238E27FC236}">
                <a16:creationId xmlns:a16="http://schemas.microsoft.com/office/drawing/2014/main" id="{33F5AC54-ECDD-241B-DEF9-C7239F593298}"/>
              </a:ext>
            </a:extLst>
          </p:cNvPr>
          <p:cNvGrpSpPr/>
          <p:nvPr/>
        </p:nvGrpSpPr>
        <p:grpSpPr>
          <a:xfrm>
            <a:off x="3237766" y="2370283"/>
            <a:ext cx="822129" cy="257109"/>
            <a:chOff x="4694011" y="3532775"/>
            <a:chExt cx="1265517" cy="400108"/>
          </a:xfrm>
        </p:grpSpPr>
        <p:sp>
          <p:nvSpPr>
            <p:cNvPr id="36" name="Oval 35">
              <a:extLst>
                <a:ext uri="{FF2B5EF4-FFF2-40B4-BE49-F238E27FC236}">
                  <a16:creationId xmlns:a16="http://schemas.microsoft.com/office/drawing/2014/main" id="{EAABDD05-A2DB-6569-94D2-609C8A32E664}"/>
                </a:ext>
              </a:extLst>
            </p:cNvPr>
            <p:cNvSpPr/>
            <p:nvPr/>
          </p:nvSpPr>
          <p:spPr>
            <a:xfrm>
              <a:off x="4694011" y="3544264"/>
              <a:ext cx="179109" cy="179109"/>
            </a:xfrm>
            <a:prstGeom prst="ellipse">
              <a:avLst/>
            </a:prstGeom>
            <a:solidFill>
              <a:srgbClr val="FFC000"/>
            </a:solidFill>
            <a:ln w="38100"/>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25000" lnSpcReduction="20000"/>
            </a:bodyPr>
            <a:lstStyle/>
            <a:p>
              <a:pPr algn="ctr" defTabSz="342900" fontAlgn="auto">
                <a:spcBef>
                  <a:spcPts val="0"/>
                </a:spcBef>
                <a:spcAft>
                  <a:spcPts val="0"/>
                </a:spcAft>
              </a:pPr>
              <a:endParaRPr lang="en-US" sz="1350">
                <a:solidFill>
                  <a:srgbClr val="00B050"/>
                </a:solidFill>
                <a:latin typeface="Calibri" panose="020F0502020204030204"/>
              </a:endParaRPr>
            </a:p>
          </p:txBody>
        </p:sp>
        <p:sp>
          <p:nvSpPr>
            <p:cNvPr id="37" name="TextBox 36">
              <a:extLst>
                <a:ext uri="{FF2B5EF4-FFF2-40B4-BE49-F238E27FC236}">
                  <a16:creationId xmlns:a16="http://schemas.microsoft.com/office/drawing/2014/main" id="{7EE69828-902A-19C0-5938-DA27F02979DD}"/>
                </a:ext>
              </a:extLst>
            </p:cNvPr>
            <p:cNvSpPr txBox="1"/>
            <p:nvPr/>
          </p:nvSpPr>
          <p:spPr>
            <a:xfrm>
              <a:off x="4783564" y="3532775"/>
              <a:ext cx="1175964" cy="400108"/>
            </a:xfrm>
            <a:prstGeom prst="rect">
              <a:avLst/>
            </a:prstGeom>
            <a:noFill/>
          </p:spPr>
          <p:txBody>
            <a:bodyPr wrap="none" rtlCol="0">
              <a:normAutofit fontScale="92500" lnSpcReduction="10000"/>
            </a:bodyPr>
            <a:lstStyle/>
            <a:p>
              <a:pPr defTabSz="342900" fontAlgn="auto">
                <a:spcBef>
                  <a:spcPts val="0"/>
                </a:spcBef>
                <a:spcAft>
                  <a:spcPts val="0"/>
                </a:spcAft>
              </a:pPr>
              <a:r>
                <a:rPr lang="en-US" sz="1350" i="1" dirty="0">
                  <a:solidFill>
                    <a:srgbClr val="202020"/>
                  </a:solidFill>
                  <a:latin typeface="Calibri" panose="020F0502020204030204"/>
                  <a:ea typeface="+mn-ea"/>
                  <a:cs typeface="+mn-cs"/>
                </a:rPr>
                <a:t>HER2 </a:t>
              </a:r>
              <a:r>
                <a:rPr lang="en-US" sz="1350" i="1" dirty="0" err="1">
                  <a:solidFill>
                    <a:srgbClr val="202020"/>
                  </a:solidFill>
                  <a:latin typeface="Calibri" panose="020F0502020204030204"/>
                  <a:ea typeface="+mn-ea"/>
                  <a:cs typeface="+mn-cs"/>
                </a:rPr>
                <a:t>mut</a:t>
              </a:r>
              <a:endParaRPr lang="en-US" sz="1350" i="1" dirty="0">
                <a:solidFill>
                  <a:srgbClr val="202020"/>
                </a:solidFill>
                <a:latin typeface="Calibri" panose="020F0502020204030204"/>
                <a:ea typeface="+mn-ea"/>
                <a:cs typeface="+mn-cs"/>
              </a:endParaRPr>
            </a:p>
          </p:txBody>
        </p:sp>
      </p:grpSp>
      <p:grpSp>
        <p:nvGrpSpPr>
          <p:cNvPr id="38" name="Group 37">
            <a:extLst>
              <a:ext uri="{FF2B5EF4-FFF2-40B4-BE49-F238E27FC236}">
                <a16:creationId xmlns:a16="http://schemas.microsoft.com/office/drawing/2014/main" id="{84661EFF-5CBE-D135-BCCD-1B23D1B467C7}"/>
              </a:ext>
            </a:extLst>
          </p:cNvPr>
          <p:cNvGrpSpPr/>
          <p:nvPr/>
        </p:nvGrpSpPr>
        <p:grpSpPr>
          <a:xfrm>
            <a:off x="3154483" y="2540978"/>
            <a:ext cx="700609" cy="257109"/>
            <a:chOff x="4565810" y="3798409"/>
            <a:chExt cx="1078459" cy="400108"/>
          </a:xfrm>
        </p:grpSpPr>
        <p:sp>
          <p:nvSpPr>
            <p:cNvPr id="39" name="TextBox 38">
              <a:extLst>
                <a:ext uri="{FF2B5EF4-FFF2-40B4-BE49-F238E27FC236}">
                  <a16:creationId xmlns:a16="http://schemas.microsoft.com/office/drawing/2014/main" id="{8A057568-A07D-A23A-F8F4-470D3E7BCBB2}"/>
                </a:ext>
              </a:extLst>
            </p:cNvPr>
            <p:cNvSpPr txBox="1"/>
            <p:nvPr/>
          </p:nvSpPr>
          <p:spPr>
            <a:xfrm>
              <a:off x="4655365" y="3798409"/>
              <a:ext cx="988904" cy="400108"/>
            </a:xfrm>
            <a:prstGeom prst="rect">
              <a:avLst/>
            </a:prstGeom>
            <a:noFill/>
          </p:spPr>
          <p:txBody>
            <a:bodyPr wrap="none" rtlCol="0">
              <a:normAutofit fontScale="92500" lnSpcReduction="10000"/>
            </a:bodyPr>
            <a:lstStyle/>
            <a:p>
              <a:pPr defTabSz="342900" fontAlgn="auto">
                <a:spcBef>
                  <a:spcPts val="0"/>
                </a:spcBef>
                <a:spcAft>
                  <a:spcPts val="0"/>
                </a:spcAft>
              </a:pPr>
              <a:r>
                <a:rPr lang="en-US" sz="1350" i="1" dirty="0" err="1">
                  <a:solidFill>
                    <a:srgbClr val="202020"/>
                  </a:solidFill>
                  <a:latin typeface="Calibri" panose="020F0502020204030204"/>
                  <a:ea typeface="+mn-ea"/>
                  <a:cs typeface="+mn-cs"/>
                </a:rPr>
                <a:t>Akt</a:t>
              </a:r>
              <a:r>
                <a:rPr lang="en-US" sz="1350" i="1" dirty="0">
                  <a:solidFill>
                    <a:srgbClr val="202020"/>
                  </a:solidFill>
                  <a:latin typeface="Calibri" panose="020F0502020204030204"/>
                  <a:ea typeface="+mn-ea"/>
                  <a:cs typeface="+mn-cs"/>
                </a:rPr>
                <a:t> </a:t>
              </a:r>
              <a:r>
                <a:rPr lang="en-US" sz="1350" i="1" dirty="0" err="1">
                  <a:solidFill>
                    <a:srgbClr val="202020"/>
                  </a:solidFill>
                  <a:latin typeface="Calibri" panose="020F0502020204030204"/>
                  <a:ea typeface="+mn-ea"/>
                  <a:cs typeface="+mn-cs"/>
                </a:rPr>
                <a:t>mut</a:t>
              </a:r>
              <a:endParaRPr lang="en-US" sz="1350" i="1" dirty="0">
                <a:solidFill>
                  <a:srgbClr val="202020"/>
                </a:solidFill>
                <a:latin typeface="Calibri" panose="020F0502020204030204"/>
                <a:ea typeface="+mn-ea"/>
                <a:cs typeface="+mn-cs"/>
              </a:endParaRPr>
            </a:p>
          </p:txBody>
        </p:sp>
        <p:sp>
          <p:nvSpPr>
            <p:cNvPr id="40" name="Oval 39">
              <a:extLst>
                <a:ext uri="{FF2B5EF4-FFF2-40B4-BE49-F238E27FC236}">
                  <a16:creationId xmlns:a16="http://schemas.microsoft.com/office/drawing/2014/main" id="{3ED0089B-CA5F-E4E4-0130-2D65A3195F13}"/>
                </a:ext>
              </a:extLst>
            </p:cNvPr>
            <p:cNvSpPr/>
            <p:nvPr/>
          </p:nvSpPr>
          <p:spPr>
            <a:xfrm>
              <a:off x="4565810" y="3809898"/>
              <a:ext cx="179109" cy="179109"/>
            </a:xfrm>
            <a:prstGeom prst="ellipse">
              <a:avLst/>
            </a:prstGeom>
            <a:solidFill>
              <a:srgbClr val="FFC000"/>
            </a:solidFill>
            <a:ln w="38100"/>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25000" lnSpcReduction="20000"/>
            </a:bodyPr>
            <a:lstStyle/>
            <a:p>
              <a:pPr algn="ctr" defTabSz="342900" fontAlgn="auto">
                <a:spcBef>
                  <a:spcPts val="0"/>
                </a:spcBef>
                <a:spcAft>
                  <a:spcPts val="0"/>
                </a:spcAft>
              </a:pPr>
              <a:endParaRPr lang="en-US" sz="1350">
                <a:solidFill>
                  <a:srgbClr val="00B050"/>
                </a:solidFill>
                <a:latin typeface="Calibri" panose="020F0502020204030204"/>
              </a:endParaRPr>
            </a:p>
          </p:txBody>
        </p:sp>
      </p:grpSp>
      <p:grpSp>
        <p:nvGrpSpPr>
          <p:cNvPr id="41" name="Group 40">
            <a:extLst>
              <a:ext uri="{FF2B5EF4-FFF2-40B4-BE49-F238E27FC236}">
                <a16:creationId xmlns:a16="http://schemas.microsoft.com/office/drawing/2014/main" id="{F4B65083-6743-1613-0537-15FC01C917DE}"/>
              </a:ext>
            </a:extLst>
          </p:cNvPr>
          <p:cNvGrpSpPr/>
          <p:nvPr/>
        </p:nvGrpSpPr>
        <p:grpSpPr>
          <a:xfrm>
            <a:off x="4536515" y="1603764"/>
            <a:ext cx="925140" cy="274889"/>
            <a:chOff x="6693195" y="2339935"/>
            <a:chExt cx="1424082" cy="427779"/>
          </a:xfrm>
        </p:grpSpPr>
        <p:sp>
          <p:nvSpPr>
            <p:cNvPr id="42" name="Oval 41">
              <a:extLst>
                <a:ext uri="{FF2B5EF4-FFF2-40B4-BE49-F238E27FC236}">
                  <a16:creationId xmlns:a16="http://schemas.microsoft.com/office/drawing/2014/main" id="{3490F41B-BFEC-3207-9C94-677047C52C2F}"/>
                </a:ext>
              </a:extLst>
            </p:cNvPr>
            <p:cNvSpPr/>
            <p:nvPr/>
          </p:nvSpPr>
          <p:spPr>
            <a:xfrm>
              <a:off x="6693195" y="2339935"/>
              <a:ext cx="179109" cy="179109"/>
            </a:xfrm>
            <a:prstGeom prst="ellipse">
              <a:avLst/>
            </a:prstGeom>
            <a:solidFill>
              <a:srgbClr val="FFC000"/>
            </a:solidFill>
            <a:ln w="38100"/>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25000" lnSpcReduction="20000"/>
            </a:bodyPr>
            <a:lstStyle/>
            <a:p>
              <a:pPr algn="ctr" defTabSz="342900" fontAlgn="auto">
                <a:spcBef>
                  <a:spcPts val="0"/>
                </a:spcBef>
                <a:spcAft>
                  <a:spcPts val="0"/>
                </a:spcAft>
              </a:pPr>
              <a:endParaRPr lang="en-US" sz="1350">
                <a:solidFill>
                  <a:srgbClr val="00B050"/>
                </a:solidFill>
                <a:latin typeface="Calibri" panose="020F0502020204030204"/>
              </a:endParaRPr>
            </a:p>
          </p:txBody>
        </p:sp>
        <p:sp>
          <p:nvSpPr>
            <p:cNvPr id="43" name="TextBox 42">
              <a:extLst>
                <a:ext uri="{FF2B5EF4-FFF2-40B4-BE49-F238E27FC236}">
                  <a16:creationId xmlns:a16="http://schemas.microsoft.com/office/drawing/2014/main" id="{E413FD4B-660A-2F7D-ECEA-77872362A388}"/>
                </a:ext>
              </a:extLst>
            </p:cNvPr>
            <p:cNvSpPr txBox="1"/>
            <p:nvPr/>
          </p:nvSpPr>
          <p:spPr>
            <a:xfrm>
              <a:off x="6774602" y="2367604"/>
              <a:ext cx="1342675" cy="400110"/>
            </a:xfrm>
            <a:prstGeom prst="rect">
              <a:avLst/>
            </a:prstGeom>
            <a:noFill/>
          </p:spPr>
          <p:txBody>
            <a:bodyPr wrap="none" rtlCol="0">
              <a:normAutofit fontScale="92500" lnSpcReduction="10000"/>
            </a:bodyPr>
            <a:lstStyle/>
            <a:p>
              <a:pPr defTabSz="342900" fontAlgn="auto">
                <a:spcBef>
                  <a:spcPts val="0"/>
                </a:spcBef>
                <a:spcAft>
                  <a:spcPts val="0"/>
                </a:spcAft>
              </a:pPr>
              <a:r>
                <a:rPr lang="en-US" sz="1350" i="1" dirty="0">
                  <a:solidFill>
                    <a:srgbClr val="202020"/>
                  </a:solidFill>
                  <a:latin typeface="Calibri" panose="020F0502020204030204"/>
                  <a:ea typeface="+mn-ea"/>
                  <a:cs typeface="+mn-cs"/>
                </a:rPr>
                <a:t>PIK3CA </a:t>
              </a:r>
              <a:r>
                <a:rPr lang="en-US" sz="1350" i="1" dirty="0" err="1">
                  <a:solidFill>
                    <a:srgbClr val="202020"/>
                  </a:solidFill>
                  <a:latin typeface="Calibri" panose="020F0502020204030204"/>
                  <a:ea typeface="+mn-ea"/>
                  <a:cs typeface="+mn-cs"/>
                </a:rPr>
                <a:t>mut</a:t>
              </a:r>
              <a:endParaRPr lang="en-US" sz="1350" i="1" dirty="0">
                <a:solidFill>
                  <a:srgbClr val="202020"/>
                </a:solidFill>
                <a:latin typeface="Calibri" panose="020F0502020204030204"/>
                <a:ea typeface="+mn-ea"/>
                <a:cs typeface="+mn-cs"/>
              </a:endParaRPr>
            </a:p>
          </p:txBody>
        </p:sp>
      </p:grpSp>
      <p:grpSp>
        <p:nvGrpSpPr>
          <p:cNvPr id="44" name="Group 43">
            <a:extLst>
              <a:ext uri="{FF2B5EF4-FFF2-40B4-BE49-F238E27FC236}">
                <a16:creationId xmlns:a16="http://schemas.microsoft.com/office/drawing/2014/main" id="{B243B3C7-03D0-3009-613E-637208D41F07}"/>
              </a:ext>
            </a:extLst>
          </p:cNvPr>
          <p:cNvGrpSpPr/>
          <p:nvPr/>
        </p:nvGrpSpPr>
        <p:grpSpPr>
          <a:xfrm>
            <a:off x="4767104" y="3504462"/>
            <a:ext cx="582874" cy="257109"/>
            <a:chOff x="7048143" y="5297767"/>
            <a:chExt cx="897226" cy="400108"/>
          </a:xfrm>
        </p:grpSpPr>
        <p:sp>
          <p:nvSpPr>
            <p:cNvPr id="45" name="Oval 44">
              <a:extLst>
                <a:ext uri="{FF2B5EF4-FFF2-40B4-BE49-F238E27FC236}">
                  <a16:creationId xmlns:a16="http://schemas.microsoft.com/office/drawing/2014/main" id="{B1D00BC7-6802-4D41-6991-A949111E34D7}"/>
                </a:ext>
              </a:extLst>
            </p:cNvPr>
            <p:cNvSpPr/>
            <p:nvPr/>
          </p:nvSpPr>
          <p:spPr>
            <a:xfrm>
              <a:off x="7766260" y="5413011"/>
              <a:ext cx="179109" cy="179109"/>
            </a:xfrm>
            <a:prstGeom prst="ellipse">
              <a:avLst/>
            </a:prstGeom>
            <a:solidFill>
              <a:schemeClr val="bg1"/>
            </a:solidFill>
            <a:ln w="38100"/>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25000" lnSpcReduction="20000"/>
            </a:bodyPr>
            <a:lstStyle/>
            <a:p>
              <a:pPr algn="ctr" defTabSz="342900" fontAlgn="auto">
                <a:spcBef>
                  <a:spcPts val="0"/>
                </a:spcBef>
                <a:spcAft>
                  <a:spcPts val="0"/>
                </a:spcAft>
              </a:pPr>
              <a:endParaRPr lang="en-US" sz="1350">
                <a:solidFill>
                  <a:srgbClr val="00B050"/>
                </a:solidFill>
                <a:latin typeface="Calibri" panose="020F0502020204030204"/>
              </a:endParaRPr>
            </a:p>
          </p:txBody>
        </p:sp>
        <p:sp>
          <p:nvSpPr>
            <p:cNvPr id="46" name="TextBox 45">
              <a:extLst>
                <a:ext uri="{FF2B5EF4-FFF2-40B4-BE49-F238E27FC236}">
                  <a16:creationId xmlns:a16="http://schemas.microsoft.com/office/drawing/2014/main" id="{056D68F1-D1F0-A8AB-1E21-DFD83CE694AC}"/>
                </a:ext>
              </a:extLst>
            </p:cNvPr>
            <p:cNvSpPr txBox="1"/>
            <p:nvPr/>
          </p:nvSpPr>
          <p:spPr>
            <a:xfrm>
              <a:off x="7048143" y="5297767"/>
              <a:ext cx="714298" cy="400108"/>
            </a:xfrm>
            <a:prstGeom prst="rect">
              <a:avLst/>
            </a:prstGeom>
            <a:noFill/>
          </p:spPr>
          <p:txBody>
            <a:bodyPr wrap="none" rtlCol="0">
              <a:normAutofit fontScale="92500" lnSpcReduction="10000"/>
            </a:bodyPr>
            <a:lstStyle/>
            <a:p>
              <a:pPr defTabSz="342900" fontAlgn="auto">
                <a:spcBef>
                  <a:spcPts val="0"/>
                </a:spcBef>
                <a:spcAft>
                  <a:spcPts val="0"/>
                </a:spcAft>
              </a:pPr>
              <a:r>
                <a:rPr lang="en-US" sz="1350" i="1" dirty="0">
                  <a:solidFill>
                    <a:srgbClr val="202020"/>
                  </a:solidFill>
                  <a:latin typeface="Calibri" panose="020F0502020204030204"/>
                  <a:ea typeface="+mn-ea"/>
                  <a:cs typeface="+mn-cs"/>
                </a:rPr>
                <a:t>TP53</a:t>
              </a:r>
            </a:p>
          </p:txBody>
        </p:sp>
      </p:grpSp>
      <p:sp>
        <p:nvSpPr>
          <p:cNvPr id="47" name="Oval 46">
            <a:extLst>
              <a:ext uri="{FF2B5EF4-FFF2-40B4-BE49-F238E27FC236}">
                <a16:creationId xmlns:a16="http://schemas.microsoft.com/office/drawing/2014/main" id="{F0AD8DA3-F5E4-ED08-18DF-C454F28785C0}"/>
              </a:ext>
            </a:extLst>
          </p:cNvPr>
          <p:cNvSpPr/>
          <p:nvPr/>
        </p:nvSpPr>
        <p:spPr>
          <a:xfrm>
            <a:off x="3689169" y="3316654"/>
            <a:ext cx="116356" cy="115095"/>
          </a:xfrm>
          <a:prstGeom prst="ellipse">
            <a:avLst/>
          </a:prstGeom>
          <a:solidFill>
            <a:schemeClr val="bg1"/>
          </a:solidFill>
          <a:ln w="38100"/>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25000" lnSpcReduction="20000"/>
          </a:bodyPr>
          <a:lstStyle/>
          <a:p>
            <a:pPr algn="ctr" defTabSz="342900" fontAlgn="auto">
              <a:spcBef>
                <a:spcPts val="0"/>
              </a:spcBef>
              <a:spcAft>
                <a:spcPts val="0"/>
              </a:spcAft>
            </a:pPr>
            <a:endParaRPr lang="en-US" sz="1350">
              <a:solidFill>
                <a:srgbClr val="00B050"/>
              </a:solidFill>
              <a:latin typeface="Calibri" panose="020F0502020204030204"/>
            </a:endParaRPr>
          </a:p>
        </p:txBody>
      </p:sp>
      <p:sp>
        <p:nvSpPr>
          <p:cNvPr id="48" name="TextBox 47">
            <a:extLst>
              <a:ext uri="{FF2B5EF4-FFF2-40B4-BE49-F238E27FC236}">
                <a16:creationId xmlns:a16="http://schemas.microsoft.com/office/drawing/2014/main" id="{323FB6B9-986C-9D46-A65A-A9409C85F33B}"/>
              </a:ext>
            </a:extLst>
          </p:cNvPr>
          <p:cNvSpPr txBox="1"/>
          <p:nvPr/>
        </p:nvSpPr>
        <p:spPr>
          <a:xfrm>
            <a:off x="3307376" y="3385647"/>
            <a:ext cx="481587" cy="257109"/>
          </a:xfrm>
          <a:prstGeom prst="rect">
            <a:avLst/>
          </a:prstGeom>
          <a:noFill/>
        </p:spPr>
        <p:txBody>
          <a:bodyPr wrap="none" rtlCol="0">
            <a:normAutofit fontScale="92500" lnSpcReduction="10000"/>
          </a:bodyPr>
          <a:lstStyle/>
          <a:p>
            <a:pPr defTabSz="342900" fontAlgn="auto">
              <a:spcBef>
                <a:spcPts val="0"/>
              </a:spcBef>
              <a:spcAft>
                <a:spcPts val="0"/>
              </a:spcAft>
            </a:pPr>
            <a:r>
              <a:rPr lang="en-US" sz="1350" i="1" dirty="0">
                <a:solidFill>
                  <a:srgbClr val="202020"/>
                </a:solidFill>
                <a:latin typeface="Calibri" panose="020F0502020204030204"/>
                <a:ea typeface="+mn-ea"/>
                <a:cs typeface="+mn-cs"/>
              </a:rPr>
              <a:t>PTEN</a:t>
            </a:r>
          </a:p>
        </p:txBody>
      </p:sp>
      <p:grpSp>
        <p:nvGrpSpPr>
          <p:cNvPr id="49" name="Group 48">
            <a:extLst>
              <a:ext uri="{FF2B5EF4-FFF2-40B4-BE49-F238E27FC236}">
                <a16:creationId xmlns:a16="http://schemas.microsoft.com/office/drawing/2014/main" id="{7E68D927-217B-1FED-C528-583DB04FE72E}"/>
              </a:ext>
            </a:extLst>
          </p:cNvPr>
          <p:cNvGrpSpPr/>
          <p:nvPr/>
        </p:nvGrpSpPr>
        <p:grpSpPr>
          <a:xfrm>
            <a:off x="3354124" y="1402849"/>
            <a:ext cx="1023527" cy="257109"/>
            <a:chOff x="4873120" y="2027272"/>
            <a:chExt cx="1575531" cy="400108"/>
          </a:xfrm>
        </p:grpSpPr>
        <p:sp>
          <p:nvSpPr>
            <p:cNvPr id="50" name="Oval 49">
              <a:extLst>
                <a:ext uri="{FF2B5EF4-FFF2-40B4-BE49-F238E27FC236}">
                  <a16:creationId xmlns:a16="http://schemas.microsoft.com/office/drawing/2014/main" id="{7355EBDE-44BC-6A4F-E633-E4DBC51A37D1}"/>
                </a:ext>
              </a:extLst>
            </p:cNvPr>
            <p:cNvSpPr/>
            <p:nvPr/>
          </p:nvSpPr>
          <p:spPr>
            <a:xfrm>
              <a:off x="4873120" y="2027272"/>
              <a:ext cx="179109" cy="179109"/>
            </a:xfrm>
            <a:prstGeom prst="ellipse">
              <a:avLst/>
            </a:prstGeom>
            <a:solidFill>
              <a:schemeClr val="bg1"/>
            </a:solidFill>
            <a:ln w="38100"/>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25000" lnSpcReduction="20000"/>
            </a:bodyPr>
            <a:lstStyle/>
            <a:p>
              <a:pPr algn="ctr" defTabSz="342900" fontAlgn="auto">
                <a:spcBef>
                  <a:spcPts val="0"/>
                </a:spcBef>
                <a:spcAft>
                  <a:spcPts val="0"/>
                </a:spcAft>
              </a:pPr>
              <a:endParaRPr lang="en-US" sz="1350">
                <a:solidFill>
                  <a:srgbClr val="00B050"/>
                </a:solidFill>
                <a:latin typeface="Calibri" panose="020F0502020204030204"/>
              </a:endParaRPr>
            </a:p>
          </p:txBody>
        </p:sp>
        <p:sp>
          <p:nvSpPr>
            <p:cNvPr id="51" name="TextBox 50">
              <a:extLst>
                <a:ext uri="{FF2B5EF4-FFF2-40B4-BE49-F238E27FC236}">
                  <a16:creationId xmlns:a16="http://schemas.microsoft.com/office/drawing/2014/main" id="{668491AF-2FB7-E0BA-AF08-9C57D614567A}"/>
                </a:ext>
              </a:extLst>
            </p:cNvPr>
            <p:cNvSpPr txBox="1"/>
            <p:nvPr/>
          </p:nvSpPr>
          <p:spPr>
            <a:xfrm>
              <a:off x="4945591" y="2027272"/>
              <a:ext cx="1503060" cy="400108"/>
            </a:xfrm>
            <a:prstGeom prst="rect">
              <a:avLst/>
            </a:prstGeom>
            <a:noFill/>
          </p:spPr>
          <p:txBody>
            <a:bodyPr wrap="none" rtlCol="0">
              <a:normAutofit fontScale="92500" lnSpcReduction="10000"/>
            </a:bodyPr>
            <a:lstStyle/>
            <a:p>
              <a:pPr defTabSz="342900" fontAlgn="auto">
                <a:spcBef>
                  <a:spcPts val="0"/>
                </a:spcBef>
                <a:spcAft>
                  <a:spcPts val="0"/>
                </a:spcAft>
              </a:pPr>
              <a:r>
                <a:rPr lang="en-US" sz="1350" i="1" dirty="0">
                  <a:solidFill>
                    <a:srgbClr val="202020"/>
                  </a:solidFill>
                  <a:latin typeface="Calibri" panose="020F0502020204030204"/>
                  <a:ea typeface="+mn-ea"/>
                  <a:cs typeface="+mn-cs"/>
                </a:rPr>
                <a:t>BRCA1/2 </a:t>
              </a:r>
              <a:r>
                <a:rPr lang="en-US" sz="1350" i="1" dirty="0" err="1">
                  <a:solidFill>
                    <a:srgbClr val="202020"/>
                  </a:solidFill>
                  <a:latin typeface="Calibri" panose="020F0502020204030204"/>
                  <a:ea typeface="+mn-ea"/>
                  <a:cs typeface="+mn-cs"/>
                </a:rPr>
                <a:t>mut</a:t>
              </a:r>
              <a:endParaRPr lang="en-US" sz="1350" i="1" dirty="0">
                <a:solidFill>
                  <a:srgbClr val="202020"/>
                </a:solidFill>
                <a:latin typeface="Calibri" panose="020F0502020204030204"/>
                <a:ea typeface="+mn-ea"/>
                <a:cs typeface="+mn-cs"/>
              </a:endParaRPr>
            </a:p>
          </p:txBody>
        </p:sp>
      </p:grpSp>
      <p:sp>
        <p:nvSpPr>
          <p:cNvPr id="52" name="TextBox 51">
            <a:extLst>
              <a:ext uri="{FF2B5EF4-FFF2-40B4-BE49-F238E27FC236}">
                <a16:creationId xmlns:a16="http://schemas.microsoft.com/office/drawing/2014/main" id="{B944757E-8375-8ADE-E5AE-6B666D78AF23}"/>
              </a:ext>
            </a:extLst>
          </p:cNvPr>
          <p:cNvSpPr txBox="1"/>
          <p:nvPr/>
        </p:nvSpPr>
        <p:spPr>
          <a:xfrm>
            <a:off x="5699974" y="3595809"/>
            <a:ext cx="1690080" cy="632885"/>
          </a:xfrm>
          <a:prstGeom prst="rect">
            <a:avLst/>
          </a:prstGeom>
          <a:noFill/>
        </p:spPr>
        <p:txBody>
          <a:bodyPr wrap="none" rtlCol="0">
            <a:normAutofit fontScale="92500" lnSpcReduction="20000"/>
          </a:bodyPr>
          <a:lstStyle/>
          <a:p>
            <a:pPr defTabSz="342900" fontAlgn="auto">
              <a:spcBef>
                <a:spcPts val="0"/>
              </a:spcBef>
              <a:spcAft>
                <a:spcPts val="0"/>
              </a:spcAft>
            </a:pPr>
            <a:r>
              <a:rPr lang="en-US" sz="1050" i="1" dirty="0" err="1">
                <a:solidFill>
                  <a:srgbClr val="202020"/>
                </a:solidFill>
                <a:latin typeface="Calibri" panose="020F0502020204030204"/>
                <a:ea typeface="+mn-ea"/>
                <a:cs typeface="+mn-cs"/>
              </a:rPr>
              <a:t>Mut</a:t>
            </a:r>
            <a:r>
              <a:rPr lang="en-US" sz="1050" i="1" dirty="0">
                <a:solidFill>
                  <a:srgbClr val="202020"/>
                </a:solidFill>
                <a:latin typeface="Calibri" panose="020F0502020204030204"/>
                <a:ea typeface="+mn-ea"/>
                <a:cs typeface="+mn-cs"/>
              </a:rPr>
              <a:t>=mutation</a:t>
            </a:r>
          </a:p>
          <a:p>
            <a:pPr defTabSz="342900" fontAlgn="auto">
              <a:spcBef>
                <a:spcPts val="0"/>
              </a:spcBef>
              <a:spcAft>
                <a:spcPts val="0"/>
              </a:spcAft>
            </a:pPr>
            <a:r>
              <a:rPr lang="en-US" sz="1050" i="1" dirty="0">
                <a:solidFill>
                  <a:srgbClr val="202020"/>
                </a:solidFill>
                <a:latin typeface="Calibri" panose="020F0502020204030204"/>
                <a:ea typeface="+mn-ea"/>
                <a:cs typeface="+mn-cs"/>
              </a:rPr>
              <a:t>Amp=amplification</a:t>
            </a:r>
          </a:p>
          <a:p>
            <a:pPr defTabSz="342900" fontAlgn="auto">
              <a:spcBef>
                <a:spcPts val="0"/>
              </a:spcBef>
              <a:spcAft>
                <a:spcPts val="0"/>
              </a:spcAft>
            </a:pPr>
            <a:r>
              <a:rPr lang="en-US" sz="1050" i="1" dirty="0">
                <a:solidFill>
                  <a:srgbClr val="202020"/>
                </a:solidFill>
                <a:latin typeface="Calibri" panose="020F0502020204030204"/>
                <a:ea typeface="+mn-ea"/>
                <a:cs typeface="+mn-cs"/>
              </a:rPr>
              <a:t>MSI = microsatellite instability</a:t>
            </a:r>
          </a:p>
          <a:p>
            <a:pPr defTabSz="342900" fontAlgn="auto">
              <a:spcBef>
                <a:spcPts val="0"/>
              </a:spcBef>
              <a:spcAft>
                <a:spcPts val="0"/>
              </a:spcAft>
            </a:pPr>
            <a:r>
              <a:rPr lang="en-US" sz="1050" i="1" dirty="0">
                <a:solidFill>
                  <a:srgbClr val="202020"/>
                </a:solidFill>
                <a:latin typeface="Calibri" panose="020F0502020204030204"/>
                <a:ea typeface="+mn-ea"/>
                <a:cs typeface="+mn-cs"/>
              </a:rPr>
              <a:t>TMB = tumor mutational burden</a:t>
            </a:r>
          </a:p>
        </p:txBody>
      </p:sp>
      <p:sp>
        <p:nvSpPr>
          <p:cNvPr id="53" name="TextBox 52">
            <a:extLst>
              <a:ext uri="{FF2B5EF4-FFF2-40B4-BE49-F238E27FC236}">
                <a16:creationId xmlns:a16="http://schemas.microsoft.com/office/drawing/2014/main" id="{39763F14-6F2A-5A0B-6516-8AA9176445A8}"/>
              </a:ext>
            </a:extLst>
          </p:cNvPr>
          <p:cNvSpPr txBox="1"/>
          <p:nvPr/>
        </p:nvSpPr>
        <p:spPr>
          <a:xfrm>
            <a:off x="7272202" y="4767528"/>
            <a:ext cx="1707390" cy="276999"/>
          </a:xfrm>
          <a:prstGeom prst="rect">
            <a:avLst/>
          </a:prstGeom>
          <a:noFill/>
        </p:spPr>
        <p:txBody>
          <a:bodyPr wrap="none" rtlCol="0">
            <a:spAutoFit/>
          </a:bodyPr>
          <a:lstStyle/>
          <a:p>
            <a:pPr defTabSz="342900" fontAlgn="auto">
              <a:spcBef>
                <a:spcPts val="0"/>
              </a:spcBef>
              <a:spcAft>
                <a:spcPts val="0"/>
              </a:spcAft>
            </a:pPr>
            <a:r>
              <a:rPr lang="en-US" sz="1200" i="1" dirty="0">
                <a:solidFill>
                  <a:srgbClr val="202020"/>
                </a:solidFill>
                <a:latin typeface="Calibri" panose="020F0502020204030204"/>
                <a:ea typeface="+mn-ea"/>
                <a:cs typeface="+mn-cs"/>
              </a:rPr>
              <a:t>M. Burkard, unpublished</a:t>
            </a:r>
          </a:p>
        </p:txBody>
      </p:sp>
      <p:sp>
        <p:nvSpPr>
          <p:cNvPr id="2" name="Rectangle 1">
            <a:extLst>
              <a:ext uri="{FF2B5EF4-FFF2-40B4-BE49-F238E27FC236}">
                <a16:creationId xmlns:a16="http://schemas.microsoft.com/office/drawing/2014/main" id="{26490196-71D7-E013-67E1-A83527B76355}"/>
              </a:ext>
            </a:extLst>
          </p:cNvPr>
          <p:cNvSpPr/>
          <p:nvPr/>
        </p:nvSpPr>
        <p:spPr bwMode="auto">
          <a:xfrm>
            <a:off x="4371389" y="1531403"/>
            <a:ext cx="1138081" cy="401858"/>
          </a:xfrm>
          <a:prstGeom prst="rect">
            <a:avLst/>
          </a:prstGeom>
          <a:noFill/>
          <a:ln w="6350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Tree>
    <p:extLst>
      <p:ext uri="{BB962C8B-B14F-4D97-AF65-F5344CB8AC3E}">
        <p14:creationId xmlns:p14="http://schemas.microsoft.com/office/powerpoint/2010/main" val="2137883152"/>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BC828ED-ABD3-A0B1-8F33-54E3DF87B877}"/>
              </a:ext>
            </a:extLst>
          </p:cNvPr>
          <p:cNvSpPr>
            <a:spLocks noGrp="1"/>
          </p:cNvSpPr>
          <p:nvPr>
            <p:ph sz="half" idx="1"/>
          </p:nvPr>
        </p:nvSpPr>
        <p:spPr/>
        <p:txBody>
          <a:bodyPr/>
          <a:lstStyle/>
          <a:p>
            <a:pPr marL="0" indent="0">
              <a:buNone/>
            </a:pPr>
            <a:r>
              <a:rPr lang="en-US" dirty="0" err="1"/>
              <a:t>Alpelisib</a:t>
            </a:r>
            <a:endParaRPr lang="en-US" dirty="0"/>
          </a:p>
          <a:p>
            <a:r>
              <a:rPr lang="en-US" sz="2000" dirty="0"/>
              <a:t>FDA approved 2022</a:t>
            </a:r>
          </a:p>
          <a:p>
            <a:r>
              <a:rPr lang="en-US" sz="2000" dirty="0"/>
              <a:t>Elevates BG</a:t>
            </a:r>
          </a:p>
          <a:p>
            <a:r>
              <a:rPr lang="en-US" sz="2000" dirty="0"/>
              <a:t>Rash/diarrhea</a:t>
            </a:r>
          </a:p>
          <a:p>
            <a:endParaRPr lang="en-US" dirty="0"/>
          </a:p>
          <a:p>
            <a:endParaRPr lang="en-US" dirty="0"/>
          </a:p>
        </p:txBody>
      </p:sp>
      <p:sp>
        <p:nvSpPr>
          <p:cNvPr id="3" name="Content Placeholder 2">
            <a:extLst>
              <a:ext uri="{FF2B5EF4-FFF2-40B4-BE49-F238E27FC236}">
                <a16:creationId xmlns:a16="http://schemas.microsoft.com/office/drawing/2014/main" id="{D9AF094F-F673-381F-FDDE-70918CD72244}"/>
              </a:ext>
            </a:extLst>
          </p:cNvPr>
          <p:cNvSpPr>
            <a:spLocks noGrp="1"/>
          </p:cNvSpPr>
          <p:nvPr>
            <p:ph sz="half" idx="2"/>
          </p:nvPr>
        </p:nvSpPr>
        <p:spPr>
          <a:xfrm>
            <a:off x="3822032" y="1089076"/>
            <a:ext cx="3810000" cy="2936240"/>
          </a:xfrm>
        </p:spPr>
        <p:txBody>
          <a:bodyPr/>
          <a:lstStyle/>
          <a:p>
            <a:r>
              <a:rPr lang="en-US" dirty="0"/>
              <a:t>RLY-2608</a:t>
            </a:r>
          </a:p>
          <a:p>
            <a:r>
              <a:rPr lang="en-US" sz="2000" dirty="0"/>
              <a:t>Mutation specific</a:t>
            </a:r>
          </a:p>
          <a:p>
            <a:r>
              <a:rPr lang="en-US" sz="2000" dirty="0"/>
              <a:t>No effect on glucose</a:t>
            </a:r>
          </a:p>
        </p:txBody>
      </p:sp>
      <p:sp>
        <p:nvSpPr>
          <p:cNvPr id="4" name="Title 3">
            <a:extLst>
              <a:ext uri="{FF2B5EF4-FFF2-40B4-BE49-F238E27FC236}">
                <a16:creationId xmlns:a16="http://schemas.microsoft.com/office/drawing/2014/main" id="{6266CF4E-F306-57F5-82E7-F6DD7C2ABC33}"/>
              </a:ext>
            </a:extLst>
          </p:cNvPr>
          <p:cNvSpPr>
            <a:spLocks noGrp="1"/>
          </p:cNvSpPr>
          <p:nvPr>
            <p:ph type="title"/>
          </p:nvPr>
        </p:nvSpPr>
        <p:spPr/>
        <p:txBody>
          <a:bodyPr/>
          <a:lstStyle/>
          <a:p>
            <a:r>
              <a:rPr lang="en-US" dirty="0"/>
              <a:t>Targeting PIK3CA</a:t>
            </a:r>
          </a:p>
        </p:txBody>
      </p:sp>
    </p:spTree>
    <p:extLst>
      <p:ext uri="{BB962C8B-B14F-4D97-AF65-F5344CB8AC3E}">
        <p14:creationId xmlns:p14="http://schemas.microsoft.com/office/powerpoint/2010/main" val="288657005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A4132CC6-FAC0-79E7-78E6-9ED42E363A4D}"/>
              </a:ext>
            </a:extLst>
          </p:cNvPr>
          <p:cNvPicPr>
            <a:picLocks noChangeAspect="1"/>
          </p:cNvPicPr>
          <p:nvPr/>
        </p:nvPicPr>
        <p:blipFill>
          <a:blip r:embed="rId3"/>
          <a:stretch>
            <a:fillRect/>
          </a:stretch>
        </p:blipFill>
        <p:spPr>
          <a:xfrm>
            <a:off x="433536" y="999284"/>
            <a:ext cx="3670233" cy="2577200"/>
          </a:xfrm>
          <a:prstGeom prst="rect">
            <a:avLst/>
          </a:prstGeom>
        </p:spPr>
      </p:pic>
      <p:sp>
        <p:nvSpPr>
          <p:cNvPr id="10" name="TextBox 9">
            <a:extLst>
              <a:ext uri="{FF2B5EF4-FFF2-40B4-BE49-F238E27FC236}">
                <a16:creationId xmlns:a16="http://schemas.microsoft.com/office/drawing/2014/main" id="{68805FBB-D290-0308-0C88-B264C13789BF}"/>
              </a:ext>
            </a:extLst>
          </p:cNvPr>
          <p:cNvSpPr txBox="1"/>
          <p:nvPr/>
        </p:nvSpPr>
        <p:spPr>
          <a:xfrm>
            <a:off x="3381153" y="4640833"/>
            <a:ext cx="3763926" cy="369332"/>
          </a:xfrm>
          <a:prstGeom prst="rect">
            <a:avLst/>
          </a:prstGeom>
          <a:noFill/>
        </p:spPr>
        <p:txBody>
          <a:bodyPr wrap="square" rtlCol="0">
            <a:spAutoFit/>
          </a:bodyPr>
          <a:lstStyle/>
          <a:p>
            <a:r>
              <a:rPr lang="en-US" sz="900" b="0" i="0" dirty="0">
                <a:effectLst/>
                <a:latin typeface="+mn-lt"/>
              </a:rPr>
              <a:t>Gomis et al. (2017), Tumor cell dormancy. Mol Oncol, 11: 62-78.</a:t>
            </a:r>
          </a:p>
          <a:p>
            <a:r>
              <a:rPr lang="en-US" sz="900" b="0" i="0" dirty="0">
                <a:effectLst/>
                <a:latin typeface="+mn-lt"/>
              </a:rPr>
              <a:t>Pan et al. N Engl J Med 2017; 377:1836-1846</a:t>
            </a:r>
            <a:endParaRPr lang="en-US" sz="900" dirty="0">
              <a:latin typeface="+mn-lt"/>
            </a:endParaRPr>
          </a:p>
        </p:txBody>
      </p:sp>
      <p:pic>
        <p:nvPicPr>
          <p:cNvPr id="7" name="Picture 6">
            <a:extLst>
              <a:ext uri="{FF2B5EF4-FFF2-40B4-BE49-F238E27FC236}">
                <a16:creationId xmlns:a16="http://schemas.microsoft.com/office/drawing/2014/main" id="{9F89C495-EC6C-18AD-F1BB-633C10BC220D}"/>
              </a:ext>
            </a:extLst>
          </p:cNvPr>
          <p:cNvPicPr>
            <a:picLocks noChangeAspect="1"/>
          </p:cNvPicPr>
          <p:nvPr/>
        </p:nvPicPr>
        <p:blipFill>
          <a:blip r:embed="rId4"/>
          <a:stretch>
            <a:fillRect/>
          </a:stretch>
        </p:blipFill>
        <p:spPr>
          <a:xfrm>
            <a:off x="4464721" y="999284"/>
            <a:ext cx="4260577" cy="2577200"/>
          </a:xfrm>
          <a:prstGeom prst="rect">
            <a:avLst/>
          </a:prstGeom>
        </p:spPr>
      </p:pic>
    </p:spTree>
    <p:extLst>
      <p:ext uri="{BB962C8B-B14F-4D97-AF65-F5344CB8AC3E}">
        <p14:creationId xmlns:p14="http://schemas.microsoft.com/office/powerpoint/2010/main" val="2718422008"/>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BC828ED-ABD3-A0B1-8F33-54E3DF87B877}"/>
              </a:ext>
            </a:extLst>
          </p:cNvPr>
          <p:cNvSpPr>
            <a:spLocks noGrp="1"/>
          </p:cNvSpPr>
          <p:nvPr>
            <p:ph sz="half" idx="1"/>
          </p:nvPr>
        </p:nvSpPr>
        <p:spPr>
          <a:xfrm>
            <a:off x="573505" y="1106011"/>
            <a:ext cx="3810000" cy="2936240"/>
          </a:xfrm>
        </p:spPr>
        <p:txBody>
          <a:bodyPr/>
          <a:lstStyle/>
          <a:p>
            <a:pPr marL="0" indent="0">
              <a:buNone/>
            </a:pPr>
            <a:r>
              <a:rPr lang="en-US" dirty="0"/>
              <a:t>RLY-2608</a:t>
            </a:r>
          </a:p>
          <a:p>
            <a:endParaRPr lang="en-US" dirty="0"/>
          </a:p>
          <a:p>
            <a:endParaRPr lang="en-US" dirty="0"/>
          </a:p>
        </p:txBody>
      </p:sp>
      <p:sp>
        <p:nvSpPr>
          <p:cNvPr id="3" name="Content Placeholder 2">
            <a:extLst>
              <a:ext uri="{FF2B5EF4-FFF2-40B4-BE49-F238E27FC236}">
                <a16:creationId xmlns:a16="http://schemas.microsoft.com/office/drawing/2014/main" id="{D9AF094F-F673-381F-FDDE-70918CD72244}"/>
              </a:ext>
            </a:extLst>
          </p:cNvPr>
          <p:cNvSpPr>
            <a:spLocks noGrp="1"/>
          </p:cNvSpPr>
          <p:nvPr>
            <p:ph sz="half" idx="2"/>
          </p:nvPr>
        </p:nvSpPr>
        <p:spPr>
          <a:xfrm>
            <a:off x="3822032" y="1089076"/>
            <a:ext cx="3810000" cy="2936240"/>
          </a:xfrm>
        </p:spPr>
        <p:txBody>
          <a:bodyPr/>
          <a:lstStyle/>
          <a:p>
            <a:r>
              <a:rPr lang="en-US" dirty="0"/>
              <a:t>RLY-2608</a:t>
            </a:r>
          </a:p>
          <a:p>
            <a:r>
              <a:rPr lang="en-US" sz="2000" dirty="0"/>
              <a:t>Mutation specific</a:t>
            </a:r>
          </a:p>
          <a:p>
            <a:r>
              <a:rPr lang="en-US" sz="2000" dirty="0"/>
              <a:t>No effect on glucose</a:t>
            </a:r>
          </a:p>
        </p:txBody>
      </p:sp>
      <p:sp>
        <p:nvSpPr>
          <p:cNvPr id="4" name="Title 3">
            <a:extLst>
              <a:ext uri="{FF2B5EF4-FFF2-40B4-BE49-F238E27FC236}">
                <a16:creationId xmlns:a16="http://schemas.microsoft.com/office/drawing/2014/main" id="{6266CF4E-F306-57F5-82E7-F6DD7C2ABC33}"/>
              </a:ext>
            </a:extLst>
          </p:cNvPr>
          <p:cNvSpPr>
            <a:spLocks noGrp="1"/>
          </p:cNvSpPr>
          <p:nvPr>
            <p:ph type="title"/>
          </p:nvPr>
        </p:nvSpPr>
        <p:spPr/>
        <p:txBody>
          <a:bodyPr/>
          <a:lstStyle/>
          <a:p>
            <a:r>
              <a:rPr lang="en-US" dirty="0"/>
              <a:t>Targeting PIK3CA</a:t>
            </a:r>
          </a:p>
        </p:txBody>
      </p:sp>
      <p:pic>
        <p:nvPicPr>
          <p:cNvPr id="6" name="Picture 5">
            <a:extLst>
              <a:ext uri="{FF2B5EF4-FFF2-40B4-BE49-F238E27FC236}">
                <a16:creationId xmlns:a16="http://schemas.microsoft.com/office/drawing/2014/main" id="{F5479DDC-9345-B682-CB60-801EADC60BD4}"/>
              </a:ext>
            </a:extLst>
          </p:cNvPr>
          <p:cNvPicPr>
            <a:picLocks noChangeAspect="1"/>
          </p:cNvPicPr>
          <p:nvPr/>
        </p:nvPicPr>
        <p:blipFill>
          <a:blip r:embed="rId2"/>
          <a:stretch>
            <a:fillRect/>
          </a:stretch>
        </p:blipFill>
        <p:spPr>
          <a:xfrm>
            <a:off x="2695073" y="822961"/>
            <a:ext cx="5736405" cy="3286399"/>
          </a:xfrm>
          <a:prstGeom prst="rect">
            <a:avLst/>
          </a:prstGeom>
        </p:spPr>
      </p:pic>
      <p:sp>
        <p:nvSpPr>
          <p:cNvPr id="5" name="TextBox 4">
            <a:extLst>
              <a:ext uri="{FF2B5EF4-FFF2-40B4-BE49-F238E27FC236}">
                <a16:creationId xmlns:a16="http://schemas.microsoft.com/office/drawing/2014/main" id="{DF904024-C122-8ADE-6B5D-D80B6DEC0F7C}"/>
              </a:ext>
            </a:extLst>
          </p:cNvPr>
          <p:cNvSpPr txBox="1"/>
          <p:nvPr/>
        </p:nvSpPr>
        <p:spPr>
          <a:xfrm>
            <a:off x="5996412" y="4058293"/>
            <a:ext cx="2860527" cy="369332"/>
          </a:xfrm>
          <a:prstGeom prst="rect">
            <a:avLst/>
          </a:prstGeom>
          <a:noFill/>
        </p:spPr>
        <p:txBody>
          <a:bodyPr wrap="none" rtlCol="0">
            <a:spAutoFit/>
          </a:bodyPr>
          <a:lstStyle/>
          <a:p>
            <a:r>
              <a:rPr lang="en-US" sz="1800" i="1" dirty="0" err="1"/>
              <a:t>Varkaris</a:t>
            </a:r>
            <a:r>
              <a:rPr lang="en-US" sz="1800" i="1" dirty="0"/>
              <a:t> et al. AACR 2023</a:t>
            </a:r>
          </a:p>
        </p:txBody>
      </p:sp>
    </p:spTree>
    <p:extLst>
      <p:ext uri="{BB962C8B-B14F-4D97-AF65-F5344CB8AC3E}">
        <p14:creationId xmlns:p14="http://schemas.microsoft.com/office/powerpoint/2010/main" val="1390256374"/>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2C938C0-7ECD-1687-3DD5-26604C78D653}"/>
              </a:ext>
            </a:extLst>
          </p:cNvPr>
          <p:cNvSpPr>
            <a:spLocks noGrp="1"/>
          </p:cNvSpPr>
          <p:nvPr>
            <p:ph type="title"/>
          </p:nvPr>
        </p:nvSpPr>
        <p:spPr>
          <a:xfrm>
            <a:off x="-35485" y="119358"/>
            <a:ext cx="9144000" cy="695496"/>
          </a:xfrm>
        </p:spPr>
        <p:txBody>
          <a:bodyPr/>
          <a:lstStyle/>
          <a:p>
            <a:r>
              <a:rPr lang="en-US" sz="2800" dirty="0"/>
              <a:t>Druggable targets by NGS</a:t>
            </a:r>
          </a:p>
        </p:txBody>
      </p:sp>
      <p:sp>
        <p:nvSpPr>
          <p:cNvPr id="5" name="Rectangle 4">
            <a:extLst>
              <a:ext uri="{FF2B5EF4-FFF2-40B4-BE49-F238E27FC236}">
                <a16:creationId xmlns:a16="http://schemas.microsoft.com/office/drawing/2014/main" id="{8C92C1C3-4A6B-8E7F-E080-FE2DBAA74CAA}"/>
              </a:ext>
            </a:extLst>
          </p:cNvPr>
          <p:cNvSpPr/>
          <p:nvPr/>
        </p:nvSpPr>
        <p:spPr>
          <a:xfrm>
            <a:off x="2192526" y="839500"/>
            <a:ext cx="3323206" cy="2998931"/>
          </a:xfrm>
          <a:prstGeom prst="rect">
            <a:avLst/>
          </a:prstGeom>
          <a:solidFill>
            <a:srgbClr val="B0E2FF"/>
          </a:solidFill>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defTabSz="342900" fontAlgn="auto">
              <a:spcBef>
                <a:spcPts val="0"/>
              </a:spcBef>
              <a:spcAft>
                <a:spcPts val="0"/>
              </a:spcAft>
            </a:pPr>
            <a:endParaRPr lang="en-US" sz="1350" dirty="0">
              <a:solidFill>
                <a:srgbClr val="FFFFFF"/>
              </a:solidFill>
              <a:latin typeface="Calibri" panose="020F0502020204030204"/>
            </a:endParaRPr>
          </a:p>
        </p:txBody>
      </p:sp>
      <p:cxnSp>
        <p:nvCxnSpPr>
          <p:cNvPr id="6" name="Straight Arrow Connector 5">
            <a:extLst>
              <a:ext uri="{FF2B5EF4-FFF2-40B4-BE49-F238E27FC236}">
                <a16:creationId xmlns:a16="http://schemas.microsoft.com/office/drawing/2014/main" id="{92F0765A-8A51-7B4C-5438-C23E5895B6D0}"/>
              </a:ext>
            </a:extLst>
          </p:cNvPr>
          <p:cNvCxnSpPr/>
          <p:nvPr/>
        </p:nvCxnSpPr>
        <p:spPr>
          <a:xfrm flipH="1" flipV="1">
            <a:off x="2038733" y="1173129"/>
            <a:ext cx="16812" cy="2317104"/>
          </a:xfrm>
          <a:prstGeom prst="straightConnector1">
            <a:avLst/>
          </a:prstGeom>
          <a:ln w="50800">
            <a:solidFill>
              <a:srgbClr val="FF0000">
                <a:alpha val="75000"/>
              </a:srgbClr>
            </a:solidFill>
            <a:tailEnd type="triangle"/>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A6A72EE1-CAA4-F259-5C2B-29B55FCE3D98}"/>
              </a:ext>
            </a:extLst>
          </p:cNvPr>
          <p:cNvSpPr txBox="1"/>
          <p:nvPr/>
        </p:nvSpPr>
        <p:spPr>
          <a:xfrm rot="16200000">
            <a:off x="1222104" y="2317658"/>
            <a:ext cx="1197921" cy="319910"/>
          </a:xfrm>
          <a:prstGeom prst="rect">
            <a:avLst/>
          </a:prstGeom>
          <a:noFill/>
        </p:spPr>
        <p:txBody>
          <a:bodyPr wrap="none" rtlCol="0">
            <a:normAutofit fontScale="92500" lnSpcReduction="20000"/>
          </a:bodyPr>
          <a:lstStyle/>
          <a:p>
            <a:pPr defTabSz="342900" fontAlgn="auto">
              <a:spcBef>
                <a:spcPts val="0"/>
              </a:spcBef>
              <a:spcAft>
                <a:spcPts val="0"/>
              </a:spcAft>
            </a:pPr>
            <a:r>
              <a:rPr lang="en-US" sz="1800" b="1" dirty="0" err="1">
                <a:solidFill>
                  <a:srgbClr val="202020"/>
                </a:solidFill>
                <a:latin typeface="Calibri" panose="020F0502020204030204"/>
                <a:ea typeface="+mn-ea"/>
                <a:cs typeface="+mn-cs"/>
              </a:rPr>
              <a:t>Actionability</a:t>
            </a:r>
            <a:endParaRPr lang="en-US" sz="1800" b="1" dirty="0">
              <a:solidFill>
                <a:srgbClr val="202020"/>
              </a:solidFill>
              <a:latin typeface="Calibri" panose="020F0502020204030204"/>
              <a:ea typeface="+mn-ea"/>
              <a:cs typeface="+mn-cs"/>
            </a:endParaRPr>
          </a:p>
        </p:txBody>
      </p:sp>
      <p:cxnSp>
        <p:nvCxnSpPr>
          <p:cNvPr id="8" name="Straight Arrow Connector 7">
            <a:extLst>
              <a:ext uri="{FF2B5EF4-FFF2-40B4-BE49-F238E27FC236}">
                <a16:creationId xmlns:a16="http://schemas.microsoft.com/office/drawing/2014/main" id="{FA604C37-A691-C648-8393-FEF4B6A7A37F}"/>
              </a:ext>
            </a:extLst>
          </p:cNvPr>
          <p:cNvCxnSpPr/>
          <p:nvPr/>
        </p:nvCxnSpPr>
        <p:spPr>
          <a:xfrm rot="5400000" flipH="1" flipV="1">
            <a:off x="3766820" y="2783131"/>
            <a:ext cx="16630" cy="2342496"/>
          </a:xfrm>
          <a:prstGeom prst="straightConnector1">
            <a:avLst/>
          </a:prstGeom>
          <a:ln w="50800">
            <a:solidFill>
              <a:srgbClr val="FF0000">
                <a:alpha val="75000"/>
              </a:srgbClr>
            </a:solidFill>
            <a:tailEnd type="triangl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71A2BE8D-5BA5-ABEA-3CCD-6159BD34D03B}"/>
              </a:ext>
            </a:extLst>
          </p:cNvPr>
          <p:cNvSpPr txBox="1"/>
          <p:nvPr/>
        </p:nvSpPr>
        <p:spPr>
          <a:xfrm>
            <a:off x="3212661" y="3982529"/>
            <a:ext cx="1063257" cy="316442"/>
          </a:xfrm>
          <a:prstGeom prst="rect">
            <a:avLst/>
          </a:prstGeom>
          <a:noFill/>
        </p:spPr>
        <p:txBody>
          <a:bodyPr wrap="none" rtlCol="0">
            <a:normAutofit fontScale="92500" lnSpcReduction="20000"/>
          </a:bodyPr>
          <a:lstStyle/>
          <a:p>
            <a:pPr defTabSz="342900" fontAlgn="auto">
              <a:spcBef>
                <a:spcPts val="0"/>
              </a:spcBef>
              <a:spcAft>
                <a:spcPts val="0"/>
              </a:spcAft>
            </a:pPr>
            <a:r>
              <a:rPr lang="en-US" sz="1800" b="1" dirty="0">
                <a:solidFill>
                  <a:srgbClr val="202020"/>
                </a:solidFill>
                <a:latin typeface="Calibri" panose="020F0502020204030204"/>
                <a:ea typeface="+mn-ea"/>
                <a:cs typeface="+mn-cs"/>
              </a:rPr>
              <a:t>Prevalence</a:t>
            </a:r>
          </a:p>
        </p:txBody>
      </p:sp>
      <p:sp>
        <p:nvSpPr>
          <p:cNvPr id="10" name="TextBox 9">
            <a:extLst>
              <a:ext uri="{FF2B5EF4-FFF2-40B4-BE49-F238E27FC236}">
                <a16:creationId xmlns:a16="http://schemas.microsoft.com/office/drawing/2014/main" id="{62627E54-3C95-ADD6-7823-5879E15713E9}"/>
              </a:ext>
            </a:extLst>
          </p:cNvPr>
          <p:cNvSpPr txBox="1"/>
          <p:nvPr/>
        </p:nvSpPr>
        <p:spPr>
          <a:xfrm>
            <a:off x="5652713" y="1654886"/>
            <a:ext cx="767228" cy="257109"/>
          </a:xfrm>
          <a:prstGeom prst="rect">
            <a:avLst/>
          </a:prstGeom>
          <a:noFill/>
        </p:spPr>
        <p:txBody>
          <a:bodyPr wrap="none" rtlCol="0">
            <a:normAutofit fontScale="92500" lnSpcReduction="10000"/>
          </a:bodyPr>
          <a:lstStyle/>
          <a:p>
            <a:pPr defTabSz="342900" fontAlgn="auto">
              <a:spcBef>
                <a:spcPts val="0"/>
              </a:spcBef>
              <a:spcAft>
                <a:spcPts val="0"/>
              </a:spcAft>
            </a:pPr>
            <a:r>
              <a:rPr lang="en-US" sz="1350" b="1" dirty="0">
                <a:solidFill>
                  <a:srgbClr val="00B050"/>
                </a:solidFill>
                <a:latin typeface="Calibri" panose="020F0502020204030204"/>
                <a:ea typeface="+mn-ea"/>
                <a:cs typeface="+mn-cs"/>
              </a:rPr>
              <a:t>Approved</a:t>
            </a:r>
          </a:p>
        </p:txBody>
      </p:sp>
      <p:sp>
        <p:nvSpPr>
          <p:cNvPr id="11" name="TextBox 10">
            <a:extLst>
              <a:ext uri="{FF2B5EF4-FFF2-40B4-BE49-F238E27FC236}">
                <a16:creationId xmlns:a16="http://schemas.microsoft.com/office/drawing/2014/main" id="{07DEBE85-7777-9F99-AB9F-74C6F9F111F0}"/>
              </a:ext>
            </a:extLst>
          </p:cNvPr>
          <p:cNvSpPr txBox="1"/>
          <p:nvPr/>
        </p:nvSpPr>
        <p:spPr>
          <a:xfrm>
            <a:off x="5652713" y="2886640"/>
            <a:ext cx="1665698" cy="257109"/>
          </a:xfrm>
          <a:prstGeom prst="rect">
            <a:avLst/>
          </a:prstGeom>
          <a:noFill/>
        </p:spPr>
        <p:txBody>
          <a:bodyPr wrap="none" rtlCol="0">
            <a:normAutofit fontScale="92500" lnSpcReduction="10000"/>
          </a:bodyPr>
          <a:lstStyle/>
          <a:p>
            <a:pPr defTabSz="342900" fontAlgn="auto">
              <a:spcBef>
                <a:spcPts val="0"/>
              </a:spcBef>
              <a:spcAft>
                <a:spcPts val="0"/>
              </a:spcAft>
            </a:pPr>
            <a:r>
              <a:rPr lang="en-US" sz="1350" b="1" dirty="0">
                <a:solidFill>
                  <a:srgbClr val="FF0000"/>
                </a:solidFill>
                <a:latin typeface="Calibri" panose="020F0502020204030204"/>
                <a:ea typeface="+mn-ea"/>
                <a:cs typeface="+mn-cs"/>
              </a:rPr>
              <a:t>Off label/investigational</a:t>
            </a:r>
          </a:p>
        </p:txBody>
      </p:sp>
      <p:sp>
        <p:nvSpPr>
          <p:cNvPr id="12" name="Right Triangle 11">
            <a:extLst>
              <a:ext uri="{FF2B5EF4-FFF2-40B4-BE49-F238E27FC236}">
                <a16:creationId xmlns:a16="http://schemas.microsoft.com/office/drawing/2014/main" id="{8ED305BE-C8CC-659B-2A5F-88A6A9358F9E}"/>
              </a:ext>
            </a:extLst>
          </p:cNvPr>
          <p:cNvSpPr/>
          <p:nvPr/>
        </p:nvSpPr>
        <p:spPr>
          <a:xfrm flipV="1">
            <a:off x="5523848" y="839500"/>
            <a:ext cx="257729" cy="2047141"/>
          </a:xfrm>
          <a:prstGeom prst="rtTriangl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defTabSz="342900" fontAlgn="auto">
              <a:spcBef>
                <a:spcPts val="0"/>
              </a:spcBef>
              <a:spcAft>
                <a:spcPts val="0"/>
              </a:spcAft>
            </a:pPr>
            <a:endParaRPr lang="en-US" sz="1350">
              <a:solidFill>
                <a:srgbClr val="FFFFFF"/>
              </a:solidFill>
              <a:latin typeface="Calibri" panose="020F0502020204030204"/>
            </a:endParaRPr>
          </a:p>
        </p:txBody>
      </p:sp>
      <p:sp>
        <p:nvSpPr>
          <p:cNvPr id="13" name="Right Triangle 12">
            <a:extLst>
              <a:ext uri="{FF2B5EF4-FFF2-40B4-BE49-F238E27FC236}">
                <a16:creationId xmlns:a16="http://schemas.microsoft.com/office/drawing/2014/main" id="{4DD640E7-EBC2-AB74-2E5F-AD95B4377966}"/>
              </a:ext>
            </a:extLst>
          </p:cNvPr>
          <p:cNvSpPr/>
          <p:nvPr/>
        </p:nvSpPr>
        <p:spPr>
          <a:xfrm flipV="1">
            <a:off x="5523848" y="2262703"/>
            <a:ext cx="176126" cy="1575727"/>
          </a:xfrm>
          <a:prstGeom prst="rtTriangl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defTabSz="342900" fontAlgn="auto">
              <a:spcBef>
                <a:spcPts val="0"/>
              </a:spcBef>
              <a:spcAft>
                <a:spcPts val="0"/>
              </a:spcAft>
            </a:pPr>
            <a:endParaRPr lang="en-US" sz="1350">
              <a:solidFill>
                <a:srgbClr val="FFFFFF"/>
              </a:solidFill>
              <a:latin typeface="Calibri" panose="020F0502020204030204"/>
            </a:endParaRPr>
          </a:p>
        </p:txBody>
      </p:sp>
      <p:sp>
        <p:nvSpPr>
          <p:cNvPr id="14" name="TextBox 13">
            <a:extLst>
              <a:ext uri="{FF2B5EF4-FFF2-40B4-BE49-F238E27FC236}">
                <a16:creationId xmlns:a16="http://schemas.microsoft.com/office/drawing/2014/main" id="{FF3919FB-8617-3AF7-8AF6-EFAE5C12013C}"/>
              </a:ext>
            </a:extLst>
          </p:cNvPr>
          <p:cNvSpPr txBox="1"/>
          <p:nvPr/>
        </p:nvSpPr>
        <p:spPr>
          <a:xfrm>
            <a:off x="5453186" y="627121"/>
            <a:ext cx="625268" cy="257109"/>
          </a:xfrm>
          <a:prstGeom prst="rect">
            <a:avLst/>
          </a:prstGeom>
          <a:noFill/>
        </p:spPr>
        <p:txBody>
          <a:bodyPr wrap="none" rtlCol="0">
            <a:normAutofit fontScale="92500" lnSpcReduction="10000"/>
          </a:bodyPr>
          <a:lstStyle/>
          <a:p>
            <a:pPr defTabSz="342900" fontAlgn="auto">
              <a:spcBef>
                <a:spcPts val="0"/>
              </a:spcBef>
              <a:spcAft>
                <a:spcPts val="0"/>
              </a:spcAft>
            </a:pPr>
            <a:r>
              <a:rPr lang="en-US" sz="1350" dirty="0">
                <a:solidFill>
                  <a:srgbClr val="202020"/>
                </a:solidFill>
                <a:latin typeface="Calibri" panose="020F0502020204030204"/>
                <a:ea typeface="+mn-ea"/>
                <a:cs typeface="+mn-cs"/>
              </a:rPr>
              <a:t>efficacy</a:t>
            </a:r>
          </a:p>
        </p:txBody>
      </p:sp>
      <p:grpSp>
        <p:nvGrpSpPr>
          <p:cNvPr id="15" name="Group 14">
            <a:extLst>
              <a:ext uri="{FF2B5EF4-FFF2-40B4-BE49-F238E27FC236}">
                <a16:creationId xmlns:a16="http://schemas.microsoft.com/office/drawing/2014/main" id="{E4607BEA-ADE2-1880-2E89-2DEA7DB1B127}"/>
              </a:ext>
            </a:extLst>
          </p:cNvPr>
          <p:cNvGrpSpPr/>
          <p:nvPr/>
        </p:nvGrpSpPr>
        <p:grpSpPr>
          <a:xfrm>
            <a:off x="2239214" y="962245"/>
            <a:ext cx="952649" cy="314657"/>
            <a:chOff x="3156923" y="1341613"/>
            <a:chExt cx="1466428" cy="489664"/>
          </a:xfrm>
        </p:grpSpPr>
        <p:sp>
          <p:nvSpPr>
            <p:cNvPr id="16" name="Oval 15">
              <a:extLst>
                <a:ext uri="{FF2B5EF4-FFF2-40B4-BE49-F238E27FC236}">
                  <a16:creationId xmlns:a16="http://schemas.microsoft.com/office/drawing/2014/main" id="{4FA967DD-2F35-3061-E3E8-E61190B51365}"/>
                </a:ext>
              </a:extLst>
            </p:cNvPr>
            <p:cNvSpPr/>
            <p:nvPr/>
          </p:nvSpPr>
          <p:spPr>
            <a:xfrm>
              <a:off x="3156923" y="1341613"/>
              <a:ext cx="179109" cy="179109"/>
            </a:xfrm>
            <a:prstGeom prst="ellipse">
              <a:avLst/>
            </a:prstGeom>
            <a:solidFill>
              <a:schemeClr val="bg1"/>
            </a:solidFill>
            <a:ln w="38100"/>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25000" lnSpcReduction="20000"/>
            </a:bodyPr>
            <a:lstStyle/>
            <a:p>
              <a:pPr algn="ctr" defTabSz="342900" fontAlgn="auto">
                <a:spcBef>
                  <a:spcPts val="0"/>
                </a:spcBef>
                <a:spcAft>
                  <a:spcPts val="0"/>
                </a:spcAft>
              </a:pPr>
              <a:endParaRPr lang="en-US" sz="1350">
                <a:solidFill>
                  <a:srgbClr val="00B050"/>
                </a:solidFill>
                <a:latin typeface="Calibri" panose="020F0502020204030204"/>
              </a:endParaRPr>
            </a:p>
          </p:txBody>
        </p:sp>
        <p:sp>
          <p:nvSpPr>
            <p:cNvPr id="17" name="TextBox 16">
              <a:extLst>
                <a:ext uri="{FF2B5EF4-FFF2-40B4-BE49-F238E27FC236}">
                  <a16:creationId xmlns:a16="http://schemas.microsoft.com/office/drawing/2014/main" id="{519F9E7A-B7B7-B3DB-6CF0-53F296A78D00}"/>
                </a:ext>
              </a:extLst>
            </p:cNvPr>
            <p:cNvSpPr txBox="1"/>
            <p:nvPr/>
          </p:nvSpPr>
          <p:spPr>
            <a:xfrm>
              <a:off x="3246478" y="1431168"/>
              <a:ext cx="1376873" cy="400109"/>
            </a:xfrm>
            <a:prstGeom prst="rect">
              <a:avLst/>
            </a:prstGeom>
            <a:noFill/>
          </p:spPr>
          <p:txBody>
            <a:bodyPr wrap="none" rtlCol="0">
              <a:normAutofit fontScale="92500" lnSpcReduction="10000"/>
            </a:bodyPr>
            <a:lstStyle/>
            <a:p>
              <a:pPr defTabSz="342900" fontAlgn="auto">
                <a:spcBef>
                  <a:spcPts val="0"/>
                </a:spcBef>
                <a:spcAft>
                  <a:spcPts val="0"/>
                </a:spcAft>
              </a:pPr>
              <a:r>
                <a:rPr lang="en-US" sz="1350" i="1" dirty="0">
                  <a:solidFill>
                    <a:srgbClr val="202020"/>
                  </a:solidFill>
                  <a:latin typeface="Calibri" panose="020F0502020204030204"/>
                  <a:ea typeface="+mn-ea"/>
                  <a:cs typeface="+mn-cs"/>
                </a:rPr>
                <a:t>NTRK fusion</a:t>
              </a:r>
            </a:p>
          </p:txBody>
        </p:sp>
      </p:grpSp>
      <p:sp>
        <p:nvSpPr>
          <p:cNvPr id="18" name="Oval 17">
            <a:extLst>
              <a:ext uri="{FF2B5EF4-FFF2-40B4-BE49-F238E27FC236}">
                <a16:creationId xmlns:a16="http://schemas.microsoft.com/office/drawing/2014/main" id="{45A55FB5-4A8E-F25C-D5D8-318051F43941}"/>
              </a:ext>
            </a:extLst>
          </p:cNvPr>
          <p:cNvSpPr/>
          <p:nvPr/>
        </p:nvSpPr>
        <p:spPr>
          <a:xfrm>
            <a:off x="6493310" y="972193"/>
            <a:ext cx="116356" cy="115095"/>
          </a:xfrm>
          <a:prstGeom prst="ellipse">
            <a:avLst/>
          </a:prstGeom>
          <a:solidFill>
            <a:schemeClr val="bg1"/>
          </a:solidFill>
          <a:ln w="38100"/>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25000" lnSpcReduction="20000"/>
          </a:bodyPr>
          <a:lstStyle/>
          <a:p>
            <a:pPr algn="ctr" defTabSz="342900" fontAlgn="auto">
              <a:spcBef>
                <a:spcPts val="0"/>
              </a:spcBef>
              <a:spcAft>
                <a:spcPts val="0"/>
              </a:spcAft>
            </a:pPr>
            <a:endParaRPr lang="en-US" sz="1350">
              <a:solidFill>
                <a:srgbClr val="00B050"/>
              </a:solidFill>
              <a:latin typeface="Calibri" panose="020F0502020204030204"/>
            </a:endParaRPr>
          </a:p>
        </p:txBody>
      </p:sp>
      <p:sp>
        <p:nvSpPr>
          <p:cNvPr id="19" name="TextBox 18">
            <a:extLst>
              <a:ext uri="{FF2B5EF4-FFF2-40B4-BE49-F238E27FC236}">
                <a16:creationId xmlns:a16="http://schemas.microsoft.com/office/drawing/2014/main" id="{65D3B489-A983-8B5E-002C-1B35C9D0E582}"/>
              </a:ext>
            </a:extLst>
          </p:cNvPr>
          <p:cNvSpPr txBox="1"/>
          <p:nvPr/>
        </p:nvSpPr>
        <p:spPr>
          <a:xfrm>
            <a:off x="6584543" y="911074"/>
            <a:ext cx="875032" cy="257109"/>
          </a:xfrm>
          <a:prstGeom prst="rect">
            <a:avLst/>
          </a:prstGeom>
          <a:noFill/>
        </p:spPr>
        <p:txBody>
          <a:bodyPr wrap="none" rtlCol="0">
            <a:normAutofit fontScale="92500" lnSpcReduction="10000"/>
          </a:bodyPr>
          <a:lstStyle/>
          <a:p>
            <a:pPr defTabSz="342900" fontAlgn="auto">
              <a:spcBef>
                <a:spcPts val="0"/>
              </a:spcBef>
              <a:spcAft>
                <a:spcPts val="0"/>
              </a:spcAft>
            </a:pPr>
            <a:r>
              <a:rPr lang="en-US" sz="1350" dirty="0">
                <a:solidFill>
                  <a:srgbClr val="202020"/>
                </a:solidFill>
                <a:latin typeface="Calibri" panose="020F0502020204030204"/>
                <a:ea typeface="+mn-ea"/>
                <a:cs typeface="+mn-cs"/>
              </a:rPr>
              <a:t>All BC types</a:t>
            </a:r>
          </a:p>
        </p:txBody>
      </p:sp>
      <p:sp>
        <p:nvSpPr>
          <p:cNvPr id="20" name="Oval 19">
            <a:extLst>
              <a:ext uri="{FF2B5EF4-FFF2-40B4-BE49-F238E27FC236}">
                <a16:creationId xmlns:a16="http://schemas.microsoft.com/office/drawing/2014/main" id="{3139F118-BC26-6FC9-E661-D8E6CB52C92C}"/>
              </a:ext>
            </a:extLst>
          </p:cNvPr>
          <p:cNvSpPr/>
          <p:nvPr/>
        </p:nvSpPr>
        <p:spPr>
          <a:xfrm>
            <a:off x="6493310" y="1177623"/>
            <a:ext cx="116356" cy="115095"/>
          </a:xfrm>
          <a:prstGeom prst="ellipse">
            <a:avLst/>
          </a:prstGeom>
          <a:solidFill>
            <a:srgbClr val="FFC000"/>
          </a:solidFill>
          <a:ln w="38100"/>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25000" lnSpcReduction="20000"/>
          </a:bodyPr>
          <a:lstStyle/>
          <a:p>
            <a:pPr algn="ctr" defTabSz="342900" fontAlgn="auto">
              <a:spcBef>
                <a:spcPts val="0"/>
              </a:spcBef>
              <a:spcAft>
                <a:spcPts val="0"/>
              </a:spcAft>
            </a:pPr>
            <a:endParaRPr lang="en-US" sz="1350">
              <a:solidFill>
                <a:srgbClr val="00B050"/>
              </a:solidFill>
              <a:latin typeface="Calibri" panose="020F0502020204030204"/>
            </a:endParaRPr>
          </a:p>
        </p:txBody>
      </p:sp>
      <p:sp>
        <p:nvSpPr>
          <p:cNvPr id="21" name="TextBox 20">
            <a:extLst>
              <a:ext uri="{FF2B5EF4-FFF2-40B4-BE49-F238E27FC236}">
                <a16:creationId xmlns:a16="http://schemas.microsoft.com/office/drawing/2014/main" id="{24D8D5C0-61E9-6B1B-857C-F973B313F043}"/>
              </a:ext>
            </a:extLst>
          </p:cNvPr>
          <p:cNvSpPr txBox="1"/>
          <p:nvPr/>
        </p:nvSpPr>
        <p:spPr>
          <a:xfrm>
            <a:off x="6584543" y="1125493"/>
            <a:ext cx="409884" cy="257109"/>
          </a:xfrm>
          <a:prstGeom prst="rect">
            <a:avLst/>
          </a:prstGeom>
          <a:noFill/>
        </p:spPr>
        <p:txBody>
          <a:bodyPr wrap="none" rtlCol="0">
            <a:normAutofit fontScale="92500" lnSpcReduction="10000"/>
          </a:bodyPr>
          <a:lstStyle/>
          <a:p>
            <a:pPr defTabSz="342900" fontAlgn="auto">
              <a:spcBef>
                <a:spcPts val="0"/>
              </a:spcBef>
              <a:spcAft>
                <a:spcPts val="0"/>
              </a:spcAft>
            </a:pPr>
            <a:r>
              <a:rPr lang="en-US" sz="1350" dirty="0">
                <a:solidFill>
                  <a:srgbClr val="202020"/>
                </a:solidFill>
                <a:latin typeface="Calibri" panose="020F0502020204030204"/>
                <a:ea typeface="+mn-ea"/>
                <a:cs typeface="+mn-cs"/>
              </a:rPr>
              <a:t>HR+</a:t>
            </a:r>
          </a:p>
        </p:txBody>
      </p:sp>
      <p:grpSp>
        <p:nvGrpSpPr>
          <p:cNvPr id="22" name="Group 21">
            <a:extLst>
              <a:ext uri="{FF2B5EF4-FFF2-40B4-BE49-F238E27FC236}">
                <a16:creationId xmlns:a16="http://schemas.microsoft.com/office/drawing/2014/main" id="{EEE7CE88-4EFC-ECC6-7119-A56CB4A958AE}"/>
              </a:ext>
            </a:extLst>
          </p:cNvPr>
          <p:cNvGrpSpPr/>
          <p:nvPr/>
        </p:nvGrpSpPr>
        <p:grpSpPr>
          <a:xfrm>
            <a:off x="2286933" y="1362826"/>
            <a:ext cx="475551" cy="257109"/>
            <a:chOff x="3230377" y="1964989"/>
            <a:chExt cx="732023" cy="400108"/>
          </a:xfrm>
        </p:grpSpPr>
        <p:sp>
          <p:nvSpPr>
            <p:cNvPr id="23" name="Oval 22">
              <a:extLst>
                <a:ext uri="{FF2B5EF4-FFF2-40B4-BE49-F238E27FC236}">
                  <a16:creationId xmlns:a16="http://schemas.microsoft.com/office/drawing/2014/main" id="{E300C7E9-B13B-C401-8AF2-F5BED65CF192}"/>
                </a:ext>
              </a:extLst>
            </p:cNvPr>
            <p:cNvSpPr/>
            <p:nvPr/>
          </p:nvSpPr>
          <p:spPr>
            <a:xfrm>
              <a:off x="3230377" y="1973571"/>
              <a:ext cx="179109" cy="179109"/>
            </a:xfrm>
            <a:prstGeom prst="ellipse">
              <a:avLst/>
            </a:prstGeom>
            <a:solidFill>
              <a:schemeClr val="bg1"/>
            </a:solidFill>
            <a:ln w="38100"/>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25000" lnSpcReduction="20000"/>
            </a:bodyPr>
            <a:lstStyle/>
            <a:p>
              <a:pPr algn="ctr" defTabSz="342900" fontAlgn="auto">
                <a:spcBef>
                  <a:spcPts val="0"/>
                </a:spcBef>
                <a:spcAft>
                  <a:spcPts val="0"/>
                </a:spcAft>
              </a:pPr>
              <a:endParaRPr lang="en-US" sz="1350">
                <a:solidFill>
                  <a:srgbClr val="00B050"/>
                </a:solidFill>
                <a:latin typeface="Calibri" panose="020F0502020204030204"/>
              </a:endParaRPr>
            </a:p>
          </p:txBody>
        </p:sp>
        <p:sp>
          <p:nvSpPr>
            <p:cNvPr id="24" name="TextBox 23">
              <a:extLst>
                <a:ext uri="{FF2B5EF4-FFF2-40B4-BE49-F238E27FC236}">
                  <a16:creationId xmlns:a16="http://schemas.microsoft.com/office/drawing/2014/main" id="{349BB122-262C-8F28-8242-29B7CD4F4650}"/>
                </a:ext>
              </a:extLst>
            </p:cNvPr>
            <p:cNvSpPr txBox="1"/>
            <p:nvPr/>
          </p:nvSpPr>
          <p:spPr>
            <a:xfrm>
              <a:off x="3357106" y="1964989"/>
              <a:ext cx="605294" cy="400108"/>
            </a:xfrm>
            <a:prstGeom prst="rect">
              <a:avLst/>
            </a:prstGeom>
            <a:noFill/>
          </p:spPr>
          <p:txBody>
            <a:bodyPr wrap="none" rtlCol="0">
              <a:normAutofit fontScale="92500" lnSpcReduction="10000"/>
            </a:bodyPr>
            <a:lstStyle/>
            <a:p>
              <a:pPr defTabSz="342900" fontAlgn="auto">
                <a:spcBef>
                  <a:spcPts val="0"/>
                </a:spcBef>
                <a:spcAft>
                  <a:spcPts val="0"/>
                </a:spcAft>
              </a:pPr>
              <a:r>
                <a:rPr lang="en-US" sz="1350" i="1" dirty="0">
                  <a:solidFill>
                    <a:srgbClr val="202020"/>
                  </a:solidFill>
                  <a:latin typeface="Calibri" panose="020F0502020204030204"/>
                  <a:ea typeface="+mn-ea"/>
                  <a:cs typeface="+mn-cs"/>
                </a:rPr>
                <a:t>MSI</a:t>
              </a:r>
            </a:p>
          </p:txBody>
        </p:sp>
      </p:grpSp>
      <p:grpSp>
        <p:nvGrpSpPr>
          <p:cNvPr id="25" name="Group 24">
            <a:extLst>
              <a:ext uri="{FF2B5EF4-FFF2-40B4-BE49-F238E27FC236}">
                <a16:creationId xmlns:a16="http://schemas.microsoft.com/office/drawing/2014/main" id="{6A8A0045-3A06-D7AA-8DA9-6307FB70079A}"/>
              </a:ext>
            </a:extLst>
          </p:cNvPr>
          <p:cNvGrpSpPr/>
          <p:nvPr/>
        </p:nvGrpSpPr>
        <p:grpSpPr>
          <a:xfrm>
            <a:off x="2556812" y="1650204"/>
            <a:ext cx="833966" cy="257109"/>
            <a:chOff x="3645807" y="2412201"/>
            <a:chExt cx="1283737" cy="400108"/>
          </a:xfrm>
        </p:grpSpPr>
        <p:sp>
          <p:nvSpPr>
            <p:cNvPr id="26" name="Oval 25">
              <a:extLst>
                <a:ext uri="{FF2B5EF4-FFF2-40B4-BE49-F238E27FC236}">
                  <a16:creationId xmlns:a16="http://schemas.microsoft.com/office/drawing/2014/main" id="{0D908FC1-0A74-13C5-379B-A8629AE447E2}"/>
                </a:ext>
              </a:extLst>
            </p:cNvPr>
            <p:cNvSpPr/>
            <p:nvPr/>
          </p:nvSpPr>
          <p:spPr>
            <a:xfrm>
              <a:off x="3645807" y="2447440"/>
              <a:ext cx="179109" cy="179109"/>
            </a:xfrm>
            <a:prstGeom prst="ellipse">
              <a:avLst/>
            </a:prstGeom>
            <a:solidFill>
              <a:schemeClr val="bg1"/>
            </a:solidFill>
            <a:ln w="38100"/>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25000" lnSpcReduction="20000"/>
            </a:bodyPr>
            <a:lstStyle/>
            <a:p>
              <a:pPr algn="ctr" defTabSz="342900" fontAlgn="auto">
                <a:spcBef>
                  <a:spcPts val="0"/>
                </a:spcBef>
                <a:spcAft>
                  <a:spcPts val="0"/>
                </a:spcAft>
              </a:pPr>
              <a:endParaRPr lang="en-US" sz="1350">
                <a:solidFill>
                  <a:srgbClr val="00B050"/>
                </a:solidFill>
                <a:latin typeface="Calibri" panose="020F0502020204030204"/>
              </a:endParaRPr>
            </a:p>
          </p:txBody>
        </p:sp>
        <p:sp>
          <p:nvSpPr>
            <p:cNvPr id="27" name="TextBox 26">
              <a:extLst>
                <a:ext uri="{FF2B5EF4-FFF2-40B4-BE49-F238E27FC236}">
                  <a16:creationId xmlns:a16="http://schemas.microsoft.com/office/drawing/2014/main" id="{350FD99C-336F-3708-0F15-1FFCB090601F}"/>
                </a:ext>
              </a:extLst>
            </p:cNvPr>
            <p:cNvSpPr txBox="1"/>
            <p:nvPr/>
          </p:nvSpPr>
          <p:spPr>
            <a:xfrm>
              <a:off x="3759994" y="2412201"/>
              <a:ext cx="1169550" cy="400108"/>
            </a:xfrm>
            <a:prstGeom prst="rect">
              <a:avLst/>
            </a:prstGeom>
            <a:noFill/>
          </p:spPr>
          <p:txBody>
            <a:bodyPr wrap="none" rtlCol="0">
              <a:normAutofit fontScale="92500" lnSpcReduction="10000"/>
            </a:bodyPr>
            <a:lstStyle/>
            <a:p>
              <a:pPr defTabSz="342900" fontAlgn="auto">
                <a:spcBef>
                  <a:spcPts val="0"/>
                </a:spcBef>
                <a:spcAft>
                  <a:spcPts val="0"/>
                </a:spcAft>
              </a:pPr>
              <a:r>
                <a:rPr lang="en-US" sz="1350" i="1" dirty="0">
                  <a:solidFill>
                    <a:srgbClr val="202020"/>
                  </a:solidFill>
                  <a:latin typeface="Calibri" panose="020F0502020204030204"/>
                  <a:ea typeface="+mn-ea"/>
                  <a:cs typeface="+mn-cs"/>
                </a:rPr>
                <a:t>High TMB</a:t>
              </a:r>
            </a:p>
          </p:txBody>
        </p:sp>
      </p:grpSp>
      <p:grpSp>
        <p:nvGrpSpPr>
          <p:cNvPr id="28" name="Group 27">
            <a:extLst>
              <a:ext uri="{FF2B5EF4-FFF2-40B4-BE49-F238E27FC236}">
                <a16:creationId xmlns:a16="http://schemas.microsoft.com/office/drawing/2014/main" id="{E27E6702-F86B-1C42-812F-B12598C119EA}"/>
              </a:ext>
            </a:extLst>
          </p:cNvPr>
          <p:cNvGrpSpPr/>
          <p:nvPr/>
        </p:nvGrpSpPr>
        <p:grpSpPr>
          <a:xfrm>
            <a:off x="2627339" y="2696315"/>
            <a:ext cx="914119" cy="294214"/>
            <a:chOff x="3754369" y="4040144"/>
            <a:chExt cx="1407119" cy="457851"/>
          </a:xfrm>
        </p:grpSpPr>
        <p:sp>
          <p:nvSpPr>
            <p:cNvPr id="29" name="Oval 28">
              <a:extLst>
                <a:ext uri="{FF2B5EF4-FFF2-40B4-BE49-F238E27FC236}">
                  <a16:creationId xmlns:a16="http://schemas.microsoft.com/office/drawing/2014/main" id="{E15A49F6-E10A-A94B-D5E5-64761CCBFEA1}"/>
                </a:ext>
              </a:extLst>
            </p:cNvPr>
            <p:cNvSpPr/>
            <p:nvPr/>
          </p:nvSpPr>
          <p:spPr>
            <a:xfrm>
              <a:off x="3754369" y="4040144"/>
              <a:ext cx="179109" cy="179109"/>
            </a:xfrm>
            <a:prstGeom prst="ellipse">
              <a:avLst/>
            </a:prstGeom>
            <a:solidFill>
              <a:srgbClr val="FFC000"/>
            </a:solidFill>
            <a:ln w="38100"/>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25000" lnSpcReduction="20000"/>
            </a:bodyPr>
            <a:lstStyle/>
            <a:p>
              <a:pPr algn="ctr" defTabSz="342900" fontAlgn="auto">
                <a:spcBef>
                  <a:spcPts val="0"/>
                </a:spcBef>
                <a:spcAft>
                  <a:spcPts val="0"/>
                </a:spcAft>
              </a:pPr>
              <a:endParaRPr lang="en-US" sz="1350">
                <a:solidFill>
                  <a:srgbClr val="00B050"/>
                </a:solidFill>
                <a:latin typeface="Calibri" panose="020F0502020204030204"/>
              </a:endParaRPr>
            </a:p>
          </p:txBody>
        </p:sp>
        <p:sp>
          <p:nvSpPr>
            <p:cNvPr id="30" name="TextBox 29">
              <a:extLst>
                <a:ext uri="{FF2B5EF4-FFF2-40B4-BE49-F238E27FC236}">
                  <a16:creationId xmlns:a16="http://schemas.microsoft.com/office/drawing/2014/main" id="{4B9D8ACC-7F5D-F6A0-75A0-337A3D67AC65}"/>
                </a:ext>
              </a:extLst>
            </p:cNvPr>
            <p:cNvSpPr txBox="1"/>
            <p:nvPr/>
          </p:nvSpPr>
          <p:spPr>
            <a:xfrm>
              <a:off x="3810177" y="4097885"/>
              <a:ext cx="1351311" cy="400110"/>
            </a:xfrm>
            <a:prstGeom prst="rect">
              <a:avLst/>
            </a:prstGeom>
            <a:noFill/>
          </p:spPr>
          <p:txBody>
            <a:bodyPr wrap="none" rtlCol="0">
              <a:normAutofit fontScale="92500" lnSpcReduction="10000"/>
            </a:bodyPr>
            <a:lstStyle/>
            <a:p>
              <a:pPr defTabSz="342900" fontAlgn="auto">
                <a:spcBef>
                  <a:spcPts val="0"/>
                </a:spcBef>
                <a:spcAft>
                  <a:spcPts val="0"/>
                </a:spcAft>
              </a:pPr>
              <a:r>
                <a:rPr lang="en-US" sz="1350" i="1" dirty="0">
                  <a:solidFill>
                    <a:srgbClr val="202020"/>
                  </a:solidFill>
                  <a:latin typeface="Calibri" panose="020F0502020204030204"/>
                  <a:ea typeface="+mn-ea"/>
                  <a:cs typeface="+mn-cs"/>
                </a:rPr>
                <a:t>FGFR fusion</a:t>
              </a:r>
            </a:p>
          </p:txBody>
        </p:sp>
      </p:grpSp>
      <p:sp>
        <p:nvSpPr>
          <p:cNvPr id="31" name="Oval 30">
            <a:extLst>
              <a:ext uri="{FF2B5EF4-FFF2-40B4-BE49-F238E27FC236}">
                <a16:creationId xmlns:a16="http://schemas.microsoft.com/office/drawing/2014/main" id="{0B36810F-CF44-1CB4-366B-C543E9CC2E8D}"/>
              </a:ext>
            </a:extLst>
          </p:cNvPr>
          <p:cNvSpPr/>
          <p:nvPr/>
        </p:nvSpPr>
        <p:spPr>
          <a:xfrm>
            <a:off x="4225660" y="3066425"/>
            <a:ext cx="116356" cy="115095"/>
          </a:xfrm>
          <a:prstGeom prst="ellipse">
            <a:avLst/>
          </a:prstGeom>
          <a:solidFill>
            <a:srgbClr val="FFC000"/>
          </a:solidFill>
          <a:ln w="38100"/>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25000" lnSpcReduction="20000"/>
          </a:bodyPr>
          <a:lstStyle/>
          <a:p>
            <a:pPr algn="ctr" defTabSz="342900" fontAlgn="auto">
              <a:spcBef>
                <a:spcPts val="0"/>
              </a:spcBef>
              <a:spcAft>
                <a:spcPts val="0"/>
              </a:spcAft>
            </a:pPr>
            <a:endParaRPr lang="en-US" sz="1350">
              <a:solidFill>
                <a:srgbClr val="00B050"/>
              </a:solidFill>
              <a:latin typeface="Calibri" panose="020F0502020204030204"/>
            </a:endParaRPr>
          </a:p>
        </p:txBody>
      </p:sp>
      <p:sp>
        <p:nvSpPr>
          <p:cNvPr id="32" name="TextBox 31">
            <a:extLst>
              <a:ext uri="{FF2B5EF4-FFF2-40B4-BE49-F238E27FC236}">
                <a16:creationId xmlns:a16="http://schemas.microsoft.com/office/drawing/2014/main" id="{C2EBA748-B117-5A18-D6D1-48C9E64DCA7D}"/>
              </a:ext>
            </a:extLst>
          </p:cNvPr>
          <p:cNvSpPr txBox="1"/>
          <p:nvPr/>
        </p:nvSpPr>
        <p:spPr>
          <a:xfrm>
            <a:off x="4301019" y="3103100"/>
            <a:ext cx="857037" cy="257109"/>
          </a:xfrm>
          <a:prstGeom prst="rect">
            <a:avLst/>
          </a:prstGeom>
          <a:noFill/>
        </p:spPr>
        <p:txBody>
          <a:bodyPr wrap="none" rtlCol="0">
            <a:normAutofit fontScale="92500" lnSpcReduction="10000"/>
          </a:bodyPr>
          <a:lstStyle/>
          <a:p>
            <a:pPr defTabSz="342900" fontAlgn="auto">
              <a:spcBef>
                <a:spcPts val="0"/>
              </a:spcBef>
              <a:spcAft>
                <a:spcPts val="0"/>
              </a:spcAft>
            </a:pPr>
            <a:r>
              <a:rPr lang="en-US" sz="1350" i="1" dirty="0">
                <a:solidFill>
                  <a:srgbClr val="202020"/>
                </a:solidFill>
                <a:latin typeface="Calibri" panose="020F0502020204030204"/>
                <a:ea typeface="+mn-ea"/>
                <a:cs typeface="+mn-cs"/>
              </a:rPr>
              <a:t>FGFR1 amp</a:t>
            </a:r>
          </a:p>
        </p:txBody>
      </p:sp>
      <p:sp>
        <p:nvSpPr>
          <p:cNvPr id="33" name="Oval 32">
            <a:extLst>
              <a:ext uri="{FF2B5EF4-FFF2-40B4-BE49-F238E27FC236}">
                <a16:creationId xmlns:a16="http://schemas.microsoft.com/office/drawing/2014/main" id="{7BEBB07A-035A-5C87-BD27-EFFF7C1A8F33}"/>
              </a:ext>
            </a:extLst>
          </p:cNvPr>
          <p:cNvSpPr/>
          <p:nvPr/>
        </p:nvSpPr>
        <p:spPr>
          <a:xfrm>
            <a:off x="4758109" y="1148248"/>
            <a:ext cx="116356" cy="115095"/>
          </a:xfrm>
          <a:prstGeom prst="ellipse">
            <a:avLst/>
          </a:prstGeom>
          <a:solidFill>
            <a:srgbClr val="FFC000"/>
          </a:solidFill>
          <a:ln w="38100"/>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25000" lnSpcReduction="20000"/>
          </a:bodyPr>
          <a:lstStyle/>
          <a:p>
            <a:pPr algn="ctr" defTabSz="342900" fontAlgn="auto">
              <a:spcBef>
                <a:spcPts val="0"/>
              </a:spcBef>
              <a:spcAft>
                <a:spcPts val="0"/>
              </a:spcAft>
            </a:pPr>
            <a:endParaRPr lang="en-US" sz="1350">
              <a:solidFill>
                <a:srgbClr val="00B050"/>
              </a:solidFill>
              <a:latin typeface="Calibri" panose="020F0502020204030204"/>
            </a:endParaRPr>
          </a:p>
        </p:txBody>
      </p:sp>
      <p:sp>
        <p:nvSpPr>
          <p:cNvPr id="34" name="TextBox 33">
            <a:extLst>
              <a:ext uri="{FF2B5EF4-FFF2-40B4-BE49-F238E27FC236}">
                <a16:creationId xmlns:a16="http://schemas.microsoft.com/office/drawing/2014/main" id="{C2834827-F26F-B9DC-E63C-2B9B3CEAB7DC}"/>
              </a:ext>
            </a:extLst>
          </p:cNvPr>
          <p:cNvSpPr txBox="1"/>
          <p:nvPr/>
        </p:nvSpPr>
        <p:spPr>
          <a:xfrm>
            <a:off x="4526055" y="1257826"/>
            <a:ext cx="737515" cy="257109"/>
          </a:xfrm>
          <a:prstGeom prst="rect">
            <a:avLst/>
          </a:prstGeom>
          <a:noFill/>
        </p:spPr>
        <p:txBody>
          <a:bodyPr wrap="none" rtlCol="0">
            <a:normAutofit fontScale="92500" lnSpcReduction="10000"/>
          </a:bodyPr>
          <a:lstStyle/>
          <a:p>
            <a:pPr defTabSz="342900" fontAlgn="auto">
              <a:spcBef>
                <a:spcPts val="0"/>
              </a:spcBef>
              <a:spcAft>
                <a:spcPts val="0"/>
              </a:spcAft>
            </a:pPr>
            <a:r>
              <a:rPr lang="en-US" sz="1350" i="1" dirty="0">
                <a:solidFill>
                  <a:srgbClr val="202020"/>
                </a:solidFill>
                <a:latin typeface="Calibri" panose="020F0502020204030204"/>
                <a:ea typeface="+mn-ea"/>
                <a:cs typeface="+mn-cs"/>
              </a:rPr>
              <a:t>ESR1 </a:t>
            </a:r>
            <a:r>
              <a:rPr lang="en-US" sz="1350" i="1" dirty="0" err="1">
                <a:solidFill>
                  <a:srgbClr val="202020"/>
                </a:solidFill>
                <a:latin typeface="Calibri" panose="020F0502020204030204"/>
                <a:ea typeface="+mn-ea"/>
                <a:cs typeface="+mn-cs"/>
              </a:rPr>
              <a:t>mut</a:t>
            </a:r>
            <a:endParaRPr lang="en-US" sz="1350" i="1" dirty="0">
              <a:solidFill>
                <a:srgbClr val="202020"/>
              </a:solidFill>
              <a:latin typeface="Calibri" panose="020F0502020204030204"/>
              <a:ea typeface="+mn-ea"/>
              <a:cs typeface="+mn-cs"/>
            </a:endParaRPr>
          </a:p>
        </p:txBody>
      </p:sp>
      <p:grpSp>
        <p:nvGrpSpPr>
          <p:cNvPr id="35" name="Group 34">
            <a:extLst>
              <a:ext uri="{FF2B5EF4-FFF2-40B4-BE49-F238E27FC236}">
                <a16:creationId xmlns:a16="http://schemas.microsoft.com/office/drawing/2014/main" id="{33F5AC54-ECDD-241B-DEF9-C7239F593298}"/>
              </a:ext>
            </a:extLst>
          </p:cNvPr>
          <p:cNvGrpSpPr/>
          <p:nvPr/>
        </p:nvGrpSpPr>
        <p:grpSpPr>
          <a:xfrm>
            <a:off x="3237766" y="2370283"/>
            <a:ext cx="822129" cy="257109"/>
            <a:chOff x="4694011" y="3532775"/>
            <a:chExt cx="1265517" cy="400108"/>
          </a:xfrm>
        </p:grpSpPr>
        <p:sp>
          <p:nvSpPr>
            <p:cNvPr id="36" name="Oval 35">
              <a:extLst>
                <a:ext uri="{FF2B5EF4-FFF2-40B4-BE49-F238E27FC236}">
                  <a16:creationId xmlns:a16="http://schemas.microsoft.com/office/drawing/2014/main" id="{EAABDD05-A2DB-6569-94D2-609C8A32E664}"/>
                </a:ext>
              </a:extLst>
            </p:cNvPr>
            <p:cNvSpPr/>
            <p:nvPr/>
          </p:nvSpPr>
          <p:spPr>
            <a:xfrm>
              <a:off x="4694011" y="3544264"/>
              <a:ext cx="179109" cy="179109"/>
            </a:xfrm>
            <a:prstGeom prst="ellipse">
              <a:avLst/>
            </a:prstGeom>
            <a:solidFill>
              <a:srgbClr val="FFC000"/>
            </a:solidFill>
            <a:ln w="38100"/>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25000" lnSpcReduction="20000"/>
            </a:bodyPr>
            <a:lstStyle/>
            <a:p>
              <a:pPr algn="ctr" defTabSz="342900" fontAlgn="auto">
                <a:spcBef>
                  <a:spcPts val="0"/>
                </a:spcBef>
                <a:spcAft>
                  <a:spcPts val="0"/>
                </a:spcAft>
              </a:pPr>
              <a:endParaRPr lang="en-US" sz="1350">
                <a:solidFill>
                  <a:srgbClr val="00B050"/>
                </a:solidFill>
                <a:latin typeface="Calibri" panose="020F0502020204030204"/>
              </a:endParaRPr>
            </a:p>
          </p:txBody>
        </p:sp>
        <p:sp>
          <p:nvSpPr>
            <p:cNvPr id="37" name="TextBox 36">
              <a:extLst>
                <a:ext uri="{FF2B5EF4-FFF2-40B4-BE49-F238E27FC236}">
                  <a16:creationId xmlns:a16="http://schemas.microsoft.com/office/drawing/2014/main" id="{7EE69828-902A-19C0-5938-DA27F02979DD}"/>
                </a:ext>
              </a:extLst>
            </p:cNvPr>
            <p:cNvSpPr txBox="1"/>
            <p:nvPr/>
          </p:nvSpPr>
          <p:spPr>
            <a:xfrm>
              <a:off x="4783564" y="3532775"/>
              <a:ext cx="1175964" cy="400108"/>
            </a:xfrm>
            <a:prstGeom prst="rect">
              <a:avLst/>
            </a:prstGeom>
            <a:noFill/>
          </p:spPr>
          <p:txBody>
            <a:bodyPr wrap="none" rtlCol="0">
              <a:normAutofit fontScale="92500" lnSpcReduction="10000"/>
            </a:bodyPr>
            <a:lstStyle/>
            <a:p>
              <a:pPr defTabSz="342900" fontAlgn="auto">
                <a:spcBef>
                  <a:spcPts val="0"/>
                </a:spcBef>
                <a:spcAft>
                  <a:spcPts val="0"/>
                </a:spcAft>
              </a:pPr>
              <a:r>
                <a:rPr lang="en-US" sz="1350" i="1" dirty="0">
                  <a:solidFill>
                    <a:srgbClr val="202020"/>
                  </a:solidFill>
                  <a:latin typeface="Calibri" panose="020F0502020204030204"/>
                  <a:ea typeface="+mn-ea"/>
                  <a:cs typeface="+mn-cs"/>
                </a:rPr>
                <a:t>HER2 </a:t>
              </a:r>
              <a:r>
                <a:rPr lang="en-US" sz="1350" i="1" dirty="0" err="1">
                  <a:solidFill>
                    <a:srgbClr val="202020"/>
                  </a:solidFill>
                  <a:latin typeface="Calibri" panose="020F0502020204030204"/>
                  <a:ea typeface="+mn-ea"/>
                  <a:cs typeface="+mn-cs"/>
                </a:rPr>
                <a:t>mut</a:t>
              </a:r>
              <a:endParaRPr lang="en-US" sz="1350" i="1" dirty="0">
                <a:solidFill>
                  <a:srgbClr val="202020"/>
                </a:solidFill>
                <a:latin typeface="Calibri" panose="020F0502020204030204"/>
                <a:ea typeface="+mn-ea"/>
                <a:cs typeface="+mn-cs"/>
              </a:endParaRPr>
            </a:p>
          </p:txBody>
        </p:sp>
      </p:grpSp>
      <p:grpSp>
        <p:nvGrpSpPr>
          <p:cNvPr id="38" name="Group 37">
            <a:extLst>
              <a:ext uri="{FF2B5EF4-FFF2-40B4-BE49-F238E27FC236}">
                <a16:creationId xmlns:a16="http://schemas.microsoft.com/office/drawing/2014/main" id="{84661EFF-5CBE-D135-BCCD-1B23D1B467C7}"/>
              </a:ext>
            </a:extLst>
          </p:cNvPr>
          <p:cNvGrpSpPr/>
          <p:nvPr/>
        </p:nvGrpSpPr>
        <p:grpSpPr>
          <a:xfrm>
            <a:off x="3154483" y="2540978"/>
            <a:ext cx="700609" cy="257109"/>
            <a:chOff x="4565810" y="3798409"/>
            <a:chExt cx="1078459" cy="400108"/>
          </a:xfrm>
        </p:grpSpPr>
        <p:sp>
          <p:nvSpPr>
            <p:cNvPr id="39" name="TextBox 38">
              <a:extLst>
                <a:ext uri="{FF2B5EF4-FFF2-40B4-BE49-F238E27FC236}">
                  <a16:creationId xmlns:a16="http://schemas.microsoft.com/office/drawing/2014/main" id="{8A057568-A07D-A23A-F8F4-470D3E7BCBB2}"/>
                </a:ext>
              </a:extLst>
            </p:cNvPr>
            <p:cNvSpPr txBox="1"/>
            <p:nvPr/>
          </p:nvSpPr>
          <p:spPr>
            <a:xfrm>
              <a:off x="4655365" y="3798409"/>
              <a:ext cx="988904" cy="400108"/>
            </a:xfrm>
            <a:prstGeom prst="rect">
              <a:avLst/>
            </a:prstGeom>
            <a:noFill/>
          </p:spPr>
          <p:txBody>
            <a:bodyPr wrap="none" rtlCol="0">
              <a:normAutofit fontScale="92500" lnSpcReduction="10000"/>
            </a:bodyPr>
            <a:lstStyle/>
            <a:p>
              <a:pPr defTabSz="342900" fontAlgn="auto">
                <a:spcBef>
                  <a:spcPts val="0"/>
                </a:spcBef>
                <a:spcAft>
                  <a:spcPts val="0"/>
                </a:spcAft>
              </a:pPr>
              <a:r>
                <a:rPr lang="en-US" sz="1350" i="1" dirty="0" err="1">
                  <a:solidFill>
                    <a:srgbClr val="202020"/>
                  </a:solidFill>
                  <a:latin typeface="Calibri" panose="020F0502020204030204"/>
                  <a:ea typeface="+mn-ea"/>
                  <a:cs typeface="+mn-cs"/>
                </a:rPr>
                <a:t>Akt</a:t>
              </a:r>
              <a:r>
                <a:rPr lang="en-US" sz="1350" i="1" dirty="0">
                  <a:solidFill>
                    <a:srgbClr val="202020"/>
                  </a:solidFill>
                  <a:latin typeface="Calibri" panose="020F0502020204030204"/>
                  <a:ea typeface="+mn-ea"/>
                  <a:cs typeface="+mn-cs"/>
                </a:rPr>
                <a:t> </a:t>
              </a:r>
              <a:r>
                <a:rPr lang="en-US" sz="1350" i="1" dirty="0" err="1">
                  <a:solidFill>
                    <a:srgbClr val="202020"/>
                  </a:solidFill>
                  <a:latin typeface="Calibri" panose="020F0502020204030204"/>
                  <a:ea typeface="+mn-ea"/>
                  <a:cs typeface="+mn-cs"/>
                </a:rPr>
                <a:t>mut</a:t>
              </a:r>
              <a:endParaRPr lang="en-US" sz="1350" i="1" dirty="0">
                <a:solidFill>
                  <a:srgbClr val="202020"/>
                </a:solidFill>
                <a:latin typeface="Calibri" panose="020F0502020204030204"/>
                <a:ea typeface="+mn-ea"/>
                <a:cs typeface="+mn-cs"/>
              </a:endParaRPr>
            </a:p>
          </p:txBody>
        </p:sp>
        <p:sp>
          <p:nvSpPr>
            <p:cNvPr id="40" name="Oval 39">
              <a:extLst>
                <a:ext uri="{FF2B5EF4-FFF2-40B4-BE49-F238E27FC236}">
                  <a16:creationId xmlns:a16="http://schemas.microsoft.com/office/drawing/2014/main" id="{3ED0089B-CA5F-E4E4-0130-2D65A3195F13}"/>
                </a:ext>
              </a:extLst>
            </p:cNvPr>
            <p:cNvSpPr/>
            <p:nvPr/>
          </p:nvSpPr>
          <p:spPr>
            <a:xfrm>
              <a:off x="4565810" y="3809898"/>
              <a:ext cx="179109" cy="179109"/>
            </a:xfrm>
            <a:prstGeom prst="ellipse">
              <a:avLst/>
            </a:prstGeom>
            <a:solidFill>
              <a:srgbClr val="FFC000"/>
            </a:solidFill>
            <a:ln w="38100"/>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25000" lnSpcReduction="20000"/>
            </a:bodyPr>
            <a:lstStyle/>
            <a:p>
              <a:pPr algn="ctr" defTabSz="342900" fontAlgn="auto">
                <a:spcBef>
                  <a:spcPts val="0"/>
                </a:spcBef>
                <a:spcAft>
                  <a:spcPts val="0"/>
                </a:spcAft>
              </a:pPr>
              <a:endParaRPr lang="en-US" sz="1350">
                <a:solidFill>
                  <a:srgbClr val="00B050"/>
                </a:solidFill>
                <a:latin typeface="Calibri" panose="020F0502020204030204"/>
              </a:endParaRPr>
            </a:p>
          </p:txBody>
        </p:sp>
      </p:grpSp>
      <p:grpSp>
        <p:nvGrpSpPr>
          <p:cNvPr id="41" name="Group 40">
            <a:extLst>
              <a:ext uri="{FF2B5EF4-FFF2-40B4-BE49-F238E27FC236}">
                <a16:creationId xmlns:a16="http://schemas.microsoft.com/office/drawing/2014/main" id="{F4B65083-6743-1613-0537-15FC01C917DE}"/>
              </a:ext>
            </a:extLst>
          </p:cNvPr>
          <p:cNvGrpSpPr/>
          <p:nvPr/>
        </p:nvGrpSpPr>
        <p:grpSpPr>
          <a:xfrm>
            <a:off x="4536515" y="1603764"/>
            <a:ext cx="925140" cy="274889"/>
            <a:chOff x="6693195" y="2339935"/>
            <a:chExt cx="1424082" cy="427779"/>
          </a:xfrm>
        </p:grpSpPr>
        <p:sp>
          <p:nvSpPr>
            <p:cNvPr id="42" name="Oval 41">
              <a:extLst>
                <a:ext uri="{FF2B5EF4-FFF2-40B4-BE49-F238E27FC236}">
                  <a16:creationId xmlns:a16="http://schemas.microsoft.com/office/drawing/2014/main" id="{3490F41B-BFEC-3207-9C94-677047C52C2F}"/>
                </a:ext>
              </a:extLst>
            </p:cNvPr>
            <p:cNvSpPr/>
            <p:nvPr/>
          </p:nvSpPr>
          <p:spPr>
            <a:xfrm>
              <a:off x="6693195" y="2339935"/>
              <a:ext cx="179109" cy="179109"/>
            </a:xfrm>
            <a:prstGeom prst="ellipse">
              <a:avLst/>
            </a:prstGeom>
            <a:solidFill>
              <a:srgbClr val="FFC000"/>
            </a:solidFill>
            <a:ln w="38100"/>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25000" lnSpcReduction="20000"/>
            </a:bodyPr>
            <a:lstStyle/>
            <a:p>
              <a:pPr algn="ctr" defTabSz="342900" fontAlgn="auto">
                <a:spcBef>
                  <a:spcPts val="0"/>
                </a:spcBef>
                <a:spcAft>
                  <a:spcPts val="0"/>
                </a:spcAft>
              </a:pPr>
              <a:endParaRPr lang="en-US" sz="1350">
                <a:solidFill>
                  <a:srgbClr val="00B050"/>
                </a:solidFill>
                <a:latin typeface="Calibri" panose="020F0502020204030204"/>
              </a:endParaRPr>
            </a:p>
          </p:txBody>
        </p:sp>
        <p:sp>
          <p:nvSpPr>
            <p:cNvPr id="43" name="TextBox 42">
              <a:extLst>
                <a:ext uri="{FF2B5EF4-FFF2-40B4-BE49-F238E27FC236}">
                  <a16:creationId xmlns:a16="http://schemas.microsoft.com/office/drawing/2014/main" id="{E413FD4B-660A-2F7D-ECEA-77872362A388}"/>
                </a:ext>
              </a:extLst>
            </p:cNvPr>
            <p:cNvSpPr txBox="1"/>
            <p:nvPr/>
          </p:nvSpPr>
          <p:spPr>
            <a:xfrm>
              <a:off x="6774602" y="2367604"/>
              <a:ext cx="1342675" cy="400110"/>
            </a:xfrm>
            <a:prstGeom prst="rect">
              <a:avLst/>
            </a:prstGeom>
            <a:noFill/>
          </p:spPr>
          <p:txBody>
            <a:bodyPr wrap="none" rtlCol="0">
              <a:normAutofit fontScale="92500" lnSpcReduction="10000"/>
            </a:bodyPr>
            <a:lstStyle/>
            <a:p>
              <a:pPr defTabSz="342900" fontAlgn="auto">
                <a:spcBef>
                  <a:spcPts val="0"/>
                </a:spcBef>
                <a:spcAft>
                  <a:spcPts val="0"/>
                </a:spcAft>
              </a:pPr>
              <a:r>
                <a:rPr lang="en-US" sz="1350" i="1" dirty="0">
                  <a:solidFill>
                    <a:srgbClr val="202020"/>
                  </a:solidFill>
                  <a:latin typeface="Calibri" panose="020F0502020204030204"/>
                  <a:ea typeface="+mn-ea"/>
                  <a:cs typeface="+mn-cs"/>
                </a:rPr>
                <a:t>PIK3CA </a:t>
              </a:r>
              <a:r>
                <a:rPr lang="en-US" sz="1350" i="1" dirty="0" err="1">
                  <a:solidFill>
                    <a:srgbClr val="202020"/>
                  </a:solidFill>
                  <a:latin typeface="Calibri" panose="020F0502020204030204"/>
                  <a:ea typeface="+mn-ea"/>
                  <a:cs typeface="+mn-cs"/>
                </a:rPr>
                <a:t>mut</a:t>
              </a:r>
              <a:endParaRPr lang="en-US" sz="1350" i="1" dirty="0">
                <a:solidFill>
                  <a:srgbClr val="202020"/>
                </a:solidFill>
                <a:latin typeface="Calibri" panose="020F0502020204030204"/>
                <a:ea typeface="+mn-ea"/>
                <a:cs typeface="+mn-cs"/>
              </a:endParaRPr>
            </a:p>
          </p:txBody>
        </p:sp>
      </p:grpSp>
      <p:grpSp>
        <p:nvGrpSpPr>
          <p:cNvPr id="44" name="Group 43">
            <a:extLst>
              <a:ext uri="{FF2B5EF4-FFF2-40B4-BE49-F238E27FC236}">
                <a16:creationId xmlns:a16="http://schemas.microsoft.com/office/drawing/2014/main" id="{B243B3C7-03D0-3009-613E-637208D41F07}"/>
              </a:ext>
            </a:extLst>
          </p:cNvPr>
          <p:cNvGrpSpPr/>
          <p:nvPr/>
        </p:nvGrpSpPr>
        <p:grpSpPr>
          <a:xfrm>
            <a:off x="4767104" y="3504462"/>
            <a:ext cx="582874" cy="257109"/>
            <a:chOff x="7048143" y="5297767"/>
            <a:chExt cx="897226" cy="400108"/>
          </a:xfrm>
        </p:grpSpPr>
        <p:sp>
          <p:nvSpPr>
            <p:cNvPr id="45" name="Oval 44">
              <a:extLst>
                <a:ext uri="{FF2B5EF4-FFF2-40B4-BE49-F238E27FC236}">
                  <a16:creationId xmlns:a16="http://schemas.microsoft.com/office/drawing/2014/main" id="{B1D00BC7-6802-4D41-6991-A949111E34D7}"/>
                </a:ext>
              </a:extLst>
            </p:cNvPr>
            <p:cNvSpPr/>
            <p:nvPr/>
          </p:nvSpPr>
          <p:spPr>
            <a:xfrm>
              <a:off x="7766260" y="5413011"/>
              <a:ext cx="179109" cy="179109"/>
            </a:xfrm>
            <a:prstGeom prst="ellipse">
              <a:avLst/>
            </a:prstGeom>
            <a:solidFill>
              <a:schemeClr val="bg1"/>
            </a:solidFill>
            <a:ln w="38100"/>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25000" lnSpcReduction="20000"/>
            </a:bodyPr>
            <a:lstStyle/>
            <a:p>
              <a:pPr algn="ctr" defTabSz="342900" fontAlgn="auto">
                <a:spcBef>
                  <a:spcPts val="0"/>
                </a:spcBef>
                <a:spcAft>
                  <a:spcPts val="0"/>
                </a:spcAft>
              </a:pPr>
              <a:endParaRPr lang="en-US" sz="1350">
                <a:solidFill>
                  <a:srgbClr val="00B050"/>
                </a:solidFill>
                <a:latin typeface="Calibri" panose="020F0502020204030204"/>
              </a:endParaRPr>
            </a:p>
          </p:txBody>
        </p:sp>
        <p:sp>
          <p:nvSpPr>
            <p:cNvPr id="46" name="TextBox 45">
              <a:extLst>
                <a:ext uri="{FF2B5EF4-FFF2-40B4-BE49-F238E27FC236}">
                  <a16:creationId xmlns:a16="http://schemas.microsoft.com/office/drawing/2014/main" id="{056D68F1-D1F0-A8AB-1E21-DFD83CE694AC}"/>
                </a:ext>
              </a:extLst>
            </p:cNvPr>
            <p:cNvSpPr txBox="1"/>
            <p:nvPr/>
          </p:nvSpPr>
          <p:spPr>
            <a:xfrm>
              <a:off x="7048143" y="5297767"/>
              <a:ext cx="714298" cy="400108"/>
            </a:xfrm>
            <a:prstGeom prst="rect">
              <a:avLst/>
            </a:prstGeom>
            <a:noFill/>
          </p:spPr>
          <p:txBody>
            <a:bodyPr wrap="none" rtlCol="0">
              <a:normAutofit fontScale="92500" lnSpcReduction="10000"/>
            </a:bodyPr>
            <a:lstStyle/>
            <a:p>
              <a:pPr defTabSz="342900" fontAlgn="auto">
                <a:spcBef>
                  <a:spcPts val="0"/>
                </a:spcBef>
                <a:spcAft>
                  <a:spcPts val="0"/>
                </a:spcAft>
              </a:pPr>
              <a:r>
                <a:rPr lang="en-US" sz="1350" i="1" dirty="0">
                  <a:solidFill>
                    <a:srgbClr val="202020"/>
                  </a:solidFill>
                  <a:latin typeface="Calibri" panose="020F0502020204030204"/>
                  <a:ea typeface="+mn-ea"/>
                  <a:cs typeface="+mn-cs"/>
                </a:rPr>
                <a:t>TP53</a:t>
              </a:r>
            </a:p>
          </p:txBody>
        </p:sp>
      </p:grpSp>
      <p:sp>
        <p:nvSpPr>
          <p:cNvPr id="47" name="Oval 46">
            <a:extLst>
              <a:ext uri="{FF2B5EF4-FFF2-40B4-BE49-F238E27FC236}">
                <a16:creationId xmlns:a16="http://schemas.microsoft.com/office/drawing/2014/main" id="{F0AD8DA3-F5E4-ED08-18DF-C454F28785C0}"/>
              </a:ext>
            </a:extLst>
          </p:cNvPr>
          <p:cNvSpPr/>
          <p:nvPr/>
        </p:nvSpPr>
        <p:spPr>
          <a:xfrm>
            <a:off x="3689169" y="3316654"/>
            <a:ext cx="116356" cy="115095"/>
          </a:xfrm>
          <a:prstGeom prst="ellipse">
            <a:avLst/>
          </a:prstGeom>
          <a:solidFill>
            <a:schemeClr val="bg1"/>
          </a:solidFill>
          <a:ln w="38100"/>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25000" lnSpcReduction="20000"/>
          </a:bodyPr>
          <a:lstStyle/>
          <a:p>
            <a:pPr algn="ctr" defTabSz="342900" fontAlgn="auto">
              <a:spcBef>
                <a:spcPts val="0"/>
              </a:spcBef>
              <a:spcAft>
                <a:spcPts val="0"/>
              </a:spcAft>
            </a:pPr>
            <a:endParaRPr lang="en-US" sz="1350">
              <a:solidFill>
                <a:srgbClr val="00B050"/>
              </a:solidFill>
              <a:latin typeface="Calibri" panose="020F0502020204030204"/>
            </a:endParaRPr>
          </a:p>
        </p:txBody>
      </p:sp>
      <p:sp>
        <p:nvSpPr>
          <p:cNvPr id="48" name="TextBox 47">
            <a:extLst>
              <a:ext uri="{FF2B5EF4-FFF2-40B4-BE49-F238E27FC236}">
                <a16:creationId xmlns:a16="http://schemas.microsoft.com/office/drawing/2014/main" id="{323FB6B9-986C-9D46-A65A-A9409C85F33B}"/>
              </a:ext>
            </a:extLst>
          </p:cNvPr>
          <p:cNvSpPr txBox="1"/>
          <p:nvPr/>
        </p:nvSpPr>
        <p:spPr>
          <a:xfrm>
            <a:off x="3307376" y="3385647"/>
            <a:ext cx="481587" cy="257109"/>
          </a:xfrm>
          <a:prstGeom prst="rect">
            <a:avLst/>
          </a:prstGeom>
          <a:noFill/>
        </p:spPr>
        <p:txBody>
          <a:bodyPr wrap="none" rtlCol="0">
            <a:normAutofit fontScale="92500" lnSpcReduction="10000"/>
          </a:bodyPr>
          <a:lstStyle/>
          <a:p>
            <a:pPr defTabSz="342900" fontAlgn="auto">
              <a:spcBef>
                <a:spcPts val="0"/>
              </a:spcBef>
              <a:spcAft>
                <a:spcPts val="0"/>
              </a:spcAft>
            </a:pPr>
            <a:r>
              <a:rPr lang="en-US" sz="1350" i="1" dirty="0">
                <a:solidFill>
                  <a:srgbClr val="202020"/>
                </a:solidFill>
                <a:latin typeface="Calibri" panose="020F0502020204030204"/>
                <a:ea typeface="+mn-ea"/>
                <a:cs typeface="+mn-cs"/>
              </a:rPr>
              <a:t>PTEN</a:t>
            </a:r>
          </a:p>
        </p:txBody>
      </p:sp>
      <p:grpSp>
        <p:nvGrpSpPr>
          <p:cNvPr id="49" name="Group 48">
            <a:extLst>
              <a:ext uri="{FF2B5EF4-FFF2-40B4-BE49-F238E27FC236}">
                <a16:creationId xmlns:a16="http://schemas.microsoft.com/office/drawing/2014/main" id="{7E68D927-217B-1FED-C528-583DB04FE72E}"/>
              </a:ext>
            </a:extLst>
          </p:cNvPr>
          <p:cNvGrpSpPr/>
          <p:nvPr/>
        </p:nvGrpSpPr>
        <p:grpSpPr>
          <a:xfrm>
            <a:off x="3354124" y="1402849"/>
            <a:ext cx="1023527" cy="257109"/>
            <a:chOff x="4873120" y="2027272"/>
            <a:chExt cx="1575531" cy="400108"/>
          </a:xfrm>
        </p:grpSpPr>
        <p:sp>
          <p:nvSpPr>
            <p:cNvPr id="50" name="Oval 49">
              <a:extLst>
                <a:ext uri="{FF2B5EF4-FFF2-40B4-BE49-F238E27FC236}">
                  <a16:creationId xmlns:a16="http://schemas.microsoft.com/office/drawing/2014/main" id="{7355EBDE-44BC-6A4F-E633-E4DBC51A37D1}"/>
                </a:ext>
              </a:extLst>
            </p:cNvPr>
            <p:cNvSpPr/>
            <p:nvPr/>
          </p:nvSpPr>
          <p:spPr>
            <a:xfrm>
              <a:off x="4873120" y="2027272"/>
              <a:ext cx="179109" cy="179109"/>
            </a:xfrm>
            <a:prstGeom prst="ellipse">
              <a:avLst/>
            </a:prstGeom>
            <a:solidFill>
              <a:schemeClr val="bg1"/>
            </a:solidFill>
            <a:ln w="38100"/>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25000" lnSpcReduction="20000"/>
            </a:bodyPr>
            <a:lstStyle/>
            <a:p>
              <a:pPr algn="ctr" defTabSz="342900" fontAlgn="auto">
                <a:spcBef>
                  <a:spcPts val="0"/>
                </a:spcBef>
                <a:spcAft>
                  <a:spcPts val="0"/>
                </a:spcAft>
              </a:pPr>
              <a:endParaRPr lang="en-US" sz="1350">
                <a:solidFill>
                  <a:srgbClr val="00B050"/>
                </a:solidFill>
                <a:latin typeface="Calibri" panose="020F0502020204030204"/>
              </a:endParaRPr>
            </a:p>
          </p:txBody>
        </p:sp>
        <p:sp>
          <p:nvSpPr>
            <p:cNvPr id="51" name="TextBox 50">
              <a:extLst>
                <a:ext uri="{FF2B5EF4-FFF2-40B4-BE49-F238E27FC236}">
                  <a16:creationId xmlns:a16="http://schemas.microsoft.com/office/drawing/2014/main" id="{668491AF-2FB7-E0BA-AF08-9C57D614567A}"/>
                </a:ext>
              </a:extLst>
            </p:cNvPr>
            <p:cNvSpPr txBox="1"/>
            <p:nvPr/>
          </p:nvSpPr>
          <p:spPr>
            <a:xfrm>
              <a:off x="4945591" y="2027272"/>
              <a:ext cx="1503060" cy="400108"/>
            </a:xfrm>
            <a:prstGeom prst="rect">
              <a:avLst/>
            </a:prstGeom>
            <a:noFill/>
          </p:spPr>
          <p:txBody>
            <a:bodyPr wrap="none" rtlCol="0">
              <a:normAutofit fontScale="92500" lnSpcReduction="10000"/>
            </a:bodyPr>
            <a:lstStyle/>
            <a:p>
              <a:pPr defTabSz="342900" fontAlgn="auto">
                <a:spcBef>
                  <a:spcPts val="0"/>
                </a:spcBef>
                <a:spcAft>
                  <a:spcPts val="0"/>
                </a:spcAft>
              </a:pPr>
              <a:r>
                <a:rPr lang="en-US" sz="1350" i="1" dirty="0">
                  <a:solidFill>
                    <a:srgbClr val="202020"/>
                  </a:solidFill>
                  <a:latin typeface="Calibri" panose="020F0502020204030204"/>
                  <a:ea typeface="+mn-ea"/>
                  <a:cs typeface="+mn-cs"/>
                </a:rPr>
                <a:t>BRCA1/2 </a:t>
              </a:r>
              <a:r>
                <a:rPr lang="en-US" sz="1350" i="1" dirty="0" err="1">
                  <a:solidFill>
                    <a:srgbClr val="202020"/>
                  </a:solidFill>
                  <a:latin typeface="Calibri" panose="020F0502020204030204"/>
                  <a:ea typeface="+mn-ea"/>
                  <a:cs typeface="+mn-cs"/>
                </a:rPr>
                <a:t>mut</a:t>
              </a:r>
              <a:endParaRPr lang="en-US" sz="1350" i="1" dirty="0">
                <a:solidFill>
                  <a:srgbClr val="202020"/>
                </a:solidFill>
                <a:latin typeface="Calibri" panose="020F0502020204030204"/>
                <a:ea typeface="+mn-ea"/>
                <a:cs typeface="+mn-cs"/>
              </a:endParaRPr>
            </a:p>
          </p:txBody>
        </p:sp>
      </p:grpSp>
      <p:sp>
        <p:nvSpPr>
          <p:cNvPr id="52" name="TextBox 51">
            <a:extLst>
              <a:ext uri="{FF2B5EF4-FFF2-40B4-BE49-F238E27FC236}">
                <a16:creationId xmlns:a16="http://schemas.microsoft.com/office/drawing/2014/main" id="{B944757E-8375-8ADE-E5AE-6B666D78AF23}"/>
              </a:ext>
            </a:extLst>
          </p:cNvPr>
          <p:cNvSpPr txBox="1"/>
          <p:nvPr/>
        </p:nvSpPr>
        <p:spPr>
          <a:xfrm>
            <a:off x="5699974" y="3595809"/>
            <a:ext cx="1690080" cy="632885"/>
          </a:xfrm>
          <a:prstGeom prst="rect">
            <a:avLst/>
          </a:prstGeom>
          <a:noFill/>
        </p:spPr>
        <p:txBody>
          <a:bodyPr wrap="none" rtlCol="0">
            <a:normAutofit fontScale="92500" lnSpcReduction="20000"/>
          </a:bodyPr>
          <a:lstStyle/>
          <a:p>
            <a:pPr defTabSz="342900" fontAlgn="auto">
              <a:spcBef>
                <a:spcPts val="0"/>
              </a:spcBef>
              <a:spcAft>
                <a:spcPts val="0"/>
              </a:spcAft>
            </a:pPr>
            <a:r>
              <a:rPr lang="en-US" sz="1050" i="1" dirty="0" err="1">
                <a:solidFill>
                  <a:srgbClr val="202020"/>
                </a:solidFill>
                <a:latin typeface="Calibri" panose="020F0502020204030204"/>
                <a:ea typeface="+mn-ea"/>
                <a:cs typeface="+mn-cs"/>
              </a:rPr>
              <a:t>Mut</a:t>
            </a:r>
            <a:r>
              <a:rPr lang="en-US" sz="1050" i="1" dirty="0">
                <a:solidFill>
                  <a:srgbClr val="202020"/>
                </a:solidFill>
                <a:latin typeface="Calibri" panose="020F0502020204030204"/>
                <a:ea typeface="+mn-ea"/>
                <a:cs typeface="+mn-cs"/>
              </a:rPr>
              <a:t>=mutation</a:t>
            </a:r>
          </a:p>
          <a:p>
            <a:pPr defTabSz="342900" fontAlgn="auto">
              <a:spcBef>
                <a:spcPts val="0"/>
              </a:spcBef>
              <a:spcAft>
                <a:spcPts val="0"/>
              </a:spcAft>
            </a:pPr>
            <a:r>
              <a:rPr lang="en-US" sz="1050" i="1" dirty="0">
                <a:solidFill>
                  <a:srgbClr val="202020"/>
                </a:solidFill>
                <a:latin typeface="Calibri" panose="020F0502020204030204"/>
                <a:ea typeface="+mn-ea"/>
                <a:cs typeface="+mn-cs"/>
              </a:rPr>
              <a:t>Amp=amplification</a:t>
            </a:r>
          </a:p>
          <a:p>
            <a:pPr defTabSz="342900" fontAlgn="auto">
              <a:spcBef>
                <a:spcPts val="0"/>
              </a:spcBef>
              <a:spcAft>
                <a:spcPts val="0"/>
              </a:spcAft>
            </a:pPr>
            <a:r>
              <a:rPr lang="en-US" sz="1050" i="1" dirty="0">
                <a:solidFill>
                  <a:srgbClr val="202020"/>
                </a:solidFill>
                <a:latin typeface="Calibri" panose="020F0502020204030204"/>
                <a:ea typeface="+mn-ea"/>
                <a:cs typeface="+mn-cs"/>
              </a:rPr>
              <a:t>MSI = microsatellite instability</a:t>
            </a:r>
          </a:p>
          <a:p>
            <a:pPr defTabSz="342900" fontAlgn="auto">
              <a:spcBef>
                <a:spcPts val="0"/>
              </a:spcBef>
              <a:spcAft>
                <a:spcPts val="0"/>
              </a:spcAft>
            </a:pPr>
            <a:r>
              <a:rPr lang="en-US" sz="1050" i="1" dirty="0">
                <a:solidFill>
                  <a:srgbClr val="202020"/>
                </a:solidFill>
                <a:latin typeface="Calibri" panose="020F0502020204030204"/>
                <a:ea typeface="+mn-ea"/>
                <a:cs typeface="+mn-cs"/>
              </a:rPr>
              <a:t>TMB = tumor mutational burden</a:t>
            </a:r>
          </a:p>
        </p:txBody>
      </p:sp>
      <p:sp>
        <p:nvSpPr>
          <p:cNvPr id="53" name="TextBox 52">
            <a:extLst>
              <a:ext uri="{FF2B5EF4-FFF2-40B4-BE49-F238E27FC236}">
                <a16:creationId xmlns:a16="http://schemas.microsoft.com/office/drawing/2014/main" id="{39763F14-6F2A-5A0B-6516-8AA9176445A8}"/>
              </a:ext>
            </a:extLst>
          </p:cNvPr>
          <p:cNvSpPr txBox="1"/>
          <p:nvPr/>
        </p:nvSpPr>
        <p:spPr>
          <a:xfrm>
            <a:off x="7272202" y="4767528"/>
            <a:ext cx="1707390" cy="276999"/>
          </a:xfrm>
          <a:prstGeom prst="rect">
            <a:avLst/>
          </a:prstGeom>
          <a:noFill/>
        </p:spPr>
        <p:txBody>
          <a:bodyPr wrap="none" rtlCol="0">
            <a:spAutoFit/>
          </a:bodyPr>
          <a:lstStyle/>
          <a:p>
            <a:pPr defTabSz="342900" fontAlgn="auto">
              <a:spcBef>
                <a:spcPts val="0"/>
              </a:spcBef>
              <a:spcAft>
                <a:spcPts val="0"/>
              </a:spcAft>
            </a:pPr>
            <a:r>
              <a:rPr lang="en-US" sz="1200" i="1" dirty="0">
                <a:solidFill>
                  <a:srgbClr val="202020"/>
                </a:solidFill>
                <a:latin typeface="Calibri" panose="020F0502020204030204"/>
                <a:ea typeface="+mn-ea"/>
                <a:cs typeface="+mn-cs"/>
              </a:rPr>
              <a:t>M. Burkard, unpublished</a:t>
            </a:r>
          </a:p>
        </p:txBody>
      </p:sp>
      <p:sp>
        <p:nvSpPr>
          <p:cNvPr id="2" name="Rectangle 1">
            <a:extLst>
              <a:ext uri="{FF2B5EF4-FFF2-40B4-BE49-F238E27FC236}">
                <a16:creationId xmlns:a16="http://schemas.microsoft.com/office/drawing/2014/main" id="{26490196-71D7-E013-67E1-A83527B76355}"/>
              </a:ext>
            </a:extLst>
          </p:cNvPr>
          <p:cNvSpPr/>
          <p:nvPr/>
        </p:nvSpPr>
        <p:spPr bwMode="auto">
          <a:xfrm>
            <a:off x="4323574" y="1105918"/>
            <a:ext cx="1138081" cy="401858"/>
          </a:xfrm>
          <a:prstGeom prst="rect">
            <a:avLst/>
          </a:prstGeom>
          <a:noFill/>
          <a:ln w="6350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Tree>
    <p:extLst>
      <p:ext uri="{BB962C8B-B14F-4D97-AF65-F5344CB8AC3E}">
        <p14:creationId xmlns:p14="http://schemas.microsoft.com/office/powerpoint/2010/main" val="3352584128"/>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30212DD-E957-25F5-2709-C494AE32D50E}"/>
              </a:ext>
            </a:extLst>
          </p:cNvPr>
          <p:cNvSpPr>
            <a:spLocks noGrp="1"/>
          </p:cNvSpPr>
          <p:nvPr>
            <p:ph sz="half" idx="1"/>
          </p:nvPr>
        </p:nvSpPr>
        <p:spPr>
          <a:xfrm>
            <a:off x="292769" y="997285"/>
            <a:ext cx="3810000" cy="2936240"/>
          </a:xfrm>
        </p:spPr>
        <p:txBody>
          <a:bodyPr/>
          <a:lstStyle/>
          <a:p>
            <a:pPr marL="0" indent="0">
              <a:buNone/>
            </a:pPr>
            <a:r>
              <a:rPr lang="en-US" dirty="0" err="1"/>
              <a:t>elacestrant</a:t>
            </a:r>
            <a:endParaRPr lang="en-US" dirty="0"/>
          </a:p>
        </p:txBody>
      </p:sp>
      <p:sp>
        <p:nvSpPr>
          <p:cNvPr id="3" name="Content Placeholder 2">
            <a:extLst>
              <a:ext uri="{FF2B5EF4-FFF2-40B4-BE49-F238E27FC236}">
                <a16:creationId xmlns:a16="http://schemas.microsoft.com/office/drawing/2014/main" id="{98CA596F-7944-81F7-DFFD-2942F4FC4465}"/>
              </a:ext>
            </a:extLst>
          </p:cNvPr>
          <p:cNvSpPr>
            <a:spLocks noGrp="1"/>
          </p:cNvSpPr>
          <p:nvPr>
            <p:ph sz="half" idx="2"/>
          </p:nvPr>
        </p:nvSpPr>
        <p:spPr>
          <a:xfrm>
            <a:off x="4648202" y="1048085"/>
            <a:ext cx="3810000" cy="2936240"/>
          </a:xfrm>
        </p:spPr>
        <p:txBody>
          <a:bodyPr/>
          <a:lstStyle/>
          <a:p>
            <a:pPr marL="0" indent="0">
              <a:buNone/>
            </a:pPr>
            <a:r>
              <a:rPr lang="en-US" dirty="0" err="1"/>
              <a:t>Lasofoxifene</a:t>
            </a:r>
            <a:endParaRPr lang="en-US" dirty="0"/>
          </a:p>
          <a:p>
            <a:r>
              <a:rPr lang="en-US" sz="2000" dirty="0"/>
              <a:t>Single-agent activity limited</a:t>
            </a:r>
          </a:p>
          <a:p>
            <a:r>
              <a:rPr lang="en-US" sz="2000" dirty="0"/>
              <a:t>ELAINE2 trial found RR 33% in combination with </a:t>
            </a:r>
            <a:r>
              <a:rPr lang="en-US" sz="2000" dirty="0" err="1"/>
              <a:t>abemaciclib</a:t>
            </a:r>
            <a:endParaRPr lang="en-US" sz="2000" dirty="0"/>
          </a:p>
        </p:txBody>
      </p:sp>
      <p:sp>
        <p:nvSpPr>
          <p:cNvPr id="4" name="Title 3">
            <a:extLst>
              <a:ext uri="{FF2B5EF4-FFF2-40B4-BE49-F238E27FC236}">
                <a16:creationId xmlns:a16="http://schemas.microsoft.com/office/drawing/2014/main" id="{518F08FF-03A7-BD90-1C36-49B6B41F5E62}"/>
              </a:ext>
            </a:extLst>
          </p:cNvPr>
          <p:cNvSpPr>
            <a:spLocks noGrp="1"/>
          </p:cNvSpPr>
          <p:nvPr>
            <p:ph type="title"/>
          </p:nvPr>
        </p:nvSpPr>
        <p:spPr/>
        <p:txBody>
          <a:bodyPr/>
          <a:lstStyle/>
          <a:p>
            <a:r>
              <a:rPr lang="en-US" dirty="0"/>
              <a:t>Targeting ESR1-mutant</a:t>
            </a:r>
          </a:p>
        </p:txBody>
      </p:sp>
      <p:sp>
        <p:nvSpPr>
          <p:cNvPr id="5" name="TextBox 4">
            <a:extLst>
              <a:ext uri="{FF2B5EF4-FFF2-40B4-BE49-F238E27FC236}">
                <a16:creationId xmlns:a16="http://schemas.microsoft.com/office/drawing/2014/main" id="{68485B0B-E1AA-68E0-5543-002EB2FD5791}"/>
              </a:ext>
            </a:extLst>
          </p:cNvPr>
          <p:cNvSpPr txBox="1"/>
          <p:nvPr/>
        </p:nvSpPr>
        <p:spPr>
          <a:xfrm>
            <a:off x="2424944" y="4024365"/>
            <a:ext cx="2260555" cy="338554"/>
          </a:xfrm>
          <a:prstGeom prst="rect">
            <a:avLst/>
          </a:prstGeom>
          <a:noFill/>
        </p:spPr>
        <p:txBody>
          <a:bodyPr wrap="none" rtlCol="0">
            <a:spAutoFit/>
          </a:bodyPr>
          <a:lstStyle/>
          <a:p>
            <a:r>
              <a:rPr lang="en-US" sz="1600" i="1" dirty="0" err="1"/>
              <a:t>Bidard</a:t>
            </a:r>
            <a:r>
              <a:rPr lang="en-US" sz="1600" i="1" dirty="0"/>
              <a:t> et al. JCO 2022</a:t>
            </a:r>
          </a:p>
        </p:txBody>
      </p:sp>
      <p:pic>
        <p:nvPicPr>
          <p:cNvPr id="7" name="Picture 6">
            <a:extLst>
              <a:ext uri="{FF2B5EF4-FFF2-40B4-BE49-F238E27FC236}">
                <a16:creationId xmlns:a16="http://schemas.microsoft.com/office/drawing/2014/main" id="{EB0DA370-4B0B-D290-6A62-B0051A218C10}"/>
              </a:ext>
            </a:extLst>
          </p:cNvPr>
          <p:cNvPicPr>
            <a:picLocks noChangeAspect="1"/>
          </p:cNvPicPr>
          <p:nvPr/>
        </p:nvPicPr>
        <p:blipFill>
          <a:blip r:embed="rId2"/>
          <a:stretch>
            <a:fillRect/>
          </a:stretch>
        </p:blipFill>
        <p:spPr>
          <a:xfrm>
            <a:off x="354088" y="1660357"/>
            <a:ext cx="4141712" cy="2166753"/>
          </a:xfrm>
          <a:prstGeom prst="rect">
            <a:avLst/>
          </a:prstGeom>
        </p:spPr>
      </p:pic>
      <p:sp>
        <p:nvSpPr>
          <p:cNvPr id="8" name="TextBox 7">
            <a:extLst>
              <a:ext uri="{FF2B5EF4-FFF2-40B4-BE49-F238E27FC236}">
                <a16:creationId xmlns:a16="http://schemas.microsoft.com/office/drawing/2014/main" id="{C98B1BED-CAD7-92D6-A965-98577C1759BA}"/>
              </a:ext>
            </a:extLst>
          </p:cNvPr>
          <p:cNvSpPr txBox="1"/>
          <p:nvPr/>
        </p:nvSpPr>
        <p:spPr>
          <a:xfrm>
            <a:off x="6130715" y="4023295"/>
            <a:ext cx="2902141" cy="338554"/>
          </a:xfrm>
          <a:prstGeom prst="rect">
            <a:avLst/>
          </a:prstGeom>
          <a:noFill/>
        </p:spPr>
        <p:txBody>
          <a:bodyPr wrap="none" rtlCol="0">
            <a:spAutoFit/>
          </a:bodyPr>
          <a:lstStyle/>
          <a:p>
            <a:r>
              <a:rPr lang="en-US" sz="1600" i="1" dirty="0"/>
              <a:t>Damodaran et al. ASCO 2023</a:t>
            </a:r>
          </a:p>
        </p:txBody>
      </p:sp>
    </p:spTree>
    <p:extLst>
      <p:ext uri="{BB962C8B-B14F-4D97-AF65-F5344CB8AC3E}">
        <p14:creationId xmlns:p14="http://schemas.microsoft.com/office/powerpoint/2010/main" val="600598629"/>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2C938C0-7ECD-1687-3DD5-26604C78D653}"/>
              </a:ext>
            </a:extLst>
          </p:cNvPr>
          <p:cNvSpPr>
            <a:spLocks noGrp="1"/>
          </p:cNvSpPr>
          <p:nvPr>
            <p:ph type="title"/>
          </p:nvPr>
        </p:nvSpPr>
        <p:spPr>
          <a:xfrm>
            <a:off x="-35485" y="119358"/>
            <a:ext cx="9144000" cy="695496"/>
          </a:xfrm>
        </p:spPr>
        <p:txBody>
          <a:bodyPr/>
          <a:lstStyle/>
          <a:p>
            <a:r>
              <a:rPr lang="en-US" sz="2800" dirty="0"/>
              <a:t>Druggable targets by NGS</a:t>
            </a:r>
          </a:p>
        </p:txBody>
      </p:sp>
      <p:sp>
        <p:nvSpPr>
          <p:cNvPr id="5" name="Rectangle 4">
            <a:extLst>
              <a:ext uri="{FF2B5EF4-FFF2-40B4-BE49-F238E27FC236}">
                <a16:creationId xmlns:a16="http://schemas.microsoft.com/office/drawing/2014/main" id="{8C92C1C3-4A6B-8E7F-E080-FE2DBAA74CAA}"/>
              </a:ext>
            </a:extLst>
          </p:cNvPr>
          <p:cNvSpPr/>
          <p:nvPr/>
        </p:nvSpPr>
        <p:spPr>
          <a:xfrm>
            <a:off x="2192526" y="839500"/>
            <a:ext cx="3323206" cy="2998931"/>
          </a:xfrm>
          <a:prstGeom prst="rect">
            <a:avLst/>
          </a:prstGeom>
          <a:solidFill>
            <a:srgbClr val="B0E2FF"/>
          </a:solidFill>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defTabSz="342900" fontAlgn="auto">
              <a:spcBef>
                <a:spcPts val="0"/>
              </a:spcBef>
              <a:spcAft>
                <a:spcPts val="0"/>
              </a:spcAft>
            </a:pPr>
            <a:endParaRPr lang="en-US" sz="1350" dirty="0">
              <a:solidFill>
                <a:srgbClr val="FFFFFF"/>
              </a:solidFill>
              <a:latin typeface="Calibri" panose="020F0502020204030204"/>
            </a:endParaRPr>
          </a:p>
        </p:txBody>
      </p:sp>
      <p:cxnSp>
        <p:nvCxnSpPr>
          <p:cNvPr id="6" name="Straight Arrow Connector 5">
            <a:extLst>
              <a:ext uri="{FF2B5EF4-FFF2-40B4-BE49-F238E27FC236}">
                <a16:creationId xmlns:a16="http://schemas.microsoft.com/office/drawing/2014/main" id="{92F0765A-8A51-7B4C-5438-C23E5895B6D0}"/>
              </a:ext>
            </a:extLst>
          </p:cNvPr>
          <p:cNvCxnSpPr/>
          <p:nvPr/>
        </p:nvCxnSpPr>
        <p:spPr>
          <a:xfrm flipH="1" flipV="1">
            <a:off x="2038733" y="1173129"/>
            <a:ext cx="16812" cy="2317104"/>
          </a:xfrm>
          <a:prstGeom prst="straightConnector1">
            <a:avLst/>
          </a:prstGeom>
          <a:ln w="50800">
            <a:solidFill>
              <a:srgbClr val="FF0000">
                <a:alpha val="75000"/>
              </a:srgbClr>
            </a:solidFill>
            <a:tailEnd type="triangle"/>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A6A72EE1-CAA4-F259-5C2B-29B55FCE3D98}"/>
              </a:ext>
            </a:extLst>
          </p:cNvPr>
          <p:cNvSpPr txBox="1"/>
          <p:nvPr/>
        </p:nvSpPr>
        <p:spPr>
          <a:xfrm rot="16200000">
            <a:off x="1222104" y="2317658"/>
            <a:ext cx="1197921" cy="319910"/>
          </a:xfrm>
          <a:prstGeom prst="rect">
            <a:avLst/>
          </a:prstGeom>
          <a:noFill/>
        </p:spPr>
        <p:txBody>
          <a:bodyPr wrap="none" rtlCol="0">
            <a:normAutofit fontScale="92500" lnSpcReduction="20000"/>
          </a:bodyPr>
          <a:lstStyle/>
          <a:p>
            <a:pPr defTabSz="342900" fontAlgn="auto">
              <a:spcBef>
                <a:spcPts val="0"/>
              </a:spcBef>
              <a:spcAft>
                <a:spcPts val="0"/>
              </a:spcAft>
            </a:pPr>
            <a:r>
              <a:rPr lang="en-US" sz="1800" b="1" dirty="0" err="1">
                <a:solidFill>
                  <a:srgbClr val="202020"/>
                </a:solidFill>
                <a:latin typeface="Calibri" panose="020F0502020204030204"/>
                <a:ea typeface="+mn-ea"/>
                <a:cs typeface="+mn-cs"/>
              </a:rPr>
              <a:t>Actionability</a:t>
            </a:r>
            <a:endParaRPr lang="en-US" sz="1800" b="1" dirty="0">
              <a:solidFill>
                <a:srgbClr val="202020"/>
              </a:solidFill>
              <a:latin typeface="Calibri" panose="020F0502020204030204"/>
              <a:ea typeface="+mn-ea"/>
              <a:cs typeface="+mn-cs"/>
            </a:endParaRPr>
          </a:p>
        </p:txBody>
      </p:sp>
      <p:cxnSp>
        <p:nvCxnSpPr>
          <p:cNvPr id="8" name="Straight Arrow Connector 7">
            <a:extLst>
              <a:ext uri="{FF2B5EF4-FFF2-40B4-BE49-F238E27FC236}">
                <a16:creationId xmlns:a16="http://schemas.microsoft.com/office/drawing/2014/main" id="{FA604C37-A691-C648-8393-FEF4B6A7A37F}"/>
              </a:ext>
            </a:extLst>
          </p:cNvPr>
          <p:cNvCxnSpPr/>
          <p:nvPr/>
        </p:nvCxnSpPr>
        <p:spPr>
          <a:xfrm rot="5400000" flipH="1" flipV="1">
            <a:off x="3766820" y="2783131"/>
            <a:ext cx="16630" cy="2342496"/>
          </a:xfrm>
          <a:prstGeom prst="straightConnector1">
            <a:avLst/>
          </a:prstGeom>
          <a:ln w="50800">
            <a:solidFill>
              <a:srgbClr val="FF0000">
                <a:alpha val="75000"/>
              </a:srgbClr>
            </a:solidFill>
            <a:tailEnd type="triangl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71A2BE8D-5BA5-ABEA-3CCD-6159BD34D03B}"/>
              </a:ext>
            </a:extLst>
          </p:cNvPr>
          <p:cNvSpPr txBox="1"/>
          <p:nvPr/>
        </p:nvSpPr>
        <p:spPr>
          <a:xfrm>
            <a:off x="3212661" y="3982529"/>
            <a:ext cx="1063257" cy="316442"/>
          </a:xfrm>
          <a:prstGeom prst="rect">
            <a:avLst/>
          </a:prstGeom>
          <a:noFill/>
        </p:spPr>
        <p:txBody>
          <a:bodyPr wrap="none" rtlCol="0">
            <a:normAutofit fontScale="92500" lnSpcReduction="20000"/>
          </a:bodyPr>
          <a:lstStyle/>
          <a:p>
            <a:pPr defTabSz="342900" fontAlgn="auto">
              <a:spcBef>
                <a:spcPts val="0"/>
              </a:spcBef>
              <a:spcAft>
                <a:spcPts val="0"/>
              </a:spcAft>
            </a:pPr>
            <a:r>
              <a:rPr lang="en-US" sz="1800" b="1" dirty="0">
                <a:solidFill>
                  <a:srgbClr val="202020"/>
                </a:solidFill>
                <a:latin typeface="Calibri" panose="020F0502020204030204"/>
                <a:ea typeface="+mn-ea"/>
                <a:cs typeface="+mn-cs"/>
              </a:rPr>
              <a:t>Prevalence</a:t>
            </a:r>
          </a:p>
        </p:txBody>
      </p:sp>
      <p:sp>
        <p:nvSpPr>
          <p:cNvPr id="10" name="TextBox 9">
            <a:extLst>
              <a:ext uri="{FF2B5EF4-FFF2-40B4-BE49-F238E27FC236}">
                <a16:creationId xmlns:a16="http://schemas.microsoft.com/office/drawing/2014/main" id="{62627E54-3C95-ADD6-7823-5879E15713E9}"/>
              </a:ext>
            </a:extLst>
          </p:cNvPr>
          <p:cNvSpPr txBox="1"/>
          <p:nvPr/>
        </p:nvSpPr>
        <p:spPr>
          <a:xfrm>
            <a:off x="5652713" y="1654886"/>
            <a:ext cx="767228" cy="257109"/>
          </a:xfrm>
          <a:prstGeom prst="rect">
            <a:avLst/>
          </a:prstGeom>
          <a:noFill/>
        </p:spPr>
        <p:txBody>
          <a:bodyPr wrap="none" rtlCol="0">
            <a:normAutofit fontScale="92500" lnSpcReduction="10000"/>
          </a:bodyPr>
          <a:lstStyle/>
          <a:p>
            <a:pPr defTabSz="342900" fontAlgn="auto">
              <a:spcBef>
                <a:spcPts val="0"/>
              </a:spcBef>
              <a:spcAft>
                <a:spcPts val="0"/>
              </a:spcAft>
            </a:pPr>
            <a:r>
              <a:rPr lang="en-US" sz="1350" b="1" dirty="0">
                <a:solidFill>
                  <a:srgbClr val="00B050"/>
                </a:solidFill>
                <a:latin typeface="Calibri" panose="020F0502020204030204"/>
                <a:ea typeface="+mn-ea"/>
                <a:cs typeface="+mn-cs"/>
              </a:rPr>
              <a:t>Approved</a:t>
            </a:r>
          </a:p>
        </p:txBody>
      </p:sp>
      <p:sp>
        <p:nvSpPr>
          <p:cNvPr id="11" name="TextBox 10">
            <a:extLst>
              <a:ext uri="{FF2B5EF4-FFF2-40B4-BE49-F238E27FC236}">
                <a16:creationId xmlns:a16="http://schemas.microsoft.com/office/drawing/2014/main" id="{07DEBE85-7777-9F99-AB9F-74C6F9F111F0}"/>
              </a:ext>
            </a:extLst>
          </p:cNvPr>
          <p:cNvSpPr txBox="1"/>
          <p:nvPr/>
        </p:nvSpPr>
        <p:spPr>
          <a:xfrm>
            <a:off x="5652713" y="2886640"/>
            <a:ext cx="1665698" cy="257109"/>
          </a:xfrm>
          <a:prstGeom prst="rect">
            <a:avLst/>
          </a:prstGeom>
          <a:noFill/>
        </p:spPr>
        <p:txBody>
          <a:bodyPr wrap="none" rtlCol="0">
            <a:normAutofit fontScale="92500" lnSpcReduction="10000"/>
          </a:bodyPr>
          <a:lstStyle/>
          <a:p>
            <a:pPr defTabSz="342900" fontAlgn="auto">
              <a:spcBef>
                <a:spcPts val="0"/>
              </a:spcBef>
              <a:spcAft>
                <a:spcPts val="0"/>
              </a:spcAft>
            </a:pPr>
            <a:r>
              <a:rPr lang="en-US" sz="1350" b="1" dirty="0">
                <a:solidFill>
                  <a:srgbClr val="FF0000"/>
                </a:solidFill>
                <a:latin typeface="Calibri" panose="020F0502020204030204"/>
                <a:ea typeface="+mn-ea"/>
                <a:cs typeface="+mn-cs"/>
              </a:rPr>
              <a:t>Off label/investigational</a:t>
            </a:r>
          </a:p>
        </p:txBody>
      </p:sp>
      <p:sp>
        <p:nvSpPr>
          <p:cNvPr id="12" name="Right Triangle 11">
            <a:extLst>
              <a:ext uri="{FF2B5EF4-FFF2-40B4-BE49-F238E27FC236}">
                <a16:creationId xmlns:a16="http://schemas.microsoft.com/office/drawing/2014/main" id="{8ED305BE-C8CC-659B-2A5F-88A6A9358F9E}"/>
              </a:ext>
            </a:extLst>
          </p:cNvPr>
          <p:cNvSpPr/>
          <p:nvPr/>
        </p:nvSpPr>
        <p:spPr>
          <a:xfrm flipV="1">
            <a:off x="5523848" y="839500"/>
            <a:ext cx="257729" cy="2047141"/>
          </a:xfrm>
          <a:prstGeom prst="rtTriangl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defTabSz="342900" fontAlgn="auto">
              <a:spcBef>
                <a:spcPts val="0"/>
              </a:spcBef>
              <a:spcAft>
                <a:spcPts val="0"/>
              </a:spcAft>
            </a:pPr>
            <a:endParaRPr lang="en-US" sz="1350">
              <a:solidFill>
                <a:srgbClr val="FFFFFF"/>
              </a:solidFill>
              <a:latin typeface="Calibri" panose="020F0502020204030204"/>
            </a:endParaRPr>
          </a:p>
        </p:txBody>
      </p:sp>
      <p:sp>
        <p:nvSpPr>
          <p:cNvPr id="13" name="Right Triangle 12">
            <a:extLst>
              <a:ext uri="{FF2B5EF4-FFF2-40B4-BE49-F238E27FC236}">
                <a16:creationId xmlns:a16="http://schemas.microsoft.com/office/drawing/2014/main" id="{4DD640E7-EBC2-AB74-2E5F-AD95B4377966}"/>
              </a:ext>
            </a:extLst>
          </p:cNvPr>
          <p:cNvSpPr/>
          <p:nvPr/>
        </p:nvSpPr>
        <p:spPr>
          <a:xfrm flipV="1">
            <a:off x="5523848" y="2262703"/>
            <a:ext cx="176126" cy="1575727"/>
          </a:xfrm>
          <a:prstGeom prst="rtTriangl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defTabSz="342900" fontAlgn="auto">
              <a:spcBef>
                <a:spcPts val="0"/>
              </a:spcBef>
              <a:spcAft>
                <a:spcPts val="0"/>
              </a:spcAft>
            </a:pPr>
            <a:endParaRPr lang="en-US" sz="1350">
              <a:solidFill>
                <a:srgbClr val="FFFFFF"/>
              </a:solidFill>
              <a:latin typeface="Calibri" panose="020F0502020204030204"/>
            </a:endParaRPr>
          </a:p>
        </p:txBody>
      </p:sp>
      <p:sp>
        <p:nvSpPr>
          <p:cNvPr id="14" name="TextBox 13">
            <a:extLst>
              <a:ext uri="{FF2B5EF4-FFF2-40B4-BE49-F238E27FC236}">
                <a16:creationId xmlns:a16="http://schemas.microsoft.com/office/drawing/2014/main" id="{FF3919FB-8617-3AF7-8AF6-EFAE5C12013C}"/>
              </a:ext>
            </a:extLst>
          </p:cNvPr>
          <p:cNvSpPr txBox="1"/>
          <p:nvPr/>
        </p:nvSpPr>
        <p:spPr>
          <a:xfrm>
            <a:off x="5453186" y="627121"/>
            <a:ext cx="625268" cy="257109"/>
          </a:xfrm>
          <a:prstGeom prst="rect">
            <a:avLst/>
          </a:prstGeom>
          <a:noFill/>
        </p:spPr>
        <p:txBody>
          <a:bodyPr wrap="none" rtlCol="0">
            <a:normAutofit fontScale="92500" lnSpcReduction="10000"/>
          </a:bodyPr>
          <a:lstStyle/>
          <a:p>
            <a:pPr defTabSz="342900" fontAlgn="auto">
              <a:spcBef>
                <a:spcPts val="0"/>
              </a:spcBef>
              <a:spcAft>
                <a:spcPts val="0"/>
              </a:spcAft>
            </a:pPr>
            <a:r>
              <a:rPr lang="en-US" sz="1350" dirty="0">
                <a:solidFill>
                  <a:srgbClr val="202020"/>
                </a:solidFill>
                <a:latin typeface="Calibri" panose="020F0502020204030204"/>
                <a:ea typeface="+mn-ea"/>
                <a:cs typeface="+mn-cs"/>
              </a:rPr>
              <a:t>efficacy</a:t>
            </a:r>
          </a:p>
        </p:txBody>
      </p:sp>
      <p:grpSp>
        <p:nvGrpSpPr>
          <p:cNvPr id="15" name="Group 14">
            <a:extLst>
              <a:ext uri="{FF2B5EF4-FFF2-40B4-BE49-F238E27FC236}">
                <a16:creationId xmlns:a16="http://schemas.microsoft.com/office/drawing/2014/main" id="{E4607BEA-ADE2-1880-2E89-2DEA7DB1B127}"/>
              </a:ext>
            </a:extLst>
          </p:cNvPr>
          <p:cNvGrpSpPr/>
          <p:nvPr/>
        </p:nvGrpSpPr>
        <p:grpSpPr>
          <a:xfrm>
            <a:off x="2239214" y="962245"/>
            <a:ext cx="952649" cy="314657"/>
            <a:chOff x="3156923" y="1341613"/>
            <a:chExt cx="1466428" cy="489664"/>
          </a:xfrm>
        </p:grpSpPr>
        <p:sp>
          <p:nvSpPr>
            <p:cNvPr id="16" name="Oval 15">
              <a:extLst>
                <a:ext uri="{FF2B5EF4-FFF2-40B4-BE49-F238E27FC236}">
                  <a16:creationId xmlns:a16="http://schemas.microsoft.com/office/drawing/2014/main" id="{4FA967DD-2F35-3061-E3E8-E61190B51365}"/>
                </a:ext>
              </a:extLst>
            </p:cNvPr>
            <p:cNvSpPr/>
            <p:nvPr/>
          </p:nvSpPr>
          <p:spPr>
            <a:xfrm>
              <a:off x="3156923" y="1341613"/>
              <a:ext cx="179109" cy="179109"/>
            </a:xfrm>
            <a:prstGeom prst="ellipse">
              <a:avLst/>
            </a:prstGeom>
            <a:solidFill>
              <a:schemeClr val="bg1"/>
            </a:solidFill>
            <a:ln w="38100"/>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25000" lnSpcReduction="20000"/>
            </a:bodyPr>
            <a:lstStyle/>
            <a:p>
              <a:pPr algn="ctr" defTabSz="342900" fontAlgn="auto">
                <a:spcBef>
                  <a:spcPts val="0"/>
                </a:spcBef>
                <a:spcAft>
                  <a:spcPts val="0"/>
                </a:spcAft>
              </a:pPr>
              <a:endParaRPr lang="en-US" sz="1350">
                <a:solidFill>
                  <a:srgbClr val="00B050"/>
                </a:solidFill>
                <a:latin typeface="Calibri" panose="020F0502020204030204"/>
              </a:endParaRPr>
            </a:p>
          </p:txBody>
        </p:sp>
        <p:sp>
          <p:nvSpPr>
            <p:cNvPr id="17" name="TextBox 16">
              <a:extLst>
                <a:ext uri="{FF2B5EF4-FFF2-40B4-BE49-F238E27FC236}">
                  <a16:creationId xmlns:a16="http://schemas.microsoft.com/office/drawing/2014/main" id="{519F9E7A-B7B7-B3DB-6CF0-53F296A78D00}"/>
                </a:ext>
              </a:extLst>
            </p:cNvPr>
            <p:cNvSpPr txBox="1"/>
            <p:nvPr/>
          </p:nvSpPr>
          <p:spPr>
            <a:xfrm>
              <a:off x="3246478" y="1431168"/>
              <a:ext cx="1376873" cy="400109"/>
            </a:xfrm>
            <a:prstGeom prst="rect">
              <a:avLst/>
            </a:prstGeom>
            <a:noFill/>
          </p:spPr>
          <p:txBody>
            <a:bodyPr wrap="none" rtlCol="0">
              <a:normAutofit fontScale="92500" lnSpcReduction="10000"/>
            </a:bodyPr>
            <a:lstStyle/>
            <a:p>
              <a:pPr defTabSz="342900" fontAlgn="auto">
                <a:spcBef>
                  <a:spcPts val="0"/>
                </a:spcBef>
                <a:spcAft>
                  <a:spcPts val="0"/>
                </a:spcAft>
              </a:pPr>
              <a:r>
                <a:rPr lang="en-US" sz="1350" i="1" dirty="0">
                  <a:solidFill>
                    <a:srgbClr val="202020"/>
                  </a:solidFill>
                  <a:latin typeface="Calibri" panose="020F0502020204030204"/>
                  <a:ea typeface="+mn-ea"/>
                  <a:cs typeface="+mn-cs"/>
                </a:rPr>
                <a:t>NTRK fusion</a:t>
              </a:r>
            </a:p>
          </p:txBody>
        </p:sp>
      </p:grpSp>
      <p:sp>
        <p:nvSpPr>
          <p:cNvPr id="18" name="Oval 17">
            <a:extLst>
              <a:ext uri="{FF2B5EF4-FFF2-40B4-BE49-F238E27FC236}">
                <a16:creationId xmlns:a16="http://schemas.microsoft.com/office/drawing/2014/main" id="{45A55FB5-4A8E-F25C-D5D8-318051F43941}"/>
              </a:ext>
            </a:extLst>
          </p:cNvPr>
          <p:cNvSpPr/>
          <p:nvPr/>
        </p:nvSpPr>
        <p:spPr>
          <a:xfrm>
            <a:off x="6493310" y="972193"/>
            <a:ext cx="116356" cy="115095"/>
          </a:xfrm>
          <a:prstGeom prst="ellipse">
            <a:avLst/>
          </a:prstGeom>
          <a:solidFill>
            <a:schemeClr val="bg1"/>
          </a:solidFill>
          <a:ln w="38100"/>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25000" lnSpcReduction="20000"/>
          </a:bodyPr>
          <a:lstStyle/>
          <a:p>
            <a:pPr algn="ctr" defTabSz="342900" fontAlgn="auto">
              <a:spcBef>
                <a:spcPts val="0"/>
              </a:spcBef>
              <a:spcAft>
                <a:spcPts val="0"/>
              </a:spcAft>
            </a:pPr>
            <a:endParaRPr lang="en-US" sz="1350">
              <a:solidFill>
                <a:srgbClr val="00B050"/>
              </a:solidFill>
              <a:latin typeface="Calibri" panose="020F0502020204030204"/>
            </a:endParaRPr>
          </a:p>
        </p:txBody>
      </p:sp>
      <p:sp>
        <p:nvSpPr>
          <p:cNvPr id="19" name="TextBox 18">
            <a:extLst>
              <a:ext uri="{FF2B5EF4-FFF2-40B4-BE49-F238E27FC236}">
                <a16:creationId xmlns:a16="http://schemas.microsoft.com/office/drawing/2014/main" id="{65D3B489-A983-8B5E-002C-1B35C9D0E582}"/>
              </a:ext>
            </a:extLst>
          </p:cNvPr>
          <p:cNvSpPr txBox="1"/>
          <p:nvPr/>
        </p:nvSpPr>
        <p:spPr>
          <a:xfrm>
            <a:off x="6584543" y="911074"/>
            <a:ext cx="875032" cy="257109"/>
          </a:xfrm>
          <a:prstGeom prst="rect">
            <a:avLst/>
          </a:prstGeom>
          <a:noFill/>
        </p:spPr>
        <p:txBody>
          <a:bodyPr wrap="none" rtlCol="0">
            <a:normAutofit fontScale="92500" lnSpcReduction="10000"/>
          </a:bodyPr>
          <a:lstStyle/>
          <a:p>
            <a:pPr defTabSz="342900" fontAlgn="auto">
              <a:spcBef>
                <a:spcPts val="0"/>
              </a:spcBef>
              <a:spcAft>
                <a:spcPts val="0"/>
              </a:spcAft>
            </a:pPr>
            <a:r>
              <a:rPr lang="en-US" sz="1350" dirty="0">
                <a:solidFill>
                  <a:srgbClr val="202020"/>
                </a:solidFill>
                <a:latin typeface="Calibri" panose="020F0502020204030204"/>
                <a:ea typeface="+mn-ea"/>
                <a:cs typeface="+mn-cs"/>
              </a:rPr>
              <a:t>All BC types</a:t>
            </a:r>
          </a:p>
        </p:txBody>
      </p:sp>
      <p:sp>
        <p:nvSpPr>
          <p:cNvPr id="20" name="Oval 19">
            <a:extLst>
              <a:ext uri="{FF2B5EF4-FFF2-40B4-BE49-F238E27FC236}">
                <a16:creationId xmlns:a16="http://schemas.microsoft.com/office/drawing/2014/main" id="{3139F118-BC26-6FC9-E661-D8E6CB52C92C}"/>
              </a:ext>
            </a:extLst>
          </p:cNvPr>
          <p:cNvSpPr/>
          <p:nvPr/>
        </p:nvSpPr>
        <p:spPr>
          <a:xfrm>
            <a:off x="6493310" y="1177623"/>
            <a:ext cx="116356" cy="115095"/>
          </a:xfrm>
          <a:prstGeom prst="ellipse">
            <a:avLst/>
          </a:prstGeom>
          <a:solidFill>
            <a:srgbClr val="FFC000"/>
          </a:solidFill>
          <a:ln w="38100"/>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25000" lnSpcReduction="20000"/>
          </a:bodyPr>
          <a:lstStyle/>
          <a:p>
            <a:pPr algn="ctr" defTabSz="342900" fontAlgn="auto">
              <a:spcBef>
                <a:spcPts val="0"/>
              </a:spcBef>
              <a:spcAft>
                <a:spcPts val="0"/>
              </a:spcAft>
            </a:pPr>
            <a:endParaRPr lang="en-US" sz="1350">
              <a:solidFill>
                <a:srgbClr val="00B050"/>
              </a:solidFill>
              <a:latin typeface="Calibri" panose="020F0502020204030204"/>
            </a:endParaRPr>
          </a:p>
        </p:txBody>
      </p:sp>
      <p:sp>
        <p:nvSpPr>
          <p:cNvPr id="21" name="TextBox 20">
            <a:extLst>
              <a:ext uri="{FF2B5EF4-FFF2-40B4-BE49-F238E27FC236}">
                <a16:creationId xmlns:a16="http://schemas.microsoft.com/office/drawing/2014/main" id="{24D8D5C0-61E9-6B1B-857C-F973B313F043}"/>
              </a:ext>
            </a:extLst>
          </p:cNvPr>
          <p:cNvSpPr txBox="1"/>
          <p:nvPr/>
        </p:nvSpPr>
        <p:spPr>
          <a:xfrm>
            <a:off x="6584543" y="1125493"/>
            <a:ext cx="409884" cy="257109"/>
          </a:xfrm>
          <a:prstGeom prst="rect">
            <a:avLst/>
          </a:prstGeom>
          <a:noFill/>
        </p:spPr>
        <p:txBody>
          <a:bodyPr wrap="none" rtlCol="0">
            <a:normAutofit fontScale="92500" lnSpcReduction="10000"/>
          </a:bodyPr>
          <a:lstStyle/>
          <a:p>
            <a:pPr defTabSz="342900" fontAlgn="auto">
              <a:spcBef>
                <a:spcPts val="0"/>
              </a:spcBef>
              <a:spcAft>
                <a:spcPts val="0"/>
              </a:spcAft>
            </a:pPr>
            <a:r>
              <a:rPr lang="en-US" sz="1350" dirty="0">
                <a:solidFill>
                  <a:srgbClr val="202020"/>
                </a:solidFill>
                <a:latin typeface="Calibri" panose="020F0502020204030204"/>
                <a:ea typeface="+mn-ea"/>
                <a:cs typeface="+mn-cs"/>
              </a:rPr>
              <a:t>HR+</a:t>
            </a:r>
          </a:p>
        </p:txBody>
      </p:sp>
      <p:grpSp>
        <p:nvGrpSpPr>
          <p:cNvPr id="22" name="Group 21">
            <a:extLst>
              <a:ext uri="{FF2B5EF4-FFF2-40B4-BE49-F238E27FC236}">
                <a16:creationId xmlns:a16="http://schemas.microsoft.com/office/drawing/2014/main" id="{EEE7CE88-4EFC-ECC6-7119-A56CB4A958AE}"/>
              </a:ext>
            </a:extLst>
          </p:cNvPr>
          <p:cNvGrpSpPr/>
          <p:nvPr/>
        </p:nvGrpSpPr>
        <p:grpSpPr>
          <a:xfrm>
            <a:off x="2286933" y="1362826"/>
            <a:ext cx="475551" cy="257109"/>
            <a:chOff x="3230377" y="1964989"/>
            <a:chExt cx="732023" cy="400108"/>
          </a:xfrm>
        </p:grpSpPr>
        <p:sp>
          <p:nvSpPr>
            <p:cNvPr id="23" name="Oval 22">
              <a:extLst>
                <a:ext uri="{FF2B5EF4-FFF2-40B4-BE49-F238E27FC236}">
                  <a16:creationId xmlns:a16="http://schemas.microsoft.com/office/drawing/2014/main" id="{E300C7E9-B13B-C401-8AF2-F5BED65CF192}"/>
                </a:ext>
              </a:extLst>
            </p:cNvPr>
            <p:cNvSpPr/>
            <p:nvPr/>
          </p:nvSpPr>
          <p:spPr>
            <a:xfrm>
              <a:off x="3230377" y="1973571"/>
              <a:ext cx="179109" cy="179109"/>
            </a:xfrm>
            <a:prstGeom prst="ellipse">
              <a:avLst/>
            </a:prstGeom>
            <a:solidFill>
              <a:schemeClr val="bg1"/>
            </a:solidFill>
            <a:ln w="38100"/>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25000" lnSpcReduction="20000"/>
            </a:bodyPr>
            <a:lstStyle/>
            <a:p>
              <a:pPr algn="ctr" defTabSz="342900" fontAlgn="auto">
                <a:spcBef>
                  <a:spcPts val="0"/>
                </a:spcBef>
                <a:spcAft>
                  <a:spcPts val="0"/>
                </a:spcAft>
              </a:pPr>
              <a:endParaRPr lang="en-US" sz="1350">
                <a:solidFill>
                  <a:srgbClr val="00B050"/>
                </a:solidFill>
                <a:latin typeface="Calibri" panose="020F0502020204030204"/>
              </a:endParaRPr>
            </a:p>
          </p:txBody>
        </p:sp>
        <p:sp>
          <p:nvSpPr>
            <p:cNvPr id="24" name="TextBox 23">
              <a:extLst>
                <a:ext uri="{FF2B5EF4-FFF2-40B4-BE49-F238E27FC236}">
                  <a16:creationId xmlns:a16="http://schemas.microsoft.com/office/drawing/2014/main" id="{349BB122-262C-8F28-8242-29B7CD4F4650}"/>
                </a:ext>
              </a:extLst>
            </p:cNvPr>
            <p:cNvSpPr txBox="1"/>
            <p:nvPr/>
          </p:nvSpPr>
          <p:spPr>
            <a:xfrm>
              <a:off x="3357106" y="1964989"/>
              <a:ext cx="605294" cy="400108"/>
            </a:xfrm>
            <a:prstGeom prst="rect">
              <a:avLst/>
            </a:prstGeom>
            <a:noFill/>
          </p:spPr>
          <p:txBody>
            <a:bodyPr wrap="none" rtlCol="0">
              <a:normAutofit fontScale="92500" lnSpcReduction="10000"/>
            </a:bodyPr>
            <a:lstStyle/>
            <a:p>
              <a:pPr defTabSz="342900" fontAlgn="auto">
                <a:spcBef>
                  <a:spcPts val="0"/>
                </a:spcBef>
                <a:spcAft>
                  <a:spcPts val="0"/>
                </a:spcAft>
              </a:pPr>
              <a:r>
                <a:rPr lang="en-US" sz="1350" i="1" dirty="0">
                  <a:solidFill>
                    <a:srgbClr val="202020"/>
                  </a:solidFill>
                  <a:latin typeface="Calibri" panose="020F0502020204030204"/>
                  <a:ea typeface="+mn-ea"/>
                  <a:cs typeface="+mn-cs"/>
                </a:rPr>
                <a:t>MSI</a:t>
              </a:r>
            </a:p>
          </p:txBody>
        </p:sp>
      </p:grpSp>
      <p:grpSp>
        <p:nvGrpSpPr>
          <p:cNvPr id="25" name="Group 24">
            <a:extLst>
              <a:ext uri="{FF2B5EF4-FFF2-40B4-BE49-F238E27FC236}">
                <a16:creationId xmlns:a16="http://schemas.microsoft.com/office/drawing/2014/main" id="{6A8A0045-3A06-D7AA-8DA9-6307FB70079A}"/>
              </a:ext>
            </a:extLst>
          </p:cNvPr>
          <p:cNvGrpSpPr/>
          <p:nvPr/>
        </p:nvGrpSpPr>
        <p:grpSpPr>
          <a:xfrm>
            <a:off x="2556812" y="1650204"/>
            <a:ext cx="833966" cy="257109"/>
            <a:chOff x="3645807" y="2412201"/>
            <a:chExt cx="1283737" cy="400108"/>
          </a:xfrm>
        </p:grpSpPr>
        <p:sp>
          <p:nvSpPr>
            <p:cNvPr id="26" name="Oval 25">
              <a:extLst>
                <a:ext uri="{FF2B5EF4-FFF2-40B4-BE49-F238E27FC236}">
                  <a16:creationId xmlns:a16="http://schemas.microsoft.com/office/drawing/2014/main" id="{0D908FC1-0A74-13C5-379B-A8629AE447E2}"/>
                </a:ext>
              </a:extLst>
            </p:cNvPr>
            <p:cNvSpPr/>
            <p:nvPr/>
          </p:nvSpPr>
          <p:spPr>
            <a:xfrm>
              <a:off x="3645807" y="2447440"/>
              <a:ext cx="179109" cy="179109"/>
            </a:xfrm>
            <a:prstGeom prst="ellipse">
              <a:avLst/>
            </a:prstGeom>
            <a:solidFill>
              <a:schemeClr val="bg1"/>
            </a:solidFill>
            <a:ln w="38100"/>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25000" lnSpcReduction="20000"/>
            </a:bodyPr>
            <a:lstStyle/>
            <a:p>
              <a:pPr algn="ctr" defTabSz="342900" fontAlgn="auto">
                <a:spcBef>
                  <a:spcPts val="0"/>
                </a:spcBef>
                <a:spcAft>
                  <a:spcPts val="0"/>
                </a:spcAft>
              </a:pPr>
              <a:endParaRPr lang="en-US" sz="1350">
                <a:solidFill>
                  <a:srgbClr val="00B050"/>
                </a:solidFill>
                <a:latin typeface="Calibri" panose="020F0502020204030204"/>
              </a:endParaRPr>
            </a:p>
          </p:txBody>
        </p:sp>
        <p:sp>
          <p:nvSpPr>
            <p:cNvPr id="27" name="TextBox 26">
              <a:extLst>
                <a:ext uri="{FF2B5EF4-FFF2-40B4-BE49-F238E27FC236}">
                  <a16:creationId xmlns:a16="http://schemas.microsoft.com/office/drawing/2014/main" id="{350FD99C-336F-3708-0F15-1FFCB090601F}"/>
                </a:ext>
              </a:extLst>
            </p:cNvPr>
            <p:cNvSpPr txBox="1"/>
            <p:nvPr/>
          </p:nvSpPr>
          <p:spPr>
            <a:xfrm>
              <a:off x="3759994" y="2412201"/>
              <a:ext cx="1169550" cy="400108"/>
            </a:xfrm>
            <a:prstGeom prst="rect">
              <a:avLst/>
            </a:prstGeom>
            <a:noFill/>
          </p:spPr>
          <p:txBody>
            <a:bodyPr wrap="none" rtlCol="0">
              <a:normAutofit fontScale="92500" lnSpcReduction="10000"/>
            </a:bodyPr>
            <a:lstStyle/>
            <a:p>
              <a:pPr defTabSz="342900" fontAlgn="auto">
                <a:spcBef>
                  <a:spcPts val="0"/>
                </a:spcBef>
                <a:spcAft>
                  <a:spcPts val="0"/>
                </a:spcAft>
              </a:pPr>
              <a:r>
                <a:rPr lang="en-US" sz="1350" i="1" dirty="0">
                  <a:solidFill>
                    <a:srgbClr val="202020"/>
                  </a:solidFill>
                  <a:latin typeface="Calibri" panose="020F0502020204030204"/>
                  <a:ea typeface="+mn-ea"/>
                  <a:cs typeface="+mn-cs"/>
                </a:rPr>
                <a:t>High TMB</a:t>
              </a:r>
            </a:p>
          </p:txBody>
        </p:sp>
      </p:grpSp>
      <p:grpSp>
        <p:nvGrpSpPr>
          <p:cNvPr id="28" name="Group 27">
            <a:extLst>
              <a:ext uri="{FF2B5EF4-FFF2-40B4-BE49-F238E27FC236}">
                <a16:creationId xmlns:a16="http://schemas.microsoft.com/office/drawing/2014/main" id="{E27E6702-F86B-1C42-812F-B12598C119EA}"/>
              </a:ext>
            </a:extLst>
          </p:cNvPr>
          <p:cNvGrpSpPr/>
          <p:nvPr/>
        </p:nvGrpSpPr>
        <p:grpSpPr>
          <a:xfrm>
            <a:off x="2627339" y="2696315"/>
            <a:ext cx="914119" cy="294214"/>
            <a:chOff x="3754369" y="4040144"/>
            <a:chExt cx="1407119" cy="457851"/>
          </a:xfrm>
        </p:grpSpPr>
        <p:sp>
          <p:nvSpPr>
            <p:cNvPr id="29" name="Oval 28">
              <a:extLst>
                <a:ext uri="{FF2B5EF4-FFF2-40B4-BE49-F238E27FC236}">
                  <a16:creationId xmlns:a16="http://schemas.microsoft.com/office/drawing/2014/main" id="{E15A49F6-E10A-A94B-D5E5-64761CCBFEA1}"/>
                </a:ext>
              </a:extLst>
            </p:cNvPr>
            <p:cNvSpPr/>
            <p:nvPr/>
          </p:nvSpPr>
          <p:spPr>
            <a:xfrm>
              <a:off x="3754369" y="4040144"/>
              <a:ext cx="179109" cy="179109"/>
            </a:xfrm>
            <a:prstGeom prst="ellipse">
              <a:avLst/>
            </a:prstGeom>
            <a:solidFill>
              <a:srgbClr val="FFC000"/>
            </a:solidFill>
            <a:ln w="38100"/>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25000" lnSpcReduction="20000"/>
            </a:bodyPr>
            <a:lstStyle/>
            <a:p>
              <a:pPr algn="ctr" defTabSz="342900" fontAlgn="auto">
                <a:spcBef>
                  <a:spcPts val="0"/>
                </a:spcBef>
                <a:spcAft>
                  <a:spcPts val="0"/>
                </a:spcAft>
              </a:pPr>
              <a:endParaRPr lang="en-US" sz="1350">
                <a:solidFill>
                  <a:srgbClr val="00B050"/>
                </a:solidFill>
                <a:latin typeface="Calibri" panose="020F0502020204030204"/>
              </a:endParaRPr>
            </a:p>
          </p:txBody>
        </p:sp>
        <p:sp>
          <p:nvSpPr>
            <p:cNvPr id="30" name="TextBox 29">
              <a:extLst>
                <a:ext uri="{FF2B5EF4-FFF2-40B4-BE49-F238E27FC236}">
                  <a16:creationId xmlns:a16="http://schemas.microsoft.com/office/drawing/2014/main" id="{4B9D8ACC-7F5D-F6A0-75A0-337A3D67AC65}"/>
                </a:ext>
              </a:extLst>
            </p:cNvPr>
            <p:cNvSpPr txBox="1"/>
            <p:nvPr/>
          </p:nvSpPr>
          <p:spPr>
            <a:xfrm>
              <a:off x="3810177" y="4097885"/>
              <a:ext cx="1351311" cy="400110"/>
            </a:xfrm>
            <a:prstGeom prst="rect">
              <a:avLst/>
            </a:prstGeom>
            <a:noFill/>
          </p:spPr>
          <p:txBody>
            <a:bodyPr wrap="none" rtlCol="0">
              <a:normAutofit fontScale="92500" lnSpcReduction="10000"/>
            </a:bodyPr>
            <a:lstStyle/>
            <a:p>
              <a:pPr defTabSz="342900" fontAlgn="auto">
                <a:spcBef>
                  <a:spcPts val="0"/>
                </a:spcBef>
                <a:spcAft>
                  <a:spcPts val="0"/>
                </a:spcAft>
              </a:pPr>
              <a:r>
                <a:rPr lang="en-US" sz="1350" i="1" dirty="0">
                  <a:solidFill>
                    <a:srgbClr val="202020"/>
                  </a:solidFill>
                  <a:latin typeface="Calibri" panose="020F0502020204030204"/>
                  <a:ea typeface="+mn-ea"/>
                  <a:cs typeface="+mn-cs"/>
                </a:rPr>
                <a:t>FGFR fusion</a:t>
              </a:r>
            </a:p>
          </p:txBody>
        </p:sp>
      </p:grpSp>
      <p:sp>
        <p:nvSpPr>
          <p:cNvPr id="31" name="Oval 30">
            <a:extLst>
              <a:ext uri="{FF2B5EF4-FFF2-40B4-BE49-F238E27FC236}">
                <a16:creationId xmlns:a16="http://schemas.microsoft.com/office/drawing/2014/main" id="{0B36810F-CF44-1CB4-366B-C543E9CC2E8D}"/>
              </a:ext>
            </a:extLst>
          </p:cNvPr>
          <p:cNvSpPr/>
          <p:nvPr/>
        </p:nvSpPr>
        <p:spPr>
          <a:xfrm>
            <a:off x="4225660" y="3066425"/>
            <a:ext cx="116356" cy="115095"/>
          </a:xfrm>
          <a:prstGeom prst="ellipse">
            <a:avLst/>
          </a:prstGeom>
          <a:solidFill>
            <a:srgbClr val="FFC000"/>
          </a:solidFill>
          <a:ln w="38100"/>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25000" lnSpcReduction="20000"/>
          </a:bodyPr>
          <a:lstStyle/>
          <a:p>
            <a:pPr algn="ctr" defTabSz="342900" fontAlgn="auto">
              <a:spcBef>
                <a:spcPts val="0"/>
              </a:spcBef>
              <a:spcAft>
                <a:spcPts val="0"/>
              </a:spcAft>
            </a:pPr>
            <a:endParaRPr lang="en-US" sz="1350">
              <a:solidFill>
                <a:srgbClr val="00B050"/>
              </a:solidFill>
              <a:latin typeface="Calibri" panose="020F0502020204030204"/>
            </a:endParaRPr>
          </a:p>
        </p:txBody>
      </p:sp>
      <p:sp>
        <p:nvSpPr>
          <p:cNvPr id="32" name="TextBox 31">
            <a:extLst>
              <a:ext uri="{FF2B5EF4-FFF2-40B4-BE49-F238E27FC236}">
                <a16:creationId xmlns:a16="http://schemas.microsoft.com/office/drawing/2014/main" id="{C2EBA748-B117-5A18-D6D1-48C9E64DCA7D}"/>
              </a:ext>
            </a:extLst>
          </p:cNvPr>
          <p:cNvSpPr txBox="1"/>
          <p:nvPr/>
        </p:nvSpPr>
        <p:spPr>
          <a:xfrm>
            <a:off x="4301019" y="3103100"/>
            <a:ext cx="857037" cy="257109"/>
          </a:xfrm>
          <a:prstGeom prst="rect">
            <a:avLst/>
          </a:prstGeom>
          <a:noFill/>
        </p:spPr>
        <p:txBody>
          <a:bodyPr wrap="none" rtlCol="0">
            <a:normAutofit fontScale="92500" lnSpcReduction="10000"/>
          </a:bodyPr>
          <a:lstStyle/>
          <a:p>
            <a:pPr defTabSz="342900" fontAlgn="auto">
              <a:spcBef>
                <a:spcPts val="0"/>
              </a:spcBef>
              <a:spcAft>
                <a:spcPts val="0"/>
              </a:spcAft>
            </a:pPr>
            <a:r>
              <a:rPr lang="en-US" sz="1350" i="1" dirty="0">
                <a:solidFill>
                  <a:srgbClr val="202020"/>
                </a:solidFill>
                <a:latin typeface="Calibri" panose="020F0502020204030204"/>
                <a:ea typeface="+mn-ea"/>
                <a:cs typeface="+mn-cs"/>
              </a:rPr>
              <a:t>FGFR1 amp</a:t>
            </a:r>
          </a:p>
        </p:txBody>
      </p:sp>
      <p:sp>
        <p:nvSpPr>
          <p:cNvPr id="33" name="Oval 32">
            <a:extLst>
              <a:ext uri="{FF2B5EF4-FFF2-40B4-BE49-F238E27FC236}">
                <a16:creationId xmlns:a16="http://schemas.microsoft.com/office/drawing/2014/main" id="{7BEBB07A-035A-5C87-BD27-EFFF7C1A8F33}"/>
              </a:ext>
            </a:extLst>
          </p:cNvPr>
          <p:cNvSpPr/>
          <p:nvPr/>
        </p:nvSpPr>
        <p:spPr>
          <a:xfrm>
            <a:off x="4758109" y="1148248"/>
            <a:ext cx="116356" cy="115095"/>
          </a:xfrm>
          <a:prstGeom prst="ellipse">
            <a:avLst/>
          </a:prstGeom>
          <a:solidFill>
            <a:srgbClr val="FFC000"/>
          </a:solidFill>
          <a:ln w="38100"/>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25000" lnSpcReduction="20000"/>
          </a:bodyPr>
          <a:lstStyle/>
          <a:p>
            <a:pPr algn="ctr" defTabSz="342900" fontAlgn="auto">
              <a:spcBef>
                <a:spcPts val="0"/>
              </a:spcBef>
              <a:spcAft>
                <a:spcPts val="0"/>
              </a:spcAft>
            </a:pPr>
            <a:endParaRPr lang="en-US" sz="1350">
              <a:solidFill>
                <a:srgbClr val="00B050"/>
              </a:solidFill>
              <a:latin typeface="Calibri" panose="020F0502020204030204"/>
            </a:endParaRPr>
          </a:p>
        </p:txBody>
      </p:sp>
      <p:sp>
        <p:nvSpPr>
          <p:cNvPr id="34" name="TextBox 33">
            <a:extLst>
              <a:ext uri="{FF2B5EF4-FFF2-40B4-BE49-F238E27FC236}">
                <a16:creationId xmlns:a16="http://schemas.microsoft.com/office/drawing/2014/main" id="{C2834827-F26F-B9DC-E63C-2B9B3CEAB7DC}"/>
              </a:ext>
            </a:extLst>
          </p:cNvPr>
          <p:cNvSpPr txBox="1"/>
          <p:nvPr/>
        </p:nvSpPr>
        <p:spPr>
          <a:xfrm>
            <a:off x="4526055" y="1257826"/>
            <a:ext cx="737515" cy="257109"/>
          </a:xfrm>
          <a:prstGeom prst="rect">
            <a:avLst/>
          </a:prstGeom>
          <a:noFill/>
        </p:spPr>
        <p:txBody>
          <a:bodyPr wrap="none" rtlCol="0">
            <a:normAutofit fontScale="92500" lnSpcReduction="10000"/>
          </a:bodyPr>
          <a:lstStyle/>
          <a:p>
            <a:pPr defTabSz="342900" fontAlgn="auto">
              <a:spcBef>
                <a:spcPts val="0"/>
              </a:spcBef>
              <a:spcAft>
                <a:spcPts val="0"/>
              </a:spcAft>
            </a:pPr>
            <a:r>
              <a:rPr lang="en-US" sz="1350" i="1" dirty="0">
                <a:solidFill>
                  <a:srgbClr val="202020"/>
                </a:solidFill>
                <a:latin typeface="Calibri" panose="020F0502020204030204"/>
                <a:ea typeface="+mn-ea"/>
                <a:cs typeface="+mn-cs"/>
              </a:rPr>
              <a:t>ESR1 </a:t>
            </a:r>
            <a:r>
              <a:rPr lang="en-US" sz="1350" i="1" dirty="0" err="1">
                <a:solidFill>
                  <a:srgbClr val="202020"/>
                </a:solidFill>
                <a:latin typeface="Calibri" panose="020F0502020204030204"/>
                <a:ea typeface="+mn-ea"/>
                <a:cs typeface="+mn-cs"/>
              </a:rPr>
              <a:t>mut</a:t>
            </a:r>
            <a:endParaRPr lang="en-US" sz="1350" i="1" dirty="0">
              <a:solidFill>
                <a:srgbClr val="202020"/>
              </a:solidFill>
              <a:latin typeface="Calibri" panose="020F0502020204030204"/>
              <a:ea typeface="+mn-ea"/>
              <a:cs typeface="+mn-cs"/>
            </a:endParaRPr>
          </a:p>
        </p:txBody>
      </p:sp>
      <p:grpSp>
        <p:nvGrpSpPr>
          <p:cNvPr id="35" name="Group 34">
            <a:extLst>
              <a:ext uri="{FF2B5EF4-FFF2-40B4-BE49-F238E27FC236}">
                <a16:creationId xmlns:a16="http://schemas.microsoft.com/office/drawing/2014/main" id="{33F5AC54-ECDD-241B-DEF9-C7239F593298}"/>
              </a:ext>
            </a:extLst>
          </p:cNvPr>
          <p:cNvGrpSpPr/>
          <p:nvPr/>
        </p:nvGrpSpPr>
        <p:grpSpPr>
          <a:xfrm>
            <a:off x="3237766" y="2370283"/>
            <a:ext cx="822129" cy="257109"/>
            <a:chOff x="4694011" y="3532775"/>
            <a:chExt cx="1265517" cy="400108"/>
          </a:xfrm>
        </p:grpSpPr>
        <p:sp>
          <p:nvSpPr>
            <p:cNvPr id="36" name="Oval 35">
              <a:extLst>
                <a:ext uri="{FF2B5EF4-FFF2-40B4-BE49-F238E27FC236}">
                  <a16:creationId xmlns:a16="http://schemas.microsoft.com/office/drawing/2014/main" id="{EAABDD05-A2DB-6569-94D2-609C8A32E664}"/>
                </a:ext>
              </a:extLst>
            </p:cNvPr>
            <p:cNvSpPr/>
            <p:nvPr/>
          </p:nvSpPr>
          <p:spPr>
            <a:xfrm>
              <a:off x="4694011" y="3544264"/>
              <a:ext cx="179109" cy="179109"/>
            </a:xfrm>
            <a:prstGeom prst="ellipse">
              <a:avLst/>
            </a:prstGeom>
            <a:solidFill>
              <a:srgbClr val="FFC000"/>
            </a:solidFill>
            <a:ln w="38100"/>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25000" lnSpcReduction="20000"/>
            </a:bodyPr>
            <a:lstStyle/>
            <a:p>
              <a:pPr algn="ctr" defTabSz="342900" fontAlgn="auto">
                <a:spcBef>
                  <a:spcPts val="0"/>
                </a:spcBef>
                <a:spcAft>
                  <a:spcPts val="0"/>
                </a:spcAft>
              </a:pPr>
              <a:endParaRPr lang="en-US" sz="1350">
                <a:solidFill>
                  <a:srgbClr val="00B050"/>
                </a:solidFill>
                <a:latin typeface="Calibri" panose="020F0502020204030204"/>
              </a:endParaRPr>
            </a:p>
          </p:txBody>
        </p:sp>
        <p:sp>
          <p:nvSpPr>
            <p:cNvPr id="37" name="TextBox 36">
              <a:extLst>
                <a:ext uri="{FF2B5EF4-FFF2-40B4-BE49-F238E27FC236}">
                  <a16:creationId xmlns:a16="http://schemas.microsoft.com/office/drawing/2014/main" id="{7EE69828-902A-19C0-5938-DA27F02979DD}"/>
                </a:ext>
              </a:extLst>
            </p:cNvPr>
            <p:cNvSpPr txBox="1"/>
            <p:nvPr/>
          </p:nvSpPr>
          <p:spPr>
            <a:xfrm>
              <a:off x="4783564" y="3532775"/>
              <a:ext cx="1175964" cy="400108"/>
            </a:xfrm>
            <a:prstGeom prst="rect">
              <a:avLst/>
            </a:prstGeom>
            <a:noFill/>
          </p:spPr>
          <p:txBody>
            <a:bodyPr wrap="none" rtlCol="0">
              <a:normAutofit fontScale="92500" lnSpcReduction="10000"/>
            </a:bodyPr>
            <a:lstStyle/>
            <a:p>
              <a:pPr defTabSz="342900" fontAlgn="auto">
                <a:spcBef>
                  <a:spcPts val="0"/>
                </a:spcBef>
                <a:spcAft>
                  <a:spcPts val="0"/>
                </a:spcAft>
              </a:pPr>
              <a:r>
                <a:rPr lang="en-US" sz="1350" i="1" dirty="0">
                  <a:solidFill>
                    <a:srgbClr val="202020"/>
                  </a:solidFill>
                  <a:latin typeface="Calibri" panose="020F0502020204030204"/>
                  <a:ea typeface="+mn-ea"/>
                  <a:cs typeface="+mn-cs"/>
                </a:rPr>
                <a:t>HER2 </a:t>
              </a:r>
              <a:r>
                <a:rPr lang="en-US" sz="1350" i="1" dirty="0" err="1">
                  <a:solidFill>
                    <a:srgbClr val="202020"/>
                  </a:solidFill>
                  <a:latin typeface="Calibri" panose="020F0502020204030204"/>
                  <a:ea typeface="+mn-ea"/>
                  <a:cs typeface="+mn-cs"/>
                </a:rPr>
                <a:t>mut</a:t>
              </a:r>
              <a:endParaRPr lang="en-US" sz="1350" i="1" dirty="0">
                <a:solidFill>
                  <a:srgbClr val="202020"/>
                </a:solidFill>
                <a:latin typeface="Calibri" panose="020F0502020204030204"/>
                <a:ea typeface="+mn-ea"/>
                <a:cs typeface="+mn-cs"/>
              </a:endParaRPr>
            </a:p>
          </p:txBody>
        </p:sp>
      </p:grpSp>
      <p:grpSp>
        <p:nvGrpSpPr>
          <p:cNvPr id="38" name="Group 37">
            <a:extLst>
              <a:ext uri="{FF2B5EF4-FFF2-40B4-BE49-F238E27FC236}">
                <a16:creationId xmlns:a16="http://schemas.microsoft.com/office/drawing/2014/main" id="{84661EFF-5CBE-D135-BCCD-1B23D1B467C7}"/>
              </a:ext>
            </a:extLst>
          </p:cNvPr>
          <p:cNvGrpSpPr/>
          <p:nvPr/>
        </p:nvGrpSpPr>
        <p:grpSpPr>
          <a:xfrm>
            <a:off x="3154483" y="2540978"/>
            <a:ext cx="700609" cy="257109"/>
            <a:chOff x="4565810" y="3798409"/>
            <a:chExt cx="1078459" cy="400108"/>
          </a:xfrm>
        </p:grpSpPr>
        <p:sp>
          <p:nvSpPr>
            <p:cNvPr id="39" name="TextBox 38">
              <a:extLst>
                <a:ext uri="{FF2B5EF4-FFF2-40B4-BE49-F238E27FC236}">
                  <a16:creationId xmlns:a16="http://schemas.microsoft.com/office/drawing/2014/main" id="{8A057568-A07D-A23A-F8F4-470D3E7BCBB2}"/>
                </a:ext>
              </a:extLst>
            </p:cNvPr>
            <p:cNvSpPr txBox="1"/>
            <p:nvPr/>
          </p:nvSpPr>
          <p:spPr>
            <a:xfrm>
              <a:off x="4655365" y="3798409"/>
              <a:ext cx="988904" cy="400108"/>
            </a:xfrm>
            <a:prstGeom prst="rect">
              <a:avLst/>
            </a:prstGeom>
            <a:noFill/>
          </p:spPr>
          <p:txBody>
            <a:bodyPr wrap="none" rtlCol="0">
              <a:normAutofit fontScale="92500" lnSpcReduction="10000"/>
            </a:bodyPr>
            <a:lstStyle/>
            <a:p>
              <a:pPr defTabSz="342900" fontAlgn="auto">
                <a:spcBef>
                  <a:spcPts val="0"/>
                </a:spcBef>
                <a:spcAft>
                  <a:spcPts val="0"/>
                </a:spcAft>
              </a:pPr>
              <a:r>
                <a:rPr lang="en-US" sz="1350" i="1" dirty="0" err="1">
                  <a:solidFill>
                    <a:srgbClr val="202020"/>
                  </a:solidFill>
                  <a:latin typeface="Calibri" panose="020F0502020204030204"/>
                  <a:ea typeface="+mn-ea"/>
                  <a:cs typeface="+mn-cs"/>
                </a:rPr>
                <a:t>Akt</a:t>
              </a:r>
              <a:r>
                <a:rPr lang="en-US" sz="1350" i="1" dirty="0">
                  <a:solidFill>
                    <a:srgbClr val="202020"/>
                  </a:solidFill>
                  <a:latin typeface="Calibri" panose="020F0502020204030204"/>
                  <a:ea typeface="+mn-ea"/>
                  <a:cs typeface="+mn-cs"/>
                </a:rPr>
                <a:t> </a:t>
              </a:r>
              <a:r>
                <a:rPr lang="en-US" sz="1350" i="1" dirty="0" err="1">
                  <a:solidFill>
                    <a:srgbClr val="202020"/>
                  </a:solidFill>
                  <a:latin typeface="Calibri" panose="020F0502020204030204"/>
                  <a:ea typeface="+mn-ea"/>
                  <a:cs typeface="+mn-cs"/>
                </a:rPr>
                <a:t>mut</a:t>
              </a:r>
              <a:endParaRPr lang="en-US" sz="1350" i="1" dirty="0">
                <a:solidFill>
                  <a:srgbClr val="202020"/>
                </a:solidFill>
                <a:latin typeface="Calibri" panose="020F0502020204030204"/>
                <a:ea typeface="+mn-ea"/>
                <a:cs typeface="+mn-cs"/>
              </a:endParaRPr>
            </a:p>
          </p:txBody>
        </p:sp>
        <p:sp>
          <p:nvSpPr>
            <p:cNvPr id="40" name="Oval 39">
              <a:extLst>
                <a:ext uri="{FF2B5EF4-FFF2-40B4-BE49-F238E27FC236}">
                  <a16:creationId xmlns:a16="http://schemas.microsoft.com/office/drawing/2014/main" id="{3ED0089B-CA5F-E4E4-0130-2D65A3195F13}"/>
                </a:ext>
              </a:extLst>
            </p:cNvPr>
            <p:cNvSpPr/>
            <p:nvPr/>
          </p:nvSpPr>
          <p:spPr>
            <a:xfrm>
              <a:off x="4565810" y="3809898"/>
              <a:ext cx="179109" cy="179109"/>
            </a:xfrm>
            <a:prstGeom prst="ellipse">
              <a:avLst/>
            </a:prstGeom>
            <a:solidFill>
              <a:srgbClr val="FFC000"/>
            </a:solidFill>
            <a:ln w="38100"/>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25000" lnSpcReduction="20000"/>
            </a:bodyPr>
            <a:lstStyle/>
            <a:p>
              <a:pPr algn="ctr" defTabSz="342900" fontAlgn="auto">
                <a:spcBef>
                  <a:spcPts val="0"/>
                </a:spcBef>
                <a:spcAft>
                  <a:spcPts val="0"/>
                </a:spcAft>
              </a:pPr>
              <a:endParaRPr lang="en-US" sz="1350">
                <a:solidFill>
                  <a:srgbClr val="00B050"/>
                </a:solidFill>
                <a:latin typeface="Calibri" panose="020F0502020204030204"/>
              </a:endParaRPr>
            </a:p>
          </p:txBody>
        </p:sp>
      </p:grpSp>
      <p:grpSp>
        <p:nvGrpSpPr>
          <p:cNvPr id="41" name="Group 40">
            <a:extLst>
              <a:ext uri="{FF2B5EF4-FFF2-40B4-BE49-F238E27FC236}">
                <a16:creationId xmlns:a16="http://schemas.microsoft.com/office/drawing/2014/main" id="{F4B65083-6743-1613-0537-15FC01C917DE}"/>
              </a:ext>
            </a:extLst>
          </p:cNvPr>
          <p:cNvGrpSpPr/>
          <p:nvPr/>
        </p:nvGrpSpPr>
        <p:grpSpPr>
          <a:xfrm>
            <a:off x="4536515" y="1603764"/>
            <a:ext cx="925140" cy="274889"/>
            <a:chOff x="6693195" y="2339935"/>
            <a:chExt cx="1424082" cy="427779"/>
          </a:xfrm>
        </p:grpSpPr>
        <p:sp>
          <p:nvSpPr>
            <p:cNvPr id="42" name="Oval 41">
              <a:extLst>
                <a:ext uri="{FF2B5EF4-FFF2-40B4-BE49-F238E27FC236}">
                  <a16:creationId xmlns:a16="http://schemas.microsoft.com/office/drawing/2014/main" id="{3490F41B-BFEC-3207-9C94-677047C52C2F}"/>
                </a:ext>
              </a:extLst>
            </p:cNvPr>
            <p:cNvSpPr/>
            <p:nvPr/>
          </p:nvSpPr>
          <p:spPr>
            <a:xfrm>
              <a:off x="6693195" y="2339935"/>
              <a:ext cx="179109" cy="179109"/>
            </a:xfrm>
            <a:prstGeom prst="ellipse">
              <a:avLst/>
            </a:prstGeom>
            <a:solidFill>
              <a:srgbClr val="FFC000"/>
            </a:solidFill>
            <a:ln w="38100"/>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25000" lnSpcReduction="20000"/>
            </a:bodyPr>
            <a:lstStyle/>
            <a:p>
              <a:pPr algn="ctr" defTabSz="342900" fontAlgn="auto">
                <a:spcBef>
                  <a:spcPts val="0"/>
                </a:spcBef>
                <a:spcAft>
                  <a:spcPts val="0"/>
                </a:spcAft>
              </a:pPr>
              <a:endParaRPr lang="en-US" sz="1350">
                <a:solidFill>
                  <a:srgbClr val="00B050"/>
                </a:solidFill>
                <a:latin typeface="Calibri" panose="020F0502020204030204"/>
              </a:endParaRPr>
            </a:p>
          </p:txBody>
        </p:sp>
        <p:sp>
          <p:nvSpPr>
            <p:cNvPr id="43" name="TextBox 42">
              <a:extLst>
                <a:ext uri="{FF2B5EF4-FFF2-40B4-BE49-F238E27FC236}">
                  <a16:creationId xmlns:a16="http://schemas.microsoft.com/office/drawing/2014/main" id="{E413FD4B-660A-2F7D-ECEA-77872362A388}"/>
                </a:ext>
              </a:extLst>
            </p:cNvPr>
            <p:cNvSpPr txBox="1"/>
            <p:nvPr/>
          </p:nvSpPr>
          <p:spPr>
            <a:xfrm>
              <a:off x="6774602" y="2367604"/>
              <a:ext cx="1342675" cy="400110"/>
            </a:xfrm>
            <a:prstGeom prst="rect">
              <a:avLst/>
            </a:prstGeom>
            <a:noFill/>
          </p:spPr>
          <p:txBody>
            <a:bodyPr wrap="none" rtlCol="0">
              <a:normAutofit fontScale="92500" lnSpcReduction="10000"/>
            </a:bodyPr>
            <a:lstStyle/>
            <a:p>
              <a:pPr defTabSz="342900" fontAlgn="auto">
                <a:spcBef>
                  <a:spcPts val="0"/>
                </a:spcBef>
                <a:spcAft>
                  <a:spcPts val="0"/>
                </a:spcAft>
              </a:pPr>
              <a:r>
                <a:rPr lang="en-US" sz="1350" i="1" dirty="0">
                  <a:solidFill>
                    <a:srgbClr val="202020"/>
                  </a:solidFill>
                  <a:latin typeface="Calibri" panose="020F0502020204030204"/>
                  <a:ea typeface="+mn-ea"/>
                  <a:cs typeface="+mn-cs"/>
                </a:rPr>
                <a:t>PIK3CA </a:t>
              </a:r>
              <a:r>
                <a:rPr lang="en-US" sz="1350" i="1" dirty="0" err="1">
                  <a:solidFill>
                    <a:srgbClr val="202020"/>
                  </a:solidFill>
                  <a:latin typeface="Calibri" panose="020F0502020204030204"/>
                  <a:ea typeface="+mn-ea"/>
                  <a:cs typeface="+mn-cs"/>
                </a:rPr>
                <a:t>mut</a:t>
              </a:r>
              <a:endParaRPr lang="en-US" sz="1350" i="1" dirty="0">
                <a:solidFill>
                  <a:srgbClr val="202020"/>
                </a:solidFill>
                <a:latin typeface="Calibri" panose="020F0502020204030204"/>
                <a:ea typeface="+mn-ea"/>
                <a:cs typeface="+mn-cs"/>
              </a:endParaRPr>
            </a:p>
          </p:txBody>
        </p:sp>
      </p:grpSp>
      <p:grpSp>
        <p:nvGrpSpPr>
          <p:cNvPr id="44" name="Group 43">
            <a:extLst>
              <a:ext uri="{FF2B5EF4-FFF2-40B4-BE49-F238E27FC236}">
                <a16:creationId xmlns:a16="http://schemas.microsoft.com/office/drawing/2014/main" id="{B243B3C7-03D0-3009-613E-637208D41F07}"/>
              </a:ext>
            </a:extLst>
          </p:cNvPr>
          <p:cNvGrpSpPr/>
          <p:nvPr/>
        </p:nvGrpSpPr>
        <p:grpSpPr>
          <a:xfrm>
            <a:off x="4767104" y="3504462"/>
            <a:ext cx="582874" cy="257109"/>
            <a:chOff x="7048143" y="5297767"/>
            <a:chExt cx="897226" cy="400108"/>
          </a:xfrm>
        </p:grpSpPr>
        <p:sp>
          <p:nvSpPr>
            <p:cNvPr id="45" name="Oval 44">
              <a:extLst>
                <a:ext uri="{FF2B5EF4-FFF2-40B4-BE49-F238E27FC236}">
                  <a16:creationId xmlns:a16="http://schemas.microsoft.com/office/drawing/2014/main" id="{B1D00BC7-6802-4D41-6991-A949111E34D7}"/>
                </a:ext>
              </a:extLst>
            </p:cNvPr>
            <p:cNvSpPr/>
            <p:nvPr/>
          </p:nvSpPr>
          <p:spPr>
            <a:xfrm>
              <a:off x="7766260" y="5413011"/>
              <a:ext cx="179109" cy="179109"/>
            </a:xfrm>
            <a:prstGeom prst="ellipse">
              <a:avLst/>
            </a:prstGeom>
            <a:solidFill>
              <a:schemeClr val="bg1"/>
            </a:solidFill>
            <a:ln w="38100"/>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25000" lnSpcReduction="20000"/>
            </a:bodyPr>
            <a:lstStyle/>
            <a:p>
              <a:pPr algn="ctr" defTabSz="342900" fontAlgn="auto">
                <a:spcBef>
                  <a:spcPts val="0"/>
                </a:spcBef>
                <a:spcAft>
                  <a:spcPts val="0"/>
                </a:spcAft>
              </a:pPr>
              <a:endParaRPr lang="en-US" sz="1350">
                <a:solidFill>
                  <a:srgbClr val="00B050"/>
                </a:solidFill>
                <a:latin typeface="Calibri" panose="020F0502020204030204"/>
              </a:endParaRPr>
            </a:p>
          </p:txBody>
        </p:sp>
        <p:sp>
          <p:nvSpPr>
            <p:cNvPr id="46" name="TextBox 45">
              <a:extLst>
                <a:ext uri="{FF2B5EF4-FFF2-40B4-BE49-F238E27FC236}">
                  <a16:creationId xmlns:a16="http://schemas.microsoft.com/office/drawing/2014/main" id="{056D68F1-D1F0-A8AB-1E21-DFD83CE694AC}"/>
                </a:ext>
              </a:extLst>
            </p:cNvPr>
            <p:cNvSpPr txBox="1"/>
            <p:nvPr/>
          </p:nvSpPr>
          <p:spPr>
            <a:xfrm>
              <a:off x="7048143" y="5297767"/>
              <a:ext cx="714298" cy="400108"/>
            </a:xfrm>
            <a:prstGeom prst="rect">
              <a:avLst/>
            </a:prstGeom>
            <a:noFill/>
          </p:spPr>
          <p:txBody>
            <a:bodyPr wrap="none" rtlCol="0">
              <a:normAutofit fontScale="92500" lnSpcReduction="10000"/>
            </a:bodyPr>
            <a:lstStyle/>
            <a:p>
              <a:pPr defTabSz="342900" fontAlgn="auto">
                <a:spcBef>
                  <a:spcPts val="0"/>
                </a:spcBef>
                <a:spcAft>
                  <a:spcPts val="0"/>
                </a:spcAft>
              </a:pPr>
              <a:r>
                <a:rPr lang="en-US" sz="1350" i="1" dirty="0">
                  <a:solidFill>
                    <a:srgbClr val="202020"/>
                  </a:solidFill>
                  <a:latin typeface="Calibri" panose="020F0502020204030204"/>
                  <a:ea typeface="+mn-ea"/>
                  <a:cs typeface="+mn-cs"/>
                </a:rPr>
                <a:t>TP53</a:t>
              </a:r>
            </a:p>
          </p:txBody>
        </p:sp>
      </p:grpSp>
      <p:sp>
        <p:nvSpPr>
          <p:cNvPr id="47" name="Oval 46">
            <a:extLst>
              <a:ext uri="{FF2B5EF4-FFF2-40B4-BE49-F238E27FC236}">
                <a16:creationId xmlns:a16="http://schemas.microsoft.com/office/drawing/2014/main" id="{F0AD8DA3-F5E4-ED08-18DF-C454F28785C0}"/>
              </a:ext>
            </a:extLst>
          </p:cNvPr>
          <p:cNvSpPr/>
          <p:nvPr/>
        </p:nvSpPr>
        <p:spPr>
          <a:xfrm>
            <a:off x="3689169" y="3316654"/>
            <a:ext cx="116356" cy="115095"/>
          </a:xfrm>
          <a:prstGeom prst="ellipse">
            <a:avLst/>
          </a:prstGeom>
          <a:solidFill>
            <a:schemeClr val="bg1"/>
          </a:solidFill>
          <a:ln w="38100"/>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25000" lnSpcReduction="20000"/>
          </a:bodyPr>
          <a:lstStyle/>
          <a:p>
            <a:pPr algn="ctr" defTabSz="342900" fontAlgn="auto">
              <a:spcBef>
                <a:spcPts val="0"/>
              </a:spcBef>
              <a:spcAft>
                <a:spcPts val="0"/>
              </a:spcAft>
            </a:pPr>
            <a:endParaRPr lang="en-US" sz="1350">
              <a:solidFill>
                <a:srgbClr val="00B050"/>
              </a:solidFill>
              <a:latin typeface="Calibri" panose="020F0502020204030204"/>
            </a:endParaRPr>
          </a:p>
        </p:txBody>
      </p:sp>
      <p:sp>
        <p:nvSpPr>
          <p:cNvPr id="48" name="TextBox 47">
            <a:extLst>
              <a:ext uri="{FF2B5EF4-FFF2-40B4-BE49-F238E27FC236}">
                <a16:creationId xmlns:a16="http://schemas.microsoft.com/office/drawing/2014/main" id="{323FB6B9-986C-9D46-A65A-A9409C85F33B}"/>
              </a:ext>
            </a:extLst>
          </p:cNvPr>
          <p:cNvSpPr txBox="1"/>
          <p:nvPr/>
        </p:nvSpPr>
        <p:spPr>
          <a:xfrm>
            <a:off x="3307376" y="3385647"/>
            <a:ext cx="481587" cy="257109"/>
          </a:xfrm>
          <a:prstGeom prst="rect">
            <a:avLst/>
          </a:prstGeom>
          <a:noFill/>
        </p:spPr>
        <p:txBody>
          <a:bodyPr wrap="none" rtlCol="0">
            <a:normAutofit fontScale="92500" lnSpcReduction="10000"/>
          </a:bodyPr>
          <a:lstStyle/>
          <a:p>
            <a:pPr defTabSz="342900" fontAlgn="auto">
              <a:spcBef>
                <a:spcPts val="0"/>
              </a:spcBef>
              <a:spcAft>
                <a:spcPts val="0"/>
              </a:spcAft>
            </a:pPr>
            <a:r>
              <a:rPr lang="en-US" sz="1350" i="1" dirty="0">
                <a:solidFill>
                  <a:srgbClr val="202020"/>
                </a:solidFill>
                <a:latin typeface="Calibri" panose="020F0502020204030204"/>
                <a:ea typeface="+mn-ea"/>
                <a:cs typeface="+mn-cs"/>
              </a:rPr>
              <a:t>PTEN</a:t>
            </a:r>
          </a:p>
        </p:txBody>
      </p:sp>
      <p:grpSp>
        <p:nvGrpSpPr>
          <p:cNvPr id="49" name="Group 48">
            <a:extLst>
              <a:ext uri="{FF2B5EF4-FFF2-40B4-BE49-F238E27FC236}">
                <a16:creationId xmlns:a16="http://schemas.microsoft.com/office/drawing/2014/main" id="{7E68D927-217B-1FED-C528-583DB04FE72E}"/>
              </a:ext>
            </a:extLst>
          </p:cNvPr>
          <p:cNvGrpSpPr/>
          <p:nvPr/>
        </p:nvGrpSpPr>
        <p:grpSpPr>
          <a:xfrm>
            <a:off x="3354124" y="1402849"/>
            <a:ext cx="1023527" cy="257109"/>
            <a:chOff x="4873120" y="2027272"/>
            <a:chExt cx="1575531" cy="400108"/>
          </a:xfrm>
        </p:grpSpPr>
        <p:sp>
          <p:nvSpPr>
            <p:cNvPr id="50" name="Oval 49">
              <a:extLst>
                <a:ext uri="{FF2B5EF4-FFF2-40B4-BE49-F238E27FC236}">
                  <a16:creationId xmlns:a16="http://schemas.microsoft.com/office/drawing/2014/main" id="{7355EBDE-44BC-6A4F-E633-E4DBC51A37D1}"/>
                </a:ext>
              </a:extLst>
            </p:cNvPr>
            <p:cNvSpPr/>
            <p:nvPr/>
          </p:nvSpPr>
          <p:spPr>
            <a:xfrm>
              <a:off x="4873120" y="2027272"/>
              <a:ext cx="179109" cy="179109"/>
            </a:xfrm>
            <a:prstGeom prst="ellipse">
              <a:avLst/>
            </a:prstGeom>
            <a:solidFill>
              <a:schemeClr val="bg1"/>
            </a:solidFill>
            <a:ln w="38100"/>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25000" lnSpcReduction="20000"/>
            </a:bodyPr>
            <a:lstStyle/>
            <a:p>
              <a:pPr algn="ctr" defTabSz="342900" fontAlgn="auto">
                <a:spcBef>
                  <a:spcPts val="0"/>
                </a:spcBef>
                <a:spcAft>
                  <a:spcPts val="0"/>
                </a:spcAft>
              </a:pPr>
              <a:endParaRPr lang="en-US" sz="1350">
                <a:solidFill>
                  <a:srgbClr val="00B050"/>
                </a:solidFill>
                <a:latin typeface="Calibri" panose="020F0502020204030204"/>
              </a:endParaRPr>
            </a:p>
          </p:txBody>
        </p:sp>
        <p:sp>
          <p:nvSpPr>
            <p:cNvPr id="51" name="TextBox 50">
              <a:extLst>
                <a:ext uri="{FF2B5EF4-FFF2-40B4-BE49-F238E27FC236}">
                  <a16:creationId xmlns:a16="http://schemas.microsoft.com/office/drawing/2014/main" id="{668491AF-2FB7-E0BA-AF08-9C57D614567A}"/>
                </a:ext>
              </a:extLst>
            </p:cNvPr>
            <p:cNvSpPr txBox="1"/>
            <p:nvPr/>
          </p:nvSpPr>
          <p:spPr>
            <a:xfrm>
              <a:off x="4945591" y="2027272"/>
              <a:ext cx="1503060" cy="400108"/>
            </a:xfrm>
            <a:prstGeom prst="rect">
              <a:avLst/>
            </a:prstGeom>
            <a:noFill/>
          </p:spPr>
          <p:txBody>
            <a:bodyPr wrap="none" rtlCol="0">
              <a:normAutofit fontScale="92500" lnSpcReduction="10000"/>
            </a:bodyPr>
            <a:lstStyle/>
            <a:p>
              <a:pPr defTabSz="342900" fontAlgn="auto">
                <a:spcBef>
                  <a:spcPts val="0"/>
                </a:spcBef>
                <a:spcAft>
                  <a:spcPts val="0"/>
                </a:spcAft>
              </a:pPr>
              <a:r>
                <a:rPr lang="en-US" sz="1350" i="1" dirty="0">
                  <a:solidFill>
                    <a:srgbClr val="202020"/>
                  </a:solidFill>
                  <a:latin typeface="Calibri" panose="020F0502020204030204"/>
                  <a:ea typeface="+mn-ea"/>
                  <a:cs typeface="+mn-cs"/>
                </a:rPr>
                <a:t>BRCA1/2 </a:t>
              </a:r>
              <a:r>
                <a:rPr lang="en-US" sz="1350" i="1" dirty="0" err="1">
                  <a:solidFill>
                    <a:srgbClr val="202020"/>
                  </a:solidFill>
                  <a:latin typeface="Calibri" panose="020F0502020204030204"/>
                  <a:ea typeface="+mn-ea"/>
                  <a:cs typeface="+mn-cs"/>
                </a:rPr>
                <a:t>mut</a:t>
              </a:r>
              <a:endParaRPr lang="en-US" sz="1350" i="1" dirty="0">
                <a:solidFill>
                  <a:srgbClr val="202020"/>
                </a:solidFill>
                <a:latin typeface="Calibri" panose="020F0502020204030204"/>
                <a:ea typeface="+mn-ea"/>
                <a:cs typeface="+mn-cs"/>
              </a:endParaRPr>
            </a:p>
          </p:txBody>
        </p:sp>
      </p:grpSp>
      <p:sp>
        <p:nvSpPr>
          <p:cNvPr id="52" name="TextBox 51">
            <a:extLst>
              <a:ext uri="{FF2B5EF4-FFF2-40B4-BE49-F238E27FC236}">
                <a16:creationId xmlns:a16="http://schemas.microsoft.com/office/drawing/2014/main" id="{B944757E-8375-8ADE-E5AE-6B666D78AF23}"/>
              </a:ext>
            </a:extLst>
          </p:cNvPr>
          <p:cNvSpPr txBox="1"/>
          <p:nvPr/>
        </p:nvSpPr>
        <p:spPr>
          <a:xfrm>
            <a:off x="5699974" y="3595809"/>
            <a:ext cx="1690080" cy="632885"/>
          </a:xfrm>
          <a:prstGeom prst="rect">
            <a:avLst/>
          </a:prstGeom>
          <a:noFill/>
        </p:spPr>
        <p:txBody>
          <a:bodyPr wrap="none" rtlCol="0">
            <a:normAutofit fontScale="92500" lnSpcReduction="20000"/>
          </a:bodyPr>
          <a:lstStyle/>
          <a:p>
            <a:pPr defTabSz="342900" fontAlgn="auto">
              <a:spcBef>
                <a:spcPts val="0"/>
              </a:spcBef>
              <a:spcAft>
                <a:spcPts val="0"/>
              </a:spcAft>
            </a:pPr>
            <a:r>
              <a:rPr lang="en-US" sz="1050" i="1" dirty="0" err="1">
                <a:solidFill>
                  <a:srgbClr val="202020"/>
                </a:solidFill>
                <a:latin typeface="Calibri" panose="020F0502020204030204"/>
                <a:ea typeface="+mn-ea"/>
                <a:cs typeface="+mn-cs"/>
              </a:rPr>
              <a:t>Mut</a:t>
            </a:r>
            <a:r>
              <a:rPr lang="en-US" sz="1050" i="1" dirty="0">
                <a:solidFill>
                  <a:srgbClr val="202020"/>
                </a:solidFill>
                <a:latin typeface="Calibri" panose="020F0502020204030204"/>
                <a:ea typeface="+mn-ea"/>
                <a:cs typeface="+mn-cs"/>
              </a:rPr>
              <a:t>=mutation</a:t>
            </a:r>
          </a:p>
          <a:p>
            <a:pPr defTabSz="342900" fontAlgn="auto">
              <a:spcBef>
                <a:spcPts val="0"/>
              </a:spcBef>
              <a:spcAft>
                <a:spcPts val="0"/>
              </a:spcAft>
            </a:pPr>
            <a:r>
              <a:rPr lang="en-US" sz="1050" i="1" dirty="0">
                <a:solidFill>
                  <a:srgbClr val="202020"/>
                </a:solidFill>
                <a:latin typeface="Calibri" panose="020F0502020204030204"/>
                <a:ea typeface="+mn-ea"/>
                <a:cs typeface="+mn-cs"/>
              </a:rPr>
              <a:t>Amp=amplification</a:t>
            </a:r>
          </a:p>
          <a:p>
            <a:pPr defTabSz="342900" fontAlgn="auto">
              <a:spcBef>
                <a:spcPts val="0"/>
              </a:spcBef>
              <a:spcAft>
                <a:spcPts val="0"/>
              </a:spcAft>
            </a:pPr>
            <a:r>
              <a:rPr lang="en-US" sz="1050" i="1" dirty="0">
                <a:solidFill>
                  <a:srgbClr val="202020"/>
                </a:solidFill>
                <a:latin typeface="Calibri" panose="020F0502020204030204"/>
                <a:ea typeface="+mn-ea"/>
                <a:cs typeface="+mn-cs"/>
              </a:rPr>
              <a:t>MSI = microsatellite instability</a:t>
            </a:r>
          </a:p>
          <a:p>
            <a:pPr defTabSz="342900" fontAlgn="auto">
              <a:spcBef>
                <a:spcPts val="0"/>
              </a:spcBef>
              <a:spcAft>
                <a:spcPts val="0"/>
              </a:spcAft>
            </a:pPr>
            <a:r>
              <a:rPr lang="en-US" sz="1050" i="1" dirty="0">
                <a:solidFill>
                  <a:srgbClr val="202020"/>
                </a:solidFill>
                <a:latin typeface="Calibri" panose="020F0502020204030204"/>
                <a:ea typeface="+mn-ea"/>
                <a:cs typeface="+mn-cs"/>
              </a:rPr>
              <a:t>TMB = tumor mutational burden</a:t>
            </a:r>
          </a:p>
        </p:txBody>
      </p:sp>
      <p:sp>
        <p:nvSpPr>
          <p:cNvPr id="53" name="TextBox 52">
            <a:extLst>
              <a:ext uri="{FF2B5EF4-FFF2-40B4-BE49-F238E27FC236}">
                <a16:creationId xmlns:a16="http://schemas.microsoft.com/office/drawing/2014/main" id="{39763F14-6F2A-5A0B-6516-8AA9176445A8}"/>
              </a:ext>
            </a:extLst>
          </p:cNvPr>
          <p:cNvSpPr txBox="1"/>
          <p:nvPr/>
        </p:nvSpPr>
        <p:spPr>
          <a:xfrm>
            <a:off x="7272202" y="4767528"/>
            <a:ext cx="1707390" cy="276999"/>
          </a:xfrm>
          <a:prstGeom prst="rect">
            <a:avLst/>
          </a:prstGeom>
          <a:noFill/>
        </p:spPr>
        <p:txBody>
          <a:bodyPr wrap="none" rtlCol="0">
            <a:spAutoFit/>
          </a:bodyPr>
          <a:lstStyle/>
          <a:p>
            <a:pPr defTabSz="342900" fontAlgn="auto">
              <a:spcBef>
                <a:spcPts val="0"/>
              </a:spcBef>
              <a:spcAft>
                <a:spcPts val="0"/>
              </a:spcAft>
            </a:pPr>
            <a:r>
              <a:rPr lang="en-US" sz="1200" i="1" dirty="0">
                <a:solidFill>
                  <a:srgbClr val="202020"/>
                </a:solidFill>
                <a:latin typeface="Calibri" panose="020F0502020204030204"/>
                <a:ea typeface="+mn-ea"/>
                <a:cs typeface="+mn-cs"/>
              </a:rPr>
              <a:t>M. Burkard, unpublished</a:t>
            </a:r>
          </a:p>
        </p:txBody>
      </p:sp>
      <p:sp>
        <p:nvSpPr>
          <p:cNvPr id="2" name="Rectangle 1">
            <a:extLst>
              <a:ext uri="{FF2B5EF4-FFF2-40B4-BE49-F238E27FC236}">
                <a16:creationId xmlns:a16="http://schemas.microsoft.com/office/drawing/2014/main" id="{26490196-71D7-E013-67E1-A83527B76355}"/>
              </a:ext>
            </a:extLst>
          </p:cNvPr>
          <p:cNvSpPr/>
          <p:nvPr/>
        </p:nvSpPr>
        <p:spPr bwMode="auto">
          <a:xfrm>
            <a:off x="3087579" y="2238710"/>
            <a:ext cx="1138081" cy="401858"/>
          </a:xfrm>
          <a:prstGeom prst="rect">
            <a:avLst/>
          </a:prstGeom>
          <a:noFill/>
          <a:ln w="6350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Tree>
    <p:extLst>
      <p:ext uri="{BB962C8B-B14F-4D97-AF65-F5344CB8AC3E}">
        <p14:creationId xmlns:p14="http://schemas.microsoft.com/office/powerpoint/2010/main" val="3390846735"/>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8F06C0A-C3BB-6EEE-2DBD-B80417F370B3}"/>
              </a:ext>
            </a:extLst>
          </p:cNvPr>
          <p:cNvSpPr>
            <a:spLocks noGrp="1"/>
          </p:cNvSpPr>
          <p:nvPr>
            <p:ph sz="half" idx="1"/>
          </p:nvPr>
        </p:nvSpPr>
        <p:spPr>
          <a:xfrm>
            <a:off x="569495" y="1106011"/>
            <a:ext cx="2422358" cy="2936240"/>
          </a:xfrm>
        </p:spPr>
        <p:txBody>
          <a:bodyPr/>
          <a:lstStyle/>
          <a:p>
            <a:pPr marL="0" indent="0">
              <a:buNone/>
            </a:pPr>
            <a:r>
              <a:rPr lang="en-US" b="1" dirty="0"/>
              <a:t>amplification</a:t>
            </a:r>
          </a:p>
          <a:p>
            <a:r>
              <a:rPr lang="en-US" sz="1800" dirty="0"/>
              <a:t>Classic HER2+ subtype of breast cancer</a:t>
            </a:r>
          </a:p>
          <a:p>
            <a:r>
              <a:rPr lang="en-US" sz="1800" dirty="0" err="1"/>
              <a:t>Trastuzumzab</a:t>
            </a:r>
            <a:r>
              <a:rPr lang="en-US" sz="1800" dirty="0"/>
              <a:t> (Herceptin) used for &gt;20 years</a:t>
            </a:r>
          </a:p>
        </p:txBody>
      </p:sp>
      <p:sp>
        <p:nvSpPr>
          <p:cNvPr id="3" name="Content Placeholder 2">
            <a:extLst>
              <a:ext uri="{FF2B5EF4-FFF2-40B4-BE49-F238E27FC236}">
                <a16:creationId xmlns:a16="http://schemas.microsoft.com/office/drawing/2014/main" id="{DCADD559-17B8-CC73-899D-5308468224AC}"/>
              </a:ext>
            </a:extLst>
          </p:cNvPr>
          <p:cNvSpPr>
            <a:spLocks noGrp="1"/>
          </p:cNvSpPr>
          <p:nvPr>
            <p:ph sz="half" idx="2"/>
          </p:nvPr>
        </p:nvSpPr>
        <p:spPr>
          <a:xfrm>
            <a:off x="5803854" y="1083737"/>
            <a:ext cx="2998626" cy="2936240"/>
          </a:xfrm>
        </p:spPr>
        <p:txBody>
          <a:bodyPr/>
          <a:lstStyle/>
          <a:p>
            <a:pPr marL="0" indent="0">
              <a:buNone/>
            </a:pPr>
            <a:r>
              <a:rPr lang="en-US" b="1" dirty="0"/>
              <a:t>mutation</a:t>
            </a:r>
          </a:p>
        </p:txBody>
      </p:sp>
      <p:sp>
        <p:nvSpPr>
          <p:cNvPr id="4" name="Title 3">
            <a:extLst>
              <a:ext uri="{FF2B5EF4-FFF2-40B4-BE49-F238E27FC236}">
                <a16:creationId xmlns:a16="http://schemas.microsoft.com/office/drawing/2014/main" id="{C71AE656-BEE2-1D01-4225-59CF9DA703DA}"/>
              </a:ext>
            </a:extLst>
          </p:cNvPr>
          <p:cNvSpPr>
            <a:spLocks noGrp="1"/>
          </p:cNvSpPr>
          <p:nvPr>
            <p:ph type="title"/>
          </p:nvPr>
        </p:nvSpPr>
        <p:spPr/>
        <p:txBody>
          <a:bodyPr/>
          <a:lstStyle/>
          <a:p>
            <a:r>
              <a:rPr lang="en-US" dirty="0"/>
              <a:t>Targeting HER2</a:t>
            </a:r>
          </a:p>
        </p:txBody>
      </p:sp>
      <p:sp>
        <p:nvSpPr>
          <p:cNvPr id="6" name="Content Placeholder 2">
            <a:extLst>
              <a:ext uri="{FF2B5EF4-FFF2-40B4-BE49-F238E27FC236}">
                <a16:creationId xmlns:a16="http://schemas.microsoft.com/office/drawing/2014/main" id="{7E4C2CD8-8DF7-57E6-A878-136D49B65418}"/>
              </a:ext>
            </a:extLst>
          </p:cNvPr>
          <p:cNvSpPr txBox="1">
            <a:spLocks/>
          </p:cNvSpPr>
          <p:nvPr/>
        </p:nvSpPr>
        <p:spPr bwMode="auto">
          <a:xfrm>
            <a:off x="3212435" y="1128286"/>
            <a:ext cx="2939714" cy="2936240"/>
          </a:xfrm>
          <a:prstGeom prst="rect">
            <a:avLst/>
          </a:prstGeom>
          <a:noFill/>
          <a:ln>
            <a:noFill/>
          </a:ln>
          <a:extLst>
            <a:ext uri="{FAA26D3D-D897-4be2-8F04-BA451C77F1D7}">
              <ma14:placeholderFlag xmlns=""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spcBef>
                <a:spcPct val="20000"/>
              </a:spcBef>
              <a:spcAft>
                <a:spcPct val="0"/>
              </a:spcAft>
              <a:buChar char="•"/>
              <a:defRPr sz="2800">
                <a:solidFill>
                  <a:schemeClr val="tx1"/>
                </a:solidFill>
                <a:latin typeface="+mn-lt"/>
                <a:ea typeface="+mn-ea"/>
                <a:cs typeface="+mn-cs"/>
              </a:defRPr>
            </a:lvl1pPr>
            <a:lvl2pPr marL="742950" indent="-285750" algn="l" rtl="0" eaLnBrk="1" fontAlgn="base" hangingPunct="1">
              <a:spcBef>
                <a:spcPct val="20000"/>
              </a:spcBef>
              <a:spcAft>
                <a:spcPct val="0"/>
              </a:spcAft>
              <a:buChar char="–"/>
              <a:defRPr sz="2400">
                <a:solidFill>
                  <a:schemeClr val="tx1"/>
                </a:solidFill>
                <a:latin typeface="+mn-lt"/>
                <a:ea typeface="+mn-ea"/>
              </a:defRPr>
            </a:lvl2pPr>
            <a:lvl3pPr marL="1143000" indent="-228600" algn="l" rtl="0" eaLnBrk="1" fontAlgn="base" hangingPunct="1">
              <a:spcBef>
                <a:spcPct val="20000"/>
              </a:spcBef>
              <a:spcAft>
                <a:spcPct val="0"/>
              </a:spcAft>
              <a:buChar char="•"/>
              <a:defRPr sz="2000">
                <a:solidFill>
                  <a:schemeClr val="tx1"/>
                </a:solidFill>
                <a:latin typeface="+mn-lt"/>
                <a:ea typeface="+mn-ea"/>
              </a:defRPr>
            </a:lvl3pPr>
            <a:lvl4pPr marL="1600200" indent="-228600" algn="l" rtl="0" eaLnBrk="1" fontAlgn="base" hangingPunct="1">
              <a:spcBef>
                <a:spcPct val="20000"/>
              </a:spcBef>
              <a:spcAft>
                <a:spcPct val="0"/>
              </a:spcAft>
              <a:defRPr sz="1800">
                <a:solidFill>
                  <a:schemeClr val="tx1"/>
                </a:solidFill>
                <a:latin typeface="+mn-lt"/>
                <a:ea typeface="+mn-ea"/>
              </a:defRPr>
            </a:lvl4pPr>
            <a:lvl5pPr marL="2057400" indent="-228600" algn="l" rtl="0" eaLnBrk="1" fontAlgn="base" hangingPunct="1">
              <a:spcBef>
                <a:spcPct val="20000"/>
              </a:spcBef>
              <a:spcAft>
                <a:spcPct val="0"/>
              </a:spcAft>
              <a:buChar char="»"/>
              <a:defRPr sz="1800">
                <a:solidFill>
                  <a:schemeClr val="tx1"/>
                </a:solidFill>
                <a:latin typeface="+mn-lt"/>
                <a:ea typeface="+mn-ea"/>
              </a:defRPr>
            </a:lvl5pPr>
            <a:lvl6pPr marL="2514600" indent="-228600" algn="l" rtl="0" eaLnBrk="1" fontAlgn="base" hangingPunct="1">
              <a:spcBef>
                <a:spcPct val="20000"/>
              </a:spcBef>
              <a:spcAft>
                <a:spcPct val="0"/>
              </a:spcAft>
              <a:buChar char="»"/>
              <a:defRPr sz="1800">
                <a:solidFill>
                  <a:schemeClr val="tx1"/>
                </a:solidFill>
                <a:latin typeface="+mn-lt"/>
                <a:ea typeface="+mn-ea"/>
              </a:defRPr>
            </a:lvl6pPr>
            <a:lvl7pPr marL="2971800" indent="-228600" algn="l" rtl="0" eaLnBrk="1" fontAlgn="base" hangingPunct="1">
              <a:spcBef>
                <a:spcPct val="20000"/>
              </a:spcBef>
              <a:spcAft>
                <a:spcPct val="0"/>
              </a:spcAft>
              <a:buChar char="»"/>
              <a:defRPr sz="1800">
                <a:solidFill>
                  <a:schemeClr val="tx1"/>
                </a:solidFill>
                <a:latin typeface="+mn-lt"/>
                <a:ea typeface="+mn-ea"/>
              </a:defRPr>
            </a:lvl7pPr>
            <a:lvl8pPr marL="3429000" indent="-228600" algn="l" rtl="0" eaLnBrk="1" fontAlgn="base" hangingPunct="1">
              <a:spcBef>
                <a:spcPct val="20000"/>
              </a:spcBef>
              <a:spcAft>
                <a:spcPct val="0"/>
              </a:spcAft>
              <a:buChar char="»"/>
              <a:defRPr sz="1800">
                <a:solidFill>
                  <a:schemeClr val="tx1"/>
                </a:solidFill>
                <a:latin typeface="+mn-lt"/>
                <a:ea typeface="+mn-ea"/>
              </a:defRPr>
            </a:lvl8pPr>
            <a:lvl9pPr marL="3886200" indent="-228600" algn="l" rtl="0" eaLnBrk="1" fontAlgn="base" hangingPunct="1">
              <a:spcBef>
                <a:spcPct val="20000"/>
              </a:spcBef>
              <a:spcAft>
                <a:spcPct val="0"/>
              </a:spcAft>
              <a:buChar char="»"/>
              <a:defRPr sz="1800">
                <a:solidFill>
                  <a:schemeClr val="tx1"/>
                </a:solidFill>
                <a:latin typeface="+mn-lt"/>
                <a:ea typeface="+mn-ea"/>
              </a:defRPr>
            </a:lvl9pPr>
          </a:lstStyle>
          <a:p>
            <a:pPr marL="0" indent="0">
              <a:buFontTx/>
              <a:buNone/>
            </a:pPr>
            <a:r>
              <a:rPr lang="en-US" b="1" kern="0" dirty="0"/>
              <a:t>“low”</a:t>
            </a:r>
          </a:p>
        </p:txBody>
      </p:sp>
    </p:spTree>
    <p:extLst>
      <p:ext uri="{BB962C8B-B14F-4D97-AF65-F5344CB8AC3E}">
        <p14:creationId xmlns:p14="http://schemas.microsoft.com/office/powerpoint/2010/main" val="1894430845"/>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866663D-3D7F-C7BB-12C6-CC5B433F529E}"/>
              </a:ext>
            </a:extLst>
          </p:cNvPr>
          <p:cNvSpPr>
            <a:spLocks noGrp="1"/>
          </p:cNvSpPr>
          <p:nvPr>
            <p:ph type="title"/>
          </p:nvPr>
        </p:nvSpPr>
        <p:spPr/>
        <p:txBody>
          <a:bodyPr/>
          <a:lstStyle/>
          <a:p>
            <a:r>
              <a:rPr lang="en-US" dirty="0"/>
              <a:t>New therapies for HER2 amplification</a:t>
            </a:r>
          </a:p>
        </p:txBody>
      </p:sp>
      <p:pic>
        <p:nvPicPr>
          <p:cNvPr id="6" name="Picture 5">
            <a:extLst>
              <a:ext uri="{FF2B5EF4-FFF2-40B4-BE49-F238E27FC236}">
                <a16:creationId xmlns:a16="http://schemas.microsoft.com/office/drawing/2014/main" id="{96E3A81D-0C09-A1E7-D284-C5BDC37F3159}"/>
              </a:ext>
            </a:extLst>
          </p:cNvPr>
          <p:cNvPicPr>
            <a:picLocks noChangeAspect="1"/>
          </p:cNvPicPr>
          <p:nvPr/>
        </p:nvPicPr>
        <p:blipFill>
          <a:blip r:embed="rId2"/>
          <a:stretch>
            <a:fillRect/>
          </a:stretch>
        </p:blipFill>
        <p:spPr>
          <a:xfrm>
            <a:off x="790960" y="1724903"/>
            <a:ext cx="1372584" cy="1459456"/>
          </a:xfrm>
          <a:prstGeom prst="rect">
            <a:avLst/>
          </a:prstGeom>
        </p:spPr>
      </p:pic>
      <p:sp>
        <p:nvSpPr>
          <p:cNvPr id="7" name="TextBox 6">
            <a:extLst>
              <a:ext uri="{FF2B5EF4-FFF2-40B4-BE49-F238E27FC236}">
                <a16:creationId xmlns:a16="http://schemas.microsoft.com/office/drawing/2014/main" id="{ED030B7B-EF31-3F17-952E-8EE09EEC4372}"/>
              </a:ext>
            </a:extLst>
          </p:cNvPr>
          <p:cNvSpPr txBox="1"/>
          <p:nvPr/>
        </p:nvSpPr>
        <p:spPr>
          <a:xfrm>
            <a:off x="537411" y="3184359"/>
            <a:ext cx="1879682" cy="461665"/>
          </a:xfrm>
          <a:prstGeom prst="rect">
            <a:avLst/>
          </a:prstGeom>
          <a:noFill/>
        </p:spPr>
        <p:txBody>
          <a:bodyPr wrap="none" rtlCol="0">
            <a:spAutoFit/>
          </a:bodyPr>
          <a:lstStyle/>
          <a:p>
            <a:r>
              <a:rPr lang="en-US" dirty="0"/>
              <a:t>Standard Ab</a:t>
            </a:r>
          </a:p>
        </p:txBody>
      </p:sp>
      <p:sp>
        <p:nvSpPr>
          <p:cNvPr id="8" name="TextBox 7">
            <a:extLst>
              <a:ext uri="{FF2B5EF4-FFF2-40B4-BE49-F238E27FC236}">
                <a16:creationId xmlns:a16="http://schemas.microsoft.com/office/drawing/2014/main" id="{AF19D339-1EDA-E2D5-7955-B1ACFDD06A48}"/>
              </a:ext>
            </a:extLst>
          </p:cNvPr>
          <p:cNvSpPr txBox="1"/>
          <p:nvPr/>
        </p:nvSpPr>
        <p:spPr>
          <a:xfrm>
            <a:off x="2620375" y="3184359"/>
            <a:ext cx="1930978" cy="461665"/>
          </a:xfrm>
          <a:prstGeom prst="rect">
            <a:avLst/>
          </a:prstGeom>
          <a:noFill/>
        </p:spPr>
        <p:txBody>
          <a:bodyPr wrap="none" rtlCol="0">
            <a:spAutoFit/>
          </a:bodyPr>
          <a:lstStyle/>
          <a:p>
            <a:r>
              <a:rPr lang="en-US" dirty="0"/>
              <a:t>Bispecific Ab</a:t>
            </a:r>
          </a:p>
        </p:txBody>
      </p:sp>
      <p:pic>
        <p:nvPicPr>
          <p:cNvPr id="10" name="Picture 9">
            <a:extLst>
              <a:ext uri="{FF2B5EF4-FFF2-40B4-BE49-F238E27FC236}">
                <a16:creationId xmlns:a16="http://schemas.microsoft.com/office/drawing/2014/main" id="{C5D91F9A-1227-B328-F0FD-E2C561733241}"/>
              </a:ext>
            </a:extLst>
          </p:cNvPr>
          <p:cNvPicPr>
            <a:picLocks noChangeAspect="1"/>
          </p:cNvPicPr>
          <p:nvPr/>
        </p:nvPicPr>
        <p:blipFill>
          <a:blip r:embed="rId3"/>
          <a:stretch>
            <a:fillRect/>
          </a:stretch>
        </p:blipFill>
        <p:spPr>
          <a:xfrm>
            <a:off x="2948989" y="1796716"/>
            <a:ext cx="1336977" cy="1323473"/>
          </a:xfrm>
          <a:prstGeom prst="rect">
            <a:avLst/>
          </a:prstGeom>
        </p:spPr>
      </p:pic>
      <p:sp>
        <p:nvSpPr>
          <p:cNvPr id="13" name="TextBox 12">
            <a:extLst>
              <a:ext uri="{FF2B5EF4-FFF2-40B4-BE49-F238E27FC236}">
                <a16:creationId xmlns:a16="http://schemas.microsoft.com/office/drawing/2014/main" id="{4ECAE4A1-9FF0-FF63-BC82-399807192066}"/>
              </a:ext>
            </a:extLst>
          </p:cNvPr>
          <p:cNvSpPr txBox="1"/>
          <p:nvPr/>
        </p:nvSpPr>
        <p:spPr>
          <a:xfrm>
            <a:off x="4946268" y="1724903"/>
            <a:ext cx="3775393" cy="1323439"/>
          </a:xfrm>
          <a:prstGeom prst="rect">
            <a:avLst/>
          </a:prstGeom>
          <a:noFill/>
        </p:spPr>
        <p:txBody>
          <a:bodyPr wrap="none" rtlCol="0">
            <a:spAutoFit/>
          </a:bodyPr>
          <a:lstStyle/>
          <a:p>
            <a:r>
              <a:rPr lang="en-US" sz="2000" dirty="0" err="1"/>
              <a:t>Zanadatimab</a:t>
            </a:r>
            <a:endParaRPr lang="en-US" sz="2000" dirty="0"/>
          </a:p>
          <a:p>
            <a:r>
              <a:rPr lang="en-US" sz="2000" dirty="0"/>
              <a:t>- bispecific for 2 HER2 epitopes</a:t>
            </a:r>
          </a:p>
          <a:p>
            <a:r>
              <a:rPr lang="en-US" sz="2000" dirty="0"/>
              <a:t>- activity in late-line</a:t>
            </a:r>
          </a:p>
          <a:p>
            <a:r>
              <a:rPr lang="en-US" sz="2000" dirty="0"/>
              <a:t>- 37% RR in multiple diseases</a:t>
            </a:r>
          </a:p>
        </p:txBody>
      </p:sp>
      <p:sp>
        <p:nvSpPr>
          <p:cNvPr id="14" name="TextBox 13">
            <a:extLst>
              <a:ext uri="{FF2B5EF4-FFF2-40B4-BE49-F238E27FC236}">
                <a16:creationId xmlns:a16="http://schemas.microsoft.com/office/drawing/2014/main" id="{3C91AD90-2E0F-FCCB-C83D-D08FED254F39}"/>
              </a:ext>
            </a:extLst>
          </p:cNvPr>
          <p:cNvSpPr txBox="1"/>
          <p:nvPr/>
        </p:nvSpPr>
        <p:spPr>
          <a:xfrm>
            <a:off x="5763900" y="4058989"/>
            <a:ext cx="3323346" cy="338554"/>
          </a:xfrm>
          <a:prstGeom prst="rect">
            <a:avLst/>
          </a:prstGeom>
          <a:noFill/>
        </p:spPr>
        <p:txBody>
          <a:bodyPr wrap="none" rtlCol="0">
            <a:spAutoFit/>
          </a:bodyPr>
          <a:lstStyle/>
          <a:p>
            <a:r>
              <a:rPr lang="en-US" sz="1600" i="1" dirty="0" err="1"/>
              <a:t>Meric</a:t>
            </a:r>
            <a:r>
              <a:rPr lang="en-US" sz="1600" i="1" dirty="0"/>
              <a:t>-Bernstam et al. Lancet 2022</a:t>
            </a:r>
          </a:p>
        </p:txBody>
      </p:sp>
    </p:spTree>
    <p:extLst>
      <p:ext uri="{BB962C8B-B14F-4D97-AF65-F5344CB8AC3E}">
        <p14:creationId xmlns:p14="http://schemas.microsoft.com/office/powerpoint/2010/main" val="3215036723"/>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8F06C0A-C3BB-6EEE-2DBD-B80417F370B3}"/>
              </a:ext>
            </a:extLst>
          </p:cNvPr>
          <p:cNvSpPr>
            <a:spLocks noGrp="1"/>
          </p:cNvSpPr>
          <p:nvPr>
            <p:ph sz="half" idx="1"/>
          </p:nvPr>
        </p:nvSpPr>
        <p:spPr>
          <a:xfrm>
            <a:off x="569495" y="1106011"/>
            <a:ext cx="2422358" cy="2936240"/>
          </a:xfrm>
        </p:spPr>
        <p:txBody>
          <a:bodyPr/>
          <a:lstStyle/>
          <a:p>
            <a:pPr marL="0" indent="0">
              <a:buNone/>
            </a:pPr>
            <a:r>
              <a:rPr lang="en-US" b="1" dirty="0"/>
              <a:t>amplification</a:t>
            </a:r>
          </a:p>
          <a:p>
            <a:r>
              <a:rPr lang="en-US" sz="1800" dirty="0"/>
              <a:t>Classic HER2+ subtype of breast cancer</a:t>
            </a:r>
          </a:p>
          <a:p>
            <a:r>
              <a:rPr lang="en-US" sz="1800" dirty="0" err="1"/>
              <a:t>Trastuzumzab</a:t>
            </a:r>
            <a:r>
              <a:rPr lang="en-US" sz="1800" dirty="0"/>
              <a:t> (Herceptin) used for &gt;20 years</a:t>
            </a:r>
          </a:p>
        </p:txBody>
      </p:sp>
      <p:sp>
        <p:nvSpPr>
          <p:cNvPr id="3" name="Content Placeholder 2">
            <a:extLst>
              <a:ext uri="{FF2B5EF4-FFF2-40B4-BE49-F238E27FC236}">
                <a16:creationId xmlns:a16="http://schemas.microsoft.com/office/drawing/2014/main" id="{DCADD559-17B8-CC73-899D-5308468224AC}"/>
              </a:ext>
            </a:extLst>
          </p:cNvPr>
          <p:cNvSpPr>
            <a:spLocks noGrp="1"/>
          </p:cNvSpPr>
          <p:nvPr>
            <p:ph sz="half" idx="2"/>
          </p:nvPr>
        </p:nvSpPr>
        <p:spPr>
          <a:xfrm>
            <a:off x="5803854" y="1083737"/>
            <a:ext cx="2998626" cy="2936240"/>
          </a:xfrm>
        </p:spPr>
        <p:txBody>
          <a:bodyPr/>
          <a:lstStyle/>
          <a:p>
            <a:pPr marL="0" indent="0">
              <a:buNone/>
            </a:pPr>
            <a:r>
              <a:rPr lang="en-US" b="1" dirty="0"/>
              <a:t>mutation</a:t>
            </a:r>
          </a:p>
        </p:txBody>
      </p:sp>
      <p:sp>
        <p:nvSpPr>
          <p:cNvPr id="4" name="Title 3">
            <a:extLst>
              <a:ext uri="{FF2B5EF4-FFF2-40B4-BE49-F238E27FC236}">
                <a16:creationId xmlns:a16="http://schemas.microsoft.com/office/drawing/2014/main" id="{C71AE656-BEE2-1D01-4225-59CF9DA703DA}"/>
              </a:ext>
            </a:extLst>
          </p:cNvPr>
          <p:cNvSpPr>
            <a:spLocks noGrp="1"/>
          </p:cNvSpPr>
          <p:nvPr>
            <p:ph type="title"/>
          </p:nvPr>
        </p:nvSpPr>
        <p:spPr/>
        <p:txBody>
          <a:bodyPr/>
          <a:lstStyle/>
          <a:p>
            <a:r>
              <a:rPr lang="en-US" dirty="0"/>
              <a:t>Targeting HER2</a:t>
            </a:r>
          </a:p>
        </p:txBody>
      </p:sp>
      <p:sp>
        <p:nvSpPr>
          <p:cNvPr id="6" name="Content Placeholder 2">
            <a:extLst>
              <a:ext uri="{FF2B5EF4-FFF2-40B4-BE49-F238E27FC236}">
                <a16:creationId xmlns:a16="http://schemas.microsoft.com/office/drawing/2014/main" id="{7E4C2CD8-8DF7-57E6-A878-136D49B65418}"/>
              </a:ext>
            </a:extLst>
          </p:cNvPr>
          <p:cNvSpPr txBox="1">
            <a:spLocks/>
          </p:cNvSpPr>
          <p:nvPr/>
        </p:nvSpPr>
        <p:spPr bwMode="auto">
          <a:xfrm>
            <a:off x="3212435" y="1128286"/>
            <a:ext cx="2939714" cy="2936240"/>
          </a:xfrm>
          <a:prstGeom prst="rect">
            <a:avLst/>
          </a:prstGeom>
          <a:noFill/>
          <a:ln>
            <a:noFill/>
          </a:ln>
          <a:extLst>
            <a:ext uri="{FAA26D3D-D897-4be2-8F04-BA451C77F1D7}">
              <ma14:placeholderFlag xmlns=""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spcBef>
                <a:spcPct val="20000"/>
              </a:spcBef>
              <a:spcAft>
                <a:spcPct val="0"/>
              </a:spcAft>
              <a:buChar char="•"/>
              <a:defRPr sz="2800">
                <a:solidFill>
                  <a:schemeClr val="tx1"/>
                </a:solidFill>
                <a:latin typeface="+mn-lt"/>
                <a:ea typeface="+mn-ea"/>
                <a:cs typeface="+mn-cs"/>
              </a:defRPr>
            </a:lvl1pPr>
            <a:lvl2pPr marL="742950" indent="-285750" algn="l" rtl="0" eaLnBrk="1" fontAlgn="base" hangingPunct="1">
              <a:spcBef>
                <a:spcPct val="20000"/>
              </a:spcBef>
              <a:spcAft>
                <a:spcPct val="0"/>
              </a:spcAft>
              <a:buChar char="–"/>
              <a:defRPr sz="2400">
                <a:solidFill>
                  <a:schemeClr val="tx1"/>
                </a:solidFill>
                <a:latin typeface="+mn-lt"/>
                <a:ea typeface="+mn-ea"/>
              </a:defRPr>
            </a:lvl2pPr>
            <a:lvl3pPr marL="1143000" indent="-228600" algn="l" rtl="0" eaLnBrk="1" fontAlgn="base" hangingPunct="1">
              <a:spcBef>
                <a:spcPct val="20000"/>
              </a:spcBef>
              <a:spcAft>
                <a:spcPct val="0"/>
              </a:spcAft>
              <a:buChar char="•"/>
              <a:defRPr sz="2000">
                <a:solidFill>
                  <a:schemeClr val="tx1"/>
                </a:solidFill>
                <a:latin typeface="+mn-lt"/>
                <a:ea typeface="+mn-ea"/>
              </a:defRPr>
            </a:lvl3pPr>
            <a:lvl4pPr marL="1600200" indent="-228600" algn="l" rtl="0" eaLnBrk="1" fontAlgn="base" hangingPunct="1">
              <a:spcBef>
                <a:spcPct val="20000"/>
              </a:spcBef>
              <a:spcAft>
                <a:spcPct val="0"/>
              </a:spcAft>
              <a:defRPr sz="1800">
                <a:solidFill>
                  <a:schemeClr val="tx1"/>
                </a:solidFill>
                <a:latin typeface="+mn-lt"/>
                <a:ea typeface="+mn-ea"/>
              </a:defRPr>
            </a:lvl4pPr>
            <a:lvl5pPr marL="2057400" indent="-228600" algn="l" rtl="0" eaLnBrk="1" fontAlgn="base" hangingPunct="1">
              <a:spcBef>
                <a:spcPct val="20000"/>
              </a:spcBef>
              <a:spcAft>
                <a:spcPct val="0"/>
              </a:spcAft>
              <a:buChar char="»"/>
              <a:defRPr sz="1800">
                <a:solidFill>
                  <a:schemeClr val="tx1"/>
                </a:solidFill>
                <a:latin typeface="+mn-lt"/>
                <a:ea typeface="+mn-ea"/>
              </a:defRPr>
            </a:lvl5pPr>
            <a:lvl6pPr marL="2514600" indent="-228600" algn="l" rtl="0" eaLnBrk="1" fontAlgn="base" hangingPunct="1">
              <a:spcBef>
                <a:spcPct val="20000"/>
              </a:spcBef>
              <a:spcAft>
                <a:spcPct val="0"/>
              </a:spcAft>
              <a:buChar char="»"/>
              <a:defRPr sz="1800">
                <a:solidFill>
                  <a:schemeClr val="tx1"/>
                </a:solidFill>
                <a:latin typeface="+mn-lt"/>
                <a:ea typeface="+mn-ea"/>
              </a:defRPr>
            </a:lvl6pPr>
            <a:lvl7pPr marL="2971800" indent="-228600" algn="l" rtl="0" eaLnBrk="1" fontAlgn="base" hangingPunct="1">
              <a:spcBef>
                <a:spcPct val="20000"/>
              </a:spcBef>
              <a:spcAft>
                <a:spcPct val="0"/>
              </a:spcAft>
              <a:buChar char="»"/>
              <a:defRPr sz="1800">
                <a:solidFill>
                  <a:schemeClr val="tx1"/>
                </a:solidFill>
                <a:latin typeface="+mn-lt"/>
                <a:ea typeface="+mn-ea"/>
              </a:defRPr>
            </a:lvl7pPr>
            <a:lvl8pPr marL="3429000" indent="-228600" algn="l" rtl="0" eaLnBrk="1" fontAlgn="base" hangingPunct="1">
              <a:spcBef>
                <a:spcPct val="20000"/>
              </a:spcBef>
              <a:spcAft>
                <a:spcPct val="0"/>
              </a:spcAft>
              <a:buChar char="»"/>
              <a:defRPr sz="1800">
                <a:solidFill>
                  <a:schemeClr val="tx1"/>
                </a:solidFill>
                <a:latin typeface="+mn-lt"/>
                <a:ea typeface="+mn-ea"/>
              </a:defRPr>
            </a:lvl8pPr>
            <a:lvl9pPr marL="3886200" indent="-228600" algn="l" rtl="0" eaLnBrk="1" fontAlgn="base" hangingPunct="1">
              <a:spcBef>
                <a:spcPct val="20000"/>
              </a:spcBef>
              <a:spcAft>
                <a:spcPct val="0"/>
              </a:spcAft>
              <a:buChar char="»"/>
              <a:defRPr sz="1800">
                <a:solidFill>
                  <a:schemeClr val="tx1"/>
                </a:solidFill>
                <a:latin typeface="+mn-lt"/>
                <a:ea typeface="+mn-ea"/>
              </a:defRPr>
            </a:lvl9pPr>
          </a:lstStyle>
          <a:p>
            <a:pPr marL="0" indent="0">
              <a:buFontTx/>
              <a:buNone/>
            </a:pPr>
            <a:r>
              <a:rPr lang="en-US" b="1" kern="0" dirty="0"/>
              <a:t>“low”</a:t>
            </a:r>
          </a:p>
          <a:p>
            <a:r>
              <a:rPr lang="en-US" sz="1800" kern="0" dirty="0"/>
              <a:t>Low-level expression</a:t>
            </a:r>
          </a:p>
          <a:p>
            <a:r>
              <a:rPr lang="en-US" sz="1800" kern="0" dirty="0"/>
              <a:t>No evidence of activation</a:t>
            </a:r>
          </a:p>
          <a:p>
            <a:r>
              <a:rPr lang="en-US" sz="1800" kern="0" dirty="0" err="1"/>
              <a:t>TdxT</a:t>
            </a:r>
            <a:r>
              <a:rPr lang="en-US" sz="1800" kern="0" dirty="0"/>
              <a:t> (</a:t>
            </a:r>
            <a:r>
              <a:rPr lang="en-US" sz="1800" kern="0" dirty="0" err="1"/>
              <a:t>Enhertu</a:t>
            </a:r>
            <a:r>
              <a:rPr lang="en-US" sz="1800" kern="0" dirty="0"/>
              <a:t>) has activity as ADC</a:t>
            </a:r>
          </a:p>
        </p:txBody>
      </p:sp>
    </p:spTree>
    <p:extLst>
      <p:ext uri="{BB962C8B-B14F-4D97-AF65-F5344CB8AC3E}">
        <p14:creationId xmlns:p14="http://schemas.microsoft.com/office/powerpoint/2010/main" val="705225343"/>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8F06C0A-C3BB-6EEE-2DBD-B80417F370B3}"/>
              </a:ext>
            </a:extLst>
          </p:cNvPr>
          <p:cNvSpPr>
            <a:spLocks noGrp="1"/>
          </p:cNvSpPr>
          <p:nvPr>
            <p:ph sz="half" idx="1"/>
          </p:nvPr>
        </p:nvSpPr>
        <p:spPr>
          <a:xfrm>
            <a:off x="569495" y="1106011"/>
            <a:ext cx="2422358" cy="2936240"/>
          </a:xfrm>
        </p:spPr>
        <p:txBody>
          <a:bodyPr/>
          <a:lstStyle/>
          <a:p>
            <a:pPr marL="0" indent="0">
              <a:buNone/>
            </a:pPr>
            <a:r>
              <a:rPr lang="en-US" b="1" dirty="0"/>
              <a:t>amplification</a:t>
            </a:r>
          </a:p>
          <a:p>
            <a:r>
              <a:rPr lang="en-US" sz="1800" dirty="0"/>
              <a:t>Classic HER2+ subtype of breast cancer</a:t>
            </a:r>
          </a:p>
          <a:p>
            <a:r>
              <a:rPr lang="en-US" sz="1800" dirty="0" err="1"/>
              <a:t>Trastuzumzab</a:t>
            </a:r>
            <a:r>
              <a:rPr lang="en-US" sz="1800" dirty="0"/>
              <a:t> (Herceptin) used for &gt;20 years</a:t>
            </a:r>
          </a:p>
        </p:txBody>
      </p:sp>
      <p:sp>
        <p:nvSpPr>
          <p:cNvPr id="3" name="Content Placeholder 2">
            <a:extLst>
              <a:ext uri="{FF2B5EF4-FFF2-40B4-BE49-F238E27FC236}">
                <a16:creationId xmlns:a16="http://schemas.microsoft.com/office/drawing/2014/main" id="{DCADD559-17B8-CC73-899D-5308468224AC}"/>
              </a:ext>
            </a:extLst>
          </p:cNvPr>
          <p:cNvSpPr>
            <a:spLocks noGrp="1"/>
          </p:cNvSpPr>
          <p:nvPr>
            <p:ph sz="half" idx="2"/>
          </p:nvPr>
        </p:nvSpPr>
        <p:spPr>
          <a:xfrm>
            <a:off x="5803854" y="1083737"/>
            <a:ext cx="2998626" cy="2936240"/>
          </a:xfrm>
        </p:spPr>
        <p:txBody>
          <a:bodyPr/>
          <a:lstStyle/>
          <a:p>
            <a:pPr marL="0" indent="0">
              <a:buNone/>
            </a:pPr>
            <a:r>
              <a:rPr lang="en-US" b="1" dirty="0"/>
              <a:t>mutation</a:t>
            </a:r>
          </a:p>
          <a:p>
            <a:r>
              <a:rPr lang="en-US" sz="1800" dirty="0"/>
              <a:t>Point mutation that creates a constitutively active receptor form</a:t>
            </a:r>
          </a:p>
          <a:p>
            <a:r>
              <a:rPr lang="en-US" sz="1800" dirty="0"/>
              <a:t>Mechanism of hormone resistance in ER+ breast cancer</a:t>
            </a:r>
          </a:p>
          <a:p>
            <a:r>
              <a:rPr lang="en-US" sz="1800" dirty="0"/>
              <a:t>Emerging ‘triplet therapy’</a:t>
            </a:r>
          </a:p>
        </p:txBody>
      </p:sp>
      <p:sp>
        <p:nvSpPr>
          <p:cNvPr id="4" name="Title 3">
            <a:extLst>
              <a:ext uri="{FF2B5EF4-FFF2-40B4-BE49-F238E27FC236}">
                <a16:creationId xmlns:a16="http://schemas.microsoft.com/office/drawing/2014/main" id="{C71AE656-BEE2-1D01-4225-59CF9DA703DA}"/>
              </a:ext>
            </a:extLst>
          </p:cNvPr>
          <p:cNvSpPr>
            <a:spLocks noGrp="1"/>
          </p:cNvSpPr>
          <p:nvPr>
            <p:ph type="title"/>
          </p:nvPr>
        </p:nvSpPr>
        <p:spPr/>
        <p:txBody>
          <a:bodyPr/>
          <a:lstStyle/>
          <a:p>
            <a:r>
              <a:rPr lang="en-US" dirty="0"/>
              <a:t>Targeting HER2</a:t>
            </a:r>
          </a:p>
        </p:txBody>
      </p:sp>
      <p:sp>
        <p:nvSpPr>
          <p:cNvPr id="6" name="Content Placeholder 2">
            <a:extLst>
              <a:ext uri="{FF2B5EF4-FFF2-40B4-BE49-F238E27FC236}">
                <a16:creationId xmlns:a16="http://schemas.microsoft.com/office/drawing/2014/main" id="{7E4C2CD8-8DF7-57E6-A878-136D49B65418}"/>
              </a:ext>
            </a:extLst>
          </p:cNvPr>
          <p:cNvSpPr txBox="1">
            <a:spLocks/>
          </p:cNvSpPr>
          <p:nvPr/>
        </p:nvSpPr>
        <p:spPr bwMode="auto">
          <a:xfrm>
            <a:off x="3212435" y="1128286"/>
            <a:ext cx="2939714" cy="2936240"/>
          </a:xfrm>
          <a:prstGeom prst="rect">
            <a:avLst/>
          </a:prstGeom>
          <a:noFill/>
          <a:ln>
            <a:noFill/>
          </a:ln>
          <a:extLst>
            <a:ext uri="{FAA26D3D-D897-4be2-8F04-BA451C77F1D7}">
              <ma14:placeholderFlag xmlns=""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spcBef>
                <a:spcPct val="20000"/>
              </a:spcBef>
              <a:spcAft>
                <a:spcPct val="0"/>
              </a:spcAft>
              <a:buChar char="•"/>
              <a:defRPr sz="2800">
                <a:solidFill>
                  <a:schemeClr val="tx1"/>
                </a:solidFill>
                <a:latin typeface="+mn-lt"/>
                <a:ea typeface="+mn-ea"/>
                <a:cs typeface="+mn-cs"/>
              </a:defRPr>
            </a:lvl1pPr>
            <a:lvl2pPr marL="742950" indent="-285750" algn="l" rtl="0" eaLnBrk="1" fontAlgn="base" hangingPunct="1">
              <a:spcBef>
                <a:spcPct val="20000"/>
              </a:spcBef>
              <a:spcAft>
                <a:spcPct val="0"/>
              </a:spcAft>
              <a:buChar char="–"/>
              <a:defRPr sz="2400">
                <a:solidFill>
                  <a:schemeClr val="tx1"/>
                </a:solidFill>
                <a:latin typeface="+mn-lt"/>
                <a:ea typeface="+mn-ea"/>
              </a:defRPr>
            </a:lvl2pPr>
            <a:lvl3pPr marL="1143000" indent="-228600" algn="l" rtl="0" eaLnBrk="1" fontAlgn="base" hangingPunct="1">
              <a:spcBef>
                <a:spcPct val="20000"/>
              </a:spcBef>
              <a:spcAft>
                <a:spcPct val="0"/>
              </a:spcAft>
              <a:buChar char="•"/>
              <a:defRPr sz="2000">
                <a:solidFill>
                  <a:schemeClr val="tx1"/>
                </a:solidFill>
                <a:latin typeface="+mn-lt"/>
                <a:ea typeface="+mn-ea"/>
              </a:defRPr>
            </a:lvl3pPr>
            <a:lvl4pPr marL="1600200" indent="-228600" algn="l" rtl="0" eaLnBrk="1" fontAlgn="base" hangingPunct="1">
              <a:spcBef>
                <a:spcPct val="20000"/>
              </a:spcBef>
              <a:spcAft>
                <a:spcPct val="0"/>
              </a:spcAft>
              <a:defRPr sz="1800">
                <a:solidFill>
                  <a:schemeClr val="tx1"/>
                </a:solidFill>
                <a:latin typeface="+mn-lt"/>
                <a:ea typeface="+mn-ea"/>
              </a:defRPr>
            </a:lvl4pPr>
            <a:lvl5pPr marL="2057400" indent="-228600" algn="l" rtl="0" eaLnBrk="1" fontAlgn="base" hangingPunct="1">
              <a:spcBef>
                <a:spcPct val="20000"/>
              </a:spcBef>
              <a:spcAft>
                <a:spcPct val="0"/>
              </a:spcAft>
              <a:buChar char="»"/>
              <a:defRPr sz="1800">
                <a:solidFill>
                  <a:schemeClr val="tx1"/>
                </a:solidFill>
                <a:latin typeface="+mn-lt"/>
                <a:ea typeface="+mn-ea"/>
              </a:defRPr>
            </a:lvl5pPr>
            <a:lvl6pPr marL="2514600" indent="-228600" algn="l" rtl="0" eaLnBrk="1" fontAlgn="base" hangingPunct="1">
              <a:spcBef>
                <a:spcPct val="20000"/>
              </a:spcBef>
              <a:spcAft>
                <a:spcPct val="0"/>
              </a:spcAft>
              <a:buChar char="»"/>
              <a:defRPr sz="1800">
                <a:solidFill>
                  <a:schemeClr val="tx1"/>
                </a:solidFill>
                <a:latin typeface="+mn-lt"/>
                <a:ea typeface="+mn-ea"/>
              </a:defRPr>
            </a:lvl6pPr>
            <a:lvl7pPr marL="2971800" indent="-228600" algn="l" rtl="0" eaLnBrk="1" fontAlgn="base" hangingPunct="1">
              <a:spcBef>
                <a:spcPct val="20000"/>
              </a:spcBef>
              <a:spcAft>
                <a:spcPct val="0"/>
              </a:spcAft>
              <a:buChar char="»"/>
              <a:defRPr sz="1800">
                <a:solidFill>
                  <a:schemeClr val="tx1"/>
                </a:solidFill>
                <a:latin typeface="+mn-lt"/>
                <a:ea typeface="+mn-ea"/>
              </a:defRPr>
            </a:lvl7pPr>
            <a:lvl8pPr marL="3429000" indent="-228600" algn="l" rtl="0" eaLnBrk="1" fontAlgn="base" hangingPunct="1">
              <a:spcBef>
                <a:spcPct val="20000"/>
              </a:spcBef>
              <a:spcAft>
                <a:spcPct val="0"/>
              </a:spcAft>
              <a:buChar char="»"/>
              <a:defRPr sz="1800">
                <a:solidFill>
                  <a:schemeClr val="tx1"/>
                </a:solidFill>
                <a:latin typeface="+mn-lt"/>
                <a:ea typeface="+mn-ea"/>
              </a:defRPr>
            </a:lvl8pPr>
            <a:lvl9pPr marL="3886200" indent="-228600" algn="l" rtl="0" eaLnBrk="1" fontAlgn="base" hangingPunct="1">
              <a:spcBef>
                <a:spcPct val="20000"/>
              </a:spcBef>
              <a:spcAft>
                <a:spcPct val="0"/>
              </a:spcAft>
              <a:buChar char="»"/>
              <a:defRPr sz="1800">
                <a:solidFill>
                  <a:schemeClr val="tx1"/>
                </a:solidFill>
                <a:latin typeface="+mn-lt"/>
                <a:ea typeface="+mn-ea"/>
              </a:defRPr>
            </a:lvl9pPr>
          </a:lstStyle>
          <a:p>
            <a:pPr marL="0" indent="0">
              <a:buFontTx/>
              <a:buNone/>
            </a:pPr>
            <a:r>
              <a:rPr lang="en-US" b="1" kern="0" dirty="0"/>
              <a:t>“low”</a:t>
            </a:r>
          </a:p>
          <a:p>
            <a:r>
              <a:rPr lang="en-US" sz="1800" kern="0" dirty="0"/>
              <a:t>Low-level expression</a:t>
            </a:r>
          </a:p>
          <a:p>
            <a:r>
              <a:rPr lang="en-US" sz="1800" kern="0" dirty="0"/>
              <a:t>No evidence of activation</a:t>
            </a:r>
          </a:p>
          <a:p>
            <a:r>
              <a:rPr lang="en-US" sz="1800" kern="0" dirty="0" err="1"/>
              <a:t>TdxT</a:t>
            </a:r>
            <a:r>
              <a:rPr lang="en-US" sz="1800" kern="0" dirty="0"/>
              <a:t> (</a:t>
            </a:r>
            <a:r>
              <a:rPr lang="en-US" sz="1800" kern="0" dirty="0" err="1"/>
              <a:t>Enhertu</a:t>
            </a:r>
            <a:r>
              <a:rPr lang="en-US" sz="1800" kern="0" dirty="0"/>
              <a:t>) has activity as ADC</a:t>
            </a:r>
          </a:p>
        </p:txBody>
      </p:sp>
    </p:spTree>
    <p:extLst>
      <p:ext uri="{BB962C8B-B14F-4D97-AF65-F5344CB8AC3E}">
        <p14:creationId xmlns:p14="http://schemas.microsoft.com/office/powerpoint/2010/main" val="171230021"/>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3A49B64-6A38-94C8-935F-0E9590F2A63F}"/>
              </a:ext>
            </a:extLst>
          </p:cNvPr>
          <p:cNvSpPr>
            <a:spLocks noGrp="1"/>
          </p:cNvSpPr>
          <p:nvPr>
            <p:ph type="title"/>
          </p:nvPr>
        </p:nvSpPr>
        <p:spPr/>
        <p:txBody>
          <a:bodyPr/>
          <a:lstStyle/>
          <a:p>
            <a:r>
              <a:rPr lang="en-US" dirty="0"/>
              <a:t>Targeting HER2 mutations in ER+ BC</a:t>
            </a:r>
          </a:p>
        </p:txBody>
      </p:sp>
      <p:sp>
        <p:nvSpPr>
          <p:cNvPr id="5" name="TextBox 4">
            <a:extLst>
              <a:ext uri="{FF2B5EF4-FFF2-40B4-BE49-F238E27FC236}">
                <a16:creationId xmlns:a16="http://schemas.microsoft.com/office/drawing/2014/main" id="{EBB3FF83-84D8-B2A9-D047-63262461CA57}"/>
              </a:ext>
            </a:extLst>
          </p:cNvPr>
          <p:cNvSpPr txBox="1"/>
          <p:nvPr/>
        </p:nvSpPr>
        <p:spPr>
          <a:xfrm>
            <a:off x="6116825" y="4066842"/>
            <a:ext cx="3027175" cy="338554"/>
          </a:xfrm>
          <a:prstGeom prst="rect">
            <a:avLst/>
          </a:prstGeom>
          <a:noFill/>
        </p:spPr>
        <p:txBody>
          <a:bodyPr wrap="none" rtlCol="0">
            <a:spAutoFit/>
          </a:bodyPr>
          <a:lstStyle/>
          <a:p>
            <a:r>
              <a:rPr lang="en-US" sz="1600" i="1" dirty="0"/>
              <a:t>Jhaveri et al. Annal Oncol 2023</a:t>
            </a:r>
          </a:p>
        </p:txBody>
      </p:sp>
      <p:pic>
        <p:nvPicPr>
          <p:cNvPr id="7" name="Picture 6">
            <a:extLst>
              <a:ext uri="{FF2B5EF4-FFF2-40B4-BE49-F238E27FC236}">
                <a16:creationId xmlns:a16="http://schemas.microsoft.com/office/drawing/2014/main" id="{56DB1220-FA4D-7B62-1369-12BB8957DA5B}"/>
              </a:ext>
            </a:extLst>
          </p:cNvPr>
          <p:cNvPicPr>
            <a:picLocks noChangeAspect="1"/>
          </p:cNvPicPr>
          <p:nvPr/>
        </p:nvPicPr>
        <p:blipFill>
          <a:blip r:embed="rId2"/>
          <a:stretch>
            <a:fillRect/>
          </a:stretch>
        </p:blipFill>
        <p:spPr>
          <a:xfrm>
            <a:off x="874295" y="804519"/>
            <a:ext cx="6994358" cy="3342031"/>
          </a:xfrm>
          <a:prstGeom prst="rect">
            <a:avLst/>
          </a:prstGeom>
        </p:spPr>
      </p:pic>
      <p:sp>
        <p:nvSpPr>
          <p:cNvPr id="8" name="TextBox 7">
            <a:extLst>
              <a:ext uri="{FF2B5EF4-FFF2-40B4-BE49-F238E27FC236}">
                <a16:creationId xmlns:a16="http://schemas.microsoft.com/office/drawing/2014/main" id="{85D34342-DBFD-B2AA-EB7D-394ECED7142A}"/>
              </a:ext>
            </a:extLst>
          </p:cNvPr>
          <p:cNvSpPr txBox="1"/>
          <p:nvPr/>
        </p:nvSpPr>
        <p:spPr>
          <a:xfrm>
            <a:off x="1106906" y="906379"/>
            <a:ext cx="3749744" cy="369332"/>
          </a:xfrm>
          <a:prstGeom prst="rect">
            <a:avLst/>
          </a:prstGeom>
          <a:noFill/>
        </p:spPr>
        <p:txBody>
          <a:bodyPr wrap="none" rtlCol="0">
            <a:spAutoFit/>
          </a:bodyPr>
          <a:lstStyle/>
          <a:p>
            <a:r>
              <a:rPr lang="en-US" sz="1800" dirty="0" err="1"/>
              <a:t>Fulvestrant+trastuzumab+neratinib</a:t>
            </a:r>
            <a:endParaRPr lang="en-US" sz="1800" dirty="0"/>
          </a:p>
        </p:txBody>
      </p:sp>
    </p:spTree>
    <p:extLst>
      <p:ext uri="{BB962C8B-B14F-4D97-AF65-F5344CB8AC3E}">
        <p14:creationId xmlns:p14="http://schemas.microsoft.com/office/powerpoint/2010/main" val="3520139832"/>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Rectangle 68">
            <a:extLst>
              <a:ext uri="{FF2B5EF4-FFF2-40B4-BE49-F238E27FC236}">
                <a16:creationId xmlns:a16="http://schemas.microsoft.com/office/drawing/2014/main" id="{A2575D5F-D0B4-E7A9-870D-B23228387AB7}"/>
              </a:ext>
            </a:extLst>
          </p:cNvPr>
          <p:cNvSpPr/>
          <p:nvPr/>
        </p:nvSpPr>
        <p:spPr bwMode="auto">
          <a:xfrm>
            <a:off x="-83075" y="1221747"/>
            <a:ext cx="9220200" cy="623095"/>
          </a:xfrm>
          <a:prstGeom prst="rect">
            <a:avLst/>
          </a:prstGeom>
          <a:solidFill>
            <a:srgbClr val="00B0F0">
              <a:alpha val="3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pitchFamily="-72" charset="0"/>
              <a:ea typeface="ＭＳ Ｐゴシック" pitchFamily="-72" charset="-128"/>
              <a:cs typeface="ＭＳ Ｐゴシック" pitchFamily="-72" charset="-128"/>
            </a:endParaRPr>
          </a:p>
        </p:txBody>
      </p:sp>
      <p:sp>
        <p:nvSpPr>
          <p:cNvPr id="2" name="Rectangle 1">
            <a:extLst>
              <a:ext uri="{FF2B5EF4-FFF2-40B4-BE49-F238E27FC236}">
                <a16:creationId xmlns:a16="http://schemas.microsoft.com/office/drawing/2014/main" id="{10144252-74FD-924F-36FD-CDCA749456D4}"/>
              </a:ext>
            </a:extLst>
          </p:cNvPr>
          <p:cNvSpPr/>
          <p:nvPr/>
        </p:nvSpPr>
        <p:spPr bwMode="auto">
          <a:xfrm>
            <a:off x="-68783" y="1840528"/>
            <a:ext cx="9220200" cy="357219"/>
          </a:xfrm>
          <a:prstGeom prst="rect">
            <a:avLst/>
          </a:prstGeom>
          <a:solidFill>
            <a:srgbClr val="FF6600">
              <a:alpha val="29804"/>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pitchFamily="-72" charset="0"/>
              <a:ea typeface="ＭＳ Ｐゴシック" pitchFamily="-72" charset="-128"/>
              <a:cs typeface="ＭＳ Ｐゴシック" pitchFamily="-72" charset="-128"/>
            </a:endParaRPr>
          </a:p>
        </p:txBody>
      </p:sp>
      <p:sp>
        <p:nvSpPr>
          <p:cNvPr id="71" name="Rectangle 70">
            <a:extLst>
              <a:ext uri="{FF2B5EF4-FFF2-40B4-BE49-F238E27FC236}">
                <a16:creationId xmlns:a16="http://schemas.microsoft.com/office/drawing/2014/main" id="{1669F4EF-577D-489F-4B47-87D3B57C8051}"/>
              </a:ext>
            </a:extLst>
          </p:cNvPr>
          <p:cNvSpPr/>
          <p:nvPr/>
        </p:nvSpPr>
        <p:spPr bwMode="auto">
          <a:xfrm>
            <a:off x="-68783" y="915568"/>
            <a:ext cx="9220200" cy="307326"/>
          </a:xfrm>
          <a:prstGeom prst="rect">
            <a:avLst/>
          </a:prstGeom>
          <a:solidFill>
            <a:srgbClr val="7030A0">
              <a:alpha val="3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pitchFamily="-72" charset="0"/>
              <a:ea typeface="ＭＳ Ｐゴシック" pitchFamily="-72" charset="-128"/>
              <a:cs typeface="ＭＳ Ｐゴシック" pitchFamily="-72" charset="-128"/>
            </a:endParaRPr>
          </a:p>
        </p:txBody>
      </p:sp>
      <p:sp>
        <p:nvSpPr>
          <p:cNvPr id="66" name="Rectangle 65">
            <a:extLst>
              <a:ext uri="{FF2B5EF4-FFF2-40B4-BE49-F238E27FC236}">
                <a16:creationId xmlns:a16="http://schemas.microsoft.com/office/drawing/2014/main" id="{C5E91C40-4685-9378-943B-F3273F068C97}"/>
              </a:ext>
            </a:extLst>
          </p:cNvPr>
          <p:cNvSpPr/>
          <p:nvPr/>
        </p:nvSpPr>
        <p:spPr bwMode="auto">
          <a:xfrm>
            <a:off x="-76201" y="2191883"/>
            <a:ext cx="9185837" cy="879976"/>
          </a:xfrm>
          <a:prstGeom prst="rect">
            <a:avLst/>
          </a:prstGeom>
          <a:solidFill>
            <a:srgbClr val="00B050">
              <a:alpha val="3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pitchFamily="-72" charset="0"/>
              <a:ea typeface="ＭＳ Ｐゴシック" pitchFamily="-72" charset="-128"/>
              <a:cs typeface="ＭＳ Ｐゴシック" pitchFamily="-72" charset="-128"/>
            </a:endParaRPr>
          </a:p>
        </p:txBody>
      </p:sp>
      <p:sp>
        <p:nvSpPr>
          <p:cNvPr id="4" name="Title 3"/>
          <p:cNvSpPr>
            <a:spLocks noGrp="1"/>
          </p:cNvSpPr>
          <p:nvPr>
            <p:ph type="title"/>
          </p:nvPr>
        </p:nvSpPr>
        <p:spPr>
          <a:xfrm>
            <a:off x="0" y="127465"/>
            <a:ext cx="9144000" cy="807256"/>
          </a:xfrm>
        </p:spPr>
        <p:txBody>
          <a:bodyPr/>
          <a:lstStyle/>
          <a:p>
            <a:r>
              <a:rPr lang="en-US" b="1" dirty="0"/>
              <a:t>Novel Drugs</a:t>
            </a:r>
          </a:p>
        </p:txBody>
      </p:sp>
      <p:sp>
        <p:nvSpPr>
          <p:cNvPr id="8" name="TextBox 7">
            <a:extLst>
              <a:ext uri="{FF2B5EF4-FFF2-40B4-BE49-F238E27FC236}">
                <a16:creationId xmlns:a16="http://schemas.microsoft.com/office/drawing/2014/main" id="{32011EC4-3F30-E974-723F-A517713FDE89}"/>
              </a:ext>
            </a:extLst>
          </p:cNvPr>
          <p:cNvSpPr txBox="1"/>
          <p:nvPr/>
        </p:nvSpPr>
        <p:spPr>
          <a:xfrm>
            <a:off x="1167580" y="2692766"/>
            <a:ext cx="849913" cy="276999"/>
          </a:xfrm>
          <a:prstGeom prst="rect">
            <a:avLst/>
          </a:prstGeom>
          <a:noFill/>
        </p:spPr>
        <p:txBody>
          <a:bodyPr wrap="none" rtlCol="0">
            <a:spAutoFit/>
          </a:bodyPr>
          <a:lstStyle/>
          <a:p>
            <a:r>
              <a:rPr lang="en-US" sz="1200" i="1" dirty="0"/>
              <a:t>tamoxifen</a:t>
            </a:r>
          </a:p>
        </p:txBody>
      </p:sp>
      <p:sp>
        <p:nvSpPr>
          <p:cNvPr id="46" name="TextBox 45">
            <a:extLst>
              <a:ext uri="{FF2B5EF4-FFF2-40B4-BE49-F238E27FC236}">
                <a16:creationId xmlns:a16="http://schemas.microsoft.com/office/drawing/2014/main" id="{8E6F21A2-D004-CAFD-5509-57BDE071A601}"/>
              </a:ext>
            </a:extLst>
          </p:cNvPr>
          <p:cNvSpPr txBox="1"/>
          <p:nvPr/>
        </p:nvSpPr>
        <p:spPr>
          <a:xfrm>
            <a:off x="6999240" y="2680962"/>
            <a:ext cx="736099" cy="276999"/>
          </a:xfrm>
          <a:prstGeom prst="rect">
            <a:avLst/>
          </a:prstGeom>
          <a:noFill/>
        </p:spPr>
        <p:txBody>
          <a:bodyPr wrap="none" rtlCol="0">
            <a:spAutoFit/>
          </a:bodyPr>
          <a:lstStyle/>
          <a:p>
            <a:r>
              <a:rPr lang="en-US" sz="1200" i="1" dirty="0" err="1"/>
              <a:t>alpelisib</a:t>
            </a:r>
            <a:endParaRPr lang="en-US" sz="1200" i="1" dirty="0"/>
          </a:p>
        </p:txBody>
      </p:sp>
      <p:sp>
        <p:nvSpPr>
          <p:cNvPr id="50" name="TextBox 49">
            <a:extLst>
              <a:ext uri="{FF2B5EF4-FFF2-40B4-BE49-F238E27FC236}">
                <a16:creationId xmlns:a16="http://schemas.microsoft.com/office/drawing/2014/main" id="{C8E2A62E-AEB0-2ED2-DCBC-E71C11E816B4}"/>
              </a:ext>
            </a:extLst>
          </p:cNvPr>
          <p:cNvSpPr txBox="1"/>
          <p:nvPr/>
        </p:nvSpPr>
        <p:spPr>
          <a:xfrm>
            <a:off x="3629983" y="2630788"/>
            <a:ext cx="184731" cy="338554"/>
          </a:xfrm>
          <a:prstGeom prst="rect">
            <a:avLst/>
          </a:prstGeom>
          <a:noFill/>
        </p:spPr>
        <p:txBody>
          <a:bodyPr wrap="none" rtlCol="0">
            <a:spAutoFit/>
          </a:bodyPr>
          <a:lstStyle/>
          <a:p>
            <a:endParaRPr lang="en-US" sz="1600" dirty="0"/>
          </a:p>
        </p:txBody>
      </p:sp>
      <p:sp>
        <p:nvSpPr>
          <p:cNvPr id="54" name="TextBox 53">
            <a:extLst>
              <a:ext uri="{FF2B5EF4-FFF2-40B4-BE49-F238E27FC236}">
                <a16:creationId xmlns:a16="http://schemas.microsoft.com/office/drawing/2014/main" id="{964A1DD9-CF1B-E8DF-0061-205C8D41F491}"/>
              </a:ext>
            </a:extLst>
          </p:cNvPr>
          <p:cNvSpPr txBox="1"/>
          <p:nvPr/>
        </p:nvSpPr>
        <p:spPr>
          <a:xfrm>
            <a:off x="6797180" y="1487175"/>
            <a:ext cx="1643399" cy="261610"/>
          </a:xfrm>
          <a:prstGeom prst="rect">
            <a:avLst/>
          </a:prstGeom>
          <a:noFill/>
        </p:spPr>
        <p:txBody>
          <a:bodyPr wrap="none" rtlCol="0">
            <a:spAutoFit/>
          </a:bodyPr>
          <a:lstStyle/>
          <a:p>
            <a:r>
              <a:rPr lang="en-US" sz="1050" i="1" dirty="0"/>
              <a:t>Sacituzumab </a:t>
            </a:r>
            <a:r>
              <a:rPr lang="en-US" sz="1050" i="1" dirty="0" err="1"/>
              <a:t>govitecan</a:t>
            </a:r>
            <a:endParaRPr lang="en-US" sz="1050" i="1" dirty="0"/>
          </a:p>
        </p:txBody>
      </p:sp>
      <p:sp>
        <p:nvSpPr>
          <p:cNvPr id="55" name="TextBox 54">
            <a:extLst>
              <a:ext uri="{FF2B5EF4-FFF2-40B4-BE49-F238E27FC236}">
                <a16:creationId xmlns:a16="http://schemas.microsoft.com/office/drawing/2014/main" id="{76D20D45-395E-840E-75DE-16DB9F3F9405}"/>
              </a:ext>
            </a:extLst>
          </p:cNvPr>
          <p:cNvSpPr txBox="1"/>
          <p:nvPr/>
        </p:nvSpPr>
        <p:spPr>
          <a:xfrm>
            <a:off x="6678435" y="1298054"/>
            <a:ext cx="1781257" cy="261610"/>
          </a:xfrm>
          <a:prstGeom prst="rect">
            <a:avLst/>
          </a:prstGeom>
          <a:noFill/>
        </p:spPr>
        <p:txBody>
          <a:bodyPr wrap="none" rtlCol="0">
            <a:spAutoFit/>
          </a:bodyPr>
          <a:lstStyle/>
          <a:p>
            <a:r>
              <a:rPr lang="en-US" sz="1050" i="1" dirty="0"/>
              <a:t>Trastuzumab </a:t>
            </a:r>
            <a:r>
              <a:rPr lang="en-US" sz="1050" i="1" dirty="0" err="1"/>
              <a:t>dertuxtecan</a:t>
            </a:r>
            <a:endParaRPr lang="en-US" sz="1050" i="1" dirty="0"/>
          </a:p>
        </p:txBody>
      </p:sp>
      <p:sp>
        <p:nvSpPr>
          <p:cNvPr id="56" name="TextBox 55">
            <a:extLst>
              <a:ext uri="{FF2B5EF4-FFF2-40B4-BE49-F238E27FC236}">
                <a16:creationId xmlns:a16="http://schemas.microsoft.com/office/drawing/2014/main" id="{51CB6DD0-5270-5BB5-89A4-AAC7F3AC85A3}"/>
              </a:ext>
            </a:extLst>
          </p:cNvPr>
          <p:cNvSpPr txBox="1"/>
          <p:nvPr/>
        </p:nvSpPr>
        <p:spPr>
          <a:xfrm>
            <a:off x="5621378" y="1647440"/>
            <a:ext cx="1867819" cy="261610"/>
          </a:xfrm>
          <a:prstGeom prst="rect">
            <a:avLst/>
          </a:prstGeom>
          <a:noFill/>
        </p:spPr>
        <p:txBody>
          <a:bodyPr wrap="none" rtlCol="0">
            <a:spAutoFit/>
          </a:bodyPr>
          <a:lstStyle/>
          <a:p>
            <a:r>
              <a:rPr lang="en-US" sz="1050" i="1" dirty="0"/>
              <a:t>Ad-trastuzumab emtansine</a:t>
            </a:r>
          </a:p>
        </p:txBody>
      </p:sp>
      <p:sp>
        <p:nvSpPr>
          <p:cNvPr id="19" name="TextBox 18">
            <a:extLst>
              <a:ext uri="{FF2B5EF4-FFF2-40B4-BE49-F238E27FC236}">
                <a16:creationId xmlns:a16="http://schemas.microsoft.com/office/drawing/2014/main" id="{5AE1F595-DD33-E207-D78A-A4F074191C01}"/>
              </a:ext>
            </a:extLst>
          </p:cNvPr>
          <p:cNvSpPr txBox="1"/>
          <p:nvPr/>
        </p:nvSpPr>
        <p:spPr>
          <a:xfrm>
            <a:off x="4092053" y="2469573"/>
            <a:ext cx="407484" cy="276999"/>
          </a:xfrm>
          <a:prstGeom prst="rect">
            <a:avLst/>
          </a:prstGeom>
          <a:noFill/>
        </p:spPr>
        <p:txBody>
          <a:bodyPr wrap="none" rtlCol="0">
            <a:spAutoFit/>
          </a:bodyPr>
          <a:lstStyle/>
          <a:p>
            <a:r>
              <a:rPr lang="en-US" sz="1200" i="1" dirty="0"/>
              <a:t>AIs</a:t>
            </a:r>
          </a:p>
        </p:txBody>
      </p:sp>
      <p:sp>
        <p:nvSpPr>
          <p:cNvPr id="45" name="TextBox 44">
            <a:extLst>
              <a:ext uri="{FF2B5EF4-FFF2-40B4-BE49-F238E27FC236}">
                <a16:creationId xmlns:a16="http://schemas.microsoft.com/office/drawing/2014/main" id="{8E0C6816-72E6-7542-3FFD-CD22A2B2EBC7}"/>
              </a:ext>
            </a:extLst>
          </p:cNvPr>
          <p:cNvSpPr txBox="1"/>
          <p:nvPr/>
        </p:nvSpPr>
        <p:spPr>
          <a:xfrm>
            <a:off x="7059410" y="925651"/>
            <a:ext cx="1231427" cy="276999"/>
          </a:xfrm>
          <a:prstGeom prst="rect">
            <a:avLst/>
          </a:prstGeom>
          <a:noFill/>
        </p:spPr>
        <p:txBody>
          <a:bodyPr wrap="none" rtlCol="0">
            <a:spAutoFit/>
          </a:bodyPr>
          <a:lstStyle/>
          <a:p>
            <a:r>
              <a:rPr lang="en-US" sz="1200" i="1" dirty="0"/>
              <a:t>pembrolizumab</a:t>
            </a:r>
          </a:p>
        </p:txBody>
      </p:sp>
      <p:sp>
        <p:nvSpPr>
          <p:cNvPr id="57" name="TextBox 56">
            <a:extLst>
              <a:ext uri="{FF2B5EF4-FFF2-40B4-BE49-F238E27FC236}">
                <a16:creationId xmlns:a16="http://schemas.microsoft.com/office/drawing/2014/main" id="{40A2BCFD-ED68-F621-53AF-D501E3A51319}"/>
              </a:ext>
            </a:extLst>
          </p:cNvPr>
          <p:cNvSpPr txBox="1"/>
          <p:nvPr/>
        </p:nvSpPr>
        <p:spPr>
          <a:xfrm>
            <a:off x="4986730" y="2469573"/>
            <a:ext cx="755335" cy="276999"/>
          </a:xfrm>
          <a:prstGeom prst="rect">
            <a:avLst/>
          </a:prstGeom>
          <a:noFill/>
        </p:spPr>
        <p:txBody>
          <a:bodyPr wrap="none" rtlCol="0">
            <a:spAutoFit/>
          </a:bodyPr>
          <a:lstStyle/>
          <a:p>
            <a:r>
              <a:rPr lang="en-US" sz="1200" i="1" dirty="0" err="1"/>
              <a:t>faslodex</a:t>
            </a:r>
            <a:endParaRPr lang="en-US" sz="1200" i="1" dirty="0"/>
          </a:p>
        </p:txBody>
      </p:sp>
      <p:sp>
        <p:nvSpPr>
          <p:cNvPr id="44" name="TextBox 43">
            <a:extLst>
              <a:ext uri="{FF2B5EF4-FFF2-40B4-BE49-F238E27FC236}">
                <a16:creationId xmlns:a16="http://schemas.microsoft.com/office/drawing/2014/main" id="{AB69C7E8-C8B3-B9DF-271E-3B9F50941BA1}"/>
              </a:ext>
            </a:extLst>
          </p:cNvPr>
          <p:cNvSpPr txBox="1"/>
          <p:nvPr/>
        </p:nvSpPr>
        <p:spPr>
          <a:xfrm>
            <a:off x="5657890" y="2673716"/>
            <a:ext cx="753732" cy="276999"/>
          </a:xfrm>
          <a:prstGeom prst="rect">
            <a:avLst/>
          </a:prstGeom>
          <a:noFill/>
        </p:spPr>
        <p:txBody>
          <a:bodyPr wrap="none" rtlCol="0">
            <a:spAutoFit/>
          </a:bodyPr>
          <a:lstStyle/>
          <a:p>
            <a:r>
              <a:rPr lang="en-US" sz="1200" i="1" dirty="0"/>
              <a:t>lapatinib</a:t>
            </a:r>
          </a:p>
        </p:txBody>
      </p:sp>
      <p:sp>
        <p:nvSpPr>
          <p:cNvPr id="51" name="TextBox 50">
            <a:extLst>
              <a:ext uri="{FF2B5EF4-FFF2-40B4-BE49-F238E27FC236}">
                <a16:creationId xmlns:a16="http://schemas.microsoft.com/office/drawing/2014/main" id="{FF9745C8-2F9A-EE88-B341-A474F1163CE3}"/>
              </a:ext>
            </a:extLst>
          </p:cNvPr>
          <p:cNvSpPr txBox="1"/>
          <p:nvPr/>
        </p:nvSpPr>
        <p:spPr>
          <a:xfrm>
            <a:off x="4294054" y="2673716"/>
            <a:ext cx="1029449" cy="276999"/>
          </a:xfrm>
          <a:prstGeom prst="rect">
            <a:avLst/>
          </a:prstGeom>
          <a:noFill/>
        </p:spPr>
        <p:txBody>
          <a:bodyPr wrap="none" rtlCol="0">
            <a:spAutoFit/>
          </a:bodyPr>
          <a:lstStyle/>
          <a:p>
            <a:r>
              <a:rPr lang="en-US" sz="1200" i="1" dirty="0"/>
              <a:t>trastuzumab</a:t>
            </a:r>
          </a:p>
        </p:txBody>
      </p:sp>
      <p:sp>
        <p:nvSpPr>
          <p:cNvPr id="61" name="TextBox 60">
            <a:extLst>
              <a:ext uri="{FF2B5EF4-FFF2-40B4-BE49-F238E27FC236}">
                <a16:creationId xmlns:a16="http://schemas.microsoft.com/office/drawing/2014/main" id="{07F438DD-7013-0458-B28D-1152AB0DBCB4}"/>
              </a:ext>
            </a:extLst>
          </p:cNvPr>
          <p:cNvSpPr txBox="1"/>
          <p:nvPr/>
        </p:nvSpPr>
        <p:spPr>
          <a:xfrm>
            <a:off x="7288035" y="2431679"/>
            <a:ext cx="934871" cy="276999"/>
          </a:xfrm>
          <a:prstGeom prst="rect">
            <a:avLst/>
          </a:prstGeom>
          <a:noFill/>
        </p:spPr>
        <p:txBody>
          <a:bodyPr wrap="none" rtlCol="0">
            <a:spAutoFit/>
          </a:bodyPr>
          <a:lstStyle/>
          <a:p>
            <a:r>
              <a:rPr lang="en-US" sz="1200" i="1" dirty="0" err="1"/>
              <a:t>elacestrant</a:t>
            </a:r>
            <a:endParaRPr lang="en-US" sz="1200" i="1" dirty="0"/>
          </a:p>
        </p:txBody>
      </p:sp>
      <p:sp>
        <p:nvSpPr>
          <p:cNvPr id="64" name="Rectangle 63">
            <a:extLst>
              <a:ext uri="{FF2B5EF4-FFF2-40B4-BE49-F238E27FC236}">
                <a16:creationId xmlns:a16="http://schemas.microsoft.com/office/drawing/2014/main" id="{24BBDD62-CC6F-22B9-5EFA-B46798431DAE}"/>
              </a:ext>
            </a:extLst>
          </p:cNvPr>
          <p:cNvSpPr/>
          <p:nvPr/>
        </p:nvSpPr>
        <p:spPr bwMode="auto">
          <a:xfrm>
            <a:off x="-76200" y="3086269"/>
            <a:ext cx="9220200" cy="1226650"/>
          </a:xfrm>
          <a:prstGeom prst="rect">
            <a:avLst/>
          </a:prstGeom>
          <a:solidFill>
            <a:srgbClr val="FFC000">
              <a:alpha val="3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pitchFamily="-72" charset="0"/>
              <a:ea typeface="ＭＳ Ｐゴシック" pitchFamily="-72" charset="-128"/>
              <a:cs typeface="ＭＳ Ｐゴシック" pitchFamily="-72" charset="-128"/>
            </a:endParaRPr>
          </a:p>
        </p:txBody>
      </p:sp>
      <p:sp>
        <p:nvSpPr>
          <p:cNvPr id="9" name="TextBox 8">
            <a:extLst>
              <a:ext uri="{FF2B5EF4-FFF2-40B4-BE49-F238E27FC236}">
                <a16:creationId xmlns:a16="http://schemas.microsoft.com/office/drawing/2014/main" id="{FF65C5E3-D91E-CF5E-761F-8A9B1445A218}"/>
              </a:ext>
            </a:extLst>
          </p:cNvPr>
          <p:cNvSpPr txBox="1"/>
          <p:nvPr/>
        </p:nvSpPr>
        <p:spPr>
          <a:xfrm>
            <a:off x="577437" y="3205900"/>
            <a:ext cx="1085392" cy="276999"/>
          </a:xfrm>
          <a:prstGeom prst="rect">
            <a:avLst/>
          </a:prstGeom>
          <a:noFill/>
        </p:spPr>
        <p:txBody>
          <a:bodyPr wrap="none" rtlCol="0">
            <a:spAutoFit/>
          </a:bodyPr>
          <a:lstStyle/>
          <a:p>
            <a:r>
              <a:rPr lang="en-US" sz="1200" i="1" dirty="0"/>
              <a:t>doxorubicin</a:t>
            </a:r>
          </a:p>
        </p:txBody>
      </p:sp>
      <p:cxnSp>
        <p:nvCxnSpPr>
          <p:cNvPr id="16" name="Straight Connector 15">
            <a:extLst>
              <a:ext uri="{FF2B5EF4-FFF2-40B4-BE49-F238E27FC236}">
                <a16:creationId xmlns:a16="http://schemas.microsoft.com/office/drawing/2014/main" id="{6A0E69F8-9E9E-C377-E172-38C77C12F77B}"/>
              </a:ext>
            </a:extLst>
          </p:cNvPr>
          <p:cNvCxnSpPr>
            <a:cxnSpLocks/>
          </p:cNvCxnSpPr>
          <p:nvPr/>
        </p:nvCxnSpPr>
        <p:spPr bwMode="auto">
          <a:xfrm>
            <a:off x="1853729" y="2919326"/>
            <a:ext cx="0" cy="130156"/>
          </a:xfrm>
          <a:prstGeom prst="line">
            <a:avLst/>
          </a:prstGeom>
          <a:solidFill>
            <a:schemeClr val="accent1"/>
          </a:solidFill>
          <a:ln w="25400" cap="flat" cmpd="sng" algn="ctr">
            <a:solidFill>
              <a:schemeClr val="tx1"/>
            </a:solidFill>
            <a:prstDash val="solid"/>
            <a:round/>
            <a:headEnd type="none" w="med" len="med"/>
            <a:tailEnd type="none" w="med" len="med"/>
          </a:ln>
          <a:effectLst/>
        </p:spPr>
      </p:cxnSp>
      <p:cxnSp>
        <p:nvCxnSpPr>
          <p:cNvPr id="18" name="Straight Connector 17">
            <a:extLst>
              <a:ext uri="{FF2B5EF4-FFF2-40B4-BE49-F238E27FC236}">
                <a16:creationId xmlns:a16="http://schemas.microsoft.com/office/drawing/2014/main" id="{22562281-B30E-9068-35AC-0DB00C2D248A}"/>
              </a:ext>
            </a:extLst>
          </p:cNvPr>
          <p:cNvCxnSpPr>
            <a:cxnSpLocks/>
          </p:cNvCxnSpPr>
          <p:nvPr/>
        </p:nvCxnSpPr>
        <p:spPr bwMode="auto">
          <a:xfrm>
            <a:off x="1292322" y="3119521"/>
            <a:ext cx="0" cy="130156"/>
          </a:xfrm>
          <a:prstGeom prst="line">
            <a:avLst/>
          </a:prstGeom>
          <a:solidFill>
            <a:schemeClr val="accent1"/>
          </a:solidFill>
          <a:ln w="25400" cap="flat" cmpd="sng" algn="ctr">
            <a:solidFill>
              <a:schemeClr val="tx1"/>
            </a:solidFill>
            <a:prstDash val="solid"/>
            <a:round/>
            <a:headEnd type="none" w="med" len="med"/>
            <a:tailEnd type="none" w="med" len="med"/>
          </a:ln>
          <a:effectLst/>
        </p:spPr>
      </p:cxnSp>
      <p:cxnSp>
        <p:nvCxnSpPr>
          <p:cNvPr id="21" name="Straight Connector 20">
            <a:extLst>
              <a:ext uri="{FF2B5EF4-FFF2-40B4-BE49-F238E27FC236}">
                <a16:creationId xmlns:a16="http://schemas.microsoft.com/office/drawing/2014/main" id="{2FC4DFEA-64B2-6846-6364-51B43642F911}"/>
              </a:ext>
            </a:extLst>
          </p:cNvPr>
          <p:cNvCxnSpPr>
            <a:cxnSpLocks/>
          </p:cNvCxnSpPr>
          <p:nvPr/>
        </p:nvCxnSpPr>
        <p:spPr bwMode="auto">
          <a:xfrm>
            <a:off x="4013114" y="3127554"/>
            <a:ext cx="0" cy="130156"/>
          </a:xfrm>
          <a:prstGeom prst="line">
            <a:avLst/>
          </a:prstGeom>
          <a:solidFill>
            <a:schemeClr val="accent1"/>
          </a:solidFill>
          <a:ln w="25400" cap="flat" cmpd="sng" algn="ctr">
            <a:solidFill>
              <a:schemeClr val="tx1"/>
            </a:solidFill>
            <a:prstDash val="solid"/>
            <a:round/>
            <a:headEnd type="none" w="med" len="med"/>
            <a:tailEnd type="none" w="med" len="med"/>
          </a:ln>
          <a:effectLst/>
        </p:spPr>
      </p:cxnSp>
      <p:sp>
        <p:nvSpPr>
          <p:cNvPr id="22" name="TextBox 21">
            <a:extLst>
              <a:ext uri="{FF2B5EF4-FFF2-40B4-BE49-F238E27FC236}">
                <a16:creationId xmlns:a16="http://schemas.microsoft.com/office/drawing/2014/main" id="{E4BA286E-BD35-2BF2-91DE-962200F44419}"/>
              </a:ext>
            </a:extLst>
          </p:cNvPr>
          <p:cNvSpPr txBox="1"/>
          <p:nvPr/>
        </p:nvSpPr>
        <p:spPr>
          <a:xfrm>
            <a:off x="3358467" y="3205900"/>
            <a:ext cx="923447" cy="276999"/>
          </a:xfrm>
          <a:prstGeom prst="rect">
            <a:avLst/>
          </a:prstGeom>
          <a:noFill/>
        </p:spPr>
        <p:txBody>
          <a:bodyPr wrap="none" rtlCol="0">
            <a:spAutoFit/>
          </a:bodyPr>
          <a:lstStyle/>
          <a:p>
            <a:r>
              <a:rPr lang="en-US" sz="1200" i="1" dirty="0"/>
              <a:t>paclitaxel</a:t>
            </a:r>
          </a:p>
        </p:txBody>
      </p:sp>
      <p:sp>
        <p:nvSpPr>
          <p:cNvPr id="24" name="TextBox 23">
            <a:extLst>
              <a:ext uri="{FF2B5EF4-FFF2-40B4-BE49-F238E27FC236}">
                <a16:creationId xmlns:a16="http://schemas.microsoft.com/office/drawing/2014/main" id="{6EBF1EF6-DFB7-27B3-8F4C-BF033B29EDB1}"/>
              </a:ext>
            </a:extLst>
          </p:cNvPr>
          <p:cNvSpPr txBox="1"/>
          <p:nvPr/>
        </p:nvSpPr>
        <p:spPr>
          <a:xfrm>
            <a:off x="4470815" y="3908419"/>
            <a:ext cx="1171764" cy="276999"/>
          </a:xfrm>
          <a:prstGeom prst="rect">
            <a:avLst/>
          </a:prstGeom>
          <a:noFill/>
        </p:spPr>
        <p:txBody>
          <a:bodyPr wrap="none" rtlCol="0">
            <a:spAutoFit/>
          </a:bodyPr>
          <a:lstStyle/>
          <a:p>
            <a:r>
              <a:rPr lang="en-US" sz="1200" i="1" dirty="0"/>
              <a:t>capecitabine</a:t>
            </a:r>
          </a:p>
        </p:txBody>
      </p:sp>
      <p:sp>
        <p:nvSpPr>
          <p:cNvPr id="26" name="TextBox 25">
            <a:extLst>
              <a:ext uri="{FF2B5EF4-FFF2-40B4-BE49-F238E27FC236}">
                <a16:creationId xmlns:a16="http://schemas.microsoft.com/office/drawing/2014/main" id="{E2FF6BDC-6E45-3527-1E88-3A6D9470DEC4}"/>
              </a:ext>
            </a:extLst>
          </p:cNvPr>
          <p:cNvSpPr txBox="1"/>
          <p:nvPr/>
        </p:nvSpPr>
        <p:spPr>
          <a:xfrm>
            <a:off x="5134824" y="3677545"/>
            <a:ext cx="1133976" cy="276999"/>
          </a:xfrm>
          <a:prstGeom prst="rect">
            <a:avLst/>
          </a:prstGeom>
          <a:noFill/>
        </p:spPr>
        <p:txBody>
          <a:bodyPr wrap="none" rtlCol="0">
            <a:spAutoFit/>
          </a:bodyPr>
          <a:lstStyle/>
          <a:p>
            <a:r>
              <a:rPr lang="en-US" sz="1200" i="1" dirty="0"/>
              <a:t>gemcitabine</a:t>
            </a:r>
          </a:p>
        </p:txBody>
      </p:sp>
      <p:sp>
        <p:nvSpPr>
          <p:cNvPr id="33" name="TextBox 32">
            <a:extLst>
              <a:ext uri="{FF2B5EF4-FFF2-40B4-BE49-F238E27FC236}">
                <a16:creationId xmlns:a16="http://schemas.microsoft.com/office/drawing/2014/main" id="{C350C5F5-2295-EDA1-6045-015CA3A7EE14}"/>
              </a:ext>
            </a:extLst>
          </p:cNvPr>
          <p:cNvSpPr txBox="1"/>
          <p:nvPr/>
        </p:nvSpPr>
        <p:spPr>
          <a:xfrm>
            <a:off x="5381630" y="3446670"/>
            <a:ext cx="1267131" cy="276999"/>
          </a:xfrm>
          <a:prstGeom prst="rect">
            <a:avLst/>
          </a:prstGeom>
          <a:noFill/>
        </p:spPr>
        <p:txBody>
          <a:bodyPr wrap="none" rtlCol="0">
            <a:spAutoFit/>
          </a:bodyPr>
          <a:lstStyle/>
          <a:p>
            <a:r>
              <a:rPr lang="en-US" sz="1200" i="1" dirty="0"/>
              <a:t>nab-paclitaxel</a:t>
            </a:r>
          </a:p>
        </p:txBody>
      </p:sp>
      <p:sp>
        <p:nvSpPr>
          <p:cNvPr id="37" name="TextBox 36">
            <a:extLst>
              <a:ext uri="{FF2B5EF4-FFF2-40B4-BE49-F238E27FC236}">
                <a16:creationId xmlns:a16="http://schemas.microsoft.com/office/drawing/2014/main" id="{6C4B88C3-876B-1E2C-E28B-67A1D352762B}"/>
              </a:ext>
            </a:extLst>
          </p:cNvPr>
          <p:cNvSpPr txBox="1"/>
          <p:nvPr/>
        </p:nvSpPr>
        <p:spPr>
          <a:xfrm>
            <a:off x="5525581" y="3215795"/>
            <a:ext cx="1074596" cy="276999"/>
          </a:xfrm>
          <a:prstGeom prst="rect">
            <a:avLst/>
          </a:prstGeom>
          <a:noFill/>
        </p:spPr>
        <p:txBody>
          <a:bodyPr wrap="none" rtlCol="0">
            <a:spAutoFit/>
          </a:bodyPr>
          <a:lstStyle/>
          <a:p>
            <a:r>
              <a:rPr lang="en-US" sz="1200" i="1" dirty="0"/>
              <a:t>ixabepilone</a:t>
            </a:r>
          </a:p>
        </p:txBody>
      </p:sp>
      <p:sp>
        <p:nvSpPr>
          <p:cNvPr id="42" name="TextBox 41">
            <a:extLst>
              <a:ext uri="{FF2B5EF4-FFF2-40B4-BE49-F238E27FC236}">
                <a16:creationId xmlns:a16="http://schemas.microsoft.com/office/drawing/2014/main" id="{CC81BD11-FF81-6803-2920-3D3194F3ABD6}"/>
              </a:ext>
            </a:extLst>
          </p:cNvPr>
          <p:cNvSpPr txBox="1"/>
          <p:nvPr/>
        </p:nvSpPr>
        <p:spPr>
          <a:xfrm>
            <a:off x="6528332" y="3205900"/>
            <a:ext cx="759703" cy="276999"/>
          </a:xfrm>
          <a:prstGeom prst="rect">
            <a:avLst/>
          </a:prstGeom>
          <a:noFill/>
        </p:spPr>
        <p:txBody>
          <a:bodyPr wrap="none" rtlCol="0">
            <a:spAutoFit/>
          </a:bodyPr>
          <a:lstStyle/>
          <a:p>
            <a:r>
              <a:rPr lang="en-US" sz="1200" i="1" dirty="0" err="1"/>
              <a:t>eribulin</a:t>
            </a:r>
            <a:endParaRPr lang="en-US" sz="1200" i="1" dirty="0"/>
          </a:p>
        </p:txBody>
      </p:sp>
      <p:cxnSp>
        <p:nvCxnSpPr>
          <p:cNvPr id="48" name="Straight Connector 47">
            <a:extLst>
              <a:ext uri="{FF2B5EF4-FFF2-40B4-BE49-F238E27FC236}">
                <a16:creationId xmlns:a16="http://schemas.microsoft.com/office/drawing/2014/main" id="{ACA5ED28-C26A-B981-D49B-40A4E538D7D1}"/>
              </a:ext>
            </a:extLst>
          </p:cNvPr>
          <p:cNvCxnSpPr>
            <a:cxnSpLocks/>
          </p:cNvCxnSpPr>
          <p:nvPr/>
        </p:nvCxnSpPr>
        <p:spPr bwMode="auto">
          <a:xfrm flipH="1">
            <a:off x="4751412" y="2913851"/>
            <a:ext cx="13633" cy="113349"/>
          </a:xfrm>
          <a:prstGeom prst="line">
            <a:avLst/>
          </a:prstGeom>
          <a:solidFill>
            <a:schemeClr val="accent1"/>
          </a:solidFill>
          <a:ln w="25400" cap="flat" cmpd="sng" algn="ctr">
            <a:solidFill>
              <a:schemeClr val="tx1"/>
            </a:solidFill>
            <a:prstDash val="solid"/>
            <a:round/>
            <a:headEnd type="none" w="med" len="med"/>
            <a:tailEnd type="none" w="med" len="med"/>
          </a:ln>
          <a:effectLst/>
        </p:spPr>
      </p:cxnSp>
      <p:cxnSp>
        <p:nvCxnSpPr>
          <p:cNvPr id="59" name="Straight Connector 58">
            <a:extLst>
              <a:ext uri="{FF2B5EF4-FFF2-40B4-BE49-F238E27FC236}">
                <a16:creationId xmlns:a16="http://schemas.microsoft.com/office/drawing/2014/main" id="{7F1DC060-CA1A-6DCE-07A2-EEDDDB19C1DE}"/>
              </a:ext>
            </a:extLst>
          </p:cNvPr>
          <p:cNvCxnSpPr>
            <a:cxnSpLocks/>
          </p:cNvCxnSpPr>
          <p:nvPr/>
        </p:nvCxnSpPr>
        <p:spPr bwMode="auto">
          <a:xfrm>
            <a:off x="6824879" y="3151271"/>
            <a:ext cx="0" cy="130156"/>
          </a:xfrm>
          <a:prstGeom prst="line">
            <a:avLst/>
          </a:prstGeom>
          <a:solidFill>
            <a:schemeClr val="accent1"/>
          </a:solidFill>
          <a:ln w="25400" cap="flat" cmpd="sng" algn="ctr">
            <a:solidFill>
              <a:schemeClr val="tx1"/>
            </a:solidFill>
            <a:prstDash val="solid"/>
            <a:round/>
            <a:headEnd type="none" w="med" len="med"/>
            <a:tailEnd type="none" w="med" len="med"/>
          </a:ln>
          <a:effectLst/>
        </p:spPr>
      </p:cxnSp>
      <p:sp>
        <p:nvSpPr>
          <p:cNvPr id="65" name="TextBox 64">
            <a:extLst>
              <a:ext uri="{FF2B5EF4-FFF2-40B4-BE49-F238E27FC236}">
                <a16:creationId xmlns:a16="http://schemas.microsoft.com/office/drawing/2014/main" id="{C9FABF94-AF65-C22C-FE66-287F341AEEF8}"/>
              </a:ext>
            </a:extLst>
          </p:cNvPr>
          <p:cNvSpPr txBox="1"/>
          <p:nvPr/>
        </p:nvSpPr>
        <p:spPr>
          <a:xfrm>
            <a:off x="-16635" y="3822653"/>
            <a:ext cx="1228221" cy="461665"/>
          </a:xfrm>
          <a:prstGeom prst="rect">
            <a:avLst/>
          </a:prstGeom>
          <a:noFill/>
        </p:spPr>
        <p:txBody>
          <a:bodyPr wrap="none" rtlCol="0">
            <a:spAutoFit/>
          </a:bodyPr>
          <a:lstStyle/>
          <a:p>
            <a:r>
              <a:rPr lang="en-US" b="1" dirty="0">
                <a:solidFill>
                  <a:srgbClr val="FF9900"/>
                </a:solidFill>
              </a:rPr>
              <a:t>Chemo</a:t>
            </a:r>
          </a:p>
        </p:txBody>
      </p:sp>
      <p:grpSp>
        <p:nvGrpSpPr>
          <p:cNvPr id="67" name="Group 66">
            <a:extLst>
              <a:ext uri="{FF2B5EF4-FFF2-40B4-BE49-F238E27FC236}">
                <a16:creationId xmlns:a16="http://schemas.microsoft.com/office/drawing/2014/main" id="{53E6FA5F-62CD-4D1C-8236-9B045B02C719}"/>
              </a:ext>
            </a:extLst>
          </p:cNvPr>
          <p:cNvGrpSpPr/>
          <p:nvPr/>
        </p:nvGrpSpPr>
        <p:grpSpPr>
          <a:xfrm>
            <a:off x="502688" y="2927347"/>
            <a:ext cx="8214592" cy="322330"/>
            <a:chOff x="502688" y="2927347"/>
            <a:chExt cx="8214592" cy="322330"/>
          </a:xfrm>
        </p:grpSpPr>
        <p:cxnSp>
          <p:nvCxnSpPr>
            <p:cNvPr id="5" name="Straight Arrow Connector 4">
              <a:extLst>
                <a:ext uri="{FF2B5EF4-FFF2-40B4-BE49-F238E27FC236}">
                  <a16:creationId xmlns:a16="http://schemas.microsoft.com/office/drawing/2014/main" id="{31322101-A48B-A78C-941B-15614EF8441B}"/>
                </a:ext>
              </a:extLst>
            </p:cNvPr>
            <p:cNvCxnSpPr>
              <a:cxnSpLocks/>
            </p:cNvCxnSpPr>
            <p:nvPr/>
          </p:nvCxnSpPr>
          <p:spPr bwMode="auto">
            <a:xfrm>
              <a:off x="593343" y="3095314"/>
              <a:ext cx="8123937" cy="0"/>
            </a:xfrm>
            <a:prstGeom prst="straightConnector1">
              <a:avLst/>
            </a:prstGeom>
            <a:solidFill>
              <a:schemeClr val="accent1"/>
            </a:solidFill>
            <a:ln w="190500" cap="flat" cmpd="sng" algn="ctr">
              <a:solidFill>
                <a:srgbClr val="FF0000"/>
              </a:solidFill>
              <a:prstDash val="solid"/>
              <a:round/>
              <a:headEnd type="none" w="med" len="med"/>
              <a:tailEnd type="triangle"/>
            </a:ln>
            <a:effectLst/>
          </p:spPr>
        </p:cxnSp>
        <p:sp>
          <p:nvSpPr>
            <p:cNvPr id="7" name="TextBox 6">
              <a:extLst>
                <a:ext uri="{FF2B5EF4-FFF2-40B4-BE49-F238E27FC236}">
                  <a16:creationId xmlns:a16="http://schemas.microsoft.com/office/drawing/2014/main" id="{05EB659C-2F72-8C17-20AE-D635F4CEA20E}"/>
                </a:ext>
              </a:extLst>
            </p:cNvPr>
            <p:cNvSpPr txBox="1"/>
            <p:nvPr/>
          </p:nvSpPr>
          <p:spPr>
            <a:xfrm>
              <a:off x="1853729" y="2935049"/>
              <a:ext cx="765101" cy="307777"/>
            </a:xfrm>
            <a:prstGeom prst="rect">
              <a:avLst/>
            </a:prstGeom>
            <a:noFill/>
          </p:spPr>
          <p:txBody>
            <a:bodyPr wrap="none" rtlCol="0">
              <a:spAutoFit/>
            </a:bodyPr>
            <a:lstStyle/>
            <a:p>
              <a:r>
                <a:rPr lang="en-US" sz="1400" b="1" dirty="0">
                  <a:solidFill>
                    <a:schemeClr val="bg1"/>
                  </a:solidFill>
                </a:rPr>
                <a:t>1980s</a:t>
              </a:r>
            </a:p>
          </p:txBody>
        </p:sp>
        <p:sp>
          <p:nvSpPr>
            <p:cNvPr id="10" name="TextBox 9">
              <a:extLst>
                <a:ext uri="{FF2B5EF4-FFF2-40B4-BE49-F238E27FC236}">
                  <a16:creationId xmlns:a16="http://schemas.microsoft.com/office/drawing/2014/main" id="{70F65300-9FA7-5687-C0BC-750D575F3ADD}"/>
                </a:ext>
              </a:extLst>
            </p:cNvPr>
            <p:cNvSpPr txBox="1"/>
            <p:nvPr/>
          </p:nvSpPr>
          <p:spPr>
            <a:xfrm>
              <a:off x="502688" y="2927348"/>
              <a:ext cx="765101" cy="307777"/>
            </a:xfrm>
            <a:prstGeom prst="rect">
              <a:avLst/>
            </a:prstGeom>
            <a:noFill/>
          </p:spPr>
          <p:txBody>
            <a:bodyPr wrap="none" rtlCol="0">
              <a:spAutoFit/>
            </a:bodyPr>
            <a:lstStyle/>
            <a:p>
              <a:r>
                <a:rPr lang="en-US" sz="1400" b="1" dirty="0">
                  <a:solidFill>
                    <a:schemeClr val="bg1"/>
                  </a:solidFill>
                </a:rPr>
                <a:t>1970s</a:t>
              </a:r>
            </a:p>
          </p:txBody>
        </p:sp>
        <p:sp>
          <p:nvSpPr>
            <p:cNvPr id="11" name="TextBox 10">
              <a:extLst>
                <a:ext uri="{FF2B5EF4-FFF2-40B4-BE49-F238E27FC236}">
                  <a16:creationId xmlns:a16="http://schemas.microsoft.com/office/drawing/2014/main" id="{5569D581-1502-5E23-4B59-F73AF3C7664A}"/>
                </a:ext>
              </a:extLst>
            </p:cNvPr>
            <p:cNvSpPr txBox="1"/>
            <p:nvPr/>
          </p:nvSpPr>
          <p:spPr>
            <a:xfrm>
              <a:off x="3204770" y="2927347"/>
              <a:ext cx="765101" cy="307777"/>
            </a:xfrm>
            <a:prstGeom prst="rect">
              <a:avLst/>
            </a:prstGeom>
            <a:noFill/>
          </p:spPr>
          <p:txBody>
            <a:bodyPr wrap="none" rtlCol="0">
              <a:spAutoFit/>
            </a:bodyPr>
            <a:lstStyle/>
            <a:p>
              <a:r>
                <a:rPr lang="en-US" sz="1400" b="1" dirty="0">
                  <a:solidFill>
                    <a:schemeClr val="bg1"/>
                  </a:solidFill>
                </a:rPr>
                <a:t>1990s</a:t>
              </a:r>
            </a:p>
          </p:txBody>
        </p:sp>
        <p:sp>
          <p:nvSpPr>
            <p:cNvPr id="12" name="TextBox 11">
              <a:extLst>
                <a:ext uri="{FF2B5EF4-FFF2-40B4-BE49-F238E27FC236}">
                  <a16:creationId xmlns:a16="http://schemas.microsoft.com/office/drawing/2014/main" id="{276C369E-4CE1-1DEF-DDAD-CA7E79C1608C}"/>
                </a:ext>
              </a:extLst>
            </p:cNvPr>
            <p:cNvSpPr txBox="1"/>
            <p:nvPr/>
          </p:nvSpPr>
          <p:spPr>
            <a:xfrm>
              <a:off x="4555812" y="2927347"/>
              <a:ext cx="765101" cy="307777"/>
            </a:xfrm>
            <a:prstGeom prst="rect">
              <a:avLst/>
            </a:prstGeom>
            <a:noFill/>
          </p:spPr>
          <p:txBody>
            <a:bodyPr wrap="none" rtlCol="0">
              <a:spAutoFit/>
            </a:bodyPr>
            <a:lstStyle/>
            <a:p>
              <a:r>
                <a:rPr lang="en-US" sz="1400" b="1" dirty="0">
                  <a:solidFill>
                    <a:schemeClr val="bg1"/>
                  </a:solidFill>
                </a:rPr>
                <a:t>2000s</a:t>
              </a:r>
            </a:p>
          </p:txBody>
        </p:sp>
        <p:sp>
          <p:nvSpPr>
            <p:cNvPr id="13" name="TextBox 12">
              <a:extLst>
                <a:ext uri="{FF2B5EF4-FFF2-40B4-BE49-F238E27FC236}">
                  <a16:creationId xmlns:a16="http://schemas.microsoft.com/office/drawing/2014/main" id="{F0BC80C3-42AE-9086-7156-71311DE33045}"/>
                </a:ext>
              </a:extLst>
            </p:cNvPr>
            <p:cNvSpPr txBox="1"/>
            <p:nvPr/>
          </p:nvSpPr>
          <p:spPr>
            <a:xfrm>
              <a:off x="5906853" y="2941900"/>
              <a:ext cx="765101" cy="307777"/>
            </a:xfrm>
            <a:prstGeom prst="rect">
              <a:avLst/>
            </a:prstGeom>
            <a:noFill/>
          </p:spPr>
          <p:txBody>
            <a:bodyPr wrap="none" rtlCol="0">
              <a:spAutoFit/>
            </a:bodyPr>
            <a:lstStyle/>
            <a:p>
              <a:r>
                <a:rPr lang="en-US" sz="1400" b="1" dirty="0">
                  <a:solidFill>
                    <a:schemeClr val="bg1"/>
                  </a:solidFill>
                </a:rPr>
                <a:t>2010s</a:t>
              </a:r>
            </a:p>
          </p:txBody>
        </p:sp>
        <p:sp>
          <p:nvSpPr>
            <p:cNvPr id="14" name="TextBox 13">
              <a:extLst>
                <a:ext uri="{FF2B5EF4-FFF2-40B4-BE49-F238E27FC236}">
                  <a16:creationId xmlns:a16="http://schemas.microsoft.com/office/drawing/2014/main" id="{E7876E31-8037-E8A6-4A4A-C16863F1DE35}"/>
                </a:ext>
              </a:extLst>
            </p:cNvPr>
            <p:cNvSpPr txBox="1"/>
            <p:nvPr/>
          </p:nvSpPr>
          <p:spPr>
            <a:xfrm>
              <a:off x="7257896" y="2941900"/>
              <a:ext cx="765101" cy="307777"/>
            </a:xfrm>
            <a:prstGeom prst="rect">
              <a:avLst/>
            </a:prstGeom>
            <a:noFill/>
          </p:spPr>
          <p:txBody>
            <a:bodyPr wrap="none" rtlCol="0">
              <a:spAutoFit/>
            </a:bodyPr>
            <a:lstStyle/>
            <a:p>
              <a:r>
                <a:rPr lang="en-US" sz="1400" b="1" dirty="0">
                  <a:solidFill>
                    <a:schemeClr val="bg1"/>
                  </a:solidFill>
                </a:rPr>
                <a:t>2020s</a:t>
              </a:r>
            </a:p>
          </p:txBody>
        </p:sp>
      </p:grpSp>
      <p:sp>
        <p:nvSpPr>
          <p:cNvPr id="68" name="TextBox 67">
            <a:extLst>
              <a:ext uri="{FF2B5EF4-FFF2-40B4-BE49-F238E27FC236}">
                <a16:creationId xmlns:a16="http://schemas.microsoft.com/office/drawing/2014/main" id="{4DED9BE0-3837-8879-97FE-FD174754A39C}"/>
              </a:ext>
            </a:extLst>
          </p:cNvPr>
          <p:cNvSpPr txBox="1"/>
          <p:nvPr/>
        </p:nvSpPr>
        <p:spPr>
          <a:xfrm>
            <a:off x="-16635" y="2233439"/>
            <a:ext cx="1461875" cy="461665"/>
          </a:xfrm>
          <a:prstGeom prst="rect">
            <a:avLst/>
          </a:prstGeom>
          <a:noFill/>
        </p:spPr>
        <p:txBody>
          <a:bodyPr wrap="none" rtlCol="0">
            <a:spAutoFit/>
          </a:bodyPr>
          <a:lstStyle/>
          <a:p>
            <a:r>
              <a:rPr lang="en-US" b="1" dirty="0">
                <a:solidFill>
                  <a:srgbClr val="00B050"/>
                </a:solidFill>
              </a:rPr>
              <a:t>Targeted</a:t>
            </a:r>
          </a:p>
        </p:txBody>
      </p:sp>
      <p:sp>
        <p:nvSpPr>
          <p:cNvPr id="70" name="TextBox 69">
            <a:extLst>
              <a:ext uri="{FF2B5EF4-FFF2-40B4-BE49-F238E27FC236}">
                <a16:creationId xmlns:a16="http://schemas.microsoft.com/office/drawing/2014/main" id="{8F48A010-BA33-0506-AB57-2223FE447CDA}"/>
              </a:ext>
            </a:extLst>
          </p:cNvPr>
          <p:cNvSpPr txBox="1"/>
          <p:nvPr/>
        </p:nvSpPr>
        <p:spPr>
          <a:xfrm>
            <a:off x="-16635" y="1278459"/>
            <a:ext cx="1024639" cy="461665"/>
          </a:xfrm>
          <a:prstGeom prst="rect">
            <a:avLst/>
          </a:prstGeom>
          <a:noFill/>
        </p:spPr>
        <p:txBody>
          <a:bodyPr wrap="none" rtlCol="0">
            <a:spAutoFit/>
          </a:bodyPr>
          <a:lstStyle/>
          <a:p>
            <a:r>
              <a:rPr lang="en-US" b="1" dirty="0">
                <a:solidFill>
                  <a:srgbClr val="0070C0"/>
                </a:solidFill>
              </a:rPr>
              <a:t>ADCs</a:t>
            </a:r>
          </a:p>
        </p:txBody>
      </p:sp>
      <p:sp>
        <p:nvSpPr>
          <p:cNvPr id="72" name="TextBox 71">
            <a:extLst>
              <a:ext uri="{FF2B5EF4-FFF2-40B4-BE49-F238E27FC236}">
                <a16:creationId xmlns:a16="http://schemas.microsoft.com/office/drawing/2014/main" id="{4167A9D0-BBF5-F9CE-DA51-A6FD96407559}"/>
              </a:ext>
            </a:extLst>
          </p:cNvPr>
          <p:cNvSpPr txBox="1"/>
          <p:nvPr/>
        </p:nvSpPr>
        <p:spPr>
          <a:xfrm>
            <a:off x="-16635" y="818476"/>
            <a:ext cx="2492990" cy="461665"/>
          </a:xfrm>
          <a:prstGeom prst="rect">
            <a:avLst/>
          </a:prstGeom>
          <a:noFill/>
        </p:spPr>
        <p:txBody>
          <a:bodyPr wrap="none" rtlCol="0">
            <a:spAutoFit/>
          </a:bodyPr>
          <a:lstStyle/>
          <a:p>
            <a:r>
              <a:rPr lang="en-US" b="1" dirty="0">
                <a:solidFill>
                  <a:srgbClr val="7030A0"/>
                </a:solidFill>
              </a:rPr>
              <a:t>Immunotherapy</a:t>
            </a:r>
          </a:p>
        </p:txBody>
      </p:sp>
      <p:sp>
        <p:nvSpPr>
          <p:cNvPr id="73" name="TextBox 72">
            <a:extLst>
              <a:ext uri="{FF2B5EF4-FFF2-40B4-BE49-F238E27FC236}">
                <a16:creationId xmlns:a16="http://schemas.microsoft.com/office/drawing/2014/main" id="{7B06563D-F0A9-293A-1B0B-6D25085E1565}"/>
              </a:ext>
            </a:extLst>
          </p:cNvPr>
          <p:cNvSpPr txBox="1"/>
          <p:nvPr/>
        </p:nvSpPr>
        <p:spPr>
          <a:xfrm>
            <a:off x="6736162" y="1885518"/>
            <a:ext cx="625299" cy="276999"/>
          </a:xfrm>
          <a:prstGeom prst="rect">
            <a:avLst/>
          </a:prstGeom>
          <a:noFill/>
        </p:spPr>
        <p:txBody>
          <a:bodyPr wrap="none" rtlCol="0">
            <a:spAutoFit/>
          </a:bodyPr>
          <a:lstStyle/>
          <a:p>
            <a:r>
              <a:rPr lang="en-US" sz="1200" i="1" dirty="0" err="1"/>
              <a:t>PARPi</a:t>
            </a:r>
            <a:endParaRPr lang="en-US" sz="1200" i="1" dirty="0"/>
          </a:p>
        </p:txBody>
      </p:sp>
      <p:sp>
        <p:nvSpPr>
          <p:cNvPr id="74" name="TextBox 73">
            <a:extLst>
              <a:ext uri="{FF2B5EF4-FFF2-40B4-BE49-F238E27FC236}">
                <a16:creationId xmlns:a16="http://schemas.microsoft.com/office/drawing/2014/main" id="{936A5F88-131D-A099-0FD6-B740C6192F8F}"/>
              </a:ext>
            </a:extLst>
          </p:cNvPr>
          <p:cNvSpPr txBox="1"/>
          <p:nvPr/>
        </p:nvSpPr>
        <p:spPr>
          <a:xfrm>
            <a:off x="6063126" y="1893006"/>
            <a:ext cx="755335" cy="276999"/>
          </a:xfrm>
          <a:prstGeom prst="rect">
            <a:avLst/>
          </a:prstGeom>
          <a:noFill/>
        </p:spPr>
        <p:txBody>
          <a:bodyPr wrap="none" rtlCol="0">
            <a:spAutoFit/>
          </a:bodyPr>
          <a:lstStyle/>
          <a:p>
            <a:r>
              <a:rPr lang="en-US" sz="1200" i="1" dirty="0"/>
              <a:t>CDK4/6i</a:t>
            </a:r>
          </a:p>
        </p:txBody>
      </p:sp>
      <p:sp>
        <p:nvSpPr>
          <p:cNvPr id="3" name="TextBox 2">
            <a:extLst>
              <a:ext uri="{FF2B5EF4-FFF2-40B4-BE49-F238E27FC236}">
                <a16:creationId xmlns:a16="http://schemas.microsoft.com/office/drawing/2014/main" id="{F3790B4D-43CC-C529-7AD0-804E40011447}"/>
              </a:ext>
            </a:extLst>
          </p:cNvPr>
          <p:cNvSpPr txBox="1"/>
          <p:nvPr/>
        </p:nvSpPr>
        <p:spPr>
          <a:xfrm>
            <a:off x="-16635" y="1771774"/>
            <a:ext cx="2457724" cy="461665"/>
          </a:xfrm>
          <a:prstGeom prst="rect">
            <a:avLst/>
          </a:prstGeom>
          <a:noFill/>
        </p:spPr>
        <p:txBody>
          <a:bodyPr wrap="none" rtlCol="0">
            <a:spAutoFit/>
          </a:bodyPr>
          <a:lstStyle/>
          <a:p>
            <a:r>
              <a:rPr lang="en-US" b="1" dirty="0">
                <a:solidFill>
                  <a:srgbClr val="FF6600"/>
                </a:solidFill>
              </a:rPr>
              <a:t>Synthetic lethal</a:t>
            </a:r>
          </a:p>
        </p:txBody>
      </p:sp>
    </p:spTree>
    <p:extLst>
      <p:ext uri="{BB962C8B-B14F-4D97-AF65-F5344CB8AC3E}">
        <p14:creationId xmlns:p14="http://schemas.microsoft.com/office/powerpoint/2010/main" val="152586041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0" y="127465"/>
            <a:ext cx="9144000" cy="807256"/>
          </a:xfrm>
        </p:spPr>
        <p:txBody>
          <a:bodyPr/>
          <a:lstStyle/>
          <a:p>
            <a:r>
              <a:rPr lang="en-US" b="1" dirty="0"/>
              <a:t>Adjuvant CDK 4/6 trials</a:t>
            </a:r>
          </a:p>
        </p:txBody>
      </p:sp>
      <p:graphicFrame>
        <p:nvGraphicFramePr>
          <p:cNvPr id="3" name="Table 8">
            <a:extLst>
              <a:ext uri="{FF2B5EF4-FFF2-40B4-BE49-F238E27FC236}">
                <a16:creationId xmlns:a16="http://schemas.microsoft.com/office/drawing/2014/main" id="{8B64E9CA-F316-F1AE-3D16-863F45BC8EAC}"/>
              </a:ext>
            </a:extLst>
          </p:cNvPr>
          <p:cNvGraphicFramePr>
            <a:graphicFrameLocks noGrp="1"/>
          </p:cNvGraphicFramePr>
          <p:nvPr>
            <p:extLst>
              <p:ext uri="{D42A27DB-BD31-4B8C-83A1-F6EECF244321}">
                <p14:modId xmlns:p14="http://schemas.microsoft.com/office/powerpoint/2010/main" val="3319188259"/>
              </p:ext>
            </p:extLst>
          </p:nvPr>
        </p:nvGraphicFramePr>
        <p:xfrm>
          <a:off x="442453" y="1065636"/>
          <a:ext cx="8047645" cy="3016725"/>
        </p:xfrm>
        <a:graphic>
          <a:graphicData uri="http://schemas.openxmlformats.org/drawingml/2006/table">
            <a:tbl>
              <a:tblPr firstRow="1" bandRow="1">
                <a:tableStyleId>{5C22544A-7EE6-4342-B048-85BDC9FD1C3A}</a:tableStyleId>
              </a:tblPr>
              <a:tblGrid>
                <a:gridCol w="958644">
                  <a:extLst>
                    <a:ext uri="{9D8B030D-6E8A-4147-A177-3AD203B41FA5}">
                      <a16:colId xmlns:a16="http://schemas.microsoft.com/office/drawing/2014/main" val="1778503661"/>
                    </a:ext>
                  </a:extLst>
                </a:gridCol>
                <a:gridCol w="1369946">
                  <a:extLst>
                    <a:ext uri="{9D8B030D-6E8A-4147-A177-3AD203B41FA5}">
                      <a16:colId xmlns:a16="http://schemas.microsoft.com/office/drawing/2014/main" val="4004388212"/>
                    </a:ext>
                  </a:extLst>
                </a:gridCol>
                <a:gridCol w="1778783">
                  <a:extLst>
                    <a:ext uri="{9D8B030D-6E8A-4147-A177-3AD203B41FA5}">
                      <a16:colId xmlns:a16="http://schemas.microsoft.com/office/drawing/2014/main" val="3213007259"/>
                    </a:ext>
                  </a:extLst>
                </a:gridCol>
                <a:gridCol w="1068454">
                  <a:extLst>
                    <a:ext uri="{9D8B030D-6E8A-4147-A177-3AD203B41FA5}">
                      <a16:colId xmlns:a16="http://schemas.microsoft.com/office/drawing/2014/main" val="3525355083"/>
                    </a:ext>
                  </a:extLst>
                </a:gridCol>
                <a:gridCol w="753451">
                  <a:extLst>
                    <a:ext uri="{9D8B030D-6E8A-4147-A177-3AD203B41FA5}">
                      <a16:colId xmlns:a16="http://schemas.microsoft.com/office/drawing/2014/main" val="692742714"/>
                    </a:ext>
                  </a:extLst>
                </a:gridCol>
                <a:gridCol w="991806">
                  <a:extLst>
                    <a:ext uri="{9D8B030D-6E8A-4147-A177-3AD203B41FA5}">
                      <a16:colId xmlns:a16="http://schemas.microsoft.com/office/drawing/2014/main" val="3453340847"/>
                    </a:ext>
                  </a:extLst>
                </a:gridCol>
                <a:gridCol w="1126561">
                  <a:extLst>
                    <a:ext uri="{9D8B030D-6E8A-4147-A177-3AD203B41FA5}">
                      <a16:colId xmlns:a16="http://schemas.microsoft.com/office/drawing/2014/main" val="3225857704"/>
                    </a:ext>
                  </a:extLst>
                </a:gridCol>
              </a:tblGrid>
              <a:tr h="249697">
                <a:tc>
                  <a:txBody>
                    <a:bodyPr/>
                    <a:lstStyle/>
                    <a:p>
                      <a:r>
                        <a:rPr lang="en-US" sz="1200" dirty="0">
                          <a:solidFill>
                            <a:schemeClr val="tx1"/>
                          </a:solidFill>
                        </a:rPr>
                        <a:t>Trial</a:t>
                      </a:r>
                    </a:p>
                  </a:txBody>
                  <a:tcPr/>
                </a:tc>
                <a:tc>
                  <a:txBody>
                    <a:bodyPr/>
                    <a:lstStyle/>
                    <a:p>
                      <a:r>
                        <a:rPr lang="en-US" sz="1200" dirty="0">
                          <a:solidFill>
                            <a:schemeClr val="tx1"/>
                          </a:solidFill>
                        </a:rPr>
                        <a:t>Population</a:t>
                      </a:r>
                    </a:p>
                  </a:txBody>
                  <a:tcPr/>
                </a:tc>
                <a:tc>
                  <a:txBody>
                    <a:bodyPr/>
                    <a:lstStyle/>
                    <a:p>
                      <a:r>
                        <a:rPr lang="en-US" sz="1200" dirty="0">
                          <a:solidFill>
                            <a:schemeClr val="tx1"/>
                          </a:solidFill>
                        </a:rPr>
                        <a:t>High- risk criteria</a:t>
                      </a:r>
                    </a:p>
                  </a:txBody>
                  <a:tcPr/>
                </a:tc>
                <a:tc>
                  <a:txBody>
                    <a:bodyPr/>
                    <a:lstStyle/>
                    <a:p>
                      <a:r>
                        <a:rPr lang="en-US" sz="1200" dirty="0">
                          <a:solidFill>
                            <a:schemeClr val="tx1"/>
                          </a:solidFill>
                        </a:rPr>
                        <a:t>Duration of CDK 4/6 </a:t>
                      </a:r>
                    </a:p>
                  </a:txBody>
                  <a:tcPr/>
                </a:tc>
                <a:tc>
                  <a:txBody>
                    <a:bodyPr/>
                    <a:lstStyle/>
                    <a:p>
                      <a:r>
                        <a:rPr lang="en-US" sz="1200" dirty="0">
                          <a:solidFill>
                            <a:schemeClr val="tx1"/>
                          </a:solidFill>
                        </a:rPr>
                        <a:t>Median F/U</a:t>
                      </a:r>
                    </a:p>
                  </a:txBody>
                  <a:tcPr/>
                </a:tc>
                <a:tc>
                  <a:txBody>
                    <a:bodyPr/>
                    <a:lstStyle/>
                    <a:p>
                      <a:r>
                        <a:rPr lang="en-US" sz="1200" dirty="0">
                          <a:solidFill>
                            <a:schemeClr val="tx1"/>
                          </a:solidFill>
                        </a:rPr>
                        <a:t>iDFS / (∆)</a:t>
                      </a:r>
                    </a:p>
                  </a:txBody>
                  <a:tcPr/>
                </a:tc>
                <a:tc>
                  <a:txBody>
                    <a:bodyPr/>
                    <a:lstStyle/>
                    <a:p>
                      <a:r>
                        <a:rPr lang="en-US" sz="1200" dirty="0">
                          <a:solidFill>
                            <a:schemeClr val="tx1"/>
                          </a:solidFill>
                        </a:rPr>
                        <a:t>HR/ p value</a:t>
                      </a:r>
                    </a:p>
                  </a:txBody>
                  <a:tcPr/>
                </a:tc>
                <a:extLst>
                  <a:ext uri="{0D108BD9-81ED-4DB2-BD59-A6C34878D82A}">
                    <a16:rowId xmlns:a16="http://schemas.microsoft.com/office/drawing/2014/main" val="1112445637"/>
                  </a:ext>
                </a:extLst>
              </a:tr>
              <a:tr h="578855">
                <a:tc>
                  <a:txBody>
                    <a:bodyPr/>
                    <a:lstStyle/>
                    <a:p>
                      <a:r>
                        <a:rPr lang="en-US" sz="1200" b="1" dirty="0"/>
                        <a:t>monarchE</a:t>
                      </a:r>
                    </a:p>
                  </a:txBody>
                  <a:tcPr/>
                </a:tc>
                <a:tc>
                  <a:txBody>
                    <a:bodyPr/>
                    <a:lstStyle/>
                    <a:p>
                      <a:r>
                        <a:rPr lang="en-US" sz="1200" dirty="0"/>
                        <a:t>N = 5,637</a:t>
                      </a:r>
                    </a:p>
                    <a:p>
                      <a:r>
                        <a:rPr lang="en-US" sz="1200" dirty="0"/>
                        <a:t>ET +/- abema</a:t>
                      </a:r>
                    </a:p>
                  </a:txBody>
                  <a:tcPr/>
                </a:tc>
                <a:tc>
                  <a:txBody>
                    <a:bodyPr/>
                    <a:lstStyle/>
                    <a:p>
                      <a:r>
                        <a:rPr lang="en-US" sz="1200" dirty="0">
                          <a:latin typeface="+mn-lt"/>
                        </a:rPr>
                        <a:t>4+ pathologic LN or </a:t>
                      </a:r>
                    </a:p>
                    <a:p>
                      <a:r>
                        <a:rPr lang="en-US" sz="1200" dirty="0">
                          <a:latin typeface="+mn-lt"/>
                        </a:rPr>
                        <a:t>1-3+ LN and G3 or T3</a:t>
                      </a:r>
                    </a:p>
                  </a:txBody>
                  <a:tcPr/>
                </a:tc>
                <a:tc>
                  <a:txBody>
                    <a:bodyPr/>
                    <a:lstStyle/>
                    <a:p>
                      <a:r>
                        <a:rPr lang="en-US" sz="1200" dirty="0"/>
                        <a:t>2 years</a:t>
                      </a:r>
                    </a:p>
                  </a:txBody>
                  <a:tcPr/>
                </a:tc>
                <a:tc>
                  <a:txBody>
                    <a:bodyPr/>
                    <a:lstStyle/>
                    <a:p>
                      <a:r>
                        <a:rPr lang="en-US" sz="1200" dirty="0"/>
                        <a:t>42.0 mo</a:t>
                      </a:r>
                    </a:p>
                  </a:txBody>
                  <a:tcPr/>
                </a:tc>
                <a:tc>
                  <a:txBody>
                    <a:bodyPr/>
                    <a:lstStyle/>
                    <a:p>
                      <a:r>
                        <a:rPr lang="en-US" sz="1200" dirty="0"/>
                        <a:t>85.8%/ 6.4%</a:t>
                      </a:r>
                    </a:p>
                  </a:txBody>
                  <a:tcPr/>
                </a:tc>
                <a:tc>
                  <a:txBody>
                    <a:bodyPr/>
                    <a:lstStyle/>
                    <a:p>
                      <a:r>
                        <a:rPr lang="en-US" sz="1200" dirty="0"/>
                        <a:t>0.664/ &lt;0.0001</a:t>
                      </a:r>
                    </a:p>
                  </a:txBody>
                  <a:tcPr/>
                </a:tc>
                <a:extLst>
                  <a:ext uri="{0D108BD9-81ED-4DB2-BD59-A6C34878D82A}">
                    <a16:rowId xmlns:a16="http://schemas.microsoft.com/office/drawing/2014/main" val="461771739"/>
                  </a:ext>
                </a:extLst>
              </a:tr>
              <a:tr h="578855">
                <a:tc>
                  <a:txBody>
                    <a:bodyPr/>
                    <a:lstStyle/>
                    <a:p>
                      <a:r>
                        <a:rPr lang="en-US" sz="1200" b="1" dirty="0"/>
                        <a:t>Natalee</a:t>
                      </a:r>
                    </a:p>
                  </a:txBody>
                  <a:tcPr/>
                </a:tc>
                <a:tc>
                  <a:txBody>
                    <a:bodyPr/>
                    <a:lstStyle/>
                    <a:p>
                      <a:r>
                        <a:rPr lang="en-US" sz="1200" dirty="0"/>
                        <a:t>N = 4,000 estimated</a:t>
                      </a:r>
                    </a:p>
                    <a:p>
                      <a:r>
                        <a:rPr lang="en-US" sz="1200" dirty="0"/>
                        <a:t>ET +/- ribo</a:t>
                      </a:r>
                    </a:p>
                  </a:txBody>
                  <a:tcPr/>
                </a:tc>
                <a:tc>
                  <a:txBody>
                    <a:bodyPr/>
                    <a:lstStyle/>
                    <a:p>
                      <a:r>
                        <a:rPr lang="en-US" sz="1200" b="0" i="0" dirty="0">
                          <a:solidFill>
                            <a:srgbClr val="333333"/>
                          </a:solidFill>
                          <a:effectLst/>
                          <a:latin typeface="+mn-lt"/>
                        </a:rPr>
                        <a:t>N1+ </a:t>
                      </a:r>
                    </a:p>
                    <a:p>
                      <a:r>
                        <a:rPr lang="en-US" sz="1200" b="0" i="0" dirty="0">
                          <a:solidFill>
                            <a:srgbClr val="333333"/>
                          </a:solidFill>
                          <a:effectLst/>
                          <a:latin typeface="+mn-lt"/>
                        </a:rPr>
                        <a:t>N0 with G2 or G3 and Ki67 &gt;20% or Oncotype &gt;26</a:t>
                      </a:r>
                      <a:endParaRPr lang="en-US" sz="1200" dirty="0">
                        <a:latin typeface="+mn-lt"/>
                      </a:endParaRPr>
                    </a:p>
                  </a:txBody>
                  <a:tcPr/>
                </a:tc>
                <a:tc>
                  <a:txBody>
                    <a:bodyPr/>
                    <a:lstStyle/>
                    <a:p>
                      <a:r>
                        <a:rPr lang="en-US" sz="1200" dirty="0"/>
                        <a:t>3 years</a:t>
                      </a:r>
                    </a:p>
                  </a:txBody>
                  <a:tcPr/>
                </a:tc>
                <a:tc>
                  <a:txBody>
                    <a:bodyPr/>
                    <a:lstStyle/>
                    <a:p>
                      <a:r>
                        <a:rPr lang="en-US" sz="1200" dirty="0"/>
                        <a:t>34.0 mo</a:t>
                      </a:r>
                    </a:p>
                  </a:txBody>
                  <a:tcPr/>
                </a:tc>
                <a:tc>
                  <a:txBody>
                    <a:bodyPr/>
                    <a:lstStyle/>
                    <a:p>
                      <a:r>
                        <a:rPr lang="en-US" sz="1200" dirty="0"/>
                        <a:t>90.4%/ 3.3%</a:t>
                      </a:r>
                    </a:p>
                  </a:txBody>
                  <a:tcPr/>
                </a:tc>
                <a:tc>
                  <a:txBody>
                    <a:bodyPr/>
                    <a:lstStyle/>
                    <a:p>
                      <a:r>
                        <a:rPr lang="en-US" sz="1200" dirty="0"/>
                        <a:t>0.748/ 0.0014</a:t>
                      </a:r>
                    </a:p>
                  </a:txBody>
                  <a:tcPr/>
                </a:tc>
                <a:extLst>
                  <a:ext uri="{0D108BD9-81ED-4DB2-BD59-A6C34878D82A}">
                    <a16:rowId xmlns:a16="http://schemas.microsoft.com/office/drawing/2014/main" val="481115375"/>
                  </a:ext>
                </a:extLst>
              </a:tr>
              <a:tr h="578855">
                <a:tc>
                  <a:txBody>
                    <a:bodyPr/>
                    <a:lstStyle/>
                    <a:p>
                      <a:r>
                        <a:rPr lang="en-US" sz="1000" i="1" dirty="0"/>
                        <a:t>Penelope</a:t>
                      </a:r>
                    </a:p>
                  </a:txBody>
                  <a:tcPr/>
                </a:tc>
                <a:tc>
                  <a:txBody>
                    <a:bodyPr/>
                    <a:lstStyle/>
                    <a:p>
                      <a:r>
                        <a:rPr lang="en-US" sz="1000" i="1" dirty="0"/>
                        <a:t>N = 1,250</a:t>
                      </a:r>
                    </a:p>
                    <a:p>
                      <a:r>
                        <a:rPr lang="en-US" sz="1000" i="1" dirty="0"/>
                        <a:t>ET +/- palbo</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srgbClr val="000000"/>
                          </a:solidFill>
                          <a:effectLst/>
                          <a:uLnTx/>
                          <a:uFillTx/>
                          <a:latin typeface="+mn-lt"/>
                          <a:ea typeface="+mn-ea"/>
                        </a:rPr>
                        <a:t>After neoadjuv CT</a:t>
                      </a:r>
                      <a:endParaRPr lang="en-US" sz="1000" b="0" i="1" dirty="0">
                        <a:solidFill>
                          <a:srgbClr val="333333"/>
                        </a:solidFill>
                        <a:effectLst/>
                        <a:latin typeface="+mn-lt"/>
                      </a:endParaRPr>
                    </a:p>
                    <a:p>
                      <a:r>
                        <a:rPr lang="en-US" sz="1000" b="0" i="1" dirty="0">
                          <a:solidFill>
                            <a:srgbClr val="333333"/>
                          </a:solidFill>
                          <a:effectLst/>
                          <a:latin typeface="+mn-lt"/>
                        </a:rPr>
                        <a:t>CPS score of 3+ or 2 and ypN+</a:t>
                      </a:r>
                      <a:endParaRPr lang="en-US" sz="1000" i="1" dirty="0">
                        <a:latin typeface="+mn-lt"/>
                      </a:endParaRPr>
                    </a:p>
                  </a:txBody>
                  <a:tcPr/>
                </a:tc>
                <a:tc>
                  <a:txBody>
                    <a:bodyPr/>
                    <a:lstStyle/>
                    <a:p>
                      <a:r>
                        <a:rPr lang="en-US" sz="1000" i="1" dirty="0"/>
                        <a:t>1 year</a:t>
                      </a:r>
                    </a:p>
                  </a:txBody>
                  <a:tcPr/>
                </a:tc>
                <a:tc>
                  <a:txBody>
                    <a:bodyPr/>
                    <a:lstStyle/>
                    <a:p>
                      <a:r>
                        <a:rPr lang="en-US" sz="1000" i="1" dirty="0"/>
                        <a:t>42.8 mo</a:t>
                      </a:r>
                    </a:p>
                  </a:txBody>
                  <a:tcPr/>
                </a:tc>
                <a:tc>
                  <a:txBody>
                    <a:bodyPr/>
                    <a:lstStyle/>
                    <a:p>
                      <a:r>
                        <a:rPr lang="en-US" sz="1000" i="1" dirty="0"/>
                        <a:t>81.2%/ 3.5%</a:t>
                      </a:r>
                    </a:p>
                  </a:txBody>
                  <a:tcPr/>
                </a:tc>
                <a:tc>
                  <a:txBody>
                    <a:bodyPr/>
                    <a:lstStyle/>
                    <a:p>
                      <a:r>
                        <a:rPr lang="en-US" sz="1000" i="1" dirty="0"/>
                        <a:t>0.93/ 0.525</a:t>
                      </a:r>
                    </a:p>
                  </a:txBody>
                  <a:tcPr/>
                </a:tc>
                <a:extLst>
                  <a:ext uri="{0D108BD9-81ED-4DB2-BD59-A6C34878D82A}">
                    <a16:rowId xmlns:a16="http://schemas.microsoft.com/office/drawing/2014/main" val="3061719244"/>
                  </a:ext>
                </a:extLst>
              </a:tr>
              <a:tr h="578855">
                <a:tc>
                  <a:txBody>
                    <a:bodyPr/>
                    <a:lstStyle/>
                    <a:p>
                      <a:r>
                        <a:rPr lang="en-US" sz="1000" i="1" dirty="0"/>
                        <a:t>Pallas</a:t>
                      </a:r>
                    </a:p>
                  </a:txBody>
                  <a:tcPr/>
                </a:tc>
                <a:tc>
                  <a:txBody>
                    <a:bodyPr/>
                    <a:lstStyle/>
                    <a:p>
                      <a:r>
                        <a:rPr lang="en-US" sz="1000" i="1" dirty="0"/>
                        <a:t>N = 5,761</a:t>
                      </a:r>
                    </a:p>
                    <a:p>
                      <a:r>
                        <a:rPr lang="en-US" sz="1000" i="1" dirty="0"/>
                        <a:t>ET +/- palbo</a:t>
                      </a:r>
                    </a:p>
                  </a:txBody>
                  <a:tcPr/>
                </a:tc>
                <a:tc>
                  <a:txBody>
                    <a:bodyPr/>
                    <a:lstStyle/>
                    <a:p>
                      <a:r>
                        <a:rPr lang="en-US" sz="1000" i="1" dirty="0">
                          <a:latin typeface="+mn-lt"/>
                        </a:rPr>
                        <a:t>Anatomic stage II-III</a:t>
                      </a:r>
                    </a:p>
                  </a:txBody>
                  <a:tcPr/>
                </a:tc>
                <a:tc>
                  <a:txBody>
                    <a:bodyPr/>
                    <a:lstStyle/>
                    <a:p>
                      <a:r>
                        <a:rPr lang="en-US" sz="1000" i="1" dirty="0"/>
                        <a:t>2 years</a:t>
                      </a:r>
                    </a:p>
                  </a:txBody>
                  <a:tcPr/>
                </a:tc>
                <a:tc>
                  <a:txBody>
                    <a:bodyPr/>
                    <a:lstStyle/>
                    <a:p>
                      <a:r>
                        <a:rPr lang="en-US" sz="1000" i="1" dirty="0"/>
                        <a:t>31 mo</a:t>
                      </a:r>
                    </a:p>
                  </a:txBody>
                  <a:tcPr/>
                </a:tc>
                <a:tc>
                  <a:txBody>
                    <a:bodyPr/>
                    <a:lstStyle/>
                    <a:p>
                      <a:r>
                        <a:rPr lang="en-US" sz="1000" i="1" dirty="0"/>
                        <a:t>84.2%/ 0%</a:t>
                      </a:r>
                    </a:p>
                  </a:txBody>
                  <a:tcPr/>
                </a:tc>
                <a:tc>
                  <a:txBody>
                    <a:bodyPr/>
                    <a:lstStyle/>
                    <a:p>
                      <a:r>
                        <a:rPr lang="en-US" sz="1000" i="1" dirty="0"/>
                        <a:t>0.96/ 0.65</a:t>
                      </a:r>
                    </a:p>
                  </a:txBody>
                  <a:tcPr/>
                </a:tc>
                <a:extLst>
                  <a:ext uri="{0D108BD9-81ED-4DB2-BD59-A6C34878D82A}">
                    <a16:rowId xmlns:a16="http://schemas.microsoft.com/office/drawing/2014/main" val="2004587832"/>
                  </a:ext>
                </a:extLst>
              </a:tr>
            </a:tbl>
          </a:graphicData>
        </a:graphic>
      </p:graphicFrame>
    </p:spTree>
    <p:extLst>
      <p:ext uri="{BB962C8B-B14F-4D97-AF65-F5344CB8AC3E}">
        <p14:creationId xmlns:p14="http://schemas.microsoft.com/office/powerpoint/2010/main" val="2972141763"/>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18ADC61-6FDA-E626-9F73-63062B86A68C}"/>
              </a:ext>
            </a:extLst>
          </p:cNvPr>
          <p:cNvSpPr>
            <a:spLocks noGrp="1"/>
          </p:cNvSpPr>
          <p:nvPr>
            <p:ph type="title"/>
          </p:nvPr>
        </p:nvSpPr>
        <p:spPr/>
        <p:txBody>
          <a:bodyPr/>
          <a:lstStyle/>
          <a:p>
            <a:r>
              <a:rPr lang="en-US" dirty="0">
                <a:solidFill>
                  <a:srgbClr val="FF6600"/>
                </a:solidFill>
              </a:rPr>
              <a:t>Synthetic lethal therapeutics</a:t>
            </a:r>
          </a:p>
        </p:txBody>
      </p:sp>
      <p:sp>
        <p:nvSpPr>
          <p:cNvPr id="5" name="TextBox 4">
            <a:extLst>
              <a:ext uri="{FF2B5EF4-FFF2-40B4-BE49-F238E27FC236}">
                <a16:creationId xmlns:a16="http://schemas.microsoft.com/office/drawing/2014/main" id="{F98D9C5B-8467-9F1B-B246-6520EBBBB3FD}"/>
              </a:ext>
            </a:extLst>
          </p:cNvPr>
          <p:cNvSpPr txBox="1"/>
          <p:nvPr/>
        </p:nvSpPr>
        <p:spPr>
          <a:xfrm>
            <a:off x="5900257" y="4050968"/>
            <a:ext cx="3107326" cy="338554"/>
          </a:xfrm>
          <a:prstGeom prst="rect">
            <a:avLst/>
          </a:prstGeom>
          <a:noFill/>
        </p:spPr>
        <p:txBody>
          <a:bodyPr wrap="none" rtlCol="0">
            <a:spAutoFit/>
          </a:bodyPr>
          <a:lstStyle/>
          <a:p>
            <a:r>
              <a:rPr lang="en-US" sz="1600" i="1" dirty="0"/>
              <a:t>Haddad et al. JAMA Oncol 2023</a:t>
            </a:r>
          </a:p>
        </p:txBody>
      </p:sp>
      <p:pic>
        <p:nvPicPr>
          <p:cNvPr id="7" name="Picture 6">
            <a:extLst>
              <a:ext uri="{FF2B5EF4-FFF2-40B4-BE49-F238E27FC236}">
                <a16:creationId xmlns:a16="http://schemas.microsoft.com/office/drawing/2014/main" id="{9007A487-953F-1A65-F314-2D0C63419015}"/>
              </a:ext>
            </a:extLst>
          </p:cNvPr>
          <p:cNvPicPr>
            <a:picLocks noChangeAspect="1"/>
          </p:cNvPicPr>
          <p:nvPr/>
        </p:nvPicPr>
        <p:blipFill>
          <a:blip r:embed="rId2"/>
          <a:stretch>
            <a:fillRect/>
          </a:stretch>
        </p:blipFill>
        <p:spPr>
          <a:xfrm>
            <a:off x="385011" y="1299411"/>
            <a:ext cx="8491607" cy="2761610"/>
          </a:xfrm>
          <a:prstGeom prst="rect">
            <a:avLst/>
          </a:prstGeom>
        </p:spPr>
      </p:pic>
      <p:sp>
        <p:nvSpPr>
          <p:cNvPr id="8" name="TextBox 7">
            <a:extLst>
              <a:ext uri="{FF2B5EF4-FFF2-40B4-BE49-F238E27FC236}">
                <a16:creationId xmlns:a16="http://schemas.microsoft.com/office/drawing/2014/main" id="{19330C43-767B-77F0-954F-33E3A9A257BB}"/>
              </a:ext>
            </a:extLst>
          </p:cNvPr>
          <p:cNvSpPr txBox="1"/>
          <p:nvPr/>
        </p:nvSpPr>
        <p:spPr>
          <a:xfrm>
            <a:off x="2566736" y="837746"/>
            <a:ext cx="4745851" cy="461665"/>
          </a:xfrm>
          <a:prstGeom prst="rect">
            <a:avLst/>
          </a:prstGeom>
          <a:noFill/>
        </p:spPr>
        <p:txBody>
          <a:bodyPr wrap="none" rtlCol="0">
            <a:spAutoFit/>
          </a:bodyPr>
          <a:lstStyle/>
          <a:p>
            <a:r>
              <a:rPr lang="en-US" dirty="0" err="1"/>
              <a:t>AurkA</a:t>
            </a:r>
            <a:r>
              <a:rPr lang="en-US" dirty="0"/>
              <a:t>: Alisertib in HR+HER2- BC</a:t>
            </a:r>
          </a:p>
        </p:txBody>
      </p:sp>
    </p:spTree>
    <p:extLst>
      <p:ext uri="{BB962C8B-B14F-4D97-AF65-F5344CB8AC3E}">
        <p14:creationId xmlns:p14="http://schemas.microsoft.com/office/powerpoint/2010/main" val="1474099378"/>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566DE45-7FA0-5CCB-29DD-56807BF0032E}"/>
              </a:ext>
            </a:extLst>
          </p:cNvPr>
          <p:cNvSpPr>
            <a:spLocks noGrp="1"/>
          </p:cNvSpPr>
          <p:nvPr>
            <p:ph sz="half" idx="1"/>
          </p:nvPr>
        </p:nvSpPr>
        <p:spPr/>
        <p:txBody>
          <a:bodyPr/>
          <a:lstStyle/>
          <a:p>
            <a:r>
              <a:rPr lang="en-US" sz="2000" dirty="0"/>
              <a:t>HER2 –</a:t>
            </a:r>
          </a:p>
          <a:p>
            <a:pPr lvl="1"/>
            <a:r>
              <a:rPr lang="en-US" sz="1600" dirty="0"/>
              <a:t>Trastuzumab </a:t>
            </a:r>
            <a:r>
              <a:rPr lang="en-US" sz="1600" dirty="0" err="1"/>
              <a:t>deruxtecan</a:t>
            </a:r>
            <a:endParaRPr lang="en-US" sz="1600" dirty="0"/>
          </a:p>
          <a:p>
            <a:pPr lvl="1"/>
            <a:r>
              <a:rPr lang="en-US" sz="1600" dirty="0"/>
              <a:t>Ado-trastuzumab emtansine</a:t>
            </a:r>
          </a:p>
          <a:p>
            <a:r>
              <a:rPr lang="en-US" sz="2000" dirty="0"/>
              <a:t>Trop2  - </a:t>
            </a:r>
          </a:p>
          <a:p>
            <a:pPr lvl="1"/>
            <a:r>
              <a:rPr lang="en-US" sz="1800" dirty="0"/>
              <a:t>Sacituzumab </a:t>
            </a:r>
            <a:r>
              <a:rPr lang="en-US" sz="1800" dirty="0" err="1"/>
              <a:t>govitecan</a:t>
            </a:r>
            <a:endParaRPr lang="en-US" sz="1800" dirty="0"/>
          </a:p>
          <a:p>
            <a:pPr lvl="1"/>
            <a:r>
              <a:rPr lang="en-US" sz="1800" dirty="0" err="1"/>
              <a:t>Datopotamab</a:t>
            </a:r>
            <a:r>
              <a:rPr lang="en-US" sz="1800" dirty="0"/>
              <a:t> </a:t>
            </a:r>
            <a:r>
              <a:rPr lang="en-US" sz="1800" dirty="0" err="1"/>
              <a:t>deruxtecan</a:t>
            </a:r>
            <a:endParaRPr lang="en-US" sz="1800" dirty="0"/>
          </a:p>
          <a:p>
            <a:endParaRPr lang="en-US" sz="2200" dirty="0"/>
          </a:p>
        </p:txBody>
      </p:sp>
      <p:sp>
        <p:nvSpPr>
          <p:cNvPr id="3" name="Content Placeholder 2">
            <a:extLst>
              <a:ext uri="{FF2B5EF4-FFF2-40B4-BE49-F238E27FC236}">
                <a16:creationId xmlns:a16="http://schemas.microsoft.com/office/drawing/2014/main" id="{E2B85860-FF7E-D2FE-0129-6127FDB72220}"/>
              </a:ext>
            </a:extLst>
          </p:cNvPr>
          <p:cNvSpPr>
            <a:spLocks noGrp="1"/>
          </p:cNvSpPr>
          <p:nvPr>
            <p:ph sz="half" idx="2"/>
          </p:nvPr>
        </p:nvSpPr>
        <p:spPr/>
        <p:txBody>
          <a:bodyPr/>
          <a:lstStyle/>
          <a:p>
            <a:r>
              <a:rPr lang="en-US" sz="2000" dirty="0"/>
              <a:t>LIV-1</a:t>
            </a:r>
          </a:p>
          <a:p>
            <a:r>
              <a:rPr lang="en-US" sz="2000" dirty="0" err="1"/>
              <a:t>Nectin</a:t>
            </a:r>
            <a:r>
              <a:rPr lang="en-US" sz="2000" dirty="0"/>
              <a:t> 4</a:t>
            </a:r>
          </a:p>
          <a:p>
            <a:endParaRPr lang="en-US" sz="2000" dirty="0"/>
          </a:p>
        </p:txBody>
      </p:sp>
      <p:sp>
        <p:nvSpPr>
          <p:cNvPr id="4" name="Title 3">
            <a:extLst>
              <a:ext uri="{FF2B5EF4-FFF2-40B4-BE49-F238E27FC236}">
                <a16:creationId xmlns:a16="http://schemas.microsoft.com/office/drawing/2014/main" id="{63A49B64-6A38-94C8-935F-0E9590F2A63F}"/>
              </a:ext>
            </a:extLst>
          </p:cNvPr>
          <p:cNvSpPr>
            <a:spLocks noGrp="1"/>
          </p:cNvSpPr>
          <p:nvPr>
            <p:ph type="title"/>
          </p:nvPr>
        </p:nvSpPr>
        <p:spPr/>
        <p:txBody>
          <a:bodyPr/>
          <a:lstStyle/>
          <a:p>
            <a:r>
              <a:rPr lang="en-US" dirty="0"/>
              <a:t>Novel ADC targets</a:t>
            </a:r>
          </a:p>
        </p:txBody>
      </p:sp>
    </p:spTree>
    <p:extLst>
      <p:ext uri="{BB962C8B-B14F-4D97-AF65-F5344CB8AC3E}">
        <p14:creationId xmlns:p14="http://schemas.microsoft.com/office/powerpoint/2010/main" val="939524495"/>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566DE45-7FA0-5CCB-29DD-56807BF0032E}"/>
              </a:ext>
            </a:extLst>
          </p:cNvPr>
          <p:cNvSpPr>
            <a:spLocks noGrp="1"/>
          </p:cNvSpPr>
          <p:nvPr>
            <p:ph sz="half" idx="1"/>
          </p:nvPr>
        </p:nvSpPr>
        <p:spPr/>
        <p:txBody>
          <a:bodyPr/>
          <a:lstStyle/>
          <a:p>
            <a:r>
              <a:rPr lang="en-US" sz="2000" dirty="0"/>
              <a:t>HER2 –</a:t>
            </a:r>
          </a:p>
          <a:p>
            <a:pPr lvl="1"/>
            <a:r>
              <a:rPr lang="en-US" sz="1600" dirty="0"/>
              <a:t>Trastuzumab </a:t>
            </a:r>
            <a:r>
              <a:rPr lang="en-US" sz="1600" dirty="0" err="1"/>
              <a:t>deruxtecan</a:t>
            </a:r>
            <a:endParaRPr lang="en-US" sz="1600" dirty="0"/>
          </a:p>
          <a:p>
            <a:pPr lvl="1"/>
            <a:r>
              <a:rPr lang="en-US" sz="1600" dirty="0"/>
              <a:t>Ado-trastuzumab emtansine</a:t>
            </a:r>
          </a:p>
          <a:p>
            <a:r>
              <a:rPr lang="en-US" sz="2000" dirty="0"/>
              <a:t>Trop2  - </a:t>
            </a:r>
          </a:p>
          <a:p>
            <a:pPr lvl="1"/>
            <a:r>
              <a:rPr lang="en-US" sz="1800" dirty="0"/>
              <a:t>Sacituzumab </a:t>
            </a:r>
            <a:r>
              <a:rPr lang="en-US" sz="1800" dirty="0" err="1"/>
              <a:t>govitecan</a:t>
            </a:r>
            <a:endParaRPr lang="en-US" sz="1800" dirty="0"/>
          </a:p>
          <a:p>
            <a:pPr lvl="1"/>
            <a:r>
              <a:rPr lang="en-US" sz="1800" dirty="0" err="1"/>
              <a:t>Datopotamab</a:t>
            </a:r>
            <a:r>
              <a:rPr lang="en-US" sz="1800" dirty="0"/>
              <a:t> </a:t>
            </a:r>
            <a:r>
              <a:rPr lang="en-US" sz="1800" dirty="0" err="1"/>
              <a:t>deruxtecan</a:t>
            </a:r>
            <a:endParaRPr lang="en-US" sz="1800" dirty="0"/>
          </a:p>
          <a:p>
            <a:endParaRPr lang="en-US" sz="2200" dirty="0"/>
          </a:p>
        </p:txBody>
      </p:sp>
      <p:sp>
        <p:nvSpPr>
          <p:cNvPr id="3" name="Content Placeholder 2">
            <a:extLst>
              <a:ext uri="{FF2B5EF4-FFF2-40B4-BE49-F238E27FC236}">
                <a16:creationId xmlns:a16="http://schemas.microsoft.com/office/drawing/2014/main" id="{E2B85860-FF7E-D2FE-0129-6127FDB72220}"/>
              </a:ext>
            </a:extLst>
          </p:cNvPr>
          <p:cNvSpPr>
            <a:spLocks noGrp="1"/>
          </p:cNvSpPr>
          <p:nvPr>
            <p:ph sz="half" idx="2"/>
          </p:nvPr>
        </p:nvSpPr>
        <p:spPr/>
        <p:txBody>
          <a:bodyPr/>
          <a:lstStyle/>
          <a:p>
            <a:r>
              <a:rPr lang="en-US" sz="2000" dirty="0"/>
              <a:t>LIV-1</a:t>
            </a:r>
          </a:p>
          <a:p>
            <a:r>
              <a:rPr lang="en-US" sz="2000" dirty="0" err="1"/>
              <a:t>Nectin</a:t>
            </a:r>
            <a:r>
              <a:rPr lang="en-US" sz="2000" dirty="0"/>
              <a:t> 4</a:t>
            </a:r>
          </a:p>
          <a:p>
            <a:endParaRPr lang="en-US" sz="2000" dirty="0"/>
          </a:p>
          <a:p>
            <a:r>
              <a:rPr lang="en-US" sz="2000" dirty="0"/>
              <a:t>New targets</a:t>
            </a:r>
          </a:p>
          <a:p>
            <a:r>
              <a:rPr lang="en-US" sz="2000" dirty="0"/>
              <a:t>Biomarkers?</a:t>
            </a:r>
          </a:p>
        </p:txBody>
      </p:sp>
      <p:sp>
        <p:nvSpPr>
          <p:cNvPr id="4" name="Title 3">
            <a:extLst>
              <a:ext uri="{FF2B5EF4-FFF2-40B4-BE49-F238E27FC236}">
                <a16:creationId xmlns:a16="http://schemas.microsoft.com/office/drawing/2014/main" id="{63A49B64-6A38-94C8-935F-0E9590F2A63F}"/>
              </a:ext>
            </a:extLst>
          </p:cNvPr>
          <p:cNvSpPr>
            <a:spLocks noGrp="1"/>
          </p:cNvSpPr>
          <p:nvPr>
            <p:ph type="title"/>
          </p:nvPr>
        </p:nvSpPr>
        <p:spPr/>
        <p:txBody>
          <a:bodyPr/>
          <a:lstStyle/>
          <a:p>
            <a:r>
              <a:rPr lang="en-US" dirty="0"/>
              <a:t>Novel ADC targets</a:t>
            </a:r>
          </a:p>
        </p:txBody>
      </p:sp>
    </p:spTree>
    <p:extLst>
      <p:ext uri="{BB962C8B-B14F-4D97-AF65-F5344CB8AC3E}">
        <p14:creationId xmlns:p14="http://schemas.microsoft.com/office/powerpoint/2010/main" val="850465609"/>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Rectangle 68">
            <a:extLst>
              <a:ext uri="{FF2B5EF4-FFF2-40B4-BE49-F238E27FC236}">
                <a16:creationId xmlns:a16="http://schemas.microsoft.com/office/drawing/2014/main" id="{A2575D5F-D0B4-E7A9-870D-B23228387AB7}"/>
              </a:ext>
            </a:extLst>
          </p:cNvPr>
          <p:cNvSpPr/>
          <p:nvPr/>
        </p:nvSpPr>
        <p:spPr bwMode="auto">
          <a:xfrm>
            <a:off x="-83075" y="1221747"/>
            <a:ext cx="9220200" cy="623095"/>
          </a:xfrm>
          <a:prstGeom prst="rect">
            <a:avLst/>
          </a:prstGeom>
          <a:solidFill>
            <a:srgbClr val="00B0F0">
              <a:alpha val="3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pitchFamily="-72" charset="0"/>
              <a:ea typeface="ＭＳ Ｐゴシック" pitchFamily="-72" charset="-128"/>
              <a:cs typeface="ＭＳ Ｐゴシック" pitchFamily="-72" charset="-128"/>
            </a:endParaRPr>
          </a:p>
        </p:txBody>
      </p:sp>
      <p:sp>
        <p:nvSpPr>
          <p:cNvPr id="2" name="Rectangle 1">
            <a:extLst>
              <a:ext uri="{FF2B5EF4-FFF2-40B4-BE49-F238E27FC236}">
                <a16:creationId xmlns:a16="http://schemas.microsoft.com/office/drawing/2014/main" id="{10144252-74FD-924F-36FD-CDCA749456D4}"/>
              </a:ext>
            </a:extLst>
          </p:cNvPr>
          <p:cNvSpPr/>
          <p:nvPr/>
        </p:nvSpPr>
        <p:spPr bwMode="auto">
          <a:xfrm>
            <a:off x="-68783" y="1840528"/>
            <a:ext cx="9220200" cy="357219"/>
          </a:xfrm>
          <a:prstGeom prst="rect">
            <a:avLst/>
          </a:prstGeom>
          <a:solidFill>
            <a:srgbClr val="FF6600">
              <a:alpha val="29804"/>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pitchFamily="-72" charset="0"/>
              <a:ea typeface="ＭＳ Ｐゴシック" pitchFamily="-72" charset="-128"/>
              <a:cs typeface="ＭＳ Ｐゴシック" pitchFamily="-72" charset="-128"/>
            </a:endParaRPr>
          </a:p>
        </p:txBody>
      </p:sp>
      <p:sp>
        <p:nvSpPr>
          <p:cNvPr id="71" name="Rectangle 70">
            <a:extLst>
              <a:ext uri="{FF2B5EF4-FFF2-40B4-BE49-F238E27FC236}">
                <a16:creationId xmlns:a16="http://schemas.microsoft.com/office/drawing/2014/main" id="{1669F4EF-577D-489F-4B47-87D3B57C8051}"/>
              </a:ext>
            </a:extLst>
          </p:cNvPr>
          <p:cNvSpPr/>
          <p:nvPr/>
        </p:nvSpPr>
        <p:spPr bwMode="auto">
          <a:xfrm>
            <a:off x="-68783" y="915568"/>
            <a:ext cx="9220200" cy="307326"/>
          </a:xfrm>
          <a:prstGeom prst="rect">
            <a:avLst/>
          </a:prstGeom>
          <a:solidFill>
            <a:srgbClr val="7030A0">
              <a:alpha val="3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pitchFamily="-72" charset="0"/>
              <a:ea typeface="ＭＳ Ｐゴシック" pitchFamily="-72" charset="-128"/>
              <a:cs typeface="ＭＳ Ｐゴシック" pitchFamily="-72" charset="-128"/>
            </a:endParaRPr>
          </a:p>
        </p:txBody>
      </p:sp>
      <p:sp>
        <p:nvSpPr>
          <p:cNvPr id="66" name="Rectangle 65">
            <a:extLst>
              <a:ext uri="{FF2B5EF4-FFF2-40B4-BE49-F238E27FC236}">
                <a16:creationId xmlns:a16="http://schemas.microsoft.com/office/drawing/2014/main" id="{C5E91C40-4685-9378-943B-F3273F068C97}"/>
              </a:ext>
            </a:extLst>
          </p:cNvPr>
          <p:cNvSpPr/>
          <p:nvPr/>
        </p:nvSpPr>
        <p:spPr bwMode="auto">
          <a:xfrm>
            <a:off x="-76201" y="2191883"/>
            <a:ext cx="9185837" cy="879976"/>
          </a:xfrm>
          <a:prstGeom prst="rect">
            <a:avLst/>
          </a:prstGeom>
          <a:solidFill>
            <a:srgbClr val="00B050">
              <a:alpha val="3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pitchFamily="-72" charset="0"/>
              <a:ea typeface="ＭＳ Ｐゴシック" pitchFamily="-72" charset="-128"/>
              <a:cs typeface="ＭＳ Ｐゴシック" pitchFamily="-72" charset="-128"/>
            </a:endParaRPr>
          </a:p>
        </p:txBody>
      </p:sp>
      <p:sp>
        <p:nvSpPr>
          <p:cNvPr id="4" name="Title 3"/>
          <p:cNvSpPr>
            <a:spLocks noGrp="1"/>
          </p:cNvSpPr>
          <p:nvPr>
            <p:ph type="title"/>
          </p:nvPr>
        </p:nvSpPr>
        <p:spPr>
          <a:xfrm>
            <a:off x="0" y="127465"/>
            <a:ext cx="9144000" cy="807256"/>
          </a:xfrm>
        </p:spPr>
        <p:txBody>
          <a:bodyPr/>
          <a:lstStyle/>
          <a:p>
            <a:r>
              <a:rPr lang="en-US" b="1" dirty="0"/>
              <a:t>Novel Drugs</a:t>
            </a:r>
          </a:p>
        </p:txBody>
      </p:sp>
      <p:sp>
        <p:nvSpPr>
          <p:cNvPr id="8" name="TextBox 7">
            <a:extLst>
              <a:ext uri="{FF2B5EF4-FFF2-40B4-BE49-F238E27FC236}">
                <a16:creationId xmlns:a16="http://schemas.microsoft.com/office/drawing/2014/main" id="{32011EC4-3F30-E974-723F-A517713FDE89}"/>
              </a:ext>
            </a:extLst>
          </p:cNvPr>
          <p:cNvSpPr txBox="1"/>
          <p:nvPr/>
        </p:nvSpPr>
        <p:spPr>
          <a:xfrm>
            <a:off x="1167580" y="2692766"/>
            <a:ext cx="849913" cy="276999"/>
          </a:xfrm>
          <a:prstGeom prst="rect">
            <a:avLst/>
          </a:prstGeom>
          <a:noFill/>
        </p:spPr>
        <p:txBody>
          <a:bodyPr wrap="none" rtlCol="0">
            <a:spAutoFit/>
          </a:bodyPr>
          <a:lstStyle/>
          <a:p>
            <a:r>
              <a:rPr lang="en-US" sz="1200" i="1" dirty="0"/>
              <a:t>tamoxifen</a:t>
            </a:r>
          </a:p>
        </p:txBody>
      </p:sp>
      <p:sp>
        <p:nvSpPr>
          <p:cNvPr id="46" name="TextBox 45">
            <a:extLst>
              <a:ext uri="{FF2B5EF4-FFF2-40B4-BE49-F238E27FC236}">
                <a16:creationId xmlns:a16="http://schemas.microsoft.com/office/drawing/2014/main" id="{8E6F21A2-D004-CAFD-5509-57BDE071A601}"/>
              </a:ext>
            </a:extLst>
          </p:cNvPr>
          <p:cNvSpPr txBox="1"/>
          <p:nvPr/>
        </p:nvSpPr>
        <p:spPr>
          <a:xfrm>
            <a:off x="6999240" y="2680962"/>
            <a:ext cx="736099" cy="276999"/>
          </a:xfrm>
          <a:prstGeom prst="rect">
            <a:avLst/>
          </a:prstGeom>
          <a:noFill/>
        </p:spPr>
        <p:txBody>
          <a:bodyPr wrap="none" rtlCol="0">
            <a:spAutoFit/>
          </a:bodyPr>
          <a:lstStyle/>
          <a:p>
            <a:r>
              <a:rPr lang="en-US" sz="1200" i="1" dirty="0" err="1"/>
              <a:t>alpelisib</a:t>
            </a:r>
            <a:endParaRPr lang="en-US" sz="1200" i="1" dirty="0"/>
          </a:p>
        </p:txBody>
      </p:sp>
      <p:sp>
        <p:nvSpPr>
          <p:cNvPr id="50" name="TextBox 49">
            <a:extLst>
              <a:ext uri="{FF2B5EF4-FFF2-40B4-BE49-F238E27FC236}">
                <a16:creationId xmlns:a16="http://schemas.microsoft.com/office/drawing/2014/main" id="{C8E2A62E-AEB0-2ED2-DCBC-E71C11E816B4}"/>
              </a:ext>
            </a:extLst>
          </p:cNvPr>
          <p:cNvSpPr txBox="1"/>
          <p:nvPr/>
        </p:nvSpPr>
        <p:spPr>
          <a:xfrm>
            <a:off x="3629983" y="2630788"/>
            <a:ext cx="184731" cy="338554"/>
          </a:xfrm>
          <a:prstGeom prst="rect">
            <a:avLst/>
          </a:prstGeom>
          <a:noFill/>
        </p:spPr>
        <p:txBody>
          <a:bodyPr wrap="none" rtlCol="0">
            <a:spAutoFit/>
          </a:bodyPr>
          <a:lstStyle/>
          <a:p>
            <a:endParaRPr lang="en-US" sz="1600" dirty="0"/>
          </a:p>
        </p:txBody>
      </p:sp>
      <p:sp>
        <p:nvSpPr>
          <p:cNvPr id="54" name="TextBox 53">
            <a:extLst>
              <a:ext uri="{FF2B5EF4-FFF2-40B4-BE49-F238E27FC236}">
                <a16:creationId xmlns:a16="http://schemas.microsoft.com/office/drawing/2014/main" id="{964A1DD9-CF1B-E8DF-0061-205C8D41F491}"/>
              </a:ext>
            </a:extLst>
          </p:cNvPr>
          <p:cNvSpPr txBox="1"/>
          <p:nvPr/>
        </p:nvSpPr>
        <p:spPr>
          <a:xfrm>
            <a:off x="6797180" y="1487175"/>
            <a:ext cx="1643399" cy="261610"/>
          </a:xfrm>
          <a:prstGeom prst="rect">
            <a:avLst/>
          </a:prstGeom>
          <a:noFill/>
        </p:spPr>
        <p:txBody>
          <a:bodyPr wrap="none" rtlCol="0">
            <a:spAutoFit/>
          </a:bodyPr>
          <a:lstStyle/>
          <a:p>
            <a:r>
              <a:rPr lang="en-US" sz="1050" i="1" dirty="0"/>
              <a:t>Sacituzumab </a:t>
            </a:r>
            <a:r>
              <a:rPr lang="en-US" sz="1050" i="1" dirty="0" err="1"/>
              <a:t>govitecan</a:t>
            </a:r>
            <a:endParaRPr lang="en-US" sz="1050" i="1" dirty="0"/>
          </a:p>
        </p:txBody>
      </p:sp>
      <p:sp>
        <p:nvSpPr>
          <p:cNvPr id="55" name="TextBox 54">
            <a:extLst>
              <a:ext uri="{FF2B5EF4-FFF2-40B4-BE49-F238E27FC236}">
                <a16:creationId xmlns:a16="http://schemas.microsoft.com/office/drawing/2014/main" id="{76D20D45-395E-840E-75DE-16DB9F3F9405}"/>
              </a:ext>
            </a:extLst>
          </p:cNvPr>
          <p:cNvSpPr txBox="1"/>
          <p:nvPr/>
        </p:nvSpPr>
        <p:spPr>
          <a:xfrm>
            <a:off x="6678435" y="1298054"/>
            <a:ext cx="1781257" cy="261610"/>
          </a:xfrm>
          <a:prstGeom prst="rect">
            <a:avLst/>
          </a:prstGeom>
          <a:noFill/>
        </p:spPr>
        <p:txBody>
          <a:bodyPr wrap="none" rtlCol="0">
            <a:spAutoFit/>
          </a:bodyPr>
          <a:lstStyle/>
          <a:p>
            <a:r>
              <a:rPr lang="en-US" sz="1050" i="1" dirty="0"/>
              <a:t>Trastuzumab </a:t>
            </a:r>
            <a:r>
              <a:rPr lang="en-US" sz="1050" i="1" dirty="0" err="1"/>
              <a:t>dertuxtecan</a:t>
            </a:r>
            <a:endParaRPr lang="en-US" sz="1050" i="1" dirty="0"/>
          </a:p>
        </p:txBody>
      </p:sp>
      <p:sp>
        <p:nvSpPr>
          <p:cNvPr id="56" name="TextBox 55">
            <a:extLst>
              <a:ext uri="{FF2B5EF4-FFF2-40B4-BE49-F238E27FC236}">
                <a16:creationId xmlns:a16="http://schemas.microsoft.com/office/drawing/2014/main" id="{51CB6DD0-5270-5BB5-89A4-AAC7F3AC85A3}"/>
              </a:ext>
            </a:extLst>
          </p:cNvPr>
          <p:cNvSpPr txBox="1"/>
          <p:nvPr/>
        </p:nvSpPr>
        <p:spPr>
          <a:xfrm>
            <a:off x="5621378" y="1647440"/>
            <a:ext cx="1867819" cy="261610"/>
          </a:xfrm>
          <a:prstGeom prst="rect">
            <a:avLst/>
          </a:prstGeom>
          <a:noFill/>
        </p:spPr>
        <p:txBody>
          <a:bodyPr wrap="none" rtlCol="0">
            <a:spAutoFit/>
          </a:bodyPr>
          <a:lstStyle/>
          <a:p>
            <a:r>
              <a:rPr lang="en-US" sz="1050" i="1" dirty="0"/>
              <a:t>Ad-trastuzumab emtansine</a:t>
            </a:r>
          </a:p>
        </p:txBody>
      </p:sp>
      <p:sp>
        <p:nvSpPr>
          <p:cNvPr id="19" name="TextBox 18">
            <a:extLst>
              <a:ext uri="{FF2B5EF4-FFF2-40B4-BE49-F238E27FC236}">
                <a16:creationId xmlns:a16="http://schemas.microsoft.com/office/drawing/2014/main" id="{5AE1F595-DD33-E207-D78A-A4F074191C01}"/>
              </a:ext>
            </a:extLst>
          </p:cNvPr>
          <p:cNvSpPr txBox="1"/>
          <p:nvPr/>
        </p:nvSpPr>
        <p:spPr>
          <a:xfrm>
            <a:off x="4092053" y="2469573"/>
            <a:ext cx="407484" cy="276999"/>
          </a:xfrm>
          <a:prstGeom prst="rect">
            <a:avLst/>
          </a:prstGeom>
          <a:noFill/>
        </p:spPr>
        <p:txBody>
          <a:bodyPr wrap="none" rtlCol="0">
            <a:spAutoFit/>
          </a:bodyPr>
          <a:lstStyle/>
          <a:p>
            <a:r>
              <a:rPr lang="en-US" sz="1200" i="1" dirty="0"/>
              <a:t>AIs</a:t>
            </a:r>
          </a:p>
        </p:txBody>
      </p:sp>
      <p:sp>
        <p:nvSpPr>
          <p:cNvPr id="45" name="TextBox 44">
            <a:extLst>
              <a:ext uri="{FF2B5EF4-FFF2-40B4-BE49-F238E27FC236}">
                <a16:creationId xmlns:a16="http://schemas.microsoft.com/office/drawing/2014/main" id="{8E0C6816-72E6-7542-3FFD-CD22A2B2EBC7}"/>
              </a:ext>
            </a:extLst>
          </p:cNvPr>
          <p:cNvSpPr txBox="1"/>
          <p:nvPr/>
        </p:nvSpPr>
        <p:spPr>
          <a:xfrm>
            <a:off x="7059410" y="925651"/>
            <a:ext cx="1231427" cy="276999"/>
          </a:xfrm>
          <a:prstGeom prst="rect">
            <a:avLst/>
          </a:prstGeom>
          <a:noFill/>
        </p:spPr>
        <p:txBody>
          <a:bodyPr wrap="none" rtlCol="0">
            <a:spAutoFit/>
          </a:bodyPr>
          <a:lstStyle/>
          <a:p>
            <a:r>
              <a:rPr lang="en-US" sz="1200" i="1" dirty="0"/>
              <a:t>pembrolizumab</a:t>
            </a:r>
          </a:p>
        </p:txBody>
      </p:sp>
      <p:sp>
        <p:nvSpPr>
          <p:cNvPr id="57" name="TextBox 56">
            <a:extLst>
              <a:ext uri="{FF2B5EF4-FFF2-40B4-BE49-F238E27FC236}">
                <a16:creationId xmlns:a16="http://schemas.microsoft.com/office/drawing/2014/main" id="{40A2BCFD-ED68-F621-53AF-D501E3A51319}"/>
              </a:ext>
            </a:extLst>
          </p:cNvPr>
          <p:cNvSpPr txBox="1"/>
          <p:nvPr/>
        </p:nvSpPr>
        <p:spPr>
          <a:xfrm>
            <a:off x="4986730" y="2469573"/>
            <a:ext cx="755335" cy="276999"/>
          </a:xfrm>
          <a:prstGeom prst="rect">
            <a:avLst/>
          </a:prstGeom>
          <a:noFill/>
        </p:spPr>
        <p:txBody>
          <a:bodyPr wrap="none" rtlCol="0">
            <a:spAutoFit/>
          </a:bodyPr>
          <a:lstStyle/>
          <a:p>
            <a:r>
              <a:rPr lang="en-US" sz="1200" i="1" dirty="0" err="1"/>
              <a:t>faslodex</a:t>
            </a:r>
            <a:endParaRPr lang="en-US" sz="1200" i="1" dirty="0"/>
          </a:p>
        </p:txBody>
      </p:sp>
      <p:sp>
        <p:nvSpPr>
          <p:cNvPr id="44" name="TextBox 43">
            <a:extLst>
              <a:ext uri="{FF2B5EF4-FFF2-40B4-BE49-F238E27FC236}">
                <a16:creationId xmlns:a16="http://schemas.microsoft.com/office/drawing/2014/main" id="{AB69C7E8-C8B3-B9DF-271E-3B9F50941BA1}"/>
              </a:ext>
            </a:extLst>
          </p:cNvPr>
          <p:cNvSpPr txBox="1"/>
          <p:nvPr/>
        </p:nvSpPr>
        <p:spPr>
          <a:xfrm>
            <a:off x="5657890" y="2673716"/>
            <a:ext cx="753732" cy="276999"/>
          </a:xfrm>
          <a:prstGeom prst="rect">
            <a:avLst/>
          </a:prstGeom>
          <a:noFill/>
        </p:spPr>
        <p:txBody>
          <a:bodyPr wrap="none" rtlCol="0">
            <a:spAutoFit/>
          </a:bodyPr>
          <a:lstStyle/>
          <a:p>
            <a:r>
              <a:rPr lang="en-US" sz="1200" i="1" dirty="0"/>
              <a:t>lapatinib</a:t>
            </a:r>
          </a:p>
        </p:txBody>
      </p:sp>
      <p:sp>
        <p:nvSpPr>
          <p:cNvPr id="51" name="TextBox 50">
            <a:extLst>
              <a:ext uri="{FF2B5EF4-FFF2-40B4-BE49-F238E27FC236}">
                <a16:creationId xmlns:a16="http://schemas.microsoft.com/office/drawing/2014/main" id="{FF9745C8-2F9A-EE88-B341-A474F1163CE3}"/>
              </a:ext>
            </a:extLst>
          </p:cNvPr>
          <p:cNvSpPr txBox="1"/>
          <p:nvPr/>
        </p:nvSpPr>
        <p:spPr>
          <a:xfrm>
            <a:off x="4294054" y="2673716"/>
            <a:ext cx="1029449" cy="276999"/>
          </a:xfrm>
          <a:prstGeom prst="rect">
            <a:avLst/>
          </a:prstGeom>
          <a:noFill/>
        </p:spPr>
        <p:txBody>
          <a:bodyPr wrap="none" rtlCol="0">
            <a:spAutoFit/>
          </a:bodyPr>
          <a:lstStyle/>
          <a:p>
            <a:r>
              <a:rPr lang="en-US" sz="1200" i="1" dirty="0"/>
              <a:t>trastuzumab</a:t>
            </a:r>
          </a:p>
        </p:txBody>
      </p:sp>
      <p:sp>
        <p:nvSpPr>
          <p:cNvPr id="61" name="TextBox 60">
            <a:extLst>
              <a:ext uri="{FF2B5EF4-FFF2-40B4-BE49-F238E27FC236}">
                <a16:creationId xmlns:a16="http://schemas.microsoft.com/office/drawing/2014/main" id="{07F438DD-7013-0458-B28D-1152AB0DBCB4}"/>
              </a:ext>
            </a:extLst>
          </p:cNvPr>
          <p:cNvSpPr txBox="1"/>
          <p:nvPr/>
        </p:nvSpPr>
        <p:spPr>
          <a:xfrm>
            <a:off x="7288035" y="2431679"/>
            <a:ext cx="934871" cy="276999"/>
          </a:xfrm>
          <a:prstGeom prst="rect">
            <a:avLst/>
          </a:prstGeom>
          <a:noFill/>
        </p:spPr>
        <p:txBody>
          <a:bodyPr wrap="none" rtlCol="0">
            <a:spAutoFit/>
          </a:bodyPr>
          <a:lstStyle/>
          <a:p>
            <a:r>
              <a:rPr lang="en-US" sz="1200" i="1" dirty="0" err="1"/>
              <a:t>elacestrant</a:t>
            </a:r>
            <a:endParaRPr lang="en-US" sz="1200" i="1" dirty="0"/>
          </a:p>
        </p:txBody>
      </p:sp>
      <p:sp>
        <p:nvSpPr>
          <p:cNvPr id="64" name="Rectangle 63">
            <a:extLst>
              <a:ext uri="{FF2B5EF4-FFF2-40B4-BE49-F238E27FC236}">
                <a16:creationId xmlns:a16="http://schemas.microsoft.com/office/drawing/2014/main" id="{24BBDD62-CC6F-22B9-5EFA-B46798431DAE}"/>
              </a:ext>
            </a:extLst>
          </p:cNvPr>
          <p:cNvSpPr/>
          <p:nvPr/>
        </p:nvSpPr>
        <p:spPr bwMode="auto">
          <a:xfrm>
            <a:off x="-76200" y="3086269"/>
            <a:ext cx="9220200" cy="1226650"/>
          </a:xfrm>
          <a:prstGeom prst="rect">
            <a:avLst/>
          </a:prstGeom>
          <a:solidFill>
            <a:srgbClr val="FFC000">
              <a:alpha val="3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pitchFamily="-72" charset="0"/>
              <a:ea typeface="ＭＳ Ｐゴシック" pitchFamily="-72" charset="-128"/>
              <a:cs typeface="ＭＳ Ｐゴシック" pitchFamily="-72" charset="-128"/>
            </a:endParaRPr>
          </a:p>
        </p:txBody>
      </p:sp>
      <p:sp>
        <p:nvSpPr>
          <p:cNvPr id="9" name="TextBox 8">
            <a:extLst>
              <a:ext uri="{FF2B5EF4-FFF2-40B4-BE49-F238E27FC236}">
                <a16:creationId xmlns:a16="http://schemas.microsoft.com/office/drawing/2014/main" id="{FF65C5E3-D91E-CF5E-761F-8A9B1445A218}"/>
              </a:ext>
            </a:extLst>
          </p:cNvPr>
          <p:cNvSpPr txBox="1"/>
          <p:nvPr/>
        </p:nvSpPr>
        <p:spPr>
          <a:xfrm>
            <a:off x="577437" y="3205900"/>
            <a:ext cx="1085392" cy="276999"/>
          </a:xfrm>
          <a:prstGeom prst="rect">
            <a:avLst/>
          </a:prstGeom>
          <a:noFill/>
        </p:spPr>
        <p:txBody>
          <a:bodyPr wrap="none" rtlCol="0">
            <a:spAutoFit/>
          </a:bodyPr>
          <a:lstStyle/>
          <a:p>
            <a:r>
              <a:rPr lang="en-US" sz="1200" i="1" dirty="0"/>
              <a:t>doxorubicin</a:t>
            </a:r>
          </a:p>
        </p:txBody>
      </p:sp>
      <p:cxnSp>
        <p:nvCxnSpPr>
          <p:cNvPr id="16" name="Straight Connector 15">
            <a:extLst>
              <a:ext uri="{FF2B5EF4-FFF2-40B4-BE49-F238E27FC236}">
                <a16:creationId xmlns:a16="http://schemas.microsoft.com/office/drawing/2014/main" id="{6A0E69F8-9E9E-C377-E172-38C77C12F77B}"/>
              </a:ext>
            </a:extLst>
          </p:cNvPr>
          <p:cNvCxnSpPr>
            <a:cxnSpLocks/>
          </p:cNvCxnSpPr>
          <p:nvPr/>
        </p:nvCxnSpPr>
        <p:spPr bwMode="auto">
          <a:xfrm>
            <a:off x="1853729" y="2919326"/>
            <a:ext cx="0" cy="130156"/>
          </a:xfrm>
          <a:prstGeom prst="line">
            <a:avLst/>
          </a:prstGeom>
          <a:solidFill>
            <a:schemeClr val="accent1"/>
          </a:solidFill>
          <a:ln w="25400" cap="flat" cmpd="sng" algn="ctr">
            <a:solidFill>
              <a:schemeClr val="tx1"/>
            </a:solidFill>
            <a:prstDash val="solid"/>
            <a:round/>
            <a:headEnd type="none" w="med" len="med"/>
            <a:tailEnd type="none" w="med" len="med"/>
          </a:ln>
          <a:effectLst/>
        </p:spPr>
      </p:cxnSp>
      <p:cxnSp>
        <p:nvCxnSpPr>
          <p:cNvPr id="18" name="Straight Connector 17">
            <a:extLst>
              <a:ext uri="{FF2B5EF4-FFF2-40B4-BE49-F238E27FC236}">
                <a16:creationId xmlns:a16="http://schemas.microsoft.com/office/drawing/2014/main" id="{22562281-B30E-9068-35AC-0DB00C2D248A}"/>
              </a:ext>
            </a:extLst>
          </p:cNvPr>
          <p:cNvCxnSpPr>
            <a:cxnSpLocks/>
          </p:cNvCxnSpPr>
          <p:nvPr/>
        </p:nvCxnSpPr>
        <p:spPr bwMode="auto">
          <a:xfrm>
            <a:off x="1292322" y="3119521"/>
            <a:ext cx="0" cy="130156"/>
          </a:xfrm>
          <a:prstGeom prst="line">
            <a:avLst/>
          </a:prstGeom>
          <a:solidFill>
            <a:schemeClr val="accent1"/>
          </a:solidFill>
          <a:ln w="25400" cap="flat" cmpd="sng" algn="ctr">
            <a:solidFill>
              <a:schemeClr val="tx1"/>
            </a:solidFill>
            <a:prstDash val="solid"/>
            <a:round/>
            <a:headEnd type="none" w="med" len="med"/>
            <a:tailEnd type="none" w="med" len="med"/>
          </a:ln>
          <a:effectLst/>
        </p:spPr>
      </p:cxnSp>
      <p:cxnSp>
        <p:nvCxnSpPr>
          <p:cNvPr id="21" name="Straight Connector 20">
            <a:extLst>
              <a:ext uri="{FF2B5EF4-FFF2-40B4-BE49-F238E27FC236}">
                <a16:creationId xmlns:a16="http://schemas.microsoft.com/office/drawing/2014/main" id="{2FC4DFEA-64B2-6846-6364-51B43642F911}"/>
              </a:ext>
            </a:extLst>
          </p:cNvPr>
          <p:cNvCxnSpPr>
            <a:cxnSpLocks/>
          </p:cNvCxnSpPr>
          <p:nvPr/>
        </p:nvCxnSpPr>
        <p:spPr bwMode="auto">
          <a:xfrm>
            <a:off x="4013114" y="3127554"/>
            <a:ext cx="0" cy="130156"/>
          </a:xfrm>
          <a:prstGeom prst="line">
            <a:avLst/>
          </a:prstGeom>
          <a:solidFill>
            <a:schemeClr val="accent1"/>
          </a:solidFill>
          <a:ln w="25400" cap="flat" cmpd="sng" algn="ctr">
            <a:solidFill>
              <a:schemeClr val="tx1"/>
            </a:solidFill>
            <a:prstDash val="solid"/>
            <a:round/>
            <a:headEnd type="none" w="med" len="med"/>
            <a:tailEnd type="none" w="med" len="med"/>
          </a:ln>
          <a:effectLst/>
        </p:spPr>
      </p:cxnSp>
      <p:sp>
        <p:nvSpPr>
          <p:cNvPr id="22" name="TextBox 21">
            <a:extLst>
              <a:ext uri="{FF2B5EF4-FFF2-40B4-BE49-F238E27FC236}">
                <a16:creationId xmlns:a16="http://schemas.microsoft.com/office/drawing/2014/main" id="{E4BA286E-BD35-2BF2-91DE-962200F44419}"/>
              </a:ext>
            </a:extLst>
          </p:cNvPr>
          <p:cNvSpPr txBox="1"/>
          <p:nvPr/>
        </p:nvSpPr>
        <p:spPr>
          <a:xfrm>
            <a:off x="3358467" y="3205900"/>
            <a:ext cx="923447" cy="276999"/>
          </a:xfrm>
          <a:prstGeom prst="rect">
            <a:avLst/>
          </a:prstGeom>
          <a:noFill/>
        </p:spPr>
        <p:txBody>
          <a:bodyPr wrap="none" rtlCol="0">
            <a:spAutoFit/>
          </a:bodyPr>
          <a:lstStyle/>
          <a:p>
            <a:r>
              <a:rPr lang="en-US" sz="1200" i="1" dirty="0"/>
              <a:t>paclitaxel</a:t>
            </a:r>
          </a:p>
        </p:txBody>
      </p:sp>
      <p:sp>
        <p:nvSpPr>
          <p:cNvPr id="24" name="TextBox 23">
            <a:extLst>
              <a:ext uri="{FF2B5EF4-FFF2-40B4-BE49-F238E27FC236}">
                <a16:creationId xmlns:a16="http://schemas.microsoft.com/office/drawing/2014/main" id="{6EBF1EF6-DFB7-27B3-8F4C-BF033B29EDB1}"/>
              </a:ext>
            </a:extLst>
          </p:cNvPr>
          <p:cNvSpPr txBox="1"/>
          <p:nvPr/>
        </p:nvSpPr>
        <p:spPr>
          <a:xfrm>
            <a:off x="4470815" y="3908419"/>
            <a:ext cx="1171764" cy="276999"/>
          </a:xfrm>
          <a:prstGeom prst="rect">
            <a:avLst/>
          </a:prstGeom>
          <a:noFill/>
        </p:spPr>
        <p:txBody>
          <a:bodyPr wrap="none" rtlCol="0">
            <a:spAutoFit/>
          </a:bodyPr>
          <a:lstStyle/>
          <a:p>
            <a:r>
              <a:rPr lang="en-US" sz="1200" i="1" dirty="0"/>
              <a:t>capecitabine</a:t>
            </a:r>
          </a:p>
        </p:txBody>
      </p:sp>
      <p:sp>
        <p:nvSpPr>
          <p:cNvPr id="26" name="TextBox 25">
            <a:extLst>
              <a:ext uri="{FF2B5EF4-FFF2-40B4-BE49-F238E27FC236}">
                <a16:creationId xmlns:a16="http://schemas.microsoft.com/office/drawing/2014/main" id="{E2FF6BDC-6E45-3527-1E88-3A6D9470DEC4}"/>
              </a:ext>
            </a:extLst>
          </p:cNvPr>
          <p:cNvSpPr txBox="1"/>
          <p:nvPr/>
        </p:nvSpPr>
        <p:spPr>
          <a:xfrm>
            <a:off x="5134824" y="3677545"/>
            <a:ext cx="1133976" cy="276999"/>
          </a:xfrm>
          <a:prstGeom prst="rect">
            <a:avLst/>
          </a:prstGeom>
          <a:noFill/>
        </p:spPr>
        <p:txBody>
          <a:bodyPr wrap="none" rtlCol="0">
            <a:spAutoFit/>
          </a:bodyPr>
          <a:lstStyle/>
          <a:p>
            <a:r>
              <a:rPr lang="en-US" sz="1200" i="1" dirty="0"/>
              <a:t>gemcitabine</a:t>
            </a:r>
          </a:p>
        </p:txBody>
      </p:sp>
      <p:sp>
        <p:nvSpPr>
          <p:cNvPr id="33" name="TextBox 32">
            <a:extLst>
              <a:ext uri="{FF2B5EF4-FFF2-40B4-BE49-F238E27FC236}">
                <a16:creationId xmlns:a16="http://schemas.microsoft.com/office/drawing/2014/main" id="{C350C5F5-2295-EDA1-6045-015CA3A7EE14}"/>
              </a:ext>
            </a:extLst>
          </p:cNvPr>
          <p:cNvSpPr txBox="1"/>
          <p:nvPr/>
        </p:nvSpPr>
        <p:spPr>
          <a:xfrm>
            <a:off x="5381630" y="3446670"/>
            <a:ext cx="1267131" cy="276999"/>
          </a:xfrm>
          <a:prstGeom prst="rect">
            <a:avLst/>
          </a:prstGeom>
          <a:noFill/>
        </p:spPr>
        <p:txBody>
          <a:bodyPr wrap="none" rtlCol="0">
            <a:spAutoFit/>
          </a:bodyPr>
          <a:lstStyle/>
          <a:p>
            <a:r>
              <a:rPr lang="en-US" sz="1200" i="1" dirty="0"/>
              <a:t>nab-paclitaxel</a:t>
            </a:r>
          </a:p>
        </p:txBody>
      </p:sp>
      <p:sp>
        <p:nvSpPr>
          <p:cNvPr id="37" name="TextBox 36">
            <a:extLst>
              <a:ext uri="{FF2B5EF4-FFF2-40B4-BE49-F238E27FC236}">
                <a16:creationId xmlns:a16="http://schemas.microsoft.com/office/drawing/2014/main" id="{6C4B88C3-876B-1E2C-E28B-67A1D352762B}"/>
              </a:ext>
            </a:extLst>
          </p:cNvPr>
          <p:cNvSpPr txBox="1"/>
          <p:nvPr/>
        </p:nvSpPr>
        <p:spPr>
          <a:xfrm>
            <a:off x="5525581" y="3215795"/>
            <a:ext cx="1074596" cy="276999"/>
          </a:xfrm>
          <a:prstGeom prst="rect">
            <a:avLst/>
          </a:prstGeom>
          <a:noFill/>
        </p:spPr>
        <p:txBody>
          <a:bodyPr wrap="none" rtlCol="0">
            <a:spAutoFit/>
          </a:bodyPr>
          <a:lstStyle/>
          <a:p>
            <a:r>
              <a:rPr lang="en-US" sz="1200" i="1" dirty="0"/>
              <a:t>ixabepilone</a:t>
            </a:r>
          </a:p>
        </p:txBody>
      </p:sp>
      <p:sp>
        <p:nvSpPr>
          <p:cNvPr id="42" name="TextBox 41">
            <a:extLst>
              <a:ext uri="{FF2B5EF4-FFF2-40B4-BE49-F238E27FC236}">
                <a16:creationId xmlns:a16="http://schemas.microsoft.com/office/drawing/2014/main" id="{CC81BD11-FF81-6803-2920-3D3194F3ABD6}"/>
              </a:ext>
            </a:extLst>
          </p:cNvPr>
          <p:cNvSpPr txBox="1"/>
          <p:nvPr/>
        </p:nvSpPr>
        <p:spPr>
          <a:xfrm>
            <a:off x="6528332" y="3205900"/>
            <a:ext cx="759703" cy="276999"/>
          </a:xfrm>
          <a:prstGeom prst="rect">
            <a:avLst/>
          </a:prstGeom>
          <a:noFill/>
        </p:spPr>
        <p:txBody>
          <a:bodyPr wrap="none" rtlCol="0">
            <a:spAutoFit/>
          </a:bodyPr>
          <a:lstStyle/>
          <a:p>
            <a:r>
              <a:rPr lang="en-US" sz="1200" i="1" dirty="0" err="1"/>
              <a:t>eribulin</a:t>
            </a:r>
            <a:endParaRPr lang="en-US" sz="1200" i="1" dirty="0"/>
          </a:p>
        </p:txBody>
      </p:sp>
      <p:cxnSp>
        <p:nvCxnSpPr>
          <p:cNvPr id="48" name="Straight Connector 47">
            <a:extLst>
              <a:ext uri="{FF2B5EF4-FFF2-40B4-BE49-F238E27FC236}">
                <a16:creationId xmlns:a16="http://schemas.microsoft.com/office/drawing/2014/main" id="{ACA5ED28-C26A-B981-D49B-40A4E538D7D1}"/>
              </a:ext>
            </a:extLst>
          </p:cNvPr>
          <p:cNvCxnSpPr>
            <a:cxnSpLocks/>
          </p:cNvCxnSpPr>
          <p:nvPr/>
        </p:nvCxnSpPr>
        <p:spPr bwMode="auto">
          <a:xfrm flipH="1">
            <a:off x="4751412" y="2913851"/>
            <a:ext cx="13633" cy="113349"/>
          </a:xfrm>
          <a:prstGeom prst="line">
            <a:avLst/>
          </a:prstGeom>
          <a:solidFill>
            <a:schemeClr val="accent1"/>
          </a:solidFill>
          <a:ln w="25400" cap="flat" cmpd="sng" algn="ctr">
            <a:solidFill>
              <a:schemeClr val="tx1"/>
            </a:solidFill>
            <a:prstDash val="solid"/>
            <a:round/>
            <a:headEnd type="none" w="med" len="med"/>
            <a:tailEnd type="none" w="med" len="med"/>
          </a:ln>
          <a:effectLst/>
        </p:spPr>
      </p:cxnSp>
      <p:cxnSp>
        <p:nvCxnSpPr>
          <p:cNvPr id="59" name="Straight Connector 58">
            <a:extLst>
              <a:ext uri="{FF2B5EF4-FFF2-40B4-BE49-F238E27FC236}">
                <a16:creationId xmlns:a16="http://schemas.microsoft.com/office/drawing/2014/main" id="{7F1DC060-CA1A-6DCE-07A2-EEDDDB19C1DE}"/>
              </a:ext>
            </a:extLst>
          </p:cNvPr>
          <p:cNvCxnSpPr>
            <a:cxnSpLocks/>
          </p:cNvCxnSpPr>
          <p:nvPr/>
        </p:nvCxnSpPr>
        <p:spPr bwMode="auto">
          <a:xfrm>
            <a:off x="6824879" y="3151271"/>
            <a:ext cx="0" cy="130156"/>
          </a:xfrm>
          <a:prstGeom prst="line">
            <a:avLst/>
          </a:prstGeom>
          <a:solidFill>
            <a:schemeClr val="accent1"/>
          </a:solidFill>
          <a:ln w="25400" cap="flat" cmpd="sng" algn="ctr">
            <a:solidFill>
              <a:schemeClr val="tx1"/>
            </a:solidFill>
            <a:prstDash val="solid"/>
            <a:round/>
            <a:headEnd type="none" w="med" len="med"/>
            <a:tailEnd type="none" w="med" len="med"/>
          </a:ln>
          <a:effectLst/>
        </p:spPr>
      </p:cxnSp>
      <p:sp>
        <p:nvSpPr>
          <p:cNvPr id="65" name="TextBox 64">
            <a:extLst>
              <a:ext uri="{FF2B5EF4-FFF2-40B4-BE49-F238E27FC236}">
                <a16:creationId xmlns:a16="http://schemas.microsoft.com/office/drawing/2014/main" id="{C9FABF94-AF65-C22C-FE66-287F341AEEF8}"/>
              </a:ext>
            </a:extLst>
          </p:cNvPr>
          <p:cNvSpPr txBox="1"/>
          <p:nvPr/>
        </p:nvSpPr>
        <p:spPr>
          <a:xfrm>
            <a:off x="-16635" y="3822653"/>
            <a:ext cx="1228221" cy="461665"/>
          </a:xfrm>
          <a:prstGeom prst="rect">
            <a:avLst/>
          </a:prstGeom>
          <a:noFill/>
        </p:spPr>
        <p:txBody>
          <a:bodyPr wrap="none" rtlCol="0">
            <a:spAutoFit/>
          </a:bodyPr>
          <a:lstStyle/>
          <a:p>
            <a:r>
              <a:rPr lang="en-US" b="1" dirty="0">
                <a:solidFill>
                  <a:srgbClr val="FF9900"/>
                </a:solidFill>
              </a:rPr>
              <a:t>Chemo</a:t>
            </a:r>
          </a:p>
        </p:txBody>
      </p:sp>
      <p:grpSp>
        <p:nvGrpSpPr>
          <p:cNvPr id="67" name="Group 66">
            <a:extLst>
              <a:ext uri="{FF2B5EF4-FFF2-40B4-BE49-F238E27FC236}">
                <a16:creationId xmlns:a16="http://schemas.microsoft.com/office/drawing/2014/main" id="{53E6FA5F-62CD-4D1C-8236-9B045B02C719}"/>
              </a:ext>
            </a:extLst>
          </p:cNvPr>
          <p:cNvGrpSpPr/>
          <p:nvPr/>
        </p:nvGrpSpPr>
        <p:grpSpPr>
          <a:xfrm>
            <a:off x="502688" y="2927347"/>
            <a:ext cx="8214592" cy="322330"/>
            <a:chOff x="502688" y="2927347"/>
            <a:chExt cx="8214592" cy="322330"/>
          </a:xfrm>
        </p:grpSpPr>
        <p:cxnSp>
          <p:nvCxnSpPr>
            <p:cNvPr id="5" name="Straight Arrow Connector 4">
              <a:extLst>
                <a:ext uri="{FF2B5EF4-FFF2-40B4-BE49-F238E27FC236}">
                  <a16:creationId xmlns:a16="http://schemas.microsoft.com/office/drawing/2014/main" id="{31322101-A48B-A78C-941B-15614EF8441B}"/>
                </a:ext>
              </a:extLst>
            </p:cNvPr>
            <p:cNvCxnSpPr>
              <a:cxnSpLocks/>
            </p:cNvCxnSpPr>
            <p:nvPr/>
          </p:nvCxnSpPr>
          <p:spPr bwMode="auto">
            <a:xfrm>
              <a:off x="593343" y="3095314"/>
              <a:ext cx="8123937" cy="0"/>
            </a:xfrm>
            <a:prstGeom prst="straightConnector1">
              <a:avLst/>
            </a:prstGeom>
            <a:solidFill>
              <a:schemeClr val="accent1"/>
            </a:solidFill>
            <a:ln w="190500" cap="flat" cmpd="sng" algn="ctr">
              <a:solidFill>
                <a:srgbClr val="FF0000"/>
              </a:solidFill>
              <a:prstDash val="solid"/>
              <a:round/>
              <a:headEnd type="none" w="med" len="med"/>
              <a:tailEnd type="triangle"/>
            </a:ln>
            <a:effectLst/>
          </p:spPr>
        </p:cxnSp>
        <p:sp>
          <p:nvSpPr>
            <p:cNvPr id="7" name="TextBox 6">
              <a:extLst>
                <a:ext uri="{FF2B5EF4-FFF2-40B4-BE49-F238E27FC236}">
                  <a16:creationId xmlns:a16="http://schemas.microsoft.com/office/drawing/2014/main" id="{05EB659C-2F72-8C17-20AE-D635F4CEA20E}"/>
                </a:ext>
              </a:extLst>
            </p:cNvPr>
            <p:cNvSpPr txBox="1"/>
            <p:nvPr/>
          </p:nvSpPr>
          <p:spPr>
            <a:xfrm>
              <a:off x="1853729" y="2935049"/>
              <a:ext cx="765101" cy="307777"/>
            </a:xfrm>
            <a:prstGeom prst="rect">
              <a:avLst/>
            </a:prstGeom>
            <a:noFill/>
          </p:spPr>
          <p:txBody>
            <a:bodyPr wrap="none" rtlCol="0">
              <a:spAutoFit/>
            </a:bodyPr>
            <a:lstStyle/>
            <a:p>
              <a:r>
                <a:rPr lang="en-US" sz="1400" b="1" dirty="0">
                  <a:solidFill>
                    <a:schemeClr val="bg1"/>
                  </a:solidFill>
                </a:rPr>
                <a:t>1980s</a:t>
              </a:r>
            </a:p>
          </p:txBody>
        </p:sp>
        <p:sp>
          <p:nvSpPr>
            <p:cNvPr id="10" name="TextBox 9">
              <a:extLst>
                <a:ext uri="{FF2B5EF4-FFF2-40B4-BE49-F238E27FC236}">
                  <a16:creationId xmlns:a16="http://schemas.microsoft.com/office/drawing/2014/main" id="{70F65300-9FA7-5687-C0BC-750D575F3ADD}"/>
                </a:ext>
              </a:extLst>
            </p:cNvPr>
            <p:cNvSpPr txBox="1"/>
            <p:nvPr/>
          </p:nvSpPr>
          <p:spPr>
            <a:xfrm>
              <a:off x="502688" y="2927348"/>
              <a:ext cx="765101" cy="307777"/>
            </a:xfrm>
            <a:prstGeom prst="rect">
              <a:avLst/>
            </a:prstGeom>
            <a:noFill/>
          </p:spPr>
          <p:txBody>
            <a:bodyPr wrap="none" rtlCol="0">
              <a:spAutoFit/>
            </a:bodyPr>
            <a:lstStyle/>
            <a:p>
              <a:r>
                <a:rPr lang="en-US" sz="1400" b="1" dirty="0">
                  <a:solidFill>
                    <a:schemeClr val="bg1"/>
                  </a:solidFill>
                </a:rPr>
                <a:t>1970s</a:t>
              </a:r>
            </a:p>
          </p:txBody>
        </p:sp>
        <p:sp>
          <p:nvSpPr>
            <p:cNvPr id="11" name="TextBox 10">
              <a:extLst>
                <a:ext uri="{FF2B5EF4-FFF2-40B4-BE49-F238E27FC236}">
                  <a16:creationId xmlns:a16="http://schemas.microsoft.com/office/drawing/2014/main" id="{5569D581-1502-5E23-4B59-F73AF3C7664A}"/>
                </a:ext>
              </a:extLst>
            </p:cNvPr>
            <p:cNvSpPr txBox="1"/>
            <p:nvPr/>
          </p:nvSpPr>
          <p:spPr>
            <a:xfrm>
              <a:off x="3204770" y="2927347"/>
              <a:ext cx="765101" cy="307777"/>
            </a:xfrm>
            <a:prstGeom prst="rect">
              <a:avLst/>
            </a:prstGeom>
            <a:noFill/>
          </p:spPr>
          <p:txBody>
            <a:bodyPr wrap="none" rtlCol="0">
              <a:spAutoFit/>
            </a:bodyPr>
            <a:lstStyle/>
            <a:p>
              <a:r>
                <a:rPr lang="en-US" sz="1400" b="1" dirty="0">
                  <a:solidFill>
                    <a:schemeClr val="bg1"/>
                  </a:solidFill>
                </a:rPr>
                <a:t>1990s</a:t>
              </a:r>
            </a:p>
          </p:txBody>
        </p:sp>
        <p:sp>
          <p:nvSpPr>
            <p:cNvPr id="12" name="TextBox 11">
              <a:extLst>
                <a:ext uri="{FF2B5EF4-FFF2-40B4-BE49-F238E27FC236}">
                  <a16:creationId xmlns:a16="http://schemas.microsoft.com/office/drawing/2014/main" id="{276C369E-4CE1-1DEF-DDAD-CA7E79C1608C}"/>
                </a:ext>
              </a:extLst>
            </p:cNvPr>
            <p:cNvSpPr txBox="1"/>
            <p:nvPr/>
          </p:nvSpPr>
          <p:spPr>
            <a:xfrm>
              <a:off x="4555812" y="2927347"/>
              <a:ext cx="765101" cy="307777"/>
            </a:xfrm>
            <a:prstGeom prst="rect">
              <a:avLst/>
            </a:prstGeom>
            <a:noFill/>
          </p:spPr>
          <p:txBody>
            <a:bodyPr wrap="none" rtlCol="0">
              <a:spAutoFit/>
            </a:bodyPr>
            <a:lstStyle/>
            <a:p>
              <a:r>
                <a:rPr lang="en-US" sz="1400" b="1" dirty="0">
                  <a:solidFill>
                    <a:schemeClr val="bg1"/>
                  </a:solidFill>
                </a:rPr>
                <a:t>2000s</a:t>
              </a:r>
            </a:p>
          </p:txBody>
        </p:sp>
        <p:sp>
          <p:nvSpPr>
            <p:cNvPr id="13" name="TextBox 12">
              <a:extLst>
                <a:ext uri="{FF2B5EF4-FFF2-40B4-BE49-F238E27FC236}">
                  <a16:creationId xmlns:a16="http://schemas.microsoft.com/office/drawing/2014/main" id="{F0BC80C3-42AE-9086-7156-71311DE33045}"/>
                </a:ext>
              </a:extLst>
            </p:cNvPr>
            <p:cNvSpPr txBox="1"/>
            <p:nvPr/>
          </p:nvSpPr>
          <p:spPr>
            <a:xfrm>
              <a:off x="5906853" y="2941900"/>
              <a:ext cx="765101" cy="307777"/>
            </a:xfrm>
            <a:prstGeom prst="rect">
              <a:avLst/>
            </a:prstGeom>
            <a:noFill/>
          </p:spPr>
          <p:txBody>
            <a:bodyPr wrap="none" rtlCol="0">
              <a:spAutoFit/>
            </a:bodyPr>
            <a:lstStyle/>
            <a:p>
              <a:r>
                <a:rPr lang="en-US" sz="1400" b="1" dirty="0">
                  <a:solidFill>
                    <a:schemeClr val="bg1"/>
                  </a:solidFill>
                </a:rPr>
                <a:t>2010s</a:t>
              </a:r>
            </a:p>
          </p:txBody>
        </p:sp>
        <p:sp>
          <p:nvSpPr>
            <p:cNvPr id="14" name="TextBox 13">
              <a:extLst>
                <a:ext uri="{FF2B5EF4-FFF2-40B4-BE49-F238E27FC236}">
                  <a16:creationId xmlns:a16="http://schemas.microsoft.com/office/drawing/2014/main" id="{E7876E31-8037-E8A6-4A4A-C16863F1DE35}"/>
                </a:ext>
              </a:extLst>
            </p:cNvPr>
            <p:cNvSpPr txBox="1"/>
            <p:nvPr/>
          </p:nvSpPr>
          <p:spPr>
            <a:xfrm>
              <a:off x="7257896" y="2941900"/>
              <a:ext cx="765101" cy="307777"/>
            </a:xfrm>
            <a:prstGeom prst="rect">
              <a:avLst/>
            </a:prstGeom>
            <a:noFill/>
          </p:spPr>
          <p:txBody>
            <a:bodyPr wrap="none" rtlCol="0">
              <a:spAutoFit/>
            </a:bodyPr>
            <a:lstStyle/>
            <a:p>
              <a:r>
                <a:rPr lang="en-US" sz="1400" b="1" dirty="0">
                  <a:solidFill>
                    <a:schemeClr val="bg1"/>
                  </a:solidFill>
                </a:rPr>
                <a:t>2020s</a:t>
              </a:r>
            </a:p>
          </p:txBody>
        </p:sp>
      </p:grpSp>
      <p:sp>
        <p:nvSpPr>
          <p:cNvPr id="68" name="TextBox 67">
            <a:extLst>
              <a:ext uri="{FF2B5EF4-FFF2-40B4-BE49-F238E27FC236}">
                <a16:creationId xmlns:a16="http://schemas.microsoft.com/office/drawing/2014/main" id="{4DED9BE0-3837-8879-97FE-FD174754A39C}"/>
              </a:ext>
            </a:extLst>
          </p:cNvPr>
          <p:cNvSpPr txBox="1"/>
          <p:nvPr/>
        </p:nvSpPr>
        <p:spPr>
          <a:xfrm>
            <a:off x="-16635" y="2233439"/>
            <a:ext cx="1461875" cy="461665"/>
          </a:xfrm>
          <a:prstGeom prst="rect">
            <a:avLst/>
          </a:prstGeom>
          <a:noFill/>
        </p:spPr>
        <p:txBody>
          <a:bodyPr wrap="none" rtlCol="0">
            <a:spAutoFit/>
          </a:bodyPr>
          <a:lstStyle/>
          <a:p>
            <a:r>
              <a:rPr lang="en-US" b="1" dirty="0">
                <a:solidFill>
                  <a:srgbClr val="00B050"/>
                </a:solidFill>
              </a:rPr>
              <a:t>Targeted</a:t>
            </a:r>
          </a:p>
        </p:txBody>
      </p:sp>
      <p:sp>
        <p:nvSpPr>
          <p:cNvPr id="70" name="TextBox 69">
            <a:extLst>
              <a:ext uri="{FF2B5EF4-FFF2-40B4-BE49-F238E27FC236}">
                <a16:creationId xmlns:a16="http://schemas.microsoft.com/office/drawing/2014/main" id="{8F48A010-BA33-0506-AB57-2223FE447CDA}"/>
              </a:ext>
            </a:extLst>
          </p:cNvPr>
          <p:cNvSpPr txBox="1"/>
          <p:nvPr/>
        </p:nvSpPr>
        <p:spPr>
          <a:xfrm>
            <a:off x="-16635" y="1278459"/>
            <a:ext cx="1024639" cy="461665"/>
          </a:xfrm>
          <a:prstGeom prst="rect">
            <a:avLst/>
          </a:prstGeom>
          <a:noFill/>
        </p:spPr>
        <p:txBody>
          <a:bodyPr wrap="none" rtlCol="0">
            <a:spAutoFit/>
          </a:bodyPr>
          <a:lstStyle/>
          <a:p>
            <a:r>
              <a:rPr lang="en-US" b="1" dirty="0">
                <a:solidFill>
                  <a:srgbClr val="0070C0"/>
                </a:solidFill>
              </a:rPr>
              <a:t>ADCs</a:t>
            </a:r>
          </a:p>
        </p:txBody>
      </p:sp>
      <p:sp>
        <p:nvSpPr>
          <p:cNvPr id="72" name="TextBox 71">
            <a:extLst>
              <a:ext uri="{FF2B5EF4-FFF2-40B4-BE49-F238E27FC236}">
                <a16:creationId xmlns:a16="http://schemas.microsoft.com/office/drawing/2014/main" id="{4167A9D0-BBF5-F9CE-DA51-A6FD96407559}"/>
              </a:ext>
            </a:extLst>
          </p:cNvPr>
          <p:cNvSpPr txBox="1"/>
          <p:nvPr/>
        </p:nvSpPr>
        <p:spPr>
          <a:xfrm>
            <a:off x="-16635" y="818476"/>
            <a:ext cx="2492990" cy="461665"/>
          </a:xfrm>
          <a:prstGeom prst="rect">
            <a:avLst/>
          </a:prstGeom>
          <a:noFill/>
        </p:spPr>
        <p:txBody>
          <a:bodyPr wrap="none" rtlCol="0">
            <a:spAutoFit/>
          </a:bodyPr>
          <a:lstStyle/>
          <a:p>
            <a:r>
              <a:rPr lang="en-US" b="1" dirty="0">
                <a:solidFill>
                  <a:srgbClr val="7030A0"/>
                </a:solidFill>
              </a:rPr>
              <a:t>Immunotherapy</a:t>
            </a:r>
          </a:p>
        </p:txBody>
      </p:sp>
      <p:sp>
        <p:nvSpPr>
          <p:cNvPr id="73" name="TextBox 72">
            <a:extLst>
              <a:ext uri="{FF2B5EF4-FFF2-40B4-BE49-F238E27FC236}">
                <a16:creationId xmlns:a16="http://schemas.microsoft.com/office/drawing/2014/main" id="{7B06563D-F0A9-293A-1B0B-6D25085E1565}"/>
              </a:ext>
            </a:extLst>
          </p:cNvPr>
          <p:cNvSpPr txBox="1"/>
          <p:nvPr/>
        </p:nvSpPr>
        <p:spPr>
          <a:xfrm>
            <a:off x="6736162" y="1885518"/>
            <a:ext cx="625299" cy="276999"/>
          </a:xfrm>
          <a:prstGeom prst="rect">
            <a:avLst/>
          </a:prstGeom>
          <a:noFill/>
        </p:spPr>
        <p:txBody>
          <a:bodyPr wrap="none" rtlCol="0">
            <a:spAutoFit/>
          </a:bodyPr>
          <a:lstStyle/>
          <a:p>
            <a:r>
              <a:rPr lang="en-US" sz="1200" i="1" dirty="0" err="1"/>
              <a:t>PARPi</a:t>
            </a:r>
            <a:endParaRPr lang="en-US" sz="1200" i="1" dirty="0"/>
          </a:p>
        </p:txBody>
      </p:sp>
      <p:sp>
        <p:nvSpPr>
          <p:cNvPr id="74" name="TextBox 73">
            <a:extLst>
              <a:ext uri="{FF2B5EF4-FFF2-40B4-BE49-F238E27FC236}">
                <a16:creationId xmlns:a16="http://schemas.microsoft.com/office/drawing/2014/main" id="{936A5F88-131D-A099-0FD6-B740C6192F8F}"/>
              </a:ext>
            </a:extLst>
          </p:cNvPr>
          <p:cNvSpPr txBox="1"/>
          <p:nvPr/>
        </p:nvSpPr>
        <p:spPr>
          <a:xfrm>
            <a:off x="6063126" y="1893006"/>
            <a:ext cx="755335" cy="276999"/>
          </a:xfrm>
          <a:prstGeom prst="rect">
            <a:avLst/>
          </a:prstGeom>
          <a:noFill/>
        </p:spPr>
        <p:txBody>
          <a:bodyPr wrap="none" rtlCol="0">
            <a:spAutoFit/>
          </a:bodyPr>
          <a:lstStyle/>
          <a:p>
            <a:r>
              <a:rPr lang="en-US" sz="1200" i="1" dirty="0"/>
              <a:t>CDK4/6i</a:t>
            </a:r>
          </a:p>
        </p:txBody>
      </p:sp>
      <p:sp>
        <p:nvSpPr>
          <p:cNvPr id="3" name="TextBox 2">
            <a:extLst>
              <a:ext uri="{FF2B5EF4-FFF2-40B4-BE49-F238E27FC236}">
                <a16:creationId xmlns:a16="http://schemas.microsoft.com/office/drawing/2014/main" id="{F3790B4D-43CC-C529-7AD0-804E40011447}"/>
              </a:ext>
            </a:extLst>
          </p:cNvPr>
          <p:cNvSpPr txBox="1"/>
          <p:nvPr/>
        </p:nvSpPr>
        <p:spPr>
          <a:xfrm>
            <a:off x="-16635" y="1771774"/>
            <a:ext cx="2457724" cy="461665"/>
          </a:xfrm>
          <a:prstGeom prst="rect">
            <a:avLst/>
          </a:prstGeom>
          <a:noFill/>
        </p:spPr>
        <p:txBody>
          <a:bodyPr wrap="none" rtlCol="0">
            <a:spAutoFit/>
          </a:bodyPr>
          <a:lstStyle/>
          <a:p>
            <a:r>
              <a:rPr lang="en-US" b="1" dirty="0">
                <a:solidFill>
                  <a:srgbClr val="FF6600"/>
                </a:solidFill>
              </a:rPr>
              <a:t>Synthetic lethal</a:t>
            </a:r>
          </a:p>
        </p:txBody>
      </p:sp>
    </p:spTree>
    <p:extLst>
      <p:ext uri="{BB962C8B-B14F-4D97-AF65-F5344CB8AC3E}">
        <p14:creationId xmlns:p14="http://schemas.microsoft.com/office/powerpoint/2010/main" val="1651885303"/>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half" idx="1"/>
          </p:nvPr>
        </p:nvSpPr>
        <p:spPr>
          <a:xfrm>
            <a:off x="651710" y="681256"/>
            <a:ext cx="7840579" cy="2936240"/>
          </a:xfrm>
        </p:spPr>
        <p:txBody>
          <a:bodyPr/>
          <a:lstStyle/>
          <a:p>
            <a:r>
              <a:rPr lang="en-US" dirty="0">
                <a:solidFill>
                  <a:srgbClr val="002E51"/>
                </a:solidFill>
              </a:rPr>
              <a:t>Other checkpoints:</a:t>
            </a:r>
          </a:p>
          <a:p>
            <a:pPr lvl="1"/>
            <a:r>
              <a:rPr lang="en-US" dirty="0">
                <a:solidFill>
                  <a:srgbClr val="002E51"/>
                </a:solidFill>
              </a:rPr>
              <a:t>TIGIT</a:t>
            </a:r>
          </a:p>
          <a:p>
            <a:pPr lvl="1"/>
            <a:r>
              <a:rPr lang="en-US" dirty="0">
                <a:solidFill>
                  <a:srgbClr val="002E51"/>
                </a:solidFill>
              </a:rPr>
              <a:t>TIM-3</a:t>
            </a:r>
          </a:p>
          <a:p>
            <a:pPr lvl="1"/>
            <a:r>
              <a:rPr lang="en-US" dirty="0">
                <a:solidFill>
                  <a:srgbClr val="002E51"/>
                </a:solidFill>
              </a:rPr>
              <a:t>LAG3</a:t>
            </a:r>
          </a:p>
          <a:p>
            <a:r>
              <a:rPr lang="en-US" dirty="0" err="1">
                <a:solidFill>
                  <a:srgbClr val="002E51"/>
                </a:solidFill>
              </a:rPr>
              <a:t>BiTEs</a:t>
            </a:r>
            <a:endParaRPr lang="en-US" dirty="0">
              <a:solidFill>
                <a:srgbClr val="002E51"/>
              </a:solidFill>
            </a:endParaRPr>
          </a:p>
          <a:p>
            <a:r>
              <a:rPr lang="en-US" dirty="0">
                <a:solidFill>
                  <a:srgbClr val="002E51"/>
                </a:solidFill>
              </a:rPr>
              <a:t>New Combinations of anti-PD1</a:t>
            </a:r>
          </a:p>
          <a:p>
            <a:pPr lvl="1"/>
            <a:r>
              <a:rPr lang="en-US" dirty="0">
                <a:solidFill>
                  <a:srgbClr val="002E51"/>
                </a:solidFill>
              </a:rPr>
              <a:t>Estrogen blockers</a:t>
            </a:r>
          </a:p>
          <a:p>
            <a:pPr lvl="1"/>
            <a:r>
              <a:rPr lang="en-US" dirty="0">
                <a:solidFill>
                  <a:srgbClr val="002E51"/>
                </a:solidFill>
              </a:rPr>
              <a:t>Anti-microtubule agents</a:t>
            </a:r>
          </a:p>
          <a:p>
            <a:pPr lvl="1"/>
            <a:endParaRPr lang="en-US" dirty="0">
              <a:solidFill>
                <a:srgbClr val="002E51"/>
              </a:solidFill>
            </a:endParaRPr>
          </a:p>
          <a:p>
            <a:pPr marL="0" indent="0">
              <a:buNone/>
            </a:pPr>
            <a:endParaRPr lang="en-US" dirty="0">
              <a:solidFill>
                <a:srgbClr val="002E51"/>
              </a:solidFill>
            </a:endParaRPr>
          </a:p>
        </p:txBody>
      </p:sp>
      <p:sp>
        <p:nvSpPr>
          <p:cNvPr id="4" name="Title 3"/>
          <p:cNvSpPr>
            <a:spLocks noGrp="1"/>
          </p:cNvSpPr>
          <p:nvPr>
            <p:ph type="title"/>
          </p:nvPr>
        </p:nvSpPr>
        <p:spPr/>
        <p:txBody>
          <a:bodyPr/>
          <a:lstStyle/>
          <a:p>
            <a:r>
              <a:rPr lang="en-US" b="1" dirty="0">
                <a:solidFill>
                  <a:srgbClr val="7030A0"/>
                </a:solidFill>
              </a:rPr>
              <a:t>Immunotherapy</a:t>
            </a:r>
          </a:p>
        </p:txBody>
      </p:sp>
    </p:spTree>
    <p:extLst>
      <p:ext uri="{BB962C8B-B14F-4D97-AF65-F5344CB8AC3E}">
        <p14:creationId xmlns:p14="http://schemas.microsoft.com/office/powerpoint/2010/main" val="2432623632"/>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b="1" dirty="0">
                <a:solidFill>
                  <a:srgbClr val="7030A0"/>
                </a:solidFill>
              </a:rPr>
              <a:t>Immunotherapy</a:t>
            </a:r>
          </a:p>
        </p:txBody>
      </p:sp>
      <p:sp>
        <p:nvSpPr>
          <p:cNvPr id="6" name="TextBox 5">
            <a:extLst>
              <a:ext uri="{FF2B5EF4-FFF2-40B4-BE49-F238E27FC236}">
                <a16:creationId xmlns:a16="http://schemas.microsoft.com/office/drawing/2014/main" id="{110E2B67-E26B-EC5A-468A-FF9A3D175381}"/>
              </a:ext>
            </a:extLst>
          </p:cNvPr>
          <p:cNvSpPr txBox="1"/>
          <p:nvPr/>
        </p:nvSpPr>
        <p:spPr>
          <a:xfrm>
            <a:off x="5807242" y="4085089"/>
            <a:ext cx="3047629" cy="338554"/>
          </a:xfrm>
          <a:prstGeom prst="rect">
            <a:avLst/>
          </a:prstGeom>
          <a:noFill/>
        </p:spPr>
        <p:txBody>
          <a:bodyPr wrap="none" rtlCol="0">
            <a:spAutoFit/>
          </a:bodyPr>
          <a:lstStyle/>
          <a:p>
            <a:r>
              <a:rPr lang="en-US" sz="1600" i="1" dirty="0"/>
              <a:t>Hu et al. Mol Cancer </a:t>
            </a:r>
            <a:r>
              <a:rPr lang="en-US" sz="1600" i="1" dirty="0" err="1"/>
              <a:t>Ther</a:t>
            </a:r>
            <a:r>
              <a:rPr lang="en-US" sz="1600" i="1" dirty="0"/>
              <a:t> 2021</a:t>
            </a:r>
          </a:p>
        </p:txBody>
      </p:sp>
      <p:pic>
        <p:nvPicPr>
          <p:cNvPr id="11" name="Picture 10">
            <a:extLst>
              <a:ext uri="{FF2B5EF4-FFF2-40B4-BE49-F238E27FC236}">
                <a16:creationId xmlns:a16="http://schemas.microsoft.com/office/drawing/2014/main" id="{C511CF01-F834-0B01-3252-B845948A8EB4}"/>
              </a:ext>
            </a:extLst>
          </p:cNvPr>
          <p:cNvPicPr>
            <a:picLocks noChangeAspect="1"/>
          </p:cNvPicPr>
          <p:nvPr/>
        </p:nvPicPr>
        <p:blipFill>
          <a:blip r:embed="rId2"/>
          <a:stretch>
            <a:fillRect/>
          </a:stretch>
        </p:blipFill>
        <p:spPr>
          <a:xfrm>
            <a:off x="511849" y="822961"/>
            <a:ext cx="6154959" cy="3262128"/>
          </a:xfrm>
          <a:prstGeom prst="rect">
            <a:avLst/>
          </a:prstGeom>
        </p:spPr>
      </p:pic>
      <p:sp>
        <p:nvSpPr>
          <p:cNvPr id="14" name="TextBox 13">
            <a:extLst>
              <a:ext uri="{FF2B5EF4-FFF2-40B4-BE49-F238E27FC236}">
                <a16:creationId xmlns:a16="http://schemas.microsoft.com/office/drawing/2014/main" id="{770A65E1-68D0-583A-D541-A4FFE7425402}"/>
              </a:ext>
            </a:extLst>
          </p:cNvPr>
          <p:cNvSpPr txBox="1"/>
          <p:nvPr/>
        </p:nvSpPr>
        <p:spPr>
          <a:xfrm>
            <a:off x="6521116" y="1095258"/>
            <a:ext cx="1707519" cy="830997"/>
          </a:xfrm>
          <a:prstGeom prst="rect">
            <a:avLst/>
          </a:prstGeom>
          <a:noFill/>
        </p:spPr>
        <p:txBody>
          <a:bodyPr wrap="none" rtlCol="0">
            <a:spAutoFit/>
          </a:bodyPr>
          <a:lstStyle/>
          <a:p>
            <a:r>
              <a:rPr lang="en-US" dirty="0"/>
              <a:t>High </a:t>
            </a:r>
            <a:r>
              <a:rPr lang="en-US" dirty="0" err="1"/>
              <a:t>cGAS</a:t>
            </a:r>
            <a:endParaRPr lang="en-US" dirty="0"/>
          </a:p>
          <a:p>
            <a:r>
              <a:rPr lang="en-US" dirty="0"/>
              <a:t>expression</a:t>
            </a:r>
          </a:p>
        </p:txBody>
      </p:sp>
      <p:cxnSp>
        <p:nvCxnSpPr>
          <p:cNvPr id="16" name="Straight Connector 15">
            <a:extLst>
              <a:ext uri="{FF2B5EF4-FFF2-40B4-BE49-F238E27FC236}">
                <a16:creationId xmlns:a16="http://schemas.microsoft.com/office/drawing/2014/main" id="{AF27B6A9-A5B1-209B-7ECE-094D4CADEA26}"/>
              </a:ext>
            </a:extLst>
          </p:cNvPr>
          <p:cNvCxnSpPr/>
          <p:nvPr/>
        </p:nvCxnSpPr>
        <p:spPr bwMode="auto">
          <a:xfrm>
            <a:off x="6545179" y="1143384"/>
            <a:ext cx="0" cy="830997"/>
          </a:xfrm>
          <a:prstGeom prst="line">
            <a:avLst/>
          </a:prstGeom>
          <a:solidFill>
            <a:schemeClr val="accent1"/>
          </a:solidFill>
          <a:ln w="63500" cap="flat" cmpd="sng" algn="ctr">
            <a:solidFill>
              <a:srgbClr val="F9BEC0"/>
            </a:solidFill>
            <a:prstDash val="solid"/>
            <a:round/>
            <a:headEnd type="none" w="med" len="med"/>
            <a:tailEnd type="none" w="med" len="med"/>
          </a:ln>
          <a:effectLst/>
        </p:spPr>
      </p:cxnSp>
    </p:spTree>
    <p:extLst>
      <p:ext uri="{BB962C8B-B14F-4D97-AF65-F5344CB8AC3E}">
        <p14:creationId xmlns:p14="http://schemas.microsoft.com/office/powerpoint/2010/main" val="3117950242"/>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0" y="127465"/>
            <a:ext cx="9144000" cy="807256"/>
          </a:xfrm>
        </p:spPr>
        <p:txBody>
          <a:bodyPr/>
          <a:lstStyle/>
          <a:p>
            <a:r>
              <a:rPr lang="en-US" b="1" dirty="0"/>
              <a:t>New Targets</a:t>
            </a:r>
          </a:p>
        </p:txBody>
      </p:sp>
      <p:sp>
        <p:nvSpPr>
          <p:cNvPr id="69" name="Rectangle 68">
            <a:extLst>
              <a:ext uri="{FF2B5EF4-FFF2-40B4-BE49-F238E27FC236}">
                <a16:creationId xmlns:a16="http://schemas.microsoft.com/office/drawing/2014/main" id="{A2575D5F-D0B4-E7A9-870D-B23228387AB7}"/>
              </a:ext>
            </a:extLst>
          </p:cNvPr>
          <p:cNvSpPr/>
          <p:nvPr/>
        </p:nvSpPr>
        <p:spPr bwMode="auto">
          <a:xfrm>
            <a:off x="-83075" y="1158642"/>
            <a:ext cx="9149697" cy="656139"/>
          </a:xfrm>
          <a:prstGeom prst="rect">
            <a:avLst/>
          </a:prstGeom>
          <a:solidFill>
            <a:srgbClr val="00B0F0">
              <a:alpha val="3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Arial" pitchFamily="-72" charset="0"/>
              <a:ea typeface="ＭＳ Ｐゴシック" pitchFamily="-72" charset="-128"/>
              <a:cs typeface="ＭＳ Ｐゴシック" pitchFamily="-72" charset="-128"/>
            </a:endParaRPr>
          </a:p>
        </p:txBody>
      </p:sp>
      <p:sp>
        <p:nvSpPr>
          <p:cNvPr id="2" name="Rectangle 1">
            <a:extLst>
              <a:ext uri="{FF2B5EF4-FFF2-40B4-BE49-F238E27FC236}">
                <a16:creationId xmlns:a16="http://schemas.microsoft.com/office/drawing/2014/main" id="{10144252-74FD-924F-36FD-CDCA749456D4}"/>
              </a:ext>
            </a:extLst>
          </p:cNvPr>
          <p:cNvSpPr/>
          <p:nvPr/>
        </p:nvSpPr>
        <p:spPr bwMode="auto">
          <a:xfrm>
            <a:off x="-71229" y="1810236"/>
            <a:ext cx="9149697" cy="376163"/>
          </a:xfrm>
          <a:prstGeom prst="rect">
            <a:avLst/>
          </a:prstGeom>
          <a:solidFill>
            <a:srgbClr val="FF6600">
              <a:alpha val="29804"/>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Arial" pitchFamily="-72" charset="0"/>
              <a:ea typeface="ＭＳ Ｐゴシック" pitchFamily="-72" charset="-128"/>
              <a:cs typeface="ＭＳ Ｐゴシック" pitchFamily="-72" charset="-128"/>
            </a:endParaRPr>
          </a:p>
        </p:txBody>
      </p:sp>
      <p:sp>
        <p:nvSpPr>
          <p:cNvPr id="71" name="Rectangle 70">
            <a:extLst>
              <a:ext uri="{FF2B5EF4-FFF2-40B4-BE49-F238E27FC236}">
                <a16:creationId xmlns:a16="http://schemas.microsoft.com/office/drawing/2014/main" id="{1669F4EF-577D-489F-4B47-87D3B57C8051}"/>
              </a:ext>
            </a:extLst>
          </p:cNvPr>
          <p:cNvSpPr/>
          <p:nvPr/>
        </p:nvSpPr>
        <p:spPr bwMode="auto">
          <a:xfrm>
            <a:off x="-71229" y="836223"/>
            <a:ext cx="9137851" cy="323624"/>
          </a:xfrm>
          <a:prstGeom prst="rect">
            <a:avLst/>
          </a:prstGeom>
          <a:solidFill>
            <a:srgbClr val="7030A0">
              <a:alpha val="3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Arial" pitchFamily="-72" charset="0"/>
              <a:ea typeface="ＭＳ Ｐゴシック" pitchFamily="-72" charset="-128"/>
              <a:cs typeface="ＭＳ Ｐゴシック" pitchFamily="-72" charset="-128"/>
            </a:endParaRPr>
          </a:p>
        </p:txBody>
      </p:sp>
      <p:sp>
        <p:nvSpPr>
          <p:cNvPr id="66" name="Rectangle 65">
            <a:extLst>
              <a:ext uri="{FF2B5EF4-FFF2-40B4-BE49-F238E27FC236}">
                <a16:creationId xmlns:a16="http://schemas.microsoft.com/office/drawing/2014/main" id="{C5E91C40-4685-9378-943B-F3273F068C97}"/>
              </a:ext>
            </a:extLst>
          </p:cNvPr>
          <p:cNvSpPr/>
          <p:nvPr/>
        </p:nvSpPr>
        <p:spPr bwMode="auto">
          <a:xfrm>
            <a:off x="-77377" y="2180224"/>
            <a:ext cx="9144000" cy="926643"/>
          </a:xfrm>
          <a:prstGeom prst="rect">
            <a:avLst/>
          </a:prstGeom>
          <a:solidFill>
            <a:srgbClr val="00B050">
              <a:alpha val="3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Arial" pitchFamily="-72" charset="0"/>
              <a:ea typeface="ＭＳ Ｐゴシック" pitchFamily="-72" charset="-128"/>
              <a:cs typeface="ＭＳ Ｐゴシック" pitchFamily="-72" charset="-128"/>
            </a:endParaRPr>
          </a:p>
        </p:txBody>
      </p:sp>
      <p:sp>
        <p:nvSpPr>
          <p:cNvPr id="8" name="TextBox 7">
            <a:extLst>
              <a:ext uri="{FF2B5EF4-FFF2-40B4-BE49-F238E27FC236}">
                <a16:creationId xmlns:a16="http://schemas.microsoft.com/office/drawing/2014/main" id="{32011EC4-3F30-E974-723F-A517713FDE89}"/>
              </a:ext>
            </a:extLst>
          </p:cNvPr>
          <p:cNvSpPr txBox="1"/>
          <p:nvPr/>
        </p:nvSpPr>
        <p:spPr>
          <a:xfrm>
            <a:off x="953505" y="2603398"/>
            <a:ext cx="704433" cy="230832"/>
          </a:xfrm>
          <a:prstGeom prst="rect">
            <a:avLst/>
          </a:prstGeom>
          <a:noFill/>
        </p:spPr>
        <p:txBody>
          <a:bodyPr wrap="square" rtlCol="0">
            <a:spAutoFit/>
          </a:bodyPr>
          <a:lstStyle/>
          <a:p>
            <a:r>
              <a:rPr lang="en-US" sz="900" i="1" dirty="0"/>
              <a:t>tamoxifen</a:t>
            </a:r>
          </a:p>
        </p:txBody>
      </p:sp>
      <p:sp>
        <p:nvSpPr>
          <p:cNvPr id="46" name="TextBox 45">
            <a:extLst>
              <a:ext uri="{FF2B5EF4-FFF2-40B4-BE49-F238E27FC236}">
                <a16:creationId xmlns:a16="http://schemas.microsoft.com/office/drawing/2014/main" id="{8E6F21A2-D004-CAFD-5509-57BDE071A601}"/>
              </a:ext>
            </a:extLst>
          </p:cNvPr>
          <p:cNvSpPr txBox="1"/>
          <p:nvPr/>
        </p:nvSpPr>
        <p:spPr>
          <a:xfrm>
            <a:off x="5786959" y="2590968"/>
            <a:ext cx="610101" cy="230832"/>
          </a:xfrm>
          <a:prstGeom prst="rect">
            <a:avLst/>
          </a:prstGeom>
          <a:noFill/>
        </p:spPr>
        <p:txBody>
          <a:bodyPr wrap="square" rtlCol="0">
            <a:spAutoFit/>
          </a:bodyPr>
          <a:lstStyle/>
          <a:p>
            <a:r>
              <a:rPr lang="en-US" sz="900" i="1" dirty="0" err="1"/>
              <a:t>alpelisib</a:t>
            </a:r>
            <a:endParaRPr lang="en-US" sz="900" i="1" dirty="0"/>
          </a:p>
        </p:txBody>
      </p:sp>
      <p:sp>
        <p:nvSpPr>
          <p:cNvPr id="50" name="TextBox 49">
            <a:extLst>
              <a:ext uri="{FF2B5EF4-FFF2-40B4-BE49-F238E27FC236}">
                <a16:creationId xmlns:a16="http://schemas.microsoft.com/office/drawing/2014/main" id="{C8E2A62E-AEB0-2ED2-DCBC-E71C11E816B4}"/>
              </a:ext>
            </a:extLst>
          </p:cNvPr>
          <p:cNvSpPr txBox="1"/>
          <p:nvPr/>
        </p:nvSpPr>
        <p:spPr>
          <a:xfrm>
            <a:off x="2994419" y="2538133"/>
            <a:ext cx="153111" cy="261610"/>
          </a:xfrm>
          <a:prstGeom prst="rect">
            <a:avLst/>
          </a:prstGeom>
          <a:noFill/>
        </p:spPr>
        <p:txBody>
          <a:bodyPr wrap="square" rtlCol="0">
            <a:spAutoFit/>
          </a:bodyPr>
          <a:lstStyle/>
          <a:p>
            <a:endParaRPr lang="en-US" sz="1050" dirty="0"/>
          </a:p>
        </p:txBody>
      </p:sp>
      <p:sp>
        <p:nvSpPr>
          <p:cNvPr id="54" name="TextBox 53">
            <a:extLst>
              <a:ext uri="{FF2B5EF4-FFF2-40B4-BE49-F238E27FC236}">
                <a16:creationId xmlns:a16="http://schemas.microsoft.com/office/drawing/2014/main" id="{964A1DD9-CF1B-E8DF-0061-205C8D41F491}"/>
              </a:ext>
            </a:extLst>
          </p:cNvPr>
          <p:cNvSpPr txBox="1"/>
          <p:nvPr/>
        </p:nvSpPr>
        <p:spPr>
          <a:xfrm>
            <a:off x="5619486" y="1438144"/>
            <a:ext cx="1362098" cy="215444"/>
          </a:xfrm>
          <a:prstGeom prst="rect">
            <a:avLst/>
          </a:prstGeom>
          <a:noFill/>
        </p:spPr>
        <p:txBody>
          <a:bodyPr wrap="square" rtlCol="0">
            <a:spAutoFit/>
          </a:bodyPr>
          <a:lstStyle/>
          <a:p>
            <a:r>
              <a:rPr lang="en-US" sz="800" i="1" dirty="0"/>
              <a:t>Sacituzumab </a:t>
            </a:r>
            <a:r>
              <a:rPr lang="en-US" sz="800" i="1" dirty="0" err="1"/>
              <a:t>govitecan</a:t>
            </a:r>
            <a:endParaRPr lang="en-US" sz="800" i="1" dirty="0"/>
          </a:p>
        </p:txBody>
      </p:sp>
      <p:sp>
        <p:nvSpPr>
          <p:cNvPr id="55" name="TextBox 54">
            <a:extLst>
              <a:ext uri="{FF2B5EF4-FFF2-40B4-BE49-F238E27FC236}">
                <a16:creationId xmlns:a16="http://schemas.microsoft.com/office/drawing/2014/main" id="{76D20D45-395E-840E-75DE-16DB9F3F9405}"/>
              </a:ext>
            </a:extLst>
          </p:cNvPr>
          <p:cNvSpPr txBox="1"/>
          <p:nvPr/>
        </p:nvSpPr>
        <p:spPr>
          <a:xfrm>
            <a:off x="5521067" y="1238993"/>
            <a:ext cx="1476359" cy="215444"/>
          </a:xfrm>
          <a:prstGeom prst="rect">
            <a:avLst/>
          </a:prstGeom>
          <a:noFill/>
        </p:spPr>
        <p:txBody>
          <a:bodyPr wrap="square" rtlCol="0">
            <a:spAutoFit/>
          </a:bodyPr>
          <a:lstStyle/>
          <a:p>
            <a:r>
              <a:rPr lang="en-US" sz="800" i="1" dirty="0"/>
              <a:t>Trastuzumab </a:t>
            </a:r>
            <a:r>
              <a:rPr lang="en-US" sz="800" i="1" dirty="0" err="1"/>
              <a:t>dertuxtecan</a:t>
            </a:r>
            <a:endParaRPr lang="en-US" sz="800" i="1" dirty="0"/>
          </a:p>
        </p:txBody>
      </p:sp>
      <p:sp>
        <p:nvSpPr>
          <p:cNvPr id="56" name="TextBox 55">
            <a:extLst>
              <a:ext uri="{FF2B5EF4-FFF2-40B4-BE49-F238E27FC236}">
                <a16:creationId xmlns:a16="http://schemas.microsoft.com/office/drawing/2014/main" id="{51CB6DD0-5270-5BB5-89A4-AAC7F3AC85A3}"/>
              </a:ext>
            </a:extLst>
          </p:cNvPr>
          <p:cNvSpPr txBox="1"/>
          <p:nvPr/>
        </p:nvSpPr>
        <p:spPr>
          <a:xfrm>
            <a:off x="4644947" y="1606908"/>
            <a:ext cx="1548104" cy="215444"/>
          </a:xfrm>
          <a:prstGeom prst="rect">
            <a:avLst/>
          </a:prstGeom>
          <a:noFill/>
        </p:spPr>
        <p:txBody>
          <a:bodyPr wrap="square" rtlCol="0">
            <a:spAutoFit/>
          </a:bodyPr>
          <a:lstStyle/>
          <a:p>
            <a:r>
              <a:rPr lang="en-US" sz="800" i="1" dirty="0"/>
              <a:t>Ad-trastuzumab emtansine</a:t>
            </a:r>
          </a:p>
        </p:txBody>
      </p:sp>
      <p:sp>
        <p:nvSpPr>
          <p:cNvPr id="19" name="TextBox 18">
            <a:extLst>
              <a:ext uri="{FF2B5EF4-FFF2-40B4-BE49-F238E27FC236}">
                <a16:creationId xmlns:a16="http://schemas.microsoft.com/office/drawing/2014/main" id="{5AE1F595-DD33-E207-D78A-A4F074191C01}"/>
              </a:ext>
            </a:extLst>
          </p:cNvPr>
          <p:cNvSpPr txBox="1"/>
          <p:nvPr/>
        </p:nvSpPr>
        <p:spPr>
          <a:xfrm>
            <a:off x="3267670" y="2472641"/>
            <a:ext cx="447462" cy="230832"/>
          </a:xfrm>
          <a:prstGeom prst="rect">
            <a:avLst/>
          </a:prstGeom>
          <a:noFill/>
        </p:spPr>
        <p:txBody>
          <a:bodyPr wrap="square" rtlCol="0">
            <a:spAutoFit/>
          </a:bodyPr>
          <a:lstStyle/>
          <a:p>
            <a:r>
              <a:rPr lang="en-US" sz="900" i="1" dirty="0"/>
              <a:t>AIs</a:t>
            </a:r>
          </a:p>
        </p:txBody>
      </p:sp>
      <p:sp>
        <p:nvSpPr>
          <p:cNvPr id="45" name="TextBox 44">
            <a:extLst>
              <a:ext uri="{FF2B5EF4-FFF2-40B4-BE49-F238E27FC236}">
                <a16:creationId xmlns:a16="http://schemas.microsoft.com/office/drawing/2014/main" id="{8E0C6816-72E6-7542-3FFD-CD22A2B2EBC7}"/>
              </a:ext>
            </a:extLst>
          </p:cNvPr>
          <p:cNvSpPr txBox="1"/>
          <p:nvPr/>
        </p:nvSpPr>
        <p:spPr>
          <a:xfrm>
            <a:off x="5836830" y="894386"/>
            <a:ext cx="1020643" cy="230832"/>
          </a:xfrm>
          <a:prstGeom prst="rect">
            <a:avLst/>
          </a:prstGeom>
          <a:noFill/>
        </p:spPr>
        <p:txBody>
          <a:bodyPr wrap="square" rtlCol="0">
            <a:spAutoFit/>
          </a:bodyPr>
          <a:lstStyle/>
          <a:p>
            <a:r>
              <a:rPr lang="en-US" sz="900" i="1" dirty="0"/>
              <a:t>pembrolizumab</a:t>
            </a:r>
          </a:p>
        </p:txBody>
      </p:sp>
      <p:sp>
        <p:nvSpPr>
          <p:cNvPr id="57" name="TextBox 56">
            <a:extLst>
              <a:ext uri="{FF2B5EF4-FFF2-40B4-BE49-F238E27FC236}">
                <a16:creationId xmlns:a16="http://schemas.microsoft.com/office/drawing/2014/main" id="{40A2BCFD-ED68-F621-53AF-D501E3A51319}"/>
              </a:ext>
            </a:extLst>
          </p:cNvPr>
          <p:cNvSpPr txBox="1"/>
          <p:nvPr/>
        </p:nvSpPr>
        <p:spPr>
          <a:xfrm>
            <a:off x="4118931" y="2472641"/>
            <a:ext cx="626044" cy="230832"/>
          </a:xfrm>
          <a:prstGeom prst="rect">
            <a:avLst/>
          </a:prstGeom>
          <a:noFill/>
        </p:spPr>
        <p:txBody>
          <a:bodyPr wrap="square" rtlCol="0">
            <a:spAutoFit/>
          </a:bodyPr>
          <a:lstStyle/>
          <a:p>
            <a:r>
              <a:rPr lang="en-US" sz="900" i="1" dirty="0" err="1"/>
              <a:t>faslodex</a:t>
            </a:r>
            <a:endParaRPr lang="en-US" sz="900" i="1" dirty="0"/>
          </a:p>
        </p:txBody>
      </p:sp>
      <p:sp>
        <p:nvSpPr>
          <p:cNvPr id="44" name="TextBox 43">
            <a:extLst>
              <a:ext uri="{FF2B5EF4-FFF2-40B4-BE49-F238E27FC236}">
                <a16:creationId xmlns:a16="http://schemas.microsoft.com/office/drawing/2014/main" id="{AB69C7E8-C8B3-B9DF-271E-3B9F50941BA1}"/>
              </a:ext>
            </a:extLst>
          </p:cNvPr>
          <p:cNvSpPr txBox="1"/>
          <p:nvPr/>
        </p:nvSpPr>
        <p:spPr>
          <a:xfrm>
            <a:off x="4675209" y="2583338"/>
            <a:ext cx="624716" cy="230832"/>
          </a:xfrm>
          <a:prstGeom prst="rect">
            <a:avLst/>
          </a:prstGeom>
          <a:noFill/>
        </p:spPr>
        <p:txBody>
          <a:bodyPr wrap="square" rtlCol="0">
            <a:spAutoFit/>
          </a:bodyPr>
          <a:lstStyle/>
          <a:p>
            <a:r>
              <a:rPr lang="en-US" sz="900" i="1" dirty="0"/>
              <a:t>lapatinib</a:t>
            </a:r>
          </a:p>
        </p:txBody>
      </p:sp>
      <p:sp>
        <p:nvSpPr>
          <p:cNvPr id="51" name="TextBox 50">
            <a:extLst>
              <a:ext uri="{FF2B5EF4-FFF2-40B4-BE49-F238E27FC236}">
                <a16:creationId xmlns:a16="http://schemas.microsoft.com/office/drawing/2014/main" id="{FF9745C8-2F9A-EE88-B341-A474F1163CE3}"/>
              </a:ext>
            </a:extLst>
          </p:cNvPr>
          <p:cNvSpPr txBox="1"/>
          <p:nvPr/>
        </p:nvSpPr>
        <p:spPr>
          <a:xfrm>
            <a:off x="3544820" y="2583338"/>
            <a:ext cx="853238" cy="230832"/>
          </a:xfrm>
          <a:prstGeom prst="rect">
            <a:avLst/>
          </a:prstGeom>
          <a:noFill/>
        </p:spPr>
        <p:txBody>
          <a:bodyPr wrap="square" rtlCol="0">
            <a:spAutoFit/>
          </a:bodyPr>
          <a:lstStyle/>
          <a:p>
            <a:r>
              <a:rPr lang="en-US" sz="900" i="1" dirty="0"/>
              <a:t>trastuzumab</a:t>
            </a:r>
          </a:p>
        </p:txBody>
      </p:sp>
      <p:sp>
        <p:nvSpPr>
          <p:cNvPr id="61" name="TextBox 60">
            <a:extLst>
              <a:ext uri="{FF2B5EF4-FFF2-40B4-BE49-F238E27FC236}">
                <a16:creationId xmlns:a16="http://schemas.microsoft.com/office/drawing/2014/main" id="{07F438DD-7013-0458-B28D-1152AB0DBCB4}"/>
              </a:ext>
            </a:extLst>
          </p:cNvPr>
          <p:cNvSpPr txBox="1"/>
          <p:nvPr/>
        </p:nvSpPr>
        <p:spPr>
          <a:xfrm>
            <a:off x="6026322" y="2432737"/>
            <a:ext cx="774849" cy="230832"/>
          </a:xfrm>
          <a:prstGeom prst="rect">
            <a:avLst/>
          </a:prstGeom>
          <a:noFill/>
        </p:spPr>
        <p:txBody>
          <a:bodyPr wrap="square" rtlCol="0">
            <a:spAutoFit/>
          </a:bodyPr>
          <a:lstStyle/>
          <a:p>
            <a:r>
              <a:rPr lang="en-US" sz="900" i="1" dirty="0" err="1"/>
              <a:t>elacestrant</a:t>
            </a:r>
            <a:endParaRPr lang="en-US" sz="900" i="1" dirty="0"/>
          </a:p>
        </p:txBody>
      </p:sp>
      <p:sp>
        <p:nvSpPr>
          <p:cNvPr id="64" name="Rectangle 63">
            <a:extLst>
              <a:ext uri="{FF2B5EF4-FFF2-40B4-BE49-F238E27FC236}">
                <a16:creationId xmlns:a16="http://schemas.microsoft.com/office/drawing/2014/main" id="{24BBDD62-CC6F-22B9-5EFA-B46798431DAE}"/>
              </a:ext>
            </a:extLst>
          </p:cNvPr>
          <p:cNvSpPr/>
          <p:nvPr/>
        </p:nvSpPr>
        <p:spPr bwMode="auto">
          <a:xfrm>
            <a:off x="-59214" y="3086219"/>
            <a:ext cx="7205972" cy="1291702"/>
          </a:xfrm>
          <a:prstGeom prst="rect">
            <a:avLst/>
          </a:prstGeom>
          <a:solidFill>
            <a:srgbClr val="FFC000">
              <a:alpha val="3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Arial" pitchFamily="-72" charset="0"/>
              <a:ea typeface="ＭＳ Ｐゴシック" pitchFamily="-72" charset="-128"/>
              <a:cs typeface="ＭＳ Ｐゴシック" pitchFamily="-72" charset="-128"/>
            </a:endParaRPr>
          </a:p>
        </p:txBody>
      </p:sp>
      <p:sp>
        <p:nvSpPr>
          <p:cNvPr id="9" name="TextBox 8">
            <a:extLst>
              <a:ext uri="{FF2B5EF4-FFF2-40B4-BE49-F238E27FC236}">
                <a16:creationId xmlns:a16="http://schemas.microsoft.com/office/drawing/2014/main" id="{FF65C5E3-D91E-CF5E-761F-8A9B1445A218}"/>
              </a:ext>
            </a:extLst>
          </p:cNvPr>
          <p:cNvSpPr txBox="1"/>
          <p:nvPr/>
        </p:nvSpPr>
        <p:spPr>
          <a:xfrm>
            <a:off x="464377" y="3143745"/>
            <a:ext cx="899605" cy="230832"/>
          </a:xfrm>
          <a:prstGeom prst="rect">
            <a:avLst/>
          </a:prstGeom>
          <a:noFill/>
        </p:spPr>
        <p:txBody>
          <a:bodyPr wrap="square" rtlCol="0">
            <a:spAutoFit/>
          </a:bodyPr>
          <a:lstStyle/>
          <a:p>
            <a:r>
              <a:rPr lang="en-US" sz="900" i="1" dirty="0"/>
              <a:t>doxorubicin</a:t>
            </a:r>
          </a:p>
        </p:txBody>
      </p:sp>
      <p:cxnSp>
        <p:nvCxnSpPr>
          <p:cNvPr id="16" name="Straight Connector 15">
            <a:extLst>
              <a:ext uri="{FF2B5EF4-FFF2-40B4-BE49-F238E27FC236}">
                <a16:creationId xmlns:a16="http://schemas.microsoft.com/office/drawing/2014/main" id="{6A0E69F8-9E9E-C377-E172-38C77C12F77B}"/>
              </a:ext>
            </a:extLst>
          </p:cNvPr>
          <p:cNvCxnSpPr>
            <a:cxnSpLocks/>
          </p:cNvCxnSpPr>
          <p:nvPr/>
        </p:nvCxnSpPr>
        <p:spPr bwMode="auto">
          <a:xfrm>
            <a:off x="1522206" y="2841973"/>
            <a:ext cx="0" cy="137059"/>
          </a:xfrm>
          <a:prstGeom prst="line">
            <a:avLst/>
          </a:prstGeom>
          <a:solidFill>
            <a:schemeClr val="accent1"/>
          </a:solidFill>
          <a:ln w="25400" cap="flat" cmpd="sng" algn="ctr">
            <a:solidFill>
              <a:schemeClr val="tx1"/>
            </a:solidFill>
            <a:prstDash val="solid"/>
            <a:round/>
            <a:headEnd type="none" w="med" len="med"/>
            <a:tailEnd type="none" w="med" len="med"/>
          </a:ln>
          <a:effectLst/>
        </p:spPr>
      </p:cxnSp>
      <p:cxnSp>
        <p:nvCxnSpPr>
          <p:cNvPr id="18" name="Straight Connector 17">
            <a:extLst>
              <a:ext uri="{FF2B5EF4-FFF2-40B4-BE49-F238E27FC236}">
                <a16:creationId xmlns:a16="http://schemas.microsoft.com/office/drawing/2014/main" id="{22562281-B30E-9068-35AC-0DB00C2D248A}"/>
              </a:ext>
            </a:extLst>
          </p:cNvPr>
          <p:cNvCxnSpPr>
            <a:cxnSpLocks/>
          </p:cNvCxnSpPr>
          <p:nvPr/>
        </p:nvCxnSpPr>
        <p:spPr bwMode="auto">
          <a:xfrm>
            <a:off x="1056895" y="3052785"/>
            <a:ext cx="0" cy="137059"/>
          </a:xfrm>
          <a:prstGeom prst="line">
            <a:avLst/>
          </a:prstGeom>
          <a:solidFill>
            <a:schemeClr val="accent1"/>
          </a:solidFill>
          <a:ln w="25400" cap="flat" cmpd="sng" algn="ctr">
            <a:solidFill>
              <a:schemeClr val="tx1"/>
            </a:solidFill>
            <a:prstDash val="solid"/>
            <a:round/>
            <a:headEnd type="none" w="med" len="med"/>
            <a:tailEnd type="none" w="med" len="med"/>
          </a:ln>
          <a:effectLst/>
        </p:spPr>
      </p:cxnSp>
      <p:cxnSp>
        <p:nvCxnSpPr>
          <p:cNvPr id="21" name="Straight Connector 20">
            <a:extLst>
              <a:ext uri="{FF2B5EF4-FFF2-40B4-BE49-F238E27FC236}">
                <a16:creationId xmlns:a16="http://schemas.microsoft.com/office/drawing/2014/main" id="{2FC4DFEA-64B2-6846-6364-51B43642F911}"/>
              </a:ext>
            </a:extLst>
          </p:cNvPr>
          <p:cNvCxnSpPr>
            <a:cxnSpLocks/>
          </p:cNvCxnSpPr>
          <p:nvPr/>
        </p:nvCxnSpPr>
        <p:spPr bwMode="auto">
          <a:xfrm>
            <a:off x="3311969" y="3061244"/>
            <a:ext cx="0" cy="137059"/>
          </a:xfrm>
          <a:prstGeom prst="line">
            <a:avLst/>
          </a:prstGeom>
          <a:solidFill>
            <a:schemeClr val="accent1"/>
          </a:solidFill>
          <a:ln w="25400" cap="flat" cmpd="sng" algn="ctr">
            <a:solidFill>
              <a:schemeClr val="tx1"/>
            </a:solidFill>
            <a:prstDash val="solid"/>
            <a:round/>
            <a:headEnd type="none" w="med" len="med"/>
            <a:tailEnd type="none" w="med" len="med"/>
          </a:ln>
          <a:effectLst/>
        </p:spPr>
      </p:cxnSp>
      <p:sp>
        <p:nvSpPr>
          <p:cNvPr id="22" name="TextBox 21">
            <a:extLst>
              <a:ext uri="{FF2B5EF4-FFF2-40B4-BE49-F238E27FC236}">
                <a16:creationId xmlns:a16="http://schemas.microsoft.com/office/drawing/2014/main" id="{E4BA286E-BD35-2BF2-91DE-962200F44419}"/>
              </a:ext>
            </a:extLst>
          </p:cNvPr>
          <p:cNvSpPr txBox="1"/>
          <p:nvPr/>
        </p:nvSpPr>
        <p:spPr>
          <a:xfrm>
            <a:off x="2769379" y="3143745"/>
            <a:ext cx="765380" cy="230832"/>
          </a:xfrm>
          <a:prstGeom prst="rect">
            <a:avLst/>
          </a:prstGeom>
          <a:noFill/>
        </p:spPr>
        <p:txBody>
          <a:bodyPr wrap="square" rtlCol="0">
            <a:spAutoFit/>
          </a:bodyPr>
          <a:lstStyle/>
          <a:p>
            <a:r>
              <a:rPr lang="en-US" sz="900" i="1" dirty="0"/>
              <a:t>paclitaxel</a:t>
            </a:r>
          </a:p>
        </p:txBody>
      </p:sp>
      <p:sp>
        <p:nvSpPr>
          <p:cNvPr id="24" name="TextBox 23">
            <a:extLst>
              <a:ext uri="{FF2B5EF4-FFF2-40B4-BE49-F238E27FC236}">
                <a16:creationId xmlns:a16="http://schemas.microsoft.com/office/drawing/2014/main" id="{6EBF1EF6-DFB7-27B3-8F4C-BF033B29EDB1}"/>
              </a:ext>
            </a:extLst>
          </p:cNvPr>
          <p:cNvSpPr txBox="1"/>
          <p:nvPr/>
        </p:nvSpPr>
        <p:spPr>
          <a:xfrm>
            <a:off x="3691325" y="3883520"/>
            <a:ext cx="971193" cy="230832"/>
          </a:xfrm>
          <a:prstGeom prst="rect">
            <a:avLst/>
          </a:prstGeom>
          <a:noFill/>
        </p:spPr>
        <p:txBody>
          <a:bodyPr wrap="square" rtlCol="0">
            <a:spAutoFit/>
          </a:bodyPr>
          <a:lstStyle/>
          <a:p>
            <a:r>
              <a:rPr lang="en-US" sz="900" i="1" dirty="0"/>
              <a:t>capecitabine</a:t>
            </a:r>
          </a:p>
        </p:txBody>
      </p:sp>
      <p:sp>
        <p:nvSpPr>
          <p:cNvPr id="26" name="TextBox 25">
            <a:extLst>
              <a:ext uri="{FF2B5EF4-FFF2-40B4-BE49-F238E27FC236}">
                <a16:creationId xmlns:a16="http://schemas.microsoft.com/office/drawing/2014/main" id="{E2FF6BDC-6E45-3527-1E88-3A6D9470DEC4}"/>
              </a:ext>
            </a:extLst>
          </p:cNvPr>
          <p:cNvSpPr txBox="1"/>
          <p:nvPr/>
        </p:nvSpPr>
        <p:spPr>
          <a:xfrm>
            <a:off x="4241676" y="3640402"/>
            <a:ext cx="939873" cy="230832"/>
          </a:xfrm>
          <a:prstGeom prst="rect">
            <a:avLst/>
          </a:prstGeom>
          <a:noFill/>
        </p:spPr>
        <p:txBody>
          <a:bodyPr wrap="square" rtlCol="0">
            <a:spAutoFit/>
          </a:bodyPr>
          <a:lstStyle/>
          <a:p>
            <a:r>
              <a:rPr lang="en-US" sz="900" i="1" dirty="0"/>
              <a:t>gemcitabine</a:t>
            </a:r>
          </a:p>
        </p:txBody>
      </p:sp>
      <p:sp>
        <p:nvSpPr>
          <p:cNvPr id="33" name="TextBox 32">
            <a:extLst>
              <a:ext uri="{FF2B5EF4-FFF2-40B4-BE49-F238E27FC236}">
                <a16:creationId xmlns:a16="http://schemas.microsoft.com/office/drawing/2014/main" id="{C350C5F5-2295-EDA1-6045-015CA3A7EE14}"/>
              </a:ext>
            </a:extLst>
          </p:cNvPr>
          <p:cNvSpPr txBox="1"/>
          <p:nvPr/>
        </p:nvSpPr>
        <p:spPr>
          <a:xfrm>
            <a:off x="4446236" y="3397283"/>
            <a:ext cx="1050236" cy="230832"/>
          </a:xfrm>
          <a:prstGeom prst="rect">
            <a:avLst/>
          </a:prstGeom>
          <a:noFill/>
        </p:spPr>
        <p:txBody>
          <a:bodyPr wrap="square" rtlCol="0">
            <a:spAutoFit/>
          </a:bodyPr>
          <a:lstStyle/>
          <a:p>
            <a:r>
              <a:rPr lang="en-US" sz="900" i="1" dirty="0"/>
              <a:t>nab-paclitaxel</a:t>
            </a:r>
          </a:p>
        </p:txBody>
      </p:sp>
      <p:sp>
        <p:nvSpPr>
          <p:cNvPr id="37" name="TextBox 36">
            <a:extLst>
              <a:ext uri="{FF2B5EF4-FFF2-40B4-BE49-F238E27FC236}">
                <a16:creationId xmlns:a16="http://schemas.microsoft.com/office/drawing/2014/main" id="{6C4B88C3-876B-1E2C-E28B-67A1D352762B}"/>
              </a:ext>
            </a:extLst>
          </p:cNvPr>
          <p:cNvSpPr txBox="1"/>
          <p:nvPr/>
        </p:nvSpPr>
        <p:spPr>
          <a:xfrm>
            <a:off x="4565547" y="3154165"/>
            <a:ext cx="890657" cy="230832"/>
          </a:xfrm>
          <a:prstGeom prst="rect">
            <a:avLst/>
          </a:prstGeom>
          <a:noFill/>
        </p:spPr>
        <p:txBody>
          <a:bodyPr wrap="square" rtlCol="0">
            <a:spAutoFit/>
          </a:bodyPr>
          <a:lstStyle/>
          <a:p>
            <a:r>
              <a:rPr lang="en-US" sz="900" i="1" dirty="0"/>
              <a:t>ixabepilone</a:t>
            </a:r>
          </a:p>
        </p:txBody>
      </p:sp>
      <p:sp>
        <p:nvSpPr>
          <p:cNvPr id="42" name="TextBox 41">
            <a:extLst>
              <a:ext uri="{FF2B5EF4-FFF2-40B4-BE49-F238E27FC236}">
                <a16:creationId xmlns:a16="http://schemas.microsoft.com/office/drawing/2014/main" id="{CC81BD11-FF81-6803-2920-3D3194F3ABD6}"/>
              </a:ext>
            </a:extLst>
          </p:cNvPr>
          <p:cNvSpPr txBox="1"/>
          <p:nvPr/>
        </p:nvSpPr>
        <p:spPr>
          <a:xfrm>
            <a:off x="5396657" y="3143745"/>
            <a:ext cx="629664" cy="230832"/>
          </a:xfrm>
          <a:prstGeom prst="rect">
            <a:avLst/>
          </a:prstGeom>
          <a:noFill/>
        </p:spPr>
        <p:txBody>
          <a:bodyPr wrap="square" rtlCol="0">
            <a:spAutoFit/>
          </a:bodyPr>
          <a:lstStyle/>
          <a:p>
            <a:r>
              <a:rPr lang="en-US" sz="900" i="1" dirty="0" err="1"/>
              <a:t>eribulin</a:t>
            </a:r>
            <a:endParaRPr lang="en-US" sz="900" i="1" dirty="0"/>
          </a:p>
        </p:txBody>
      </p:sp>
      <p:cxnSp>
        <p:nvCxnSpPr>
          <p:cNvPr id="48" name="Straight Connector 47">
            <a:extLst>
              <a:ext uri="{FF2B5EF4-FFF2-40B4-BE49-F238E27FC236}">
                <a16:creationId xmlns:a16="http://schemas.microsoft.com/office/drawing/2014/main" id="{ACA5ED28-C26A-B981-D49B-40A4E538D7D1}"/>
              </a:ext>
            </a:extLst>
          </p:cNvPr>
          <p:cNvCxnSpPr>
            <a:cxnSpLocks/>
          </p:cNvCxnSpPr>
          <p:nvPr/>
        </p:nvCxnSpPr>
        <p:spPr bwMode="auto">
          <a:xfrm flipH="1">
            <a:off x="3923892" y="2836208"/>
            <a:ext cx="11299" cy="119360"/>
          </a:xfrm>
          <a:prstGeom prst="line">
            <a:avLst/>
          </a:prstGeom>
          <a:solidFill>
            <a:schemeClr val="accent1"/>
          </a:solidFill>
          <a:ln w="25400" cap="flat" cmpd="sng" algn="ctr">
            <a:solidFill>
              <a:schemeClr val="tx1"/>
            </a:solidFill>
            <a:prstDash val="solid"/>
            <a:round/>
            <a:headEnd type="none" w="med" len="med"/>
            <a:tailEnd type="none" w="med" len="med"/>
          </a:ln>
          <a:effectLst/>
        </p:spPr>
      </p:cxnSp>
      <p:cxnSp>
        <p:nvCxnSpPr>
          <p:cNvPr id="59" name="Straight Connector 58">
            <a:extLst>
              <a:ext uri="{FF2B5EF4-FFF2-40B4-BE49-F238E27FC236}">
                <a16:creationId xmlns:a16="http://schemas.microsoft.com/office/drawing/2014/main" id="{7F1DC060-CA1A-6DCE-07A2-EEDDDB19C1DE}"/>
              </a:ext>
            </a:extLst>
          </p:cNvPr>
          <p:cNvCxnSpPr>
            <a:cxnSpLocks/>
          </p:cNvCxnSpPr>
          <p:nvPr/>
        </p:nvCxnSpPr>
        <p:spPr bwMode="auto">
          <a:xfrm>
            <a:off x="5642444" y="3086219"/>
            <a:ext cx="0" cy="137059"/>
          </a:xfrm>
          <a:prstGeom prst="line">
            <a:avLst/>
          </a:prstGeom>
          <a:solidFill>
            <a:schemeClr val="accent1"/>
          </a:solidFill>
          <a:ln w="25400" cap="flat" cmpd="sng" algn="ctr">
            <a:solidFill>
              <a:schemeClr val="tx1"/>
            </a:solidFill>
            <a:prstDash val="solid"/>
            <a:round/>
            <a:headEnd type="none" w="med" len="med"/>
            <a:tailEnd type="none" w="med" len="med"/>
          </a:ln>
          <a:effectLst/>
        </p:spPr>
      </p:cxnSp>
      <p:sp>
        <p:nvSpPr>
          <p:cNvPr id="65" name="TextBox 64">
            <a:extLst>
              <a:ext uri="{FF2B5EF4-FFF2-40B4-BE49-F238E27FC236}">
                <a16:creationId xmlns:a16="http://schemas.microsoft.com/office/drawing/2014/main" id="{C9FABF94-AF65-C22C-FE66-287F341AEEF8}"/>
              </a:ext>
            </a:extLst>
          </p:cNvPr>
          <p:cNvSpPr txBox="1"/>
          <p:nvPr/>
        </p:nvSpPr>
        <p:spPr>
          <a:xfrm>
            <a:off x="-28008" y="3793206"/>
            <a:ext cx="1017986" cy="307777"/>
          </a:xfrm>
          <a:prstGeom prst="rect">
            <a:avLst/>
          </a:prstGeom>
          <a:noFill/>
        </p:spPr>
        <p:txBody>
          <a:bodyPr wrap="square" rtlCol="0">
            <a:spAutoFit/>
          </a:bodyPr>
          <a:lstStyle/>
          <a:p>
            <a:r>
              <a:rPr lang="en-US" sz="1400" b="1" dirty="0">
                <a:solidFill>
                  <a:srgbClr val="FF9900"/>
                </a:solidFill>
              </a:rPr>
              <a:t>Chemo</a:t>
            </a:r>
          </a:p>
        </p:txBody>
      </p:sp>
      <p:grpSp>
        <p:nvGrpSpPr>
          <p:cNvPr id="67" name="Group 66">
            <a:extLst>
              <a:ext uri="{FF2B5EF4-FFF2-40B4-BE49-F238E27FC236}">
                <a16:creationId xmlns:a16="http://schemas.microsoft.com/office/drawing/2014/main" id="{53E6FA5F-62CD-4D1C-8236-9B045B02C719}"/>
              </a:ext>
            </a:extLst>
          </p:cNvPr>
          <p:cNvGrpSpPr/>
          <p:nvPr/>
        </p:nvGrpSpPr>
        <p:grpSpPr>
          <a:xfrm>
            <a:off x="372341" y="2890524"/>
            <a:ext cx="6838582" cy="261546"/>
            <a:chOff x="466393" y="2965432"/>
            <a:chExt cx="8250887" cy="248374"/>
          </a:xfrm>
        </p:grpSpPr>
        <p:cxnSp>
          <p:nvCxnSpPr>
            <p:cNvPr id="5" name="Straight Arrow Connector 4">
              <a:extLst>
                <a:ext uri="{FF2B5EF4-FFF2-40B4-BE49-F238E27FC236}">
                  <a16:creationId xmlns:a16="http://schemas.microsoft.com/office/drawing/2014/main" id="{31322101-A48B-A78C-941B-15614EF8441B}"/>
                </a:ext>
              </a:extLst>
            </p:cNvPr>
            <p:cNvCxnSpPr>
              <a:cxnSpLocks/>
            </p:cNvCxnSpPr>
            <p:nvPr/>
          </p:nvCxnSpPr>
          <p:spPr bwMode="auto">
            <a:xfrm>
              <a:off x="593343" y="3095314"/>
              <a:ext cx="8123937" cy="0"/>
            </a:xfrm>
            <a:prstGeom prst="straightConnector1">
              <a:avLst/>
            </a:prstGeom>
            <a:solidFill>
              <a:schemeClr val="accent1"/>
            </a:solidFill>
            <a:ln w="190500" cap="flat" cmpd="sng" algn="ctr">
              <a:solidFill>
                <a:srgbClr val="FF0000"/>
              </a:solidFill>
              <a:prstDash val="solid"/>
              <a:round/>
              <a:headEnd type="none" w="med" len="med"/>
              <a:tailEnd type="triangle"/>
            </a:ln>
            <a:effectLst/>
          </p:spPr>
        </p:cxnSp>
        <p:sp>
          <p:nvSpPr>
            <p:cNvPr id="7" name="TextBox 6">
              <a:extLst>
                <a:ext uri="{FF2B5EF4-FFF2-40B4-BE49-F238E27FC236}">
                  <a16:creationId xmlns:a16="http://schemas.microsoft.com/office/drawing/2014/main" id="{05EB659C-2F72-8C17-20AE-D635F4CEA20E}"/>
                </a:ext>
              </a:extLst>
            </p:cNvPr>
            <p:cNvSpPr txBox="1"/>
            <p:nvPr/>
          </p:nvSpPr>
          <p:spPr>
            <a:xfrm>
              <a:off x="1817434" y="2973134"/>
              <a:ext cx="648296" cy="233821"/>
            </a:xfrm>
            <a:prstGeom prst="rect">
              <a:avLst/>
            </a:prstGeom>
            <a:noFill/>
          </p:spPr>
          <p:txBody>
            <a:bodyPr wrap="none" rtlCol="0">
              <a:spAutoFit/>
            </a:bodyPr>
            <a:lstStyle/>
            <a:p>
              <a:r>
                <a:rPr lang="en-US" sz="1000" b="1" dirty="0">
                  <a:solidFill>
                    <a:schemeClr val="bg1"/>
                  </a:solidFill>
                </a:rPr>
                <a:t>1980s</a:t>
              </a:r>
            </a:p>
          </p:txBody>
        </p:sp>
        <p:sp>
          <p:nvSpPr>
            <p:cNvPr id="10" name="TextBox 9">
              <a:extLst>
                <a:ext uri="{FF2B5EF4-FFF2-40B4-BE49-F238E27FC236}">
                  <a16:creationId xmlns:a16="http://schemas.microsoft.com/office/drawing/2014/main" id="{70F65300-9FA7-5687-C0BC-750D575F3ADD}"/>
                </a:ext>
              </a:extLst>
            </p:cNvPr>
            <p:cNvSpPr txBox="1"/>
            <p:nvPr/>
          </p:nvSpPr>
          <p:spPr>
            <a:xfrm>
              <a:off x="466393" y="2965433"/>
              <a:ext cx="648296" cy="233821"/>
            </a:xfrm>
            <a:prstGeom prst="rect">
              <a:avLst/>
            </a:prstGeom>
            <a:noFill/>
          </p:spPr>
          <p:txBody>
            <a:bodyPr wrap="none" rtlCol="0">
              <a:spAutoFit/>
            </a:bodyPr>
            <a:lstStyle/>
            <a:p>
              <a:r>
                <a:rPr lang="en-US" sz="1000" b="1" dirty="0">
                  <a:solidFill>
                    <a:schemeClr val="bg1"/>
                  </a:solidFill>
                </a:rPr>
                <a:t>1970s</a:t>
              </a:r>
            </a:p>
          </p:txBody>
        </p:sp>
        <p:sp>
          <p:nvSpPr>
            <p:cNvPr id="11" name="TextBox 10">
              <a:extLst>
                <a:ext uri="{FF2B5EF4-FFF2-40B4-BE49-F238E27FC236}">
                  <a16:creationId xmlns:a16="http://schemas.microsoft.com/office/drawing/2014/main" id="{5569D581-1502-5E23-4B59-F73AF3C7664A}"/>
                </a:ext>
              </a:extLst>
            </p:cNvPr>
            <p:cNvSpPr txBox="1"/>
            <p:nvPr/>
          </p:nvSpPr>
          <p:spPr>
            <a:xfrm>
              <a:off x="3168475" y="2965432"/>
              <a:ext cx="648296" cy="233821"/>
            </a:xfrm>
            <a:prstGeom prst="rect">
              <a:avLst/>
            </a:prstGeom>
            <a:noFill/>
          </p:spPr>
          <p:txBody>
            <a:bodyPr wrap="none" rtlCol="0">
              <a:spAutoFit/>
            </a:bodyPr>
            <a:lstStyle/>
            <a:p>
              <a:r>
                <a:rPr lang="en-US" sz="1000" b="1" dirty="0">
                  <a:solidFill>
                    <a:schemeClr val="bg1"/>
                  </a:solidFill>
                </a:rPr>
                <a:t>1990s</a:t>
              </a:r>
            </a:p>
          </p:txBody>
        </p:sp>
        <p:sp>
          <p:nvSpPr>
            <p:cNvPr id="12" name="TextBox 11">
              <a:extLst>
                <a:ext uri="{FF2B5EF4-FFF2-40B4-BE49-F238E27FC236}">
                  <a16:creationId xmlns:a16="http://schemas.microsoft.com/office/drawing/2014/main" id="{276C369E-4CE1-1DEF-DDAD-CA7E79C1608C}"/>
                </a:ext>
              </a:extLst>
            </p:cNvPr>
            <p:cNvSpPr txBox="1"/>
            <p:nvPr/>
          </p:nvSpPr>
          <p:spPr>
            <a:xfrm>
              <a:off x="4519516" y="2965432"/>
              <a:ext cx="648296" cy="233821"/>
            </a:xfrm>
            <a:prstGeom prst="rect">
              <a:avLst/>
            </a:prstGeom>
            <a:noFill/>
          </p:spPr>
          <p:txBody>
            <a:bodyPr wrap="none" rtlCol="0">
              <a:spAutoFit/>
            </a:bodyPr>
            <a:lstStyle/>
            <a:p>
              <a:r>
                <a:rPr lang="en-US" sz="1000" b="1" dirty="0">
                  <a:solidFill>
                    <a:schemeClr val="bg1"/>
                  </a:solidFill>
                </a:rPr>
                <a:t>2000s</a:t>
              </a:r>
            </a:p>
          </p:txBody>
        </p:sp>
        <p:sp>
          <p:nvSpPr>
            <p:cNvPr id="13" name="TextBox 12">
              <a:extLst>
                <a:ext uri="{FF2B5EF4-FFF2-40B4-BE49-F238E27FC236}">
                  <a16:creationId xmlns:a16="http://schemas.microsoft.com/office/drawing/2014/main" id="{F0BC80C3-42AE-9086-7156-71311DE33045}"/>
                </a:ext>
              </a:extLst>
            </p:cNvPr>
            <p:cNvSpPr txBox="1"/>
            <p:nvPr/>
          </p:nvSpPr>
          <p:spPr>
            <a:xfrm>
              <a:off x="5906853" y="2979985"/>
              <a:ext cx="648296" cy="233821"/>
            </a:xfrm>
            <a:prstGeom prst="rect">
              <a:avLst/>
            </a:prstGeom>
            <a:noFill/>
          </p:spPr>
          <p:txBody>
            <a:bodyPr wrap="none" rtlCol="0">
              <a:spAutoFit/>
            </a:bodyPr>
            <a:lstStyle/>
            <a:p>
              <a:r>
                <a:rPr lang="en-US" sz="1000" b="1" dirty="0">
                  <a:solidFill>
                    <a:schemeClr val="bg1"/>
                  </a:solidFill>
                </a:rPr>
                <a:t>2010s</a:t>
              </a:r>
            </a:p>
          </p:txBody>
        </p:sp>
        <p:sp>
          <p:nvSpPr>
            <p:cNvPr id="14" name="TextBox 13">
              <a:extLst>
                <a:ext uri="{FF2B5EF4-FFF2-40B4-BE49-F238E27FC236}">
                  <a16:creationId xmlns:a16="http://schemas.microsoft.com/office/drawing/2014/main" id="{E7876E31-8037-E8A6-4A4A-C16863F1DE35}"/>
                </a:ext>
              </a:extLst>
            </p:cNvPr>
            <p:cNvSpPr txBox="1"/>
            <p:nvPr/>
          </p:nvSpPr>
          <p:spPr>
            <a:xfrm>
              <a:off x="7257896" y="2979985"/>
              <a:ext cx="648296" cy="233821"/>
            </a:xfrm>
            <a:prstGeom prst="rect">
              <a:avLst/>
            </a:prstGeom>
            <a:noFill/>
          </p:spPr>
          <p:txBody>
            <a:bodyPr wrap="none" rtlCol="0">
              <a:spAutoFit/>
            </a:bodyPr>
            <a:lstStyle/>
            <a:p>
              <a:r>
                <a:rPr lang="en-US" sz="1000" b="1" dirty="0">
                  <a:solidFill>
                    <a:schemeClr val="bg1"/>
                  </a:solidFill>
                </a:rPr>
                <a:t>2020s</a:t>
              </a:r>
            </a:p>
          </p:txBody>
        </p:sp>
      </p:grpSp>
      <p:sp>
        <p:nvSpPr>
          <p:cNvPr id="68" name="TextBox 67">
            <a:extLst>
              <a:ext uri="{FF2B5EF4-FFF2-40B4-BE49-F238E27FC236}">
                <a16:creationId xmlns:a16="http://schemas.microsoft.com/office/drawing/2014/main" id="{4DED9BE0-3837-8879-97FE-FD174754A39C}"/>
              </a:ext>
            </a:extLst>
          </p:cNvPr>
          <p:cNvSpPr txBox="1"/>
          <p:nvPr/>
        </p:nvSpPr>
        <p:spPr>
          <a:xfrm>
            <a:off x="-28007" y="2223984"/>
            <a:ext cx="1211646" cy="307777"/>
          </a:xfrm>
          <a:prstGeom prst="rect">
            <a:avLst/>
          </a:prstGeom>
          <a:noFill/>
        </p:spPr>
        <p:txBody>
          <a:bodyPr wrap="square" rtlCol="0">
            <a:spAutoFit/>
          </a:bodyPr>
          <a:lstStyle/>
          <a:p>
            <a:r>
              <a:rPr lang="en-US" sz="1400" b="1" dirty="0">
                <a:solidFill>
                  <a:srgbClr val="00B050"/>
                </a:solidFill>
              </a:rPr>
              <a:t>Targeted</a:t>
            </a:r>
          </a:p>
        </p:txBody>
      </p:sp>
      <p:sp>
        <p:nvSpPr>
          <p:cNvPr id="70" name="TextBox 69">
            <a:extLst>
              <a:ext uri="{FF2B5EF4-FFF2-40B4-BE49-F238E27FC236}">
                <a16:creationId xmlns:a16="http://schemas.microsoft.com/office/drawing/2014/main" id="{8F48A010-BA33-0506-AB57-2223FE447CDA}"/>
              </a:ext>
            </a:extLst>
          </p:cNvPr>
          <p:cNvSpPr txBox="1"/>
          <p:nvPr/>
        </p:nvSpPr>
        <p:spPr>
          <a:xfrm>
            <a:off x="-28007" y="1330653"/>
            <a:ext cx="849251" cy="307777"/>
          </a:xfrm>
          <a:prstGeom prst="rect">
            <a:avLst/>
          </a:prstGeom>
          <a:noFill/>
        </p:spPr>
        <p:txBody>
          <a:bodyPr wrap="square" rtlCol="0">
            <a:spAutoFit/>
          </a:bodyPr>
          <a:lstStyle/>
          <a:p>
            <a:r>
              <a:rPr lang="en-US" sz="1400" b="1" dirty="0">
                <a:solidFill>
                  <a:srgbClr val="0070C0"/>
                </a:solidFill>
              </a:rPr>
              <a:t>ADCs</a:t>
            </a:r>
          </a:p>
        </p:txBody>
      </p:sp>
      <p:sp>
        <p:nvSpPr>
          <p:cNvPr id="72" name="TextBox 71">
            <a:extLst>
              <a:ext uri="{FF2B5EF4-FFF2-40B4-BE49-F238E27FC236}">
                <a16:creationId xmlns:a16="http://schemas.microsoft.com/office/drawing/2014/main" id="{4167A9D0-BBF5-F9CE-DA51-A6FD96407559}"/>
              </a:ext>
            </a:extLst>
          </p:cNvPr>
          <p:cNvSpPr txBox="1"/>
          <p:nvPr/>
        </p:nvSpPr>
        <p:spPr>
          <a:xfrm>
            <a:off x="-28007" y="814192"/>
            <a:ext cx="2066264" cy="307777"/>
          </a:xfrm>
          <a:prstGeom prst="rect">
            <a:avLst/>
          </a:prstGeom>
          <a:noFill/>
        </p:spPr>
        <p:txBody>
          <a:bodyPr wrap="square" rtlCol="0">
            <a:spAutoFit/>
          </a:bodyPr>
          <a:lstStyle/>
          <a:p>
            <a:r>
              <a:rPr lang="en-US" sz="1400" b="1" dirty="0">
                <a:solidFill>
                  <a:srgbClr val="7030A0"/>
                </a:solidFill>
              </a:rPr>
              <a:t>Immunotherapy</a:t>
            </a:r>
          </a:p>
        </p:txBody>
      </p:sp>
      <p:sp>
        <p:nvSpPr>
          <p:cNvPr id="73" name="TextBox 72">
            <a:extLst>
              <a:ext uri="{FF2B5EF4-FFF2-40B4-BE49-F238E27FC236}">
                <a16:creationId xmlns:a16="http://schemas.microsoft.com/office/drawing/2014/main" id="{7B06563D-F0A9-293A-1B0B-6D25085E1565}"/>
              </a:ext>
            </a:extLst>
          </p:cNvPr>
          <p:cNvSpPr txBox="1"/>
          <p:nvPr/>
        </p:nvSpPr>
        <p:spPr>
          <a:xfrm>
            <a:off x="5568913" y="1857612"/>
            <a:ext cx="518266" cy="369332"/>
          </a:xfrm>
          <a:prstGeom prst="rect">
            <a:avLst/>
          </a:prstGeom>
          <a:noFill/>
        </p:spPr>
        <p:txBody>
          <a:bodyPr wrap="square" rtlCol="0">
            <a:spAutoFit/>
          </a:bodyPr>
          <a:lstStyle/>
          <a:p>
            <a:r>
              <a:rPr lang="en-US" sz="900" i="1" dirty="0" err="1"/>
              <a:t>PARPi</a:t>
            </a:r>
            <a:endParaRPr lang="en-US" sz="900" i="1" dirty="0"/>
          </a:p>
        </p:txBody>
      </p:sp>
      <p:sp>
        <p:nvSpPr>
          <p:cNvPr id="74" name="TextBox 73">
            <a:extLst>
              <a:ext uri="{FF2B5EF4-FFF2-40B4-BE49-F238E27FC236}">
                <a16:creationId xmlns:a16="http://schemas.microsoft.com/office/drawing/2014/main" id="{936A5F88-131D-A099-0FD6-B740C6192F8F}"/>
              </a:ext>
            </a:extLst>
          </p:cNvPr>
          <p:cNvSpPr txBox="1"/>
          <p:nvPr/>
        </p:nvSpPr>
        <p:spPr>
          <a:xfrm>
            <a:off x="5011081" y="1865497"/>
            <a:ext cx="626044" cy="230832"/>
          </a:xfrm>
          <a:prstGeom prst="rect">
            <a:avLst/>
          </a:prstGeom>
          <a:noFill/>
        </p:spPr>
        <p:txBody>
          <a:bodyPr wrap="square" rtlCol="0">
            <a:spAutoFit/>
          </a:bodyPr>
          <a:lstStyle/>
          <a:p>
            <a:r>
              <a:rPr lang="en-US" sz="900" i="1" dirty="0"/>
              <a:t>CDK4/6i</a:t>
            </a:r>
          </a:p>
        </p:txBody>
      </p:sp>
      <p:sp>
        <p:nvSpPr>
          <p:cNvPr id="3" name="TextBox 2">
            <a:extLst>
              <a:ext uri="{FF2B5EF4-FFF2-40B4-BE49-F238E27FC236}">
                <a16:creationId xmlns:a16="http://schemas.microsoft.com/office/drawing/2014/main" id="{F3790B4D-43CC-C529-7AD0-804E40011447}"/>
              </a:ext>
            </a:extLst>
          </p:cNvPr>
          <p:cNvSpPr txBox="1"/>
          <p:nvPr/>
        </p:nvSpPr>
        <p:spPr>
          <a:xfrm>
            <a:off x="-28007" y="1826067"/>
            <a:ext cx="2037035" cy="307777"/>
          </a:xfrm>
          <a:prstGeom prst="rect">
            <a:avLst/>
          </a:prstGeom>
          <a:noFill/>
        </p:spPr>
        <p:txBody>
          <a:bodyPr wrap="square" rtlCol="0">
            <a:spAutoFit/>
          </a:bodyPr>
          <a:lstStyle/>
          <a:p>
            <a:r>
              <a:rPr lang="en-US" sz="1400" b="1" dirty="0">
                <a:solidFill>
                  <a:srgbClr val="FF6600"/>
                </a:solidFill>
              </a:rPr>
              <a:t>Synthetic lethal</a:t>
            </a:r>
          </a:p>
        </p:txBody>
      </p:sp>
      <p:sp>
        <p:nvSpPr>
          <p:cNvPr id="28" name="TextBox 27">
            <a:extLst>
              <a:ext uri="{FF2B5EF4-FFF2-40B4-BE49-F238E27FC236}">
                <a16:creationId xmlns:a16="http://schemas.microsoft.com/office/drawing/2014/main" id="{A5ABF043-C7FE-7439-A993-684DA4CB0D08}"/>
              </a:ext>
            </a:extLst>
          </p:cNvPr>
          <p:cNvSpPr txBox="1"/>
          <p:nvPr/>
        </p:nvSpPr>
        <p:spPr>
          <a:xfrm>
            <a:off x="7279551" y="2254419"/>
            <a:ext cx="654346" cy="307777"/>
          </a:xfrm>
          <a:prstGeom prst="rect">
            <a:avLst/>
          </a:prstGeom>
          <a:noFill/>
        </p:spPr>
        <p:txBody>
          <a:bodyPr wrap="none" rtlCol="0">
            <a:spAutoFit/>
          </a:bodyPr>
          <a:lstStyle/>
          <a:p>
            <a:r>
              <a:rPr lang="en-US" sz="1400" b="1" i="1" dirty="0"/>
              <a:t>ESR1</a:t>
            </a:r>
          </a:p>
        </p:txBody>
      </p:sp>
      <p:sp>
        <p:nvSpPr>
          <p:cNvPr id="29" name="TextBox 28">
            <a:extLst>
              <a:ext uri="{FF2B5EF4-FFF2-40B4-BE49-F238E27FC236}">
                <a16:creationId xmlns:a16="http://schemas.microsoft.com/office/drawing/2014/main" id="{08FD80B8-A8AE-6ABB-6D96-5709BF966210}"/>
              </a:ext>
            </a:extLst>
          </p:cNvPr>
          <p:cNvSpPr txBox="1"/>
          <p:nvPr/>
        </p:nvSpPr>
        <p:spPr>
          <a:xfrm>
            <a:off x="7504314" y="2514023"/>
            <a:ext cx="663964" cy="307777"/>
          </a:xfrm>
          <a:prstGeom prst="rect">
            <a:avLst/>
          </a:prstGeom>
          <a:noFill/>
        </p:spPr>
        <p:txBody>
          <a:bodyPr wrap="none" rtlCol="0">
            <a:spAutoFit/>
          </a:bodyPr>
          <a:lstStyle/>
          <a:p>
            <a:r>
              <a:rPr lang="en-US" sz="1400" b="1" i="1" dirty="0"/>
              <a:t>HER2</a:t>
            </a:r>
          </a:p>
        </p:txBody>
      </p:sp>
      <p:sp>
        <p:nvSpPr>
          <p:cNvPr id="30" name="TextBox 29">
            <a:extLst>
              <a:ext uri="{FF2B5EF4-FFF2-40B4-BE49-F238E27FC236}">
                <a16:creationId xmlns:a16="http://schemas.microsoft.com/office/drawing/2014/main" id="{327CD913-DA3C-3128-BBEC-44B5E2F7389C}"/>
              </a:ext>
            </a:extLst>
          </p:cNvPr>
          <p:cNvSpPr txBox="1"/>
          <p:nvPr/>
        </p:nvSpPr>
        <p:spPr>
          <a:xfrm>
            <a:off x="8231443" y="2223983"/>
            <a:ext cx="652743" cy="307777"/>
          </a:xfrm>
          <a:prstGeom prst="rect">
            <a:avLst/>
          </a:prstGeom>
          <a:noFill/>
        </p:spPr>
        <p:txBody>
          <a:bodyPr wrap="none" rtlCol="0">
            <a:spAutoFit/>
          </a:bodyPr>
          <a:lstStyle/>
          <a:p>
            <a:r>
              <a:rPr lang="en-US" sz="1400" b="1" i="1" dirty="0"/>
              <a:t>AKT1</a:t>
            </a:r>
          </a:p>
        </p:txBody>
      </p:sp>
      <p:sp>
        <p:nvSpPr>
          <p:cNvPr id="31" name="TextBox 30">
            <a:extLst>
              <a:ext uri="{FF2B5EF4-FFF2-40B4-BE49-F238E27FC236}">
                <a16:creationId xmlns:a16="http://schemas.microsoft.com/office/drawing/2014/main" id="{9CC5A04A-53F5-5EC9-CB29-F01FC914D871}"/>
              </a:ext>
            </a:extLst>
          </p:cNvPr>
          <p:cNvSpPr txBox="1"/>
          <p:nvPr/>
        </p:nvSpPr>
        <p:spPr>
          <a:xfrm>
            <a:off x="7385140" y="806307"/>
            <a:ext cx="1602384" cy="400110"/>
          </a:xfrm>
          <a:prstGeom prst="rect">
            <a:avLst/>
          </a:prstGeom>
          <a:noFill/>
        </p:spPr>
        <p:txBody>
          <a:bodyPr wrap="square" rtlCol="0">
            <a:spAutoFit/>
          </a:bodyPr>
          <a:lstStyle/>
          <a:p>
            <a:r>
              <a:rPr lang="en-US" sz="1000" b="1" i="1" dirty="0"/>
              <a:t>TIGIT, T-cell engagers, combos</a:t>
            </a:r>
          </a:p>
        </p:txBody>
      </p:sp>
      <p:sp>
        <p:nvSpPr>
          <p:cNvPr id="32" name="TextBox 31">
            <a:extLst>
              <a:ext uri="{FF2B5EF4-FFF2-40B4-BE49-F238E27FC236}">
                <a16:creationId xmlns:a16="http://schemas.microsoft.com/office/drawing/2014/main" id="{A026C8C7-2BDC-012F-3F8C-17FA898C8F3B}"/>
              </a:ext>
            </a:extLst>
          </p:cNvPr>
          <p:cNvSpPr txBox="1"/>
          <p:nvPr/>
        </p:nvSpPr>
        <p:spPr>
          <a:xfrm>
            <a:off x="7417687" y="1272859"/>
            <a:ext cx="1602384" cy="400110"/>
          </a:xfrm>
          <a:prstGeom prst="rect">
            <a:avLst/>
          </a:prstGeom>
          <a:noFill/>
        </p:spPr>
        <p:txBody>
          <a:bodyPr wrap="square" rtlCol="0">
            <a:spAutoFit/>
          </a:bodyPr>
          <a:lstStyle/>
          <a:p>
            <a:r>
              <a:rPr lang="en-US" sz="1000" b="1" i="1" dirty="0"/>
              <a:t>New cell-surface targets; HER2, CEA</a:t>
            </a:r>
          </a:p>
        </p:txBody>
      </p:sp>
      <p:sp>
        <p:nvSpPr>
          <p:cNvPr id="34" name="TextBox 33">
            <a:extLst>
              <a:ext uri="{FF2B5EF4-FFF2-40B4-BE49-F238E27FC236}">
                <a16:creationId xmlns:a16="http://schemas.microsoft.com/office/drawing/2014/main" id="{55AEB43F-BCBA-15A1-EDBA-855C21047835}"/>
              </a:ext>
            </a:extLst>
          </p:cNvPr>
          <p:cNvSpPr txBox="1"/>
          <p:nvPr/>
        </p:nvSpPr>
        <p:spPr>
          <a:xfrm>
            <a:off x="7385140" y="1883329"/>
            <a:ext cx="1602384" cy="253916"/>
          </a:xfrm>
          <a:prstGeom prst="rect">
            <a:avLst/>
          </a:prstGeom>
          <a:noFill/>
        </p:spPr>
        <p:txBody>
          <a:bodyPr wrap="square" rtlCol="0">
            <a:spAutoFit/>
          </a:bodyPr>
          <a:lstStyle/>
          <a:p>
            <a:r>
              <a:rPr lang="en-US" sz="1050" b="1" i="1" dirty="0" err="1"/>
              <a:t>AurkA</a:t>
            </a:r>
            <a:endParaRPr lang="en-US" sz="1050" b="1" i="1" dirty="0"/>
          </a:p>
        </p:txBody>
      </p:sp>
      <p:sp>
        <p:nvSpPr>
          <p:cNvPr id="35" name="TextBox 34">
            <a:extLst>
              <a:ext uri="{FF2B5EF4-FFF2-40B4-BE49-F238E27FC236}">
                <a16:creationId xmlns:a16="http://schemas.microsoft.com/office/drawing/2014/main" id="{EA36AAA7-D2D9-CE50-B823-6B6F41541453}"/>
              </a:ext>
            </a:extLst>
          </p:cNvPr>
          <p:cNvSpPr txBox="1"/>
          <p:nvPr/>
        </p:nvSpPr>
        <p:spPr>
          <a:xfrm>
            <a:off x="7972999" y="2741606"/>
            <a:ext cx="1003801" cy="307777"/>
          </a:xfrm>
          <a:prstGeom prst="rect">
            <a:avLst/>
          </a:prstGeom>
          <a:noFill/>
        </p:spPr>
        <p:txBody>
          <a:bodyPr wrap="none" rtlCol="0">
            <a:spAutoFit/>
          </a:bodyPr>
          <a:lstStyle/>
          <a:p>
            <a:r>
              <a:rPr lang="en-US" sz="1400" b="1" i="1" dirty="0"/>
              <a:t>PIK3CAm</a:t>
            </a:r>
          </a:p>
        </p:txBody>
      </p:sp>
      <p:sp>
        <p:nvSpPr>
          <p:cNvPr id="36" name="Rectangle 35">
            <a:extLst>
              <a:ext uri="{FF2B5EF4-FFF2-40B4-BE49-F238E27FC236}">
                <a16:creationId xmlns:a16="http://schemas.microsoft.com/office/drawing/2014/main" id="{DBCD1B4A-88DA-5318-E71D-CDB53DA08B35}"/>
              </a:ext>
            </a:extLst>
          </p:cNvPr>
          <p:cNvSpPr/>
          <p:nvPr/>
        </p:nvSpPr>
        <p:spPr bwMode="auto">
          <a:xfrm>
            <a:off x="7146758" y="3106867"/>
            <a:ext cx="1919864" cy="1271054"/>
          </a:xfrm>
          <a:prstGeom prst="rect">
            <a:avLst/>
          </a:prstGeom>
          <a:gradFill>
            <a:gsLst>
              <a:gs pos="0">
                <a:srgbClr val="FFECB2"/>
              </a:gs>
              <a:gs pos="100000">
                <a:schemeClr val="accent1">
                  <a:lumMod val="30000"/>
                  <a:lumOff val="70000"/>
                </a:schemeClr>
              </a:gs>
            </a:gsLst>
            <a:lin ang="0" scaled="0"/>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Arial" pitchFamily="-72" charset="0"/>
              <a:ea typeface="ＭＳ Ｐゴシック" pitchFamily="-72" charset="-128"/>
              <a:cs typeface="ＭＳ Ｐゴシック" pitchFamily="-72" charset="-128"/>
            </a:endParaRPr>
          </a:p>
        </p:txBody>
      </p:sp>
    </p:spTree>
    <p:extLst>
      <p:ext uri="{BB962C8B-B14F-4D97-AF65-F5344CB8AC3E}">
        <p14:creationId xmlns:p14="http://schemas.microsoft.com/office/powerpoint/2010/main" val="1425303164"/>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Calendar&#10;&#10;Description automatically generated">
            <a:extLst>
              <a:ext uri="{FF2B5EF4-FFF2-40B4-BE49-F238E27FC236}">
                <a16:creationId xmlns:a16="http://schemas.microsoft.com/office/drawing/2014/main" id="{13805364-3E24-344F-95DA-43DA6B97ACDC}"/>
              </a:ext>
            </a:extLst>
          </p:cNvPr>
          <p:cNvPicPr>
            <a:picLocks noChangeAspect="1"/>
          </p:cNvPicPr>
          <p:nvPr/>
        </p:nvPicPr>
        <p:blipFill>
          <a:blip r:embed="rId3"/>
          <a:stretch>
            <a:fillRect/>
          </a:stretch>
        </p:blipFill>
        <p:spPr>
          <a:xfrm>
            <a:off x="7037" y="0"/>
            <a:ext cx="9129925" cy="5148263"/>
          </a:xfrm>
          <a:prstGeom prst="rect">
            <a:avLst/>
          </a:prstGeom>
        </p:spPr>
      </p:pic>
      <p:pic>
        <p:nvPicPr>
          <p:cNvPr id="15" name="Picture 14" descr="Graphical user interface, website&#10;&#10;Description automatically generated">
            <a:extLst>
              <a:ext uri="{FF2B5EF4-FFF2-40B4-BE49-F238E27FC236}">
                <a16:creationId xmlns:a16="http://schemas.microsoft.com/office/drawing/2014/main" id="{80727F13-6791-5B49-9F46-3BF36290A24F}"/>
              </a:ext>
            </a:extLst>
          </p:cNvPr>
          <p:cNvPicPr>
            <a:picLocks noChangeAspect="1"/>
          </p:cNvPicPr>
          <p:nvPr/>
        </p:nvPicPr>
        <p:blipFill>
          <a:blip r:embed="rId4"/>
          <a:stretch>
            <a:fillRect/>
          </a:stretch>
        </p:blipFill>
        <p:spPr>
          <a:xfrm>
            <a:off x="7037" y="0"/>
            <a:ext cx="9129925" cy="5148263"/>
          </a:xfrm>
          <a:prstGeom prst="rect">
            <a:avLst/>
          </a:prstGeom>
        </p:spPr>
      </p:pic>
      <p:pic>
        <p:nvPicPr>
          <p:cNvPr id="17" name="Picture 16" descr="Graphical user interface&#10;&#10;Description automatically generated">
            <a:extLst>
              <a:ext uri="{FF2B5EF4-FFF2-40B4-BE49-F238E27FC236}">
                <a16:creationId xmlns:a16="http://schemas.microsoft.com/office/drawing/2014/main" id="{F0D5927F-FD5E-F648-9B5E-758022183824}"/>
              </a:ext>
            </a:extLst>
          </p:cNvPr>
          <p:cNvPicPr>
            <a:picLocks noChangeAspect="1"/>
          </p:cNvPicPr>
          <p:nvPr/>
        </p:nvPicPr>
        <p:blipFill>
          <a:blip r:embed="rId5"/>
          <a:stretch>
            <a:fillRect/>
          </a:stretch>
        </p:blipFill>
        <p:spPr>
          <a:xfrm>
            <a:off x="7037" y="0"/>
            <a:ext cx="9129925" cy="5148263"/>
          </a:xfrm>
          <a:prstGeom prst="rect">
            <a:avLst/>
          </a:prstGeom>
        </p:spPr>
      </p:pic>
      <p:pic>
        <p:nvPicPr>
          <p:cNvPr id="10" name="Picture 9" descr="A picture containing text&#10;&#10;Description automatically generated">
            <a:extLst>
              <a:ext uri="{FF2B5EF4-FFF2-40B4-BE49-F238E27FC236}">
                <a16:creationId xmlns:a16="http://schemas.microsoft.com/office/drawing/2014/main" id="{9661F0C6-188E-94BA-269D-24C866E23D00}"/>
              </a:ext>
            </a:extLst>
          </p:cNvPr>
          <p:cNvPicPr>
            <a:picLocks noChangeAspect="1"/>
          </p:cNvPicPr>
          <p:nvPr/>
        </p:nvPicPr>
        <p:blipFill>
          <a:blip r:embed="rId6"/>
          <a:stretch>
            <a:fillRect/>
          </a:stretch>
        </p:blipFill>
        <p:spPr>
          <a:xfrm>
            <a:off x="-1" y="-12701"/>
            <a:ext cx="9129925" cy="5148263"/>
          </a:xfrm>
          <a:prstGeom prst="rect">
            <a:avLst/>
          </a:prstGeom>
        </p:spPr>
      </p:pic>
      <p:pic>
        <p:nvPicPr>
          <p:cNvPr id="5" name="Picture 4" descr="A picture containing graphical user interface&#10;&#10;Description automatically generated">
            <a:extLst>
              <a:ext uri="{FF2B5EF4-FFF2-40B4-BE49-F238E27FC236}">
                <a16:creationId xmlns:a16="http://schemas.microsoft.com/office/drawing/2014/main" id="{AE206FA8-1ADF-6743-B3FD-1CA6C6C63ADB}"/>
              </a:ext>
            </a:extLst>
          </p:cNvPr>
          <p:cNvPicPr>
            <a:picLocks noChangeAspect="1"/>
          </p:cNvPicPr>
          <p:nvPr/>
        </p:nvPicPr>
        <p:blipFill>
          <a:blip r:embed="rId7"/>
          <a:stretch>
            <a:fillRect/>
          </a:stretch>
        </p:blipFill>
        <p:spPr>
          <a:xfrm>
            <a:off x="-1" y="0"/>
            <a:ext cx="9144001" cy="5148263"/>
          </a:xfrm>
          <a:prstGeom prst="rect">
            <a:avLst/>
          </a:prstGeom>
        </p:spPr>
      </p:pic>
      <p:pic>
        <p:nvPicPr>
          <p:cNvPr id="3" name="Picture 2" descr="Graphical user interface&#10;&#10;Description automatically generated with medium confidence">
            <a:extLst>
              <a:ext uri="{FF2B5EF4-FFF2-40B4-BE49-F238E27FC236}">
                <a16:creationId xmlns:a16="http://schemas.microsoft.com/office/drawing/2014/main" id="{427AC361-97E5-DB4A-97F9-E64F0D38923A}"/>
              </a:ext>
            </a:extLst>
          </p:cNvPr>
          <p:cNvPicPr>
            <a:picLocks noChangeAspect="1"/>
          </p:cNvPicPr>
          <p:nvPr/>
        </p:nvPicPr>
        <p:blipFill>
          <a:blip r:embed="rId8"/>
          <a:stretch>
            <a:fillRect/>
          </a:stretch>
        </p:blipFill>
        <p:spPr>
          <a:xfrm>
            <a:off x="-1276" y="0"/>
            <a:ext cx="9129925" cy="5148263"/>
          </a:xfrm>
          <a:prstGeom prst="rect">
            <a:avLst/>
          </a:prstGeom>
        </p:spPr>
      </p:pic>
      <p:pic>
        <p:nvPicPr>
          <p:cNvPr id="13" name="Picture 12" descr="Graphical user interface&#10;&#10;Description automatically generated with medium confidence">
            <a:extLst>
              <a:ext uri="{FF2B5EF4-FFF2-40B4-BE49-F238E27FC236}">
                <a16:creationId xmlns:a16="http://schemas.microsoft.com/office/drawing/2014/main" id="{74C209DA-DD76-F140-A409-CC2B6FB9E380}"/>
              </a:ext>
            </a:extLst>
          </p:cNvPr>
          <p:cNvPicPr>
            <a:picLocks noChangeAspect="1"/>
          </p:cNvPicPr>
          <p:nvPr/>
        </p:nvPicPr>
        <p:blipFill>
          <a:blip r:embed="rId9"/>
          <a:stretch>
            <a:fillRect/>
          </a:stretch>
        </p:blipFill>
        <p:spPr>
          <a:xfrm>
            <a:off x="7037" y="91440"/>
            <a:ext cx="9129925" cy="5148263"/>
          </a:xfrm>
          <a:prstGeom prst="rect">
            <a:avLst/>
          </a:prstGeom>
        </p:spPr>
      </p:pic>
      <p:pic>
        <p:nvPicPr>
          <p:cNvPr id="11" name="Picture 10" descr="Graphical user interface&#10;&#10;Description automatically generated">
            <a:extLst>
              <a:ext uri="{FF2B5EF4-FFF2-40B4-BE49-F238E27FC236}">
                <a16:creationId xmlns:a16="http://schemas.microsoft.com/office/drawing/2014/main" id="{39E371F3-F698-6E43-9AF5-D6112EDA06B4}"/>
              </a:ext>
            </a:extLst>
          </p:cNvPr>
          <p:cNvPicPr>
            <a:picLocks noChangeAspect="1"/>
          </p:cNvPicPr>
          <p:nvPr/>
        </p:nvPicPr>
        <p:blipFill>
          <a:blip r:embed="rId10"/>
          <a:stretch>
            <a:fillRect/>
          </a:stretch>
        </p:blipFill>
        <p:spPr>
          <a:xfrm>
            <a:off x="7037" y="0"/>
            <a:ext cx="9129925" cy="5148263"/>
          </a:xfrm>
          <a:prstGeom prst="rect">
            <a:avLst/>
          </a:prstGeom>
        </p:spPr>
      </p:pic>
      <p:pic>
        <p:nvPicPr>
          <p:cNvPr id="7" name="Picture 6" descr="Graphical user interface&#10;&#10;Description automatically generated">
            <a:extLst>
              <a:ext uri="{FF2B5EF4-FFF2-40B4-BE49-F238E27FC236}">
                <a16:creationId xmlns:a16="http://schemas.microsoft.com/office/drawing/2014/main" id="{7ECE685F-3E0A-4645-A5C2-F8F5499F2E26}"/>
              </a:ext>
            </a:extLst>
          </p:cNvPr>
          <p:cNvPicPr>
            <a:picLocks noChangeAspect="1"/>
          </p:cNvPicPr>
          <p:nvPr/>
        </p:nvPicPr>
        <p:blipFill>
          <a:blip r:embed="rId11"/>
          <a:stretch>
            <a:fillRect/>
          </a:stretch>
        </p:blipFill>
        <p:spPr>
          <a:xfrm>
            <a:off x="14075" y="12699"/>
            <a:ext cx="9129925" cy="5148263"/>
          </a:xfrm>
          <a:prstGeom prst="rect">
            <a:avLst/>
          </a:prstGeom>
        </p:spPr>
      </p:pic>
      <p:sp>
        <p:nvSpPr>
          <p:cNvPr id="36" name="Rectangle 35">
            <a:extLst>
              <a:ext uri="{FF2B5EF4-FFF2-40B4-BE49-F238E27FC236}">
                <a16:creationId xmlns:a16="http://schemas.microsoft.com/office/drawing/2014/main" id="{A1B4A22D-3BE1-6C4A-812D-C1E98E8E0076}"/>
              </a:ext>
            </a:extLst>
          </p:cNvPr>
          <p:cNvSpPr/>
          <p:nvPr/>
        </p:nvSpPr>
        <p:spPr>
          <a:xfrm>
            <a:off x="0" y="2586831"/>
            <a:ext cx="9129925" cy="461665"/>
          </a:xfrm>
          <a:prstGeom prst="rect">
            <a:avLst/>
          </a:prstGeom>
        </p:spPr>
        <p:txBody>
          <a:bodyPr wrap="square">
            <a:spAutoFit/>
          </a:bodyPr>
          <a:lstStyle/>
          <a:p>
            <a:pPr algn="ctr"/>
            <a:r>
              <a:rPr lang="en-US" spc="600" dirty="0">
                <a:solidFill>
                  <a:srgbClr val="FFC82C"/>
                </a:solidFill>
                <a:latin typeface="Corporate A Medium" panose="02000503080000020004" pitchFamily="2" charset="0"/>
              </a:rPr>
              <a:t>BREAST CANCER</a:t>
            </a:r>
          </a:p>
        </p:txBody>
      </p:sp>
      <p:sp>
        <p:nvSpPr>
          <p:cNvPr id="37" name="Rectangle 36">
            <a:extLst>
              <a:ext uri="{FF2B5EF4-FFF2-40B4-BE49-F238E27FC236}">
                <a16:creationId xmlns:a16="http://schemas.microsoft.com/office/drawing/2014/main" id="{136DD176-7412-694A-BED9-E7F8655CA44E}"/>
              </a:ext>
            </a:extLst>
          </p:cNvPr>
          <p:cNvSpPr/>
          <p:nvPr/>
        </p:nvSpPr>
        <p:spPr>
          <a:xfrm>
            <a:off x="14075" y="3073896"/>
            <a:ext cx="9129925" cy="338554"/>
          </a:xfrm>
          <a:prstGeom prst="rect">
            <a:avLst/>
          </a:prstGeom>
        </p:spPr>
        <p:txBody>
          <a:bodyPr wrap="square">
            <a:spAutoFit/>
          </a:bodyPr>
          <a:lstStyle/>
          <a:p>
            <a:pPr algn="ctr"/>
            <a:r>
              <a:rPr lang="en-US" sz="1600" dirty="0">
                <a:solidFill>
                  <a:schemeClr val="bg1"/>
                </a:solidFill>
                <a:latin typeface="Corporate S Demi" panose="02020500000000000000" pitchFamily="18" charset="0"/>
              </a:rPr>
              <a:t>Wednesday, September 6, 2023</a:t>
            </a:r>
          </a:p>
        </p:txBody>
      </p:sp>
      <p:pic>
        <p:nvPicPr>
          <p:cNvPr id="12" name="Picture 11" descr="A close-up of a sign&#10;&#10;Description automatically generated">
            <a:extLst>
              <a:ext uri="{FF2B5EF4-FFF2-40B4-BE49-F238E27FC236}">
                <a16:creationId xmlns:a16="http://schemas.microsoft.com/office/drawing/2014/main" id="{77D2A35E-AD54-5045-1134-B3EC9C729BA1}"/>
              </a:ext>
            </a:extLst>
          </p:cNvPr>
          <p:cNvPicPr>
            <a:picLocks noChangeAspect="1"/>
          </p:cNvPicPr>
          <p:nvPr/>
        </p:nvPicPr>
        <p:blipFill>
          <a:blip r:embed="rId12"/>
          <a:stretch>
            <a:fillRect/>
          </a:stretch>
        </p:blipFill>
        <p:spPr>
          <a:xfrm>
            <a:off x="7044266" y="4416631"/>
            <a:ext cx="1790699" cy="444928"/>
          </a:xfrm>
          <a:prstGeom prst="rect">
            <a:avLst/>
          </a:prstGeom>
        </p:spPr>
      </p:pic>
    </p:spTree>
    <p:extLst>
      <p:ext uri="{BB962C8B-B14F-4D97-AF65-F5344CB8AC3E}">
        <p14:creationId xmlns:p14="http://schemas.microsoft.com/office/powerpoint/2010/main" val="3152717163"/>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a:xfrm>
            <a:off x="1371600" y="1798064"/>
            <a:ext cx="6400800" cy="2204975"/>
          </a:xfrm>
        </p:spPr>
        <p:txBody>
          <a:bodyPr/>
          <a:lstStyle/>
          <a:p>
            <a:r>
              <a:rPr lang="en-US" b="1" dirty="0">
                <a:solidFill>
                  <a:srgbClr val="002E51"/>
                </a:solidFill>
              </a:rPr>
              <a:t>Marina Sharifi, MD, PhD</a:t>
            </a:r>
          </a:p>
          <a:p>
            <a:r>
              <a:rPr lang="en-US" dirty="0">
                <a:solidFill>
                  <a:srgbClr val="002E51"/>
                </a:solidFill>
              </a:rPr>
              <a:t>Assistant Professor</a:t>
            </a:r>
          </a:p>
          <a:p>
            <a:r>
              <a:rPr lang="en-US" dirty="0">
                <a:solidFill>
                  <a:srgbClr val="002E51"/>
                </a:solidFill>
              </a:rPr>
              <a:t>University of Wisconsin Carbone Cancer Center</a:t>
            </a:r>
          </a:p>
          <a:p>
            <a:r>
              <a:rPr lang="en-US" dirty="0">
                <a:solidFill>
                  <a:srgbClr val="002E51"/>
                </a:solidFill>
              </a:rPr>
              <a:t>Madison, WI</a:t>
            </a:r>
          </a:p>
          <a:p>
            <a:r>
              <a:rPr lang="en-US" dirty="0">
                <a:solidFill>
                  <a:srgbClr val="002E51"/>
                </a:solidFill>
              </a:rPr>
              <a:t>September 6, 2023</a:t>
            </a:r>
          </a:p>
        </p:txBody>
      </p:sp>
      <p:sp>
        <p:nvSpPr>
          <p:cNvPr id="4" name="Title 3"/>
          <p:cNvSpPr>
            <a:spLocks noGrp="1"/>
          </p:cNvSpPr>
          <p:nvPr>
            <p:ph type="title"/>
          </p:nvPr>
        </p:nvSpPr>
        <p:spPr>
          <a:xfrm>
            <a:off x="0" y="127465"/>
            <a:ext cx="9144000" cy="786936"/>
          </a:xfrm>
        </p:spPr>
        <p:txBody>
          <a:bodyPr/>
          <a:lstStyle/>
          <a:p>
            <a:r>
              <a:rPr lang="en-US" b="1" dirty="0">
                <a:solidFill>
                  <a:srgbClr val="002E51"/>
                </a:solidFill>
              </a:rPr>
              <a:t>ctDNA for detection of Minimal Residual Disease</a:t>
            </a:r>
          </a:p>
        </p:txBody>
      </p:sp>
    </p:spTree>
    <p:extLst>
      <p:ext uri="{BB962C8B-B14F-4D97-AF65-F5344CB8AC3E}">
        <p14:creationId xmlns:p14="http://schemas.microsoft.com/office/powerpoint/2010/main" val="2119571184"/>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A340FF03-A1B9-6515-4833-8531F62B4919}"/>
              </a:ext>
            </a:extLst>
          </p:cNvPr>
          <p:cNvSpPr>
            <a:spLocks noGrp="1"/>
          </p:cNvSpPr>
          <p:nvPr>
            <p:ph sz="half" idx="1"/>
          </p:nvPr>
        </p:nvSpPr>
        <p:spPr>
          <a:xfrm>
            <a:off x="685799" y="1117600"/>
            <a:ext cx="7553739" cy="2878667"/>
          </a:xfrm>
        </p:spPr>
        <p:txBody>
          <a:bodyPr>
            <a:normAutofit lnSpcReduction="10000"/>
          </a:bodyPr>
          <a:lstStyle/>
          <a:p>
            <a:pPr marL="514350" indent="-514350">
              <a:buFont typeface="+mj-lt"/>
              <a:buAutoNum type="arabicPeriod"/>
            </a:pPr>
            <a:r>
              <a:rPr lang="en-US" dirty="0"/>
              <a:t>circulating tumor DNA: detection and clinical use cases</a:t>
            </a:r>
          </a:p>
          <a:p>
            <a:pPr marL="514350" indent="-514350">
              <a:buFont typeface="+mj-lt"/>
              <a:buAutoNum type="arabicPeriod"/>
            </a:pPr>
            <a:r>
              <a:rPr lang="en-US" dirty="0"/>
              <a:t>ctDNA dynamics and neoadjuvant therapy response </a:t>
            </a:r>
          </a:p>
          <a:p>
            <a:pPr marL="514350" indent="-514350">
              <a:buFont typeface="+mj-lt"/>
              <a:buAutoNum type="arabicPeriod"/>
            </a:pPr>
            <a:r>
              <a:rPr lang="en-US" dirty="0"/>
              <a:t>ctDNA for detection of disease relapse</a:t>
            </a:r>
          </a:p>
          <a:p>
            <a:pPr marL="514350" indent="-514350">
              <a:buFont typeface="+mj-lt"/>
              <a:buAutoNum type="arabicPeriod"/>
            </a:pPr>
            <a:r>
              <a:rPr lang="en-US" dirty="0"/>
              <a:t>ctDNA and adjuvant therapy</a:t>
            </a:r>
          </a:p>
        </p:txBody>
      </p:sp>
      <p:sp>
        <p:nvSpPr>
          <p:cNvPr id="2" name="Title 1">
            <a:extLst>
              <a:ext uri="{FF2B5EF4-FFF2-40B4-BE49-F238E27FC236}">
                <a16:creationId xmlns:a16="http://schemas.microsoft.com/office/drawing/2014/main" id="{5DA0CF5E-F475-9B41-A01F-6AED938E3C57}"/>
              </a:ext>
            </a:extLst>
          </p:cNvPr>
          <p:cNvSpPr>
            <a:spLocks noGrp="1"/>
          </p:cNvSpPr>
          <p:nvPr>
            <p:ph type="title"/>
          </p:nvPr>
        </p:nvSpPr>
        <p:spPr/>
        <p:txBody>
          <a:bodyPr/>
          <a:lstStyle/>
          <a:p>
            <a:r>
              <a:rPr lang="en-US" dirty="0"/>
              <a:t>Outline</a:t>
            </a:r>
          </a:p>
        </p:txBody>
      </p:sp>
    </p:spTree>
    <p:extLst>
      <p:ext uri="{BB962C8B-B14F-4D97-AF65-F5344CB8AC3E}">
        <p14:creationId xmlns:p14="http://schemas.microsoft.com/office/powerpoint/2010/main" val="195473587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0" y="129091"/>
            <a:ext cx="9154758" cy="805629"/>
          </a:xfrm>
        </p:spPr>
        <p:txBody>
          <a:bodyPr/>
          <a:lstStyle/>
          <a:p>
            <a:r>
              <a:rPr lang="en-US" b="1" dirty="0"/>
              <a:t>monarchE update</a:t>
            </a:r>
          </a:p>
        </p:txBody>
      </p:sp>
      <p:sp>
        <p:nvSpPr>
          <p:cNvPr id="6" name="TextBox 5">
            <a:extLst>
              <a:ext uri="{FF2B5EF4-FFF2-40B4-BE49-F238E27FC236}">
                <a16:creationId xmlns:a16="http://schemas.microsoft.com/office/drawing/2014/main" id="{92D87E31-EA55-5AEC-4AB6-D42421668FB2}"/>
              </a:ext>
            </a:extLst>
          </p:cNvPr>
          <p:cNvSpPr txBox="1"/>
          <p:nvPr/>
        </p:nvSpPr>
        <p:spPr>
          <a:xfrm>
            <a:off x="3814431" y="4749849"/>
            <a:ext cx="4609214" cy="400110"/>
          </a:xfrm>
          <a:prstGeom prst="rect">
            <a:avLst/>
          </a:prstGeom>
          <a:noFill/>
        </p:spPr>
        <p:txBody>
          <a:bodyPr wrap="square">
            <a:spAutoFit/>
          </a:bodyPr>
          <a:lstStyle/>
          <a:p>
            <a:r>
              <a:rPr lang="en-US" sz="1000" dirty="0">
                <a:latin typeface="+mn-lt"/>
              </a:rPr>
              <a:t>Johnston et al, Abstract GS1-09 SABCS 2022 </a:t>
            </a:r>
          </a:p>
          <a:p>
            <a:r>
              <a:rPr lang="en-US" sz="1000" dirty="0">
                <a:latin typeface="+mn-lt"/>
              </a:rPr>
              <a:t>Johnston et al, Lancet Onc, 2022</a:t>
            </a:r>
          </a:p>
        </p:txBody>
      </p:sp>
      <p:sp>
        <p:nvSpPr>
          <p:cNvPr id="7" name="Rectangle 6">
            <a:extLst>
              <a:ext uri="{FF2B5EF4-FFF2-40B4-BE49-F238E27FC236}">
                <a16:creationId xmlns:a16="http://schemas.microsoft.com/office/drawing/2014/main" id="{16C4E236-1EB7-44C4-7C09-2E6F1749B662}"/>
              </a:ext>
            </a:extLst>
          </p:cNvPr>
          <p:cNvSpPr/>
          <p:nvPr/>
        </p:nvSpPr>
        <p:spPr bwMode="auto">
          <a:xfrm>
            <a:off x="1212112" y="934721"/>
            <a:ext cx="2838893" cy="383716"/>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pic>
        <p:nvPicPr>
          <p:cNvPr id="2" name="Picture 1">
            <a:extLst>
              <a:ext uri="{FF2B5EF4-FFF2-40B4-BE49-F238E27FC236}">
                <a16:creationId xmlns:a16="http://schemas.microsoft.com/office/drawing/2014/main" id="{A2740F29-6724-284E-1923-663D129E9FE4}"/>
              </a:ext>
            </a:extLst>
          </p:cNvPr>
          <p:cNvPicPr>
            <a:picLocks noChangeAspect="1"/>
          </p:cNvPicPr>
          <p:nvPr/>
        </p:nvPicPr>
        <p:blipFill>
          <a:blip r:embed="rId3"/>
          <a:stretch>
            <a:fillRect/>
          </a:stretch>
        </p:blipFill>
        <p:spPr>
          <a:xfrm>
            <a:off x="481186" y="675735"/>
            <a:ext cx="5637852" cy="3568082"/>
          </a:xfrm>
          <a:prstGeom prst="rect">
            <a:avLst/>
          </a:prstGeom>
        </p:spPr>
      </p:pic>
      <p:sp>
        <p:nvSpPr>
          <p:cNvPr id="8" name="Rectangle 7">
            <a:extLst>
              <a:ext uri="{FF2B5EF4-FFF2-40B4-BE49-F238E27FC236}">
                <a16:creationId xmlns:a16="http://schemas.microsoft.com/office/drawing/2014/main" id="{69CF1EC9-B909-091B-CBFD-3AD6B073AF79}"/>
              </a:ext>
            </a:extLst>
          </p:cNvPr>
          <p:cNvSpPr/>
          <p:nvPr/>
        </p:nvSpPr>
        <p:spPr bwMode="auto">
          <a:xfrm>
            <a:off x="481186" y="654018"/>
            <a:ext cx="4830184" cy="500856"/>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
        <p:nvSpPr>
          <p:cNvPr id="9" name="Rectangle 8">
            <a:extLst>
              <a:ext uri="{FF2B5EF4-FFF2-40B4-BE49-F238E27FC236}">
                <a16:creationId xmlns:a16="http://schemas.microsoft.com/office/drawing/2014/main" id="{67A3348D-A106-0D5F-8715-4B4902C5C717}"/>
              </a:ext>
            </a:extLst>
          </p:cNvPr>
          <p:cNvSpPr/>
          <p:nvPr/>
        </p:nvSpPr>
        <p:spPr bwMode="auto">
          <a:xfrm>
            <a:off x="96818" y="3991087"/>
            <a:ext cx="4165003" cy="252730"/>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
        <p:nvSpPr>
          <p:cNvPr id="12" name="TextBox 11">
            <a:extLst>
              <a:ext uri="{FF2B5EF4-FFF2-40B4-BE49-F238E27FC236}">
                <a16:creationId xmlns:a16="http://schemas.microsoft.com/office/drawing/2014/main" id="{285E0E87-7A17-E0C3-FB92-243DC799119B}"/>
              </a:ext>
            </a:extLst>
          </p:cNvPr>
          <p:cNvSpPr txBox="1"/>
          <p:nvPr/>
        </p:nvSpPr>
        <p:spPr>
          <a:xfrm>
            <a:off x="7070338" y="1441893"/>
            <a:ext cx="1723100" cy="2400657"/>
          </a:xfrm>
          <a:prstGeom prst="rect">
            <a:avLst/>
          </a:prstGeom>
          <a:noFill/>
        </p:spPr>
        <p:txBody>
          <a:bodyPr wrap="square" rtlCol="0">
            <a:spAutoFit/>
          </a:bodyPr>
          <a:lstStyle/>
          <a:p>
            <a:pPr algn="l"/>
            <a:r>
              <a:rPr lang="en-US" sz="1000" kern="0" dirty="0"/>
              <a:t>Balanced between control and study arms:</a:t>
            </a:r>
          </a:p>
          <a:p>
            <a:pPr algn="l"/>
            <a:endParaRPr lang="en-US" sz="1000" kern="0" dirty="0"/>
          </a:p>
          <a:p>
            <a:pPr marL="171450" indent="-171450" algn="l">
              <a:buFont typeface="Arial" panose="020B0604020202020204" pitchFamily="34" charset="0"/>
              <a:buChar char="•"/>
            </a:pPr>
            <a:r>
              <a:rPr lang="en-US" sz="1000" kern="0" dirty="0"/>
              <a:t>60% were post-</a:t>
            </a:r>
            <a:r>
              <a:rPr lang="en-US" sz="1000" kern="0" dirty="0" err="1"/>
              <a:t>meno</a:t>
            </a:r>
            <a:endParaRPr lang="en-US" sz="1000" kern="0" dirty="0"/>
          </a:p>
          <a:p>
            <a:pPr marL="171450" indent="-171450" algn="l">
              <a:buFont typeface="Arial" panose="020B0604020202020204" pitchFamily="34" charset="0"/>
              <a:buChar char="•"/>
            </a:pPr>
            <a:r>
              <a:rPr lang="en-US" sz="1000" kern="0" dirty="0"/>
              <a:t>70% AI, 15% OFS, 30% tamoxife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0" dirty="0">
                <a:highlight>
                  <a:srgbClr val="FFFF00"/>
                </a:highlight>
              </a:rPr>
              <a:t>50% had T2</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0" dirty="0">
                <a:highlight>
                  <a:srgbClr val="FFFF00"/>
                </a:highlight>
              </a:rPr>
              <a:t>20% with T3 </a:t>
            </a:r>
          </a:p>
          <a:p>
            <a:pPr marL="171450" indent="-171450" algn="l">
              <a:buFont typeface="Arial" panose="020B0604020202020204" pitchFamily="34" charset="0"/>
              <a:buChar char="•"/>
            </a:pPr>
            <a:r>
              <a:rPr lang="en-US" sz="1000" kern="0" dirty="0">
                <a:highlight>
                  <a:srgbClr val="FFFF00"/>
                </a:highlight>
              </a:rPr>
              <a:t>60% had 4+ axillary LN</a:t>
            </a:r>
          </a:p>
          <a:p>
            <a:pPr marL="171450" indent="-171450" algn="l">
              <a:buFont typeface="Arial" panose="020B0604020202020204" pitchFamily="34" charset="0"/>
              <a:buChar char="•"/>
            </a:pPr>
            <a:r>
              <a:rPr lang="en-US" sz="1000" kern="0" dirty="0"/>
              <a:t>40% had G3 histology</a:t>
            </a:r>
          </a:p>
          <a:p>
            <a:pPr marL="171450" indent="-171450" algn="l">
              <a:buFont typeface="Arial" panose="020B0604020202020204" pitchFamily="34" charset="0"/>
              <a:buChar char="•"/>
            </a:pPr>
            <a:r>
              <a:rPr lang="en-US" sz="1000" kern="0" dirty="0"/>
              <a:t>45% had Ki67 &gt;20%</a:t>
            </a:r>
          </a:p>
          <a:p>
            <a:pPr marL="171450" indent="-171450" algn="l">
              <a:buFont typeface="Arial" panose="020B0604020202020204" pitchFamily="34" charset="0"/>
              <a:buChar char="•"/>
            </a:pPr>
            <a:r>
              <a:rPr lang="en-US" sz="1000" kern="0" dirty="0">
                <a:highlight>
                  <a:srgbClr val="FFFF00"/>
                </a:highlight>
              </a:rPr>
              <a:t>95% had received CT</a:t>
            </a:r>
          </a:p>
          <a:p>
            <a:pPr marL="171450" indent="-171450" algn="l">
              <a:buFont typeface="Arial" panose="020B0604020202020204" pitchFamily="34" charset="0"/>
              <a:buChar char="•"/>
            </a:pPr>
            <a:r>
              <a:rPr lang="en-US" sz="1000" kern="0" dirty="0"/>
              <a:t>80% with anthracycline and taxane</a:t>
            </a:r>
          </a:p>
          <a:p>
            <a:endParaRPr lang="en-US" sz="1000" dirty="0"/>
          </a:p>
        </p:txBody>
      </p:sp>
    </p:spTree>
    <p:extLst>
      <p:ext uri="{BB962C8B-B14F-4D97-AF65-F5344CB8AC3E}">
        <p14:creationId xmlns:p14="http://schemas.microsoft.com/office/powerpoint/2010/main" val="240950435"/>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circulating tumor DNA</a:t>
            </a:r>
          </a:p>
        </p:txBody>
      </p:sp>
      <p:pic>
        <p:nvPicPr>
          <p:cNvPr id="3" name="Picture 2" descr="A diagram of a blood test&#10;&#10;Description automatically generated">
            <a:extLst>
              <a:ext uri="{FF2B5EF4-FFF2-40B4-BE49-F238E27FC236}">
                <a16:creationId xmlns:a16="http://schemas.microsoft.com/office/drawing/2014/main" id="{9C370063-43EA-E5A3-DD42-72994536947C}"/>
              </a:ext>
            </a:extLst>
          </p:cNvPr>
          <p:cNvPicPr>
            <a:picLocks noChangeAspect="1"/>
          </p:cNvPicPr>
          <p:nvPr/>
        </p:nvPicPr>
        <p:blipFill rotWithShape="1">
          <a:blip r:embed="rId2"/>
          <a:srcRect t="9566"/>
          <a:stretch/>
        </p:blipFill>
        <p:spPr>
          <a:xfrm>
            <a:off x="-1" y="807399"/>
            <a:ext cx="4487631" cy="3475352"/>
          </a:xfrm>
          <a:prstGeom prst="rect">
            <a:avLst/>
          </a:prstGeom>
        </p:spPr>
      </p:pic>
      <p:sp>
        <p:nvSpPr>
          <p:cNvPr id="5" name="TextBox 4">
            <a:extLst>
              <a:ext uri="{FF2B5EF4-FFF2-40B4-BE49-F238E27FC236}">
                <a16:creationId xmlns:a16="http://schemas.microsoft.com/office/drawing/2014/main" id="{08CFDFC4-7E27-5F67-7C47-10BDFC53506C}"/>
              </a:ext>
            </a:extLst>
          </p:cNvPr>
          <p:cNvSpPr txBox="1"/>
          <p:nvPr/>
        </p:nvSpPr>
        <p:spPr>
          <a:xfrm>
            <a:off x="4572000" y="1204172"/>
            <a:ext cx="4031219" cy="2308324"/>
          </a:xfrm>
          <a:prstGeom prst="rect">
            <a:avLst/>
          </a:prstGeom>
          <a:noFill/>
        </p:spPr>
        <p:txBody>
          <a:bodyPr wrap="square" rtlCol="0">
            <a:spAutoFit/>
          </a:bodyPr>
          <a:lstStyle/>
          <a:p>
            <a:r>
              <a:rPr lang="en-US" sz="1600" dirty="0"/>
              <a:t>Advantages:</a:t>
            </a:r>
          </a:p>
          <a:p>
            <a:pPr marL="342900" indent="-342900">
              <a:buFont typeface="Arial" panose="020B0604020202020204" pitchFamily="34" charset="0"/>
              <a:buChar char="•"/>
            </a:pPr>
            <a:r>
              <a:rPr lang="en-US" sz="1600" dirty="0"/>
              <a:t>Minimally invasive – good for longitudinal/repeated sampling</a:t>
            </a:r>
          </a:p>
          <a:p>
            <a:pPr marL="342900" indent="-342900">
              <a:buFont typeface="Arial" panose="020B0604020202020204" pitchFamily="34" charset="0"/>
              <a:buChar char="•"/>
            </a:pPr>
            <a:r>
              <a:rPr lang="en-US" sz="1600" dirty="0"/>
              <a:t>Captures shedding from multiple metastatic sites</a:t>
            </a:r>
          </a:p>
          <a:p>
            <a:r>
              <a:rPr lang="en-US" sz="1600" dirty="0"/>
              <a:t>Challenges:</a:t>
            </a:r>
          </a:p>
          <a:p>
            <a:pPr marL="342900" indent="-342900">
              <a:buFont typeface="Arial" panose="020B0604020202020204" pitchFamily="34" charset="0"/>
              <a:buChar char="•"/>
            </a:pPr>
            <a:r>
              <a:rPr lang="en-US" sz="1600" dirty="0"/>
              <a:t>detection sensitivity: ctDNA present at extremely low concentrations compared to normal cfDNA</a:t>
            </a:r>
          </a:p>
        </p:txBody>
      </p:sp>
    </p:spTree>
    <p:extLst>
      <p:ext uri="{BB962C8B-B14F-4D97-AF65-F5344CB8AC3E}">
        <p14:creationId xmlns:p14="http://schemas.microsoft.com/office/powerpoint/2010/main" val="41858391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3A7CBC-3C86-DFA4-C031-2EE04922EE5F}"/>
              </a:ext>
            </a:extLst>
          </p:cNvPr>
          <p:cNvSpPr>
            <a:spLocks noGrp="1"/>
          </p:cNvSpPr>
          <p:nvPr>
            <p:ph type="title"/>
          </p:nvPr>
        </p:nvSpPr>
        <p:spPr/>
        <p:txBody>
          <a:bodyPr/>
          <a:lstStyle/>
          <a:p>
            <a:r>
              <a:rPr lang="en-US" dirty="0"/>
              <a:t>circulating tumor DNA in the clinic</a:t>
            </a:r>
          </a:p>
        </p:txBody>
      </p:sp>
      <p:pic>
        <p:nvPicPr>
          <p:cNvPr id="3" name="Picture 2" descr="Graphical user interface, application&#10;&#10;Description automatically generated">
            <a:extLst>
              <a:ext uri="{FF2B5EF4-FFF2-40B4-BE49-F238E27FC236}">
                <a16:creationId xmlns:a16="http://schemas.microsoft.com/office/drawing/2014/main" id="{F34031E6-78FD-F684-6AB6-5D94C3315BD6}"/>
              </a:ext>
            </a:extLst>
          </p:cNvPr>
          <p:cNvPicPr>
            <a:picLocks noChangeAspect="1"/>
          </p:cNvPicPr>
          <p:nvPr/>
        </p:nvPicPr>
        <p:blipFill rotWithShape="1">
          <a:blip r:embed="rId2"/>
          <a:srcRect t="30155" r="31416" b="1185"/>
          <a:stretch/>
        </p:blipFill>
        <p:spPr>
          <a:xfrm>
            <a:off x="1801846" y="883746"/>
            <a:ext cx="6193443" cy="2687445"/>
          </a:xfrm>
          <a:prstGeom prst="rect">
            <a:avLst/>
          </a:prstGeom>
        </p:spPr>
      </p:pic>
      <p:sp>
        <p:nvSpPr>
          <p:cNvPr id="4" name="TextBox 3">
            <a:extLst>
              <a:ext uri="{FF2B5EF4-FFF2-40B4-BE49-F238E27FC236}">
                <a16:creationId xmlns:a16="http://schemas.microsoft.com/office/drawing/2014/main" id="{C60D2881-013C-6512-0010-E27E9C4DBDCC}"/>
              </a:ext>
            </a:extLst>
          </p:cNvPr>
          <p:cNvSpPr txBox="1"/>
          <p:nvPr/>
        </p:nvSpPr>
        <p:spPr>
          <a:xfrm>
            <a:off x="3377577" y="4561625"/>
            <a:ext cx="3041983" cy="461665"/>
          </a:xfrm>
          <a:prstGeom prst="rect">
            <a:avLst/>
          </a:prstGeom>
          <a:noFill/>
        </p:spPr>
        <p:txBody>
          <a:bodyPr wrap="square" rtlCol="0">
            <a:spAutoFit/>
          </a:bodyPr>
          <a:lstStyle/>
          <a:p>
            <a:r>
              <a:rPr lang="en-US" sz="1200" dirty="0"/>
              <a:t>Adapted from Wan et al, Nature Reviews Cancer 2017 (PMID: 28233803)</a:t>
            </a:r>
          </a:p>
        </p:txBody>
      </p:sp>
      <p:pic>
        <p:nvPicPr>
          <p:cNvPr id="14" name="Picture 13" descr="A diagram of a blood test&#10;&#10;Description automatically generated">
            <a:extLst>
              <a:ext uri="{FF2B5EF4-FFF2-40B4-BE49-F238E27FC236}">
                <a16:creationId xmlns:a16="http://schemas.microsoft.com/office/drawing/2014/main" id="{1FCADA10-01A2-BD56-C6FA-5C2D3E6111A2}"/>
              </a:ext>
            </a:extLst>
          </p:cNvPr>
          <p:cNvPicPr>
            <a:picLocks noChangeAspect="1"/>
          </p:cNvPicPr>
          <p:nvPr/>
        </p:nvPicPr>
        <p:blipFill rotWithShape="1">
          <a:blip r:embed="rId3"/>
          <a:srcRect l="5166" t="68680" r="51114" b="512"/>
          <a:stretch/>
        </p:blipFill>
        <p:spPr>
          <a:xfrm>
            <a:off x="0" y="1037205"/>
            <a:ext cx="1961966" cy="1183966"/>
          </a:xfrm>
          <a:prstGeom prst="rect">
            <a:avLst/>
          </a:prstGeom>
        </p:spPr>
      </p:pic>
      <p:grpSp>
        <p:nvGrpSpPr>
          <p:cNvPr id="31" name="Group 30">
            <a:extLst>
              <a:ext uri="{FF2B5EF4-FFF2-40B4-BE49-F238E27FC236}">
                <a16:creationId xmlns:a16="http://schemas.microsoft.com/office/drawing/2014/main" id="{F2B1B6D2-D56C-E26A-82F4-24F0D575C02F}"/>
              </a:ext>
            </a:extLst>
          </p:cNvPr>
          <p:cNvGrpSpPr/>
          <p:nvPr/>
        </p:nvGrpSpPr>
        <p:grpSpPr>
          <a:xfrm>
            <a:off x="909108" y="3593819"/>
            <a:ext cx="7004561" cy="690356"/>
            <a:chOff x="909108" y="3593819"/>
            <a:chExt cx="7004561" cy="690356"/>
          </a:xfrm>
        </p:grpSpPr>
        <p:grpSp>
          <p:nvGrpSpPr>
            <p:cNvPr id="17" name="Group 16">
              <a:extLst>
                <a:ext uri="{FF2B5EF4-FFF2-40B4-BE49-F238E27FC236}">
                  <a16:creationId xmlns:a16="http://schemas.microsoft.com/office/drawing/2014/main" id="{684C8E49-9529-6D5C-B2EF-72D37D016000}"/>
                </a:ext>
              </a:extLst>
            </p:cNvPr>
            <p:cNvGrpSpPr/>
            <p:nvPr/>
          </p:nvGrpSpPr>
          <p:grpSpPr>
            <a:xfrm>
              <a:off x="3113250" y="3593819"/>
              <a:ext cx="690356" cy="690356"/>
              <a:chOff x="2342129" y="3414287"/>
              <a:chExt cx="866852" cy="866852"/>
            </a:xfrm>
          </p:grpSpPr>
          <p:sp>
            <p:nvSpPr>
              <p:cNvPr id="16" name="Oval 15">
                <a:extLst>
                  <a:ext uri="{FF2B5EF4-FFF2-40B4-BE49-F238E27FC236}">
                    <a16:creationId xmlns:a16="http://schemas.microsoft.com/office/drawing/2014/main" id="{62CB111D-A90C-2F13-220B-DF0BDA7A306A}"/>
                  </a:ext>
                </a:extLst>
              </p:cNvPr>
              <p:cNvSpPr/>
              <p:nvPr/>
            </p:nvSpPr>
            <p:spPr bwMode="auto">
              <a:xfrm>
                <a:off x="2342129" y="3414287"/>
                <a:ext cx="866852" cy="866852"/>
              </a:xfrm>
              <a:prstGeom prst="ellipse">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
            <p:nvSpPr>
              <p:cNvPr id="15" name="Pie 14">
                <a:extLst>
                  <a:ext uri="{FF2B5EF4-FFF2-40B4-BE49-F238E27FC236}">
                    <a16:creationId xmlns:a16="http://schemas.microsoft.com/office/drawing/2014/main" id="{07748C96-42D6-8661-5B58-19E624DAC593}"/>
                  </a:ext>
                </a:extLst>
              </p:cNvPr>
              <p:cNvSpPr/>
              <p:nvPr/>
            </p:nvSpPr>
            <p:spPr bwMode="auto">
              <a:xfrm>
                <a:off x="2342129" y="3414287"/>
                <a:ext cx="866852" cy="866852"/>
              </a:xfrm>
              <a:prstGeom prst="pie">
                <a:avLst>
                  <a:gd name="adj1" fmla="val 0"/>
                  <a:gd name="adj2" fmla="val 21541915"/>
                </a:avLst>
              </a:prstGeom>
              <a:solidFill>
                <a:srgbClr val="317EC3"/>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grpSp>
        <p:grpSp>
          <p:nvGrpSpPr>
            <p:cNvPr id="18" name="Group 17">
              <a:extLst>
                <a:ext uri="{FF2B5EF4-FFF2-40B4-BE49-F238E27FC236}">
                  <a16:creationId xmlns:a16="http://schemas.microsoft.com/office/drawing/2014/main" id="{3E97F9DD-03B1-DEF5-62B4-738277268B7D}"/>
                </a:ext>
              </a:extLst>
            </p:cNvPr>
            <p:cNvGrpSpPr/>
            <p:nvPr/>
          </p:nvGrpSpPr>
          <p:grpSpPr>
            <a:xfrm>
              <a:off x="4140766" y="3593819"/>
              <a:ext cx="690356" cy="690356"/>
              <a:chOff x="2342129" y="3414287"/>
              <a:chExt cx="866852" cy="866852"/>
            </a:xfrm>
          </p:grpSpPr>
          <p:sp>
            <p:nvSpPr>
              <p:cNvPr id="19" name="Oval 18">
                <a:extLst>
                  <a:ext uri="{FF2B5EF4-FFF2-40B4-BE49-F238E27FC236}">
                    <a16:creationId xmlns:a16="http://schemas.microsoft.com/office/drawing/2014/main" id="{69D0230A-B1A4-F31A-60E2-83E7C394C25E}"/>
                  </a:ext>
                </a:extLst>
              </p:cNvPr>
              <p:cNvSpPr/>
              <p:nvPr/>
            </p:nvSpPr>
            <p:spPr bwMode="auto">
              <a:xfrm>
                <a:off x="2342129" y="3414287"/>
                <a:ext cx="866852" cy="866852"/>
              </a:xfrm>
              <a:prstGeom prst="ellipse">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
            <p:nvSpPr>
              <p:cNvPr id="20" name="Pie 19">
                <a:extLst>
                  <a:ext uri="{FF2B5EF4-FFF2-40B4-BE49-F238E27FC236}">
                    <a16:creationId xmlns:a16="http://schemas.microsoft.com/office/drawing/2014/main" id="{7D5602A3-3665-DC08-1CB5-4A640C742460}"/>
                  </a:ext>
                </a:extLst>
              </p:cNvPr>
              <p:cNvSpPr/>
              <p:nvPr/>
            </p:nvSpPr>
            <p:spPr bwMode="auto">
              <a:xfrm>
                <a:off x="2342129" y="3414287"/>
                <a:ext cx="866852" cy="866852"/>
              </a:xfrm>
              <a:prstGeom prst="pie">
                <a:avLst>
                  <a:gd name="adj1" fmla="val 0"/>
                  <a:gd name="adj2" fmla="val 21108833"/>
                </a:avLst>
              </a:prstGeom>
              <a:solidFill>
                <a:srgbClr val="317EC3"/>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pitchFamily="-72" charset="0"/>
                  <a:ea typeface="ＭＳ Ｐゴシック" pitchFamily="-72" charset="-128"/>
                  <a:cs typeface="ＭＳ Ｐゴシック" pitchFamily="-72" charset="-128"/>
                </a:endParaRPr>
              </a:p>
            </p:txBody>
          </p:sp>
        </p:grpSp>
        <p:grpSp>
          <p:nvGrpSpPr>
            <p:cNvPr id="21" name="Group 20">
              <a:extLst>
                <a:ext uri="{FF2B5EF4-FFF2-40B4-BE49-F238E27FC236}">
                  <a16:creationId xmlns:a16="http://schemas.microsoft.com/office/drawing/2014/main" id="{115F9DFB-2D67-785E-DF1B-9EB5B06D3F1C}"/>
                </a:ext>
              </a:extLst>
            </p:cNvPr>
            <p:cNvGrpSpPr/>
            <p:nvPr/>
          </p:nvGrpSpPr>
          <p:grpSpPr>
            <a:xfrm>
              <a:off x="5168282" y="3593819"/>
              <a:ext cx="690356" cy="690356"/>
              <a:chOff x="2342129" y="3414287"/>
              <a:chExt cx="866852" cy="866852"/>
            </a:xfrm>
          </p:grpSpPr>
          <p:sp>
            <p:nvSpPr>
              <p:cNvPr id="22" name="Oval 21">
                <a:extLst>
                  <a:ext uri="{FF2B5EF4-FFF2-40B4-BE49-F238E27FC236}">
                    <a16:creationId xmlns:a16="http://schemas.microsoft.com/office/drawing/2014/main" id="{785FA719-6B37-566A-0C89-B4BF224CC9B8}"/>
                  </a:ext>
                </a:extLst>
              </p:cNvPr>
              <p:cNvSpPr/>
              <p:nvPr/>
            </p:nvSpPr>
            <p:spPr bwMode="auto">
              <a:xfrm>
                <a:off x="2342129" y="3414287"/>
                <a:ext cx="866852" cy="866852"/>
              </a:xfrm>
              <a:prstGeom prst="ellipse">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
            <p:nvSpPr>
              <p:cNvPr id="23" name="Pie 22">
                <a:extLst>
                  <a:ext uri="{FF2B5EF4-FFF2-40B4-BE49-F238E27FC236}">
                    <a16:creationId xmlns:a16="http://schemas.microsoft.com/office/drawing/2014/main" id="{61175D3B-D008-F270-A2BC-04E91EA5560E}"/>
                  </a:ext>
                </a:extLst>
              </p:cNvPr>
              <p:cNvSpPr/>
              <p:nvPr/>
            </p:nvSpPr>
            <p:spPr bwMode="auto">
              <a:xfrm>
                <a:off x="2342129" y="3414287"/>
                <a:ext cx="866852" cy="866852"/>
              </a:xfrm>
              <a:prstGeom prst="pie">
                <a:avLst>
                  <a:gd name="adj1" fmla="val 0"/>
                  <a:gd name="adj2" fmla="val 21541915"/>
                </a:avLst>
              </a:prstGeom>
              <a:solidFill>
                <a:srgbClr val="317EC3"/>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grpSp>
        <p:grpSp>
          <p:nvGrpSpPr>
            <p:cNvPr id="24" name="Group 23">
              <a:extLst>
                <a:ext uri="{FF2B5EF4-FFF2-40B4-BE49-F238E27FC236}">
                  <a16:creationId xmlns:a16="http://schemas.microsoft.com/office/drawing/2014/main" id="{7CD7A86F-5413-5192-28F4-DDCBBC5F5002}"/>
                </a:ext>
              </a:extLst>
            </p:cNvPr>
            <p:cNvGrpSpPr/>
            <p:nvPr/>
          </p:nvGrpSpPr>
          <p:grpSpPr>
            <a:xfrm>
              <a:off x="6195798" y="3593819"/>
              <a:ext cx="690356" cy="690356"/>
              <a:chOff x="2342129" y="3414287"/>
              <a:chExt cx="866852" cy="866852"/>
            </a:xfrm>
          </p:grpSpPr>
          <p:sp>
            <p:nvSpPr>
              <p:cNvPr id="25" name="Oval 24">
                <a:extLst>
                  <a:ext uri="{FF2B5EF4-FFF2-40B4-BE49-F238E27FC236}">
                    <a16:creationId xmlns:a16="http://schemas.microsoft.com/office/drawing/2014/main" id="{081C6F35-2CAA-E263-4C86-9551525EB520}"/>
                  </a:ext>
                </a:extLst>
              </p:cNvPr>
              <p:cNvSpPr/>
              <p:nvPr/>
            </p:nvSpPr>
            <p:spPr bwMode="auto">
              <a:xfrm>
                <a:off x="2342129" y="3414287"/>
                <a:ext cx="866852" cy="866852"/>
              </a:xfrm>
              <a:prstGeom prst="ellipse">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pitchFamily="-72" charset="0"/>
                  <a:ea typeface="ＭＳ Ｐゴシック" pitchFamily="-72" charset="-128"/>
                  <a:cs typeface="ＭＳ Ｐゴシック" pitchFamily="-72" charset="-128"/>
                </a:endParaRPr>
              </a:p>
            </p:txBody>
          </p:sp>
          <p:sp>
            <p:nvSpPr>
              <p:cNvPr id="26" name="Pie 25">
                <a:extLst>
                  <a:ext uri="{FF2B5EF4-FFF2-40B4-BE49-F238E27FC236}">
                    <a16:creationId xmlns:a16="http://schemas.microsoft.com/office/drawing/2014/main" id="{2C207657-F8A4-1E38-457B-B28AECA676E3}"/>
                  </a:ext>
                </a:extLst>
              </p:cNvPr>
              <p:cNvSpPr/>
              <p:nvPr/>
            </p:nvSpPr>
            <p:spPr bwMode="auto">
              <a:xfrm>
                <a:off x="2342129" y="3414287"/>
                <a:ext cx="866852" cy="866852"/>
              </a:xfrm>
              <a:prstGeom prst="pie">
                <a:avLst>
                  <a:gd name="adj1" fmla="val 0"/>
                  <a:gd name="adj2" fmla="val 20444755"/>
                </a:avLst>
              </a:prstGeom>
              <a:solidFill>
                <a:srgbClr val="317EC3"/>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pitchFamily="-72" charset="0"/>
                  <a:ea typeface="ＭＳ Ｐゴシック" pitchFamily="-72" charset="-128"/>
                  <a:cs typeface="ＭＳ Ｐゴシック" pitchFamily="-72" charset="-128"/>
                </a:endParaRPr>
              </a:p>
            </p:txBody>
          </p:sp>
        </p:grpSp>
        <p:grpSp>
          <p:nvGrpSpPr>
            <p:cNvPr id="27" name="Group 26">
              <a:extLst>
                <a:ext uri="{FF2B5EF4-FFF2-40B4-BE49-F238E27FC236}">
                  <a16:creationId xmlns:a16="http://schemas.microsoft.com/office/drawing/2014/main" id="{909071E6-0858-27BC-B1CE-9B117B5EAA84}"/>
                </a:ext>
              </a:extLst>
            </p:cNvPr>
            <p:cNvGrpSpPr/>
            <p:nvPr/>
          </p:nvGrpSpPr>
          <p:grpSpPr>
            <a:xfrm>
              <a:off x="7223313" y="3593819"/>
              <a:ext cx="690356" cy="690356"/>
              <a:chOff x="2342129" y="3414287"/>
              <a:chExt cx="866852" cy="866852"/>
            </a:xfrm>
          </p:grpSpPr>
          <p:sp>
            <p:nvSpPr>
              <p:cNvPr id="28" name="Oval 27">
                <a:extLst>
                  <a:ext uri="{FF2B5EF4-FFF2-40B4-BE49-F238E27FC236}">
                    <a16:creationId xmlns:a16="http://schemas.microsoft.com/office/drawing/2014/main" id="{F5947B97-E5D6-527F-98A0-6421AA6C4CFF}"/>
                  </a:ext>
                </a:extLst>
              </p:cNvPr>
              <p:cNvSpPr/>
              <p:nvPr/>
            </p:nvSpPr>
            <p:spPr bwMode="auto">
              <a:xfrm>
                <a:off x="2342129" y="3414287"/>
                <a:ext cx="866852" cy="866852"/>
              </a:xfrm>
              <a:prstGeom prst="ellipse">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pitchFamily="-72" charset="0"/>
                  <a:ea typeface="ＭＳ Ｐゴシック" pitchFamily="-72" charset="-128"/>
                  <a:cs typeface="ＭＳ Ｐゴシック" pitchFamily="-72" charset="-128"/>
                </a:endParaRPr>
              </a:p>
            </p:txBody>
          </p:sp>
          <p:sp>
            <p:nvSpPr>
              <p:cNvPr id="29" name="Pie 28">
                <a:extLst>
                  <a:ext uri="{FF2B5EF4-FFF2-40B4-BE49-F238E27FC236}">
                    <a16:creationId xmlns:a16="http://schemas.microsoft.com/office/drawing/2014/main" id="{9E46B06F-FD55-428E-7E5B-A157DFAF726B}"/>
                  </a:ext>
                </a:extLst>
              </p:cNvPr>
              <p:cNvSpPr/>
              <p:nvPr/>
            </p:nvSpPr>
            <p:spPr bwMode="auto">
              <a:xfrm>
                <a:off x="2342129" y="3414287"/>
                <a:ext cx="866852" cy="866852"/>
              </a:xfrm>
              <a:prstGeom prst="pie">
                <a:avLst>
                  <a:gd name="adj1" fmla="val 0"/>
                  <a:gd name="adj2" fmla="val 19631632"/>
                </a:avLst>
              </a:prstGeom>
              <a:solidFill>
                <a:srgbClr val="317EC3"/>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pitchFamily="-72" charset="0"/>
                  <a:ea typeface="ＭＳ Ｐゴシック" pitchFamily="-72" charset="-128"/>
                  <a:cs typeface="ＭＳ Ｐゴシック" pitchFamily="-72" charset="-128"/>
                </a:endParaRPr>
              </a:p>
            </p:txBody>
          </p:sp>
        </p:grpSp>
        <p:sp>
          <p:nvSpPr>
            <p:cNvPr id="30" name="TextBox 29">
              <a:extLst>
                <a:ext uri="{FF2B5EF4-FFF2-40B4-BE49-F238E27FC236}">
                  <a16:creationId xmlns:a16="http://schemas.microsoft.com/office/drawing/2014/main" id="{889795A5-B946-4149-9CBF-2002EA79411A}"/>
                </a:ext>
              </a:extLst>
            </p:cNvPr>
            <p:cNvSpPr txBox="1"/>
            <p:nvPr/>
          </p:nvSpPr>
          <p:spPr>
            <a:xfrm>
              <a:off x="909108" y="3708164"/>
              <a:ext cx="2152192" cy="461665"/>
            </a:xfrm>
            <a:prstGeom prst="rect">
              <a:avLst/>
            </a:prstGeom>
            <a:noFill/>
          </p:spPr>
          <p:txBody>
            <a:bodyPr wrap="none" rtlCol="0">
              <a:spAutoFit/>
            </a:bodyPr>
            <a:lstStyle/>
            <a:p>
              <a:r>
                <a:rPr lang="en-US" dirty="0"/>
                <a:t>ctDNA fraction</a:t>
              </a:r>
            </a:p>
          </p:txBody>
        </p:sp>
      </p:grpSp>
    </p:spTree>
    <p:extLst>
      <p:ext uri="{BB962C8B-B14F-4D97-AF65-F5344CB8AC3E}">
        <p14:creationId xmlns:p14="http://schemas.microsoft.com/office/powerpoint/2010/main" val="11545332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circulating tumor DNA - detection</a:t>
            </a:r>
          </a:p>
        </p:txBody>
      </p:sp>
      <p:sp>
        <p:nvSpPr>
          <p:cNvPr id="8" name="TextBox 7">
            <a:extLst>
              <a:ext uri="{FF2B5EF4-FFF2-40B4-BE49-F238E27FC236}">
                <a16:creationId xmlns:a16="http://schemas.microsoft.com/office/drawing/2014/main" id="{2867E90B-3B99-4A68-D069-34E5A1ED7602}"/>
              </a:ext>
            </a:extLst>
          </p:cNvPr>
          <p:cNvSpPr txBox="1"/>
          <p:nvPr/>
        </p:nvSpPr>
        <p:spPr>
          <a:xfrm>
            <a:off x="4746133" y="2574131"/>
            <a:ext cx="3781394" cy="1323439"/>
          </a:xfrm>
          <a:prstGeom prst="rect">
            <a:avLst/>
          </a:prstGeom>
          <a:noFill/>
        </p:spPr>
        <p:txBody>
          <a:bodyPr wrap="square" rtlCol="0">
            <a:spAutoFit/>
          </a:bodyPr>
          <a:lstStyle/>
          <a:p>
            <a:r>
              <a:rPr lang="en-US" sz="1600" u="sng" dirty="0"/>
              <a:t>ctDNA detection techniques:</a:t>
            </a:r>
          </a:p>
          <a:p>
            <a:pPr marL="285750" indent="-285750">
              <a:buFont typeface="Arial" panose="020B0604020202020204" pitchFamily="34" charset="0"/>
              <a:buChar char="•"/>
            </a:pPr>
            <a:r>
              <a:rPr lang="en-US" sz="1600" dirty="0"/>
              <a:t>Single gene mutations (digital PCR)</a:t>
            </a:r>
          </a:p>
          <a:p>
            <a:pPr marL="285750" indent="-285750">
              <a:buFont typeface="Arial" panose="020B0604020202020204" pitchFamily="34" charset="0"/>
              <a:buChar char="•"/>
            </a:pPr>
            <a:r>
              <a:rPr lang="en-US" sz="1600" dirty="0">
                <a:sym typeface="Wingdings" pitchFamily="2" charset="2"/>
              </a:rPr>
              <a:t>Targeted next generation sequencing (NGS)</a:t>
            </a:r>
          </a:p>
          <a:p>
            <a:pPr marL="285750" indent="-285750">
              <a:buFont typeface="Arial" panose="020B0604020202020204" pitchFamily="34" charset="0"/>
              <a:buChar char="•"/>
            </a:pPr>
            <a:r>
              <a:rPr lang="en-US" sz="1600" dirty="0">
                <a:sym typeface="Wingdings" pitchFamily="2" charset="2"/>
              </a:rPr>
              <a:t>Whole exome/genome sequencing</a:t>
            </a:r>
          </a:p>
        </p:txBody>
      </p:sp>
      <p:pic>
        <p:nvPicPr>
          <p:cNvPr id="2" name="Picture 1" descr="A diagram of a blood test&#10;&#10;Description automatically generated">
            <a:extLst>
              <a:ext uri="{FF2B5EF4-FFF2-40B4-BE49-F238E27FC236}">
                <a16:creationId xmlns:a16="http://schemas.microsoft.com/office/drawing/2014/main" id="{412DC3D0-2077-9A4E-4A8E-79FF9DA48D17}"/>
              </a:ext>
            </a:extLst>
          </p:cNvPr>
          <p:cNvPicPr>
            <a:picLocks noChangeAspect="1"/>
          </p:cNvPicPr>
          <p:nvPr/>
        </p:nvPicPr>
        <p:blipFill rotWithShape="1">
          <a:blip r:embed="rId2"/>
          <a:srcRect t="67465" r="7069"/>
          <a:stretch/>
        </p:blipFill>
        <p:spPr>
          <a:xfrm>
            <a:off x="2167467" y="887750"/>
            <a:ext cx="4469363" cy="1339935"/>
          </a:xfrm>
          <a:prstGeom prst="rect">
            <a:avLst/>
          </a:prstGeom>
        </p:spPr>
      </p:pic>
      <p:sp>
        <p:nvSpPr>
          <p:cNvPr id="3" name="TextBox 2">
            <a:extLst>
              <a:ext uri="{FF2B5EF4-FFF2-40B4-BE49-F238E27FC236}">
                <a16:creationId xmlns:a16="http://schemas.microsoft.com/office/drawing/2014/main" id="{59594CB8-F369-16BD-DADD-3D67487FA33E}"/>
              </a:ext>
            </a:extLst>
          </p:cNvPr>
          <p:cNvSpPr txBox="1"/>
          <p:nvPr/>
        </p:nvSpPr>
        <p:spPr>
          <a:xfrm>
            <a:off x="516835" y="2574131"/>
            <a:ext cx="4458727" cy="1569660"/>
          </a:xfrm>
          <a:prstGeom prst="rect">
            <a:avLst/>
          </a:prstGeom>
          <a:noFill/>
        </p:spPr>
        <p:txBody>
          <a:bodyPr wrap="square" rtlCol="0">
            <a:spAutoFit/>
          </a:bodyPr>
          <a:lstStyle/>
          <a:p>
            <a:r>
              <a:rPr lang="en-US" sz="1600" u="sng" dirty="0"/>
              <a:t>What can be detected:</a:t>
            </a:r>
          </a:p>
          <a:p>
            <a:pPr marL="742950" lvl="1" indent="-285750">
              <a:buFont typeface="Arial" panose="020B0604020202020204" pitchFamily="34" charset="0"/>
              <a:buChar char="•"/>
            </a:pPr>
            <a:r>
              <a:rPr lang="en-US" sz="1600" dirty="0">
                <a:sym typeface="Wingdings" pitchFamily="2" charset="2"/>
              </a:rPr>
              <a:t>gene mutations</a:t>
            </a:r>
          </a:p>
          <a:p>
            <a:pPr marL="742950" lvl="1" indent="-285750">
              <a:buFont typeface="Arial" panose="020B0604020202020204" pitchFamily="34" charset="0"/>
              <a:buChar char="•"/>
            </a:pPr>
            <a:r>
              <a:rPr lang="en-US" sz="1600" dirty="0">
                <a:sym typeface="Wingdings" pitchFamily="2" charset="2"/>
              </a:rPr>
              <a:t>gene translocations</a:t>
            </a:r>
          </a:p>
          <a:p>
            <a:pPr marL="742950" lvl="1" indent="-285750">
              <a:buFont typeface="Arial" panose="020B0604020202020204" pitchFamily="34" charset="0"/>
              <a:buChar char="•"/>
            </a:pPr>
            <a:r>
              <a:rPr lang="en-US" sz="1600" dirty="0">
                <a:sym typeface="Wingdings" pitchFamily="2" charset="2"/>
              </a:rPr>
              <a:t>gene amplifications/deletions</a:t>
            </a:r>
          </a:p>
          <a:p>
            <a:pPr marL="742950" lvl="1" indent="-285750">
              <a:buFont typeface="Arial" panose="020B0604020202020204" pitchFamily="34" charset="0"/>
              <a:buChar char="•"/>
            </a:pPr>
            <a:r>
              <a:rPr lang="en-US" sz="1600" dirty="0">
                <a:sym typeface="Wingdings" pitchFamily="2" charset="2"/>
              </a:rPr>
              <a:t>DNA fragmentation patterns</a:t>
            </a:r>
          </a:p>
          <a:p>
            <a:pPr marL="742950" lvl="1" indent="-285750">
              <a:buFont typeface="Arial" panose="020B0604020202020204" pitchFamily="34" charset="0"/>
              <a:buChar char="•"/>
            </a:pPr>
            <a:r>
              <a:rPr lang="en-US" sz="1600" dirty="0">
                <a:sym typeface="Wingdings" pitchFamily="2" charset="2"/>
              </a:rPr>
              <a:t>DNA methylation patterns</a:t>
            </a:r>
          </a:p>
        </p:txBody>
      </p:sp>
      <p:sp>
        <p:nvSpPr>
          <p:cNvPr id="7" name="Rectangle 6">
            <a:extLst>
              <a:ext uri="{FF2B5EF4-FFF2-40B4-BE49-F238E27FC236}">
                <a16:creationId xmlns:a16="http://schemas.microsoft.com/office/drawing/2014/main" id="{9D9F26E2-E8AF-063A-D3C8-76AF57E75B1E}"/>
              </a:ext>
            </a:extLst>
          </p:cNvPr>
          <p:cNvSpPr/>
          <p:nvPr/>
        </p:nvSpPr>
        <p:spPr bwMode="auto">
          <a:xfrm>
            <a:off x="4975562" y="3130825"/>
            <a:ext cx="2518542" cy="467140"/>
          </a:xfrm>
          <a:prstGeom prst="rect">
            <a:avLst/>
          </a:prstGeom>
          <a:noFill/>
          <a:ln w="3810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Tree>
    <p:extLst>
      <p:ext uri="{BB962C8B-B14F-4D97-AF65-F5344CB8AC3E}">
        <p14:creationId xmlns:p14="http://schemas.microsoft.com/office/powerpoint/2010/main" val="34692617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circulating tumor DNA - detection</a:t>
            </a:r>
          </a:p>
        </p:txBody>
      </p:sp>
      <p:sp>
        <p:nvSpPr>
          <p:cNvPr id="8" name="TextBox 7">
            <a:extLst>
              <a:ext uri="{FF2B5EF4-FFF2-40B4-BE49-F238E27FC236}">
                <a16:creationId xmlns:a16="http://schemas.microsoft.com/office/drawing/2014/main" id="{2867E90B-3B99-4A68-D069-34E5A1ED7602}"/>
              </a:ext>
            </a:extLst>
          </p:cNvPr>
          <p:cNvSpPr txBox="1"/>
          <p:nvPr/>
        </p:nvSpPr>
        <p:spPr>
          <a:xfrm>
            <a:off x="233265" y="1157599"/>
            <a:ext cx="7453411" cy="2800767"/>
          </a:xfrm>
          <a:prstGeom prst="rect">
            <a:avLst/>
          </a:prstGeom>
          <a:noFill/>
        </p:spPr>
        <p:txBody>
          <a:bodyPr wrap="square" rtlCol="0">
            <a:spAutoFit/>
          </a:bodyPr>
          <a:lstStyle/>
          <a:p>
            <a:r>
              <a:rPr lang="en-US" sz="1600" u="sng" dirty="0">
                <a:sym typeface="Wingdings" pitchFamily="2" charset="2"/>
              </a:rPr>
              <a:t>Targeted sequencing approaches:</a:t>
            </a:r>
          </a:p>
          <a:p>
            <a:pPr marL="342900" indent="-342900">
              <a:buFont typeface="+mj-lt"/>
              <a:buAutoNum type="arabicPeriod"/>
            </a:pPr>
            <a:r>
              <a:rPr lang="en-US" sz="1600" dirty="0">
                <a:sym typeface="Wingdings" pitchFamily="2" charset="2"/>
              </a:rPr>
              <a:t>Tumor informed = custom patient-specific mutation panel developed from tissue biopsy</a:t>
            </a:r>
          </a:p>
          <a:p>
            <a:pPr marL="742950" lvl="1" indent="-285750">
              <a:buFont typeface="Arial" panose="020B0604020202020204" pitchFamily="34" charset="0"/>
              <a:buChar char="•"/>
            </a:pPr>
            <a:r>
              <a:rPr lang="en-US" sz="1600" dirty="0">
                <a:sym typeface="Wingdings" pitchFamily="2" charset="2"/>
              </a:rPr>
              <a:t>Higher sensitivity</a:t>
            </a:r>
          </a:p>
          <a:p>
            <a:pPr marL="742950" lvl="1" indent="-285750">
              <a:buFont typeface="Arial" panose="020B0604020202020204" pitchFamily="34" charset="0"/>
              <a:buChar char="•"/>
            </a:pPr>
            <a:r>
              <a:rPr lang="en-US" sz="1600" dirty="0">
                <a:sym typeface="Wingdings" pitchFamily="2" charset="2"/>
              </a:rPr>
              <a:t>Typically used for MRD detection</a:t>
            </a:r>
          </a:p>
          <a:p>
            <a:pPr marL="342900" indent="-342900">
              <a:buFont typeface="+mj-lt"/>
              <a:buAutoNum type="arabicPeriod"/>
            </a:pPr>
            <a:r>
              <a:rPr lang="en-US" sz="1600" dirty="0">
                <a:sym typeface="Wingdings" pitchFamily="2" charset="2"/>
              </a:rPr>
              <a:t>Tumor agnostic = the same set of genes for every patient</a:t>
            </a:r>
          </a:p>
          <a:p>
            <a:pPr marL="742950" lvl="1" indent="-285750">
              <a:buFont typeface="Arial" panose="020B0604020202020204" pitchFamily="34" charset="0"/>
              <a:buChar char="•"/>
            </a:pPr>
            <a:r>
              <a:rPr lang="en-US" sz="1600" dirty="0">
                <a:sym typeface="Wingdings" pitchFamily="2" charset="2"/>
              </a:rPr>
              <a:t>Lower sensitivity but faster turnaround and less expensive </a:t>
            </a:r>
          </a:p>
          <a:p>
            <a:pPr marL="742950" lvl="1" indent="-285750">
              <a:buFont typeface="Arial" panose="020B0604020202020204" pitchFamily="34" charset="0"/>
              <a:buChar char="•"/>
            </a:pPr>
            <a:r>
              <a:rPr lang="en-US" sz="1600" dirty="0">
                <a:sym typeface="Wingdings" pitchFamily="2" charset="2"/>
              </a:rPr>
              <a:t>Best for detecting mutations in metastatic disease</a:t>
            </a:r>
          </a:p>
          <a:p>
            <a:pPr marL="742950" lvl="1" indent="-285750">
              <a:buFont typeface="Arial" panose="020B0604020202020204" pitchFamily="34" charset="0"/>
              <a:buChar char="•"/>
            </a:pPr>
            <a:r>
              <a:rPr lang="en-US" sz="1600" dirty="0">
                <a:sym typeface="Wingdings" pitchFamily="2" charset="2"/>
              </a:rPr>
              <a:t>Newer tumor agnostic MRD assays add cancer specific methylation analysis to increase sensitivity </a:t>
            </a:r>
          </a:p>
          <a:p>
            <a:endParaRPr lang="en-US" sz="1600" dirty="0">
              <a:sym typeface="Wingdings" pitchFamily="2" charset="2"/>
            </a:endParaRPr>
          </a:p>
        </p:txBody>
      </p:sp>
    </p:spTree>
    <p:extLst>
      <p:ext uri="{BB962C8B-B14F-4D97-AF65-F5344CB8AC3E}">
        <p14:creationId xmlns:p14="http://schemas.microsoft.com/office/powerpoint/2010/main" val="2288204625"/>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A340FF03-A1B9-6515-4833-8531F62B4919}"/>
              </a:ext>
            </a:extLst>
          </p:cNvPr>
          <p:cNvSpPr>
            <a:spLocks noGrp="1"/>
          </p:cNvSpPr>
          <p:nvPr>
            <p:ph sz="half" idx="1"/>
          </p:nvPr>
        </p:nvSpPr>
        <p:spPr>
          <a:xfrm>
            <a:off x="685799" y="1117600"/>
            <a:ext cx="7553739" cy="2878667"/>
          </a:xfrm>
        </p:spPr>
        <p:txBody>
          <a:bodyPr>
            <a:normAutofit lnSpcReduction="10000"/>
          </a:bodyPr>
          <a:lstStyle/>
          <a:p>
            <a:pPr marL="514350" indent="-514350">
              <a:buFont typeface="+mj-lt"/>
              <a:buAutoNum type="arabicPeriod"/>
            </a:pPr>
            <a:r>
              <a:rPr lang="en-US" dirty="0"/>
              <a:t>circulating tumor DNA: detection and clinical use cases</a:t>
            </a:r>
          </a:p>
          <a:p>
            <a:pPr marL="514350" indent="-514350">
              <a:buFont typeface="+mj-lt"/>
              <a:buAutoNum type="arabicPeriod"/>
            </a:pPr>
            <a:r>
              <a:rPr lang="en-US" dirty="0"/>
              <a:t>ctDNA dynamics and neoadjuvant therapy response </a:t>
            </a:r>
          </a:p>
          <a:p>
            <a:pPr marL="514350" indent="-514350">
              <a:buFont typeface="+mj-lt"/>
              <a:buAutoNum type="arabicPeriod"/>
            </a:pPr>
            <a:r>
              <a:rPr lang="en-US" dirty="0"/>
              <a:t>ctDNA for detection of disease relapse</a:t>
            </a:r>
          </a:p>
          <a:p>
            <a:pPr marL="514350" indent="-514350">
              <a:buFont typeface="+mj-lt"/>
              <a:buAutoNum type="arabicPeriod"/>
            </a:pPr>
            <a:r>
              <a:rPr lang="en-US" dirty="0"/>
              <a:t>ctDNA and adjuvant therapy</a:t>
            </a:r>
          </a:p>
        </p:txBody>
      </p:sp>
      <p:sp>
        <p:nvSpPr>
          <p:cNvPr id="2" name="Title 1">
            <a:extLst>
              <a:ext uri="{FF2B5EF4-FFF2-40B4-BE49-F238E27FC236}">
                <a16:creationId xmlns:a16="http://schemas.microsoft.com/office/drawing/2014/main" id="{5DA0CF5E-F475-9B41-A01F-6AED938E3C57}"/>
              </a:ext>
            </a:extLst>
          </p:cNvPr>
          <p:cNvSpPr>
            <a:spLocks noGrp="1"/>
          </p:cNvSpPr>
          <p:nvPr>
            <p:ph type="title"/>
          </p:nvPr>
        </p:nvSpPr>
        <p:spPr/>
        <p:txBody>
          <a:bodyPr/>
          <a:lstStyle/>
          <a:p>
            <a:r>
              <a:rPr lang="en-US" dirty="0"/>
              <a:t>Outline</a:t>
            </a:r>
          </a:p>
        </p:txBody>
      </p:sp>
    </p:spTree>
    <p:extLst>
      <p:ext uri="{BB962C8B-B14F-4D97-AF65-F5344CB8AC3E}">
        <p14:creationId xmlns:p14="http://schemas.microsoft.com/office/powerpoint/2010/main" val="2736418581"/>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127000"/>
            <a:ext cx="9144000" cy="695325"/>
          </a:xfrm>
          <a:prstGeom prst="rect">
            <a:avLst/>
          </a:prstGeom>
        </p:spPr>
        <p:txBody>
          <a:bodyPr/>
          <a:lstStyle/>
          <a:p>
            <a:r>
              <a:rPr lang="en-US" dirty="0">
                <a:solidFill>
                  <a:srgbClr val="002E51"/>
                </a:solidFill>
              </a:rPr>
              <a:t>ctDNA and neoadjuvant response</a:t>
            </a:r>
          </a:p>
        </p:txBody>
      </p:sp>
      <p:pic>
        <p:nvPicPr>
          <p:cNvPr id="2" name="Main graphic">
            <a:extLst>
              <a:ext uri="{FF2B5EF4-FFF2-40B4-BE49-F238E27FC236}">
                <a16:creationId xmlns:a16="http://schemas.microsoft.com/office/drawing/2014/main" id="{33F0CEC2-14E0-07BF-8AAE-F7A65FC55C9D}"/>
              </a:ext>
            </a:extLst>
          </p:cNvPr>
          <p:cNvPicPr/>
          <p:nvPr/>
        </p:nvPicPr>
        <p:blipFill rotWithShape="1">
          <a:blip r:embed="rId2"/>
          <a:srcRect b="67159"/>
          <a:stretch/>
        </p:blipFill>
        <p:spPr>
          <a:xfrm>
            <a:off x="1331614" y="822325"/>
            <a:ext cx="6480771" cy="2128316"/>
          </a:xfrm>
          <a:prstGeom prst="rect">
            <a:avLst/>
          </a:prstGeom>
          <a:ln>
            <a:noFill/>
          </a:ln>
        </p:spPr>
      </p:pic>
      <p:sp>
        <p:nvSpPr>
          <p:cNvPr id="3" name="TextBox 2">
            <a:extLst>
              <a:ext uri="{FF2B5EF4-FFF2-40B4-BE49-F238E27FC236}">
                <a16:creationId xmlns:a16="http://schemas.microsoft.com/office/drawing/2014/main" id="{ECB195D0-5053-DD71-81C6-813A4DFE38CE}"/>
              </a:ext>
            </a:extLst>
          </p:cNvPr>
          <p:cNvSpPr txBox="1"/>
          <p:nvPr/>
        </p:nvSpPr>
        <p:spPr>
          <a:xfrm>
            <a:off x="1331614" y="3230467"/>
            <a:ext cx="6833440" cy="830997"/>
          </a:xfrm>
          <a:prstGeom prst="rect">
            <a:avLst/>
          </a:prstGeom>
          <a:noFill/>
        </p:spPr>
        <p:txBody>
          <a:bodyPr wrap="square" rtlCol="0">
            <a:spAutoFit/>
          </a:bodyPr>
          <a:lstStyle/>
          <a:p>
            <a:pPr marL="285750" indent="-285750">
              <a:buFont typeface="Arial" panose="020B0604020202020204" pitchFamily="34" charset="0"/>
              <a:buChar char="•"/>
            </a:pPr>
            <a:r>
              <a:rPr lang="en-US" sz="1600" dirty="0">
                <a:sym typeface="Wingdings" pitchFamily="2" charset="2"/>
              </a:rPr>
              <a:t>295 high risk early-stage breast cancer patients enrolled in the I-SPY2 neoadjuvant therapy trial platform</a:t>
            </a:r>
          </a:p>
          <a:p>
            <a:pPr marL="285750" indent="-285750">
              <a:buFont typeface="Arial" panose="020B0604020202020204" pitchFamily="34" charset="0"/>
              <a:buChar char="•"/>
            </a:pPr>
            <a:r>
              <a:rPr lang="en-US" sz="1600" dirty="0">
                <a:sym typeface="Wingdings" pitchFamily="2" charset="2"/>
              </a:rPr>
              <a:t>Tumor-informed NGS assay (</a:t>
            </a:r>
            <a:r>
              <a:rPr lang="en-US" sz="1600" dirty="0" err="1">
                <a:sym typeface="Wingdings" pitchFamily="2" charset="2"/>
              </a:rPr>
              <a:t>Signatera</a:t>
            </a:r>
            <a:r>
              <a:rPr lang="en-US" sz="1600" dirty="0">
                <a:sym typeface="Wingdings" pitchFamily="2" charset="2"/>
              </a:rPr>
              <a:t>)</a:t>
            </a:r>
          </a:p>
        </p:txBody>
      </p:sp>
      <p:sp>
        <p:nvSpPr>
          <p:cNvPr id="8" name="TextBox 7">
            <a:extLst>
              <a:ext uri="{FF2B5EF4-FFF2-40B4-BE49-F238E27FC236}">
                <a16:creationId xmlns:a16="http://schemas.microsoft.com/office/drawing/2014/main" id="{C7F0ACAC-FC14-7052-DC47-8307C4750B09}"/>
              </a:ext>
            </a:extLst>
          </p:cNvPr>
          <p:cNvSpPr txBox="1"/>
          <p:nvPr/>
        </p:nvSpPr>
        <p:spPr>
          <a:xfrm>
            <a:off x="3614644" y="4602461"/>
            <a:ext cx="3041983" cy="461665"/>
          </a:xfrm>
          <a:prstGeom prst="rect">
            <a:avLst/>
          </a:prstGeom>
          <a:noFill/>
        </p:spPr>
        <p:txBody>
          <a:bodyPr wrap="square" rtlCol="0">
            <a:spAutoFit/>
          </a:bodyPr>
          <a:lstStyle/>
          <a:p>
            <a:r>
              <a:rPr lang="en-US" sz="1200" dirty="0" err="1"/>
              <a:t>Magbanua</a:t>
            </a:r>
            <a:r>
              <a:rPr lang="en-US" sz="1200" dirty="0"/>
              <a:t> et al, Cancer Cell 2023 (PMID: 37146605)</a:t>
            </a:r>
          </a:p>
        </p:txBody>
      </p:sp>
    </p:spTree>
    <p:extLst>
      <p:ext uri="{BB962C8B-B14F-4D97-AF65-F5344CB8AC3E}">
        <p14:creationId xmlns:p14="http://schemas.microsoft.com/office/powerpoint/2010/main" val="431643889"/>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127000"/>
            <a:ext cx="9144000" cy="695325"/>
          </a:xfrm>
          <a:prstGeom prst="rect">
            <a:avLst/>
          </a:prstGeom>
        </p:spPr>
        <p:txBody>
          <a:bodyPr/>
          <a:lstStyle/>
          <a:p>
            <a:r>
              <a:rPr lang="en-US" dirty="0">
                <a:solidFill>
                  <a:srgbClr val="002E51"/>
                </a:solidFill>
              </a:rPr>
              <a:t>ctDNA and neoadjuvant response</a:t>
            </a:r>
          </a:p>
        </p:txBody>
      </p:sp>
      <p:sp>
        <p:nvSpPr>
          <p:cNvPr id="8" name="TextBox 7">
            <a:extLst>
              <a:ext uri="{FF2B5EF4-FFF2-40B4-BE49-F238E27FC236}">
                <a16:creationId xmlns:a16="http://schemas.microsoft.com/office/drawing/2014/main" id="{C7F0ACAC-FC14-7052-DC47-8307C4750B09}"/>
              </a:ext>
            </a:extLst>
          </p:cNvPr>
          <p:cNvSpPr txBox="1"/>
          <p:nvPr/>
        </p:nvSpPr>
        <p:spPr>
          <a:xfrm>
            <a:off x="3614644" y="4602461"/>
            <a:ext cx="3041983" cy="461665"/>
          </a:xfrm>
          <a:prstGeom prst="rect">
            <a:avLst/>
          </a:prstGeom>
          <a:noFill/>
        </p:spPr>
        <p:txBody>
          <a:bodyPr wrap="square" rtlCol="0">
            <a:spAutoFit/>
          </a:bodyPr>
          <a:lstStyle/>
          <a:p>
            <a:r>
              <a:rPr lang="en-US" sz="1200" dirty="0" err="1"/>
              <a:t>Magbanua</a:t>
            </a:r>
            <a:r>
              <a:rPr lang="en-US" sz="1200" dirty="0"/>
              <a:t> et al, Cancer Cell 2023 (PMID: 37146605)</a:t>
            </a:r>
          </a:p>
        </p:txBody>
      </p:sp>
      <p:pic>
        <p:nvPicPr>
          <p:cNvPr id="5" name="Main graphic">
            <a:extLst>
              <a:ext uri="{FF2B5EF4-FFF2-40B4-BE49-F238E27FC236}">
                <a16:creationId xmlns:a16="http://schemas.microsoft.com/office/drawing/2014/main" id="{BC3BB79F-727E-5577-DCAB-32E8A54340F0}"/>
              </a:ext>
            </a:extLst>
          </p:cNvPr>
          <p:cNvPicPr>
            <a:picLocks noChangeAspect="1"/>
          </p:cNvPicPr>
          <p:nvPr/>
        </p:nvPicPr>
        <p:blipFill rotWithShape="1">
          <a:blip r:embed="rId2"/>
          <a:srcRect t="42337" b="40612"/>
          <a:stretch/>
        </p:blipFill>
        <p:spPr>
          <a:xfrm>
            <a:off x="1000461" y="960806"/>
            <a:ext cx="7315200" cy="1613325"/>
          </a:xfrm>
          <a:prstGeom prst="rect">
            <a:avLst/>
          </a:prstGeom>
          <a:ln>
            <a:noFill/>
          </a:ln>
        </p:spPr>
      </p:pic>
      <p:pic>
        <p:nvPicPr>
          <p:cNvPr id="6" name="Main graphic">
            <a:extLst>
              <a:ext uri="{FF2B5EF4-FFF2-40B4-BE49-F238E27FC236}">
                <a16:creationId xmlns:a16="http://schemas.microsoft.com/office/drawing/2014/main" id="{0A96F4F5-4DFF-AAFF-5A00-489F3E43DB7A}"/>
              </a:ext>
            </a:extLst>
          </p:cNvPr>
          <p:cNvPicPr>
            <a:picLocks noChangeAspect="1"/>
          </p:cNvPicPr>
          <p:nvPr/>
        </p:nvPicPr>
        <p:blipFill rotWithShape="1">
          <a:blip r:embed="rId2"/>
          <a:srcRect t="81127"/>
          <a:stretch/>
        </p:blipFill>
        <p:spPr>
          <a:xfrm>
            <a:off x="1000461" y="2574131"/>
            <a:ext cx="7315200" cy="1785688"/>
          </a:xfrm>
          <a:prstGeom prst="rect">
            <a:avLst/>
          </a:prstGeom>
          <a:ln>
            <a:noFill/>
          </a:ln>
        </p:spPr>
      </p:pic>
      <p:sp>
        <p:nvSpPr>
          <p:cNvPr id="7" name="TextBox 6">
            <a:extLst>
              <a:ext uri="{FF2B5EF4-FFF2-40B4-BE49-F238E27FC236}">
                <a16:creationId xmlns:a16="http://schemas.microsoft.com/office/drawing/2014/main" id="{1386986F-61A3-230E-B57B-51A9B6D55726}"/>
              </a:ext>
            </a:extLst>
          </p:cNvPr>
          <p:cNvSpPr txBox="1"/>
          <p:nvPr/>
        </p:nvSpPr>
        <p:spPr>
          <a:xfrm>
            <a:off x="1635162" y="664337"/>
            <a:ext cx="1734770" cy="461665"/>
          </a:xfrm>
          <a:prstGeom prst="rect">
            <a:avLst/>
          </a:prstGeom>
          <a:noFill/>
        </p:spPr>
        <p:txBody>
          <a:bodyPr wrap="none" rtlCol="0">
            <a:spAutoFit/>
          </a:bodyPr>
          <a:lstStyle/>
          <a:p>
            <a:r>
              <a:rPr lang="en-US" dirty="0"/>
              <a:t>HR+HER2-</a:t>
            </a:r>
          </a:p>
        </p:txBody>
      </p:sp>
      <p:sp>
        <p:nvSpPr>
          <p:cNvPr id="9" name="TextBox 8">
            <a:extLst>
              <a:ext uri="{FF2B5EF4-FFF2-40B4-BE49-F238E27FC236}">
                <a16:creationId xmlns:a16="http://schemas.microsoft.com/office/drawing/2014/main" id="{55B39B65-A7E3-BF86-BE31-84AB6882A442}"/>
              </a:ext>
            </a:extLst>
          </p:cNvPr>
          <p:cNvSpPr txBox="1"/>
          <p:nvPr/>
        </p:nvSpPr>
        <p:spPr>
          <a:xfrm>
            <a:off x="6145108" y="608653"/>
            <a:ext cx="1023037" cy="461665"/>
          </a:xfrm>
          <a:prstGeom prst="rect">
            <a:avLst/>
          </a:prstGeom>
          <a:noFill/>
        </p:spPr>
        <p:txBody>
          <a:bodyPr wrap="none" rtlCol="0">
            <a:spAutoFit/>
          </a:bodyPr>
          <a:lstStyle/>
          <a:p>
            <a:r>
              <a:rPr lang="en-US" dirty="0"/>
              <a:t>TNBC</a:t>
            </a:r>
          </a:p>
        </p:txBody>
      </p:sp>
    </p:spTree>
    <p:extLst>
      <p:ext uri="{BB962C8B-B14F-4D97-AF65-F5344CB8AC3E}">
        <p14:creationId xmlns:p14="http://schemas.microsoft.com/office/powerpoint/2010/main" val="689262146"/>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prstGeom prst="rect">
            <a:avLst/>
          </a:prstGeom>
        </p:spPr>
        <p:txBody>
          <a:bodyPr/>
          <a:lstStyle/>
          <a:p>
            <a:r>
              <a:rPr lang="en-US" dirty="0">
                <a:solidFill>
                  <a:srgbClr val="002E51"/>
                </a:solidFill>
              </a:rPr>
              <a:t>ctDNA and neoadjuvant response</a:t>
            </a:r>
          </a:p>
        </p:txBody>
      </p:sp>
      <p:sp>
        <p:nvSpPr>
          <p:cNvPr id="8" name="TextBox 7">
            <a:extLst>
              <a:ext uri="{FF2B5EF4-FFF2-40B4-BE49-F238E27FC236}">
                <a16:creationId xmlns:a16="http://schemas.microsoft.com/office/drawing/2014/main" id="{C7F0ACAC-FC14-7052-DC47-8307C4750B09}"/>
              </a:ext>
            </a:extLst>
          </p:cNvPr>
          <p:cNvSpPr txBox="1"/>
          <p:nvPr/>
        </p:nvSpPr>
        <p:spPr>
          <a:xfrm>
            <a:off x="3614644" y="4602461"/>
            <a:ext cx="3041983" cy="461665"/>
          </a:xfrm>
          <a:prstGeom prst="rect">
            <a:avLst/>
          </a:prstGeom>
          <a:noFill/>
        </p:spPr>
        <p:txBody>
          <a:bodyPr wrap="square" rtlCol="0">
            <a:spAutoFit/>
          </a:bodyPr>
          <a:lstStyle/>
          <a:p>
            <a:r>
              <a:rPr lang="en-US" sz="1200" dirty="0" err="1"/>
              <a:t>Magbanua</a:t>
            </a:r>
            <a:r>
              <a:rPr lang="en-US" sz="1200" dirty="0"/>
              <a:t> et al, Cancer Cell 2023 (PMID: 37146605)</a:t>
            </a:r>
          </a:p>
        </p:txBody>
      </p:sp>
      <p:sp>
        <p:nvSpPr>
          <p:cNvPr id="7" name="TextBox 6">
            <a:extLst>
              <a:ext uri="{FF2B5EF4-FFF2-40B4-BE49-F238E27FC236}">
                <a16:creationId xmlns:a16="http://schemas.microsoft.com/office/drawing/2014/main" id="{1386986F-61A3-230E-B57B-51A9B6D55726}"/>
              </a:ext>
            </a:extLst>
          </p:cNvPr>
          <p:cNvSpPr txBox="1"/>
          <p:nvPr/>
        </p:nvSpPr>
        <p:spPr>
          <a:xfrm>
            <a:off x="1635162" y="987066"/>
            <a:ext cx="1734770" cy="461665"/>
          </a:xfrm>
          <a:prstGeom prst="rect">
            <a:avLst/>
          </a:prstGeom>
          <a:noFill/>
        </p:spPr>
        <p:txBody>
          <a:bodyPr wrap="none" rtlCol="0">
            <a:spAutoFit/>
          </a:bodyPr>
          <a:lstStyle/>
          <a:p>
            <a:r>
              <a:rPr lang="en-US" dirty="0"/>
              <a:t>HR+HER2-</a:t>
            </a:r>
          </a:p>
        </p:txBody>
      </p:sp>
      <p:sp>
        <p:nvSpPr>
          <p:cNvPr id="9" name="TextBox 8">
            <a:extLst>
              <a:ext uri="{FF2B5EF4-FFF2-40B4-BE49-F238E27FC236}">
                <a16:creationId xmlns:a16="http://schemas.microsoft.com/office/drawing/2014/main" id="{55B39B65-A7E3-BF86-BE31-84AB6882A442}"/>
              </a:ext>
            </a:extLst>
          </p:cNvPr>
          <p:cNvSpPr txBox="1"/>
          <p:nvPr/>
        </p:nvSpPr>
        <p:spPr>
          <a:xfrm>
            <a:off x="6145108" y="931382"/>
            <a:ext cx="1023037" cy="461665"/>
          </a:xfrm>
          <a:prstGeom prst="rect">
            <a:avLst/>
          </a:prstGeom>
          <a:noFill/>
        </p:spPr>
        <p:txBody>
          <a:bodyPr wrap="none" rtlCol="0">
            <a:spAutoFit/>
          </a:bodyPr>
          <a:lstStyle/>
          <a:p>
            <a:r>
              <a:rPr lang="en-US" dirty="0"/>
              <a:t>TNBC</a:t>
            </a:r>
          </a:p>
        </p:txBody>
      </p:sp>
      <p:pic>
        <p:nvPicPr>
          <p:cNvPr id="2" name="Main graphic">
            <a:extLst>
              <a:ext uri="{FF2B5EF4-FFF2-40B4-BE49-F238E27FC236}">
                <a16:creationId xmlns:a16="http://schemas.microsoft.com/office/drawing/2014/main" id="{2B18FB1E-EF99-1D53-7D6C-D95E63672306}"/>
              </a:ext>
            </a:extLst>
          </p:cNvPr>
          <p:cNvPicPr>
            <a:picLocks noChangeAspect="1"/>
          </p:cNvPicPr>
          <p:nvPr/>
        </p:nvPicPr>
        <p:blipFill rotWithShape="1">
          <a:blip r:embed="rId2"/>
          <a:srcRect t="2364" b="72034"/>
          <a:stretch/>
        </p:blipFill>
        <p:spPr>
          <a:xfrm>
            <a:off x="914400" y="1419756"/>
            <a:ext cx="7315200" cy="2308749"/>
          </a:xfrm>
          <a:prstGeom prst="rect">
            <a:avLst/>
          </a:prstGeom>
          <a:ln>
            <a:noFill/>
          </a:ln>
        </p:spPr>
      </p:pic>
    </p:spTree>
    <p:extLst>
      <p:ext uri="{BB962C8B-B14F-4D97-AF65-F5344CB8AC3E}">
        <p14:creationId xmlns:p14="http://schemas.microsoft.com/office/powerpoint/2010/main" val="4225445769"/>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127000"/>
            <a:ext cx="9144000" cy="695325"/>
          </a:xfrm>
          <a:prstGeom prst="rect">
            <a:avLst/>
          </a:prstGeom>
        </p:spPr>
        <p:txBody>
          <a:bodyPr/>
          <a:lstStyle/>
          <a:p>
            <a:r>
              <a:rPr lang="en-US" dirty="0">
                <a:solidFill>
                  <a:srgbClr val="002E51"/>
                </a:solidFill>
              </a:rPr>
              <a:t>ctDNA and neoadjuvant response</a:t>
            </a:r>
          </a:p>
        </p:txBody>
      </p:sp>
      <p:sp>
        <p:nvSpPr>
          <p:cNvPr id="8" name="TextBox 7">
            <a:extLst>
              <a:ext uri="{FF2B5EF4-FFF2-40B4-BE49-F238E27FC236}">
                <a16:creationId xmlns:a16="http://schemas.microsoft.com/office/drawing/2014/main" id="{C7F0ACAC-FC14-7052-DC47-8307C4750B09}"/>
              </a:ext>
            </a:extLst>
          </p:cNvPr>
          <p:cNvSpPr txBox="1"/>
          <p:nvPr/>
        </p:nvSpPr>
        <p:spPr>
          <a:xfrm>
            <a:off x="3614644" y="4602461"/>
            <a:ext cx="3041983" cy="461665"/>
          </a:xfrm>
          <a:prstGeom prst="rect">
            <a:avLst/>
          </a:prstGeom>
          <a:noFill/>
        </p:spPr>
        <p:txBody>
          <a:bodyPr wrap="square" rtlCol="0">
            <a:spAutoFit/>
          </a:bodyPr>
          <a:lstStyle/>
          <a:p>
            <a:r>
              <a:rPr lang="en-US" sz="1200" dirty="0" err="1"/>
              <a:t>Magbanua</a:t>
            </a:r>
            <a:r>
              <a:rPr lang="en-US" sz="1200" dirty="0"/>
              <a:t> et al, Cancer Cell 2023 (PMID: 37146605)</a:t>
            </a:r>
          </a:p>
        </p:txBody>
      </p:sp>
      <p:sp>
        <p:nvSpPr>
          <p:cNvPr id="7" name="TextBox 6">
            <a:extLst>
              <a:ext uri="{FF2B5EF4-FFF2-40B4-BE49-F238E27FC236}">
                <a16:creationId xmlns:a16="http://schemas.microsoft.com/office/drawing/2014/main" id="{1386986F-61A3-230E-B57B-51A9B6D55726}"/>
              </a:ext>
            </a:extLst>
          </p:cNvPr>
          <p:cNvSpPr txBox="1"/>
          <p:nvPr/>
        </p:nvSpPr>
        <p:spPr>
          <a:xfrm>
            <a:off x="1635162" y="987066"/>
            <a:ext cx="1734770" cy="461665"/>
          </a:xfrm>
          <a:prstGeom prst="rect">
            <a:avLst/>
          </a:prstGeom>
          <a:noFill/>
        </p:spPr>
        <p:txBody>
          <a:bodyPr wrap="none" rtlCol="0">
            <a:spAutoFit/>
          </a:bodyPr>
          <a:lstStyle/>
          <a:p>
            <a:r>
              <a:rPr lang="en-US" dirty="0"/>
              <a:t>HR+HER2-</a:t>
            </a:r>
          </a:p>
        </p:txBody>
      </p:sp>
      <p:sp>
        <p:nvSpPr>
          <p:cNvPr id="9" name="TextBox 8">
            <a:extLst>
              <a:ext uri="{FF2B5EF4-FFF2-40B4-BE49-F238E27FC236}">
                <a16:creationId xmlns:a16="http://schemas.microsoft.com/office/drawing/2014/main" id="{55B39B65-A7E3-BF86-BE31-84AB6882A442}"/>
              </a:ext>
            </a:extLst>
          </p:cNvPr>
          <p:cNvSpPr txBox="1"/>
          <p:nvPr/>
        </p:nvSpPr>
        <p:spPr>
          <a:xfrm>
            <a:off x="6145108" y="931382"/>
            <a:ext cx="1023037" cy="461665"/>
          </a:xfrm>
          <a:prstGeom prst="rect">
            <a:avLst/>
          </a:prstGeom>
          <a:noFill/>
        </p:spPr>
        <p:txBody>
          <a:bodyPr wrap="none" rtlCol="0">
            <a:spAutoFit/>
          </a:bodyPr>
          <a:lstStyle/>
          <a:p>
            <a:r>
              <a:rPr lang="en-US" dirty="0"/>
              <a:t>TNBC</a:t>
            </a:r>
          </a:p>
        </p:txBody>
      </p:sp>
      <p:pic>
        <p:nvPicPr>
          <p:cNvPr id="3" name="Main graphic">
            <a:extLst>
              <a:ext uri="{FF2B5EF4-FFF2-40B4-BE49-F238E27FC236}">
                <a16:creationId xmlns:a16="http://schemas.microsoft.com/office/drawing/2014/main" id="{F1CB4031-F31D-B155-6998-3C8A9FF03F62}"/>
              </a:ext>
            </a:extLst>
          </p:cNvPr>
          <p:cNvPicPr>
            <a:picLocks noChangeAspect="1"/>
          </p:cNvPicPr>
          <p:nvPr/>
        </p:nvPicPr>
        <p:blipFill rotWithShape="1">
          <a:blip r:embed="rId2"/>
          <a:srcRect t="30663" b="44928"/>
          <a:stretch/>
        </p:blipFill>
        <p:spPr>
          <a:xfrm>
            <a:off x="914400" y="1417320"/>
            <a:ext cx="7315200" cy="2201095"/>
          </a:xfrm>
          <a:prstGeom prst="rect">
            <a:avLst/>
          </a:prstGeom>
          <a:ln>
            <a:noFill/>
          </a:ln>
        </p:spPr>
      </p:pic>
    </p:spTree>
    <p:extLst>
      <p:ext uri="{BB962C8B-B14F-4D97-AF65-F5344CB8AC3E}">
        <p14:creationId xmlns:p14="http://schemas.microsoft.com/office/powerpoint/2010/main" val="263812902"/>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127000"/>
            <a:ext cx="9144000" cy="695325"/>
          </a:xfrm>
          <a:prstGeom prst="rect">
            <a:avLst/>
          </a:prstGeom>
        </p:spPr>
        <p:txBody>
          <a:bodyPr/>
          <a:lstStyle/>
          <a:p>
            <a:r>
              <a:rPr lang="en-US" dirty="0">
                <a:solidFill>
                  <a:srgbClr val="002E51"/>
                </a:solidFill>
              </a:rPr>
              <a:t>ctDNA and neoadjuvant response</a:t>
            </a:r>
          </a:p>
        </p:txBody>
      </p:sp>
      <p:sp>
        <p:nvSpPr>
          <p:cNvPr id="8" name="TextBox 7">
            <a:extLst>
              <a:ext uri="{FF2B5EF4-FFF2-40B4-BE49-F238E27FC236}">
                <a16:creationId xmlns:a16="http://schemas.microsoft.com/office/drawing/2014/main" id="{C7F0ACAC-FC14-7052-DC47-8307C4750B09}"/>
              </a:ext>
            </a:extLst>
          </p:cNvPr>
          <p:cNvSpPr txBox="1"/>
          <p:nvPr/>
        </p:nvSpPr>
        <p:spPr>
          <a:xfrm>
            <a:off x="3614644" y="4602461"/>
            <a:ext cx="3041983" cy="461665"/>
          </a:xfrm>
          <a:prstGeom prst="rect">
            <a:avLst/>
          </a:prstGeom>
          <a:noFill/>
        </p:spPr>
        <p:txBody>
          <a:bodyPr wrap="square" rtlCol="0">
            <a:spAutoFit/>
          </a:bodyPr>
          <a:lstStyle/>
          <a:p>
            <a:r>
              <a:rPr lang="en-US" sz="1200" dirty="0" err="1"/>
              <a:t>Magbanua</a:t>
            </a:r>
            <a:r>
              <a:rPr lang="en-US" sz="1200" dirty="0"/>
              <a:t> et al, Cancer Cell 2023 (PMID: 37146605)</a:t>
            </a:r>
          </a:p>
        </p:txBody>
      </p:sp>
      <p:sp>
        <p:nvSpPr>
          <p:cNvPr id="7" name="TextBox 6">
            <a:extLst>
              <a:ext uri="{FF2B5EF4-FFF2-40B4-BE49-F238E27FC236}">
                <a16:creationId xmlns:a16="http://schemas.microsoft.com/office/drawing/2014/main" id="{1386986F-61A3-230E-B57B-51A9B6D55726}"/>
              </a:ext>
            </a:extLst>
          </p:cNvPr>
          <p:cNvSpPr txBox="1"/>
          <p:nvPr/>
        </p:nvSpPr>
        <p:spPr>
          <a:xfrm>
            <a:off x="1635162" y="987066"/>
            <a:ext cx="1734770" cy="461665"/>
          </a:xfrm>
          <a:prstGeom prst="rect">
            <a:avLst/>
          </a:prstGeom>
          <a:noFill/>
        </p:spPr>
        <p:txBody>
          <a:bodyPr wrap="none" rtlCol="0">
            <a:spAutoFit/>
          </a:bodyPr>
          <a:lstStyle/>
          <a:p>
            <a:r>
              <a:rPr lang="en-US" dirty="0"/>
              <a:t>HR+HER2-</a:t>
            </a:r>
          </a:p>
        </p:txBody>
      </p:sp>
      <p:sp>
        <p:nvSpPr>
          <p:cNvPr id="9" name="TextBox 8">
            <a:extLst>
              <a:ext uri="{FF2B5EF4-FFF2-40B4-BE49-F238E27FC236}">
                <a16:creationId xmlns:a16="http://schemas.microsoft.com/office/drawing/2014/main" id="{55B39B65-A7E3-BF86-BE31-84AB6882A442}"/>
              </a:ext>
            </a:extLst>
          </p:cNvPr>
          <p:cNvSpPr txBox="1"/>
          <p:nvPr/>
        </p:nvSpPr>
        <p:spPr>
          <a:xfrm>
            <a:off x="6145108" y="931382"/>
            <a:ext cx="1023037" cy="461665"/>
          </a:xfrm>
          <a:prstGeom prst="rect">
            <a:avLst/>
          </a:prstGeom>
          <a:noFill/>
        </p:spPr>
        <p:txBody>
          <a:bodyPr wrap="none" rtlCol="0">
            <a:spAutoFit/>
          </a:bodyPr>
          <a:lstStyle/>
          <a:p>
            <a:r>
              <a:rPr lang="en-US" dirty="0"/>
              <a:t>TNBC</a:t>
            </a:r>
          </a:p>
        </p:txBody>
      </p:sp>
      <p:pic>
        <p:nvPicPr>
          <p:cNvPr id="2" name="Main graphic">
            <a:extLst>
              <a:ext uri="{FF2B5EF4-FFF2-40B4-BE49-F238E27FC236}">
                <a16:creationId xmlns:a16="http://schemas.microsoft.com/office/drawing/2014/main" id="{298E549D-DB5D-13C7-FD17-2272FD91F9DA}"/>
              </a:ext>
            </a:extLst>
          </p:cNvPr>
          <p:cNvPicPr>
            <a:picLocks noChangeAspect="1"/>
          </p:cNvPicPr>
          <p:nvPr/>
        </p:nvPicPr>
        <p:blipFill rotWithShape="1">
          <a:blip r:embed="rId2"/>
          <a:srcRect t="73928"/>
          <a:stretch/>
        </p:blipFill>
        <p:spPr>
          <a:xfrm>
            <a:off x="914400" y="1417320"/>
            <a:ext cx="7315200" cy="2351090"/>
          </a:xfrm>
          <a:prstGeom prst="rect">
            <a:avLst/>
          </a:prstGeom>
          <a:ln>
            <a:noFill/>
          </a:ln>
        </p:spPr>
      </p:pic>
    </p:spTree>
    <p:extLst>
      <p:ext uri="{BB962C8B-B14F-4D97-AF65-F5344CB8AC3E}">
        <p14:creationId xmlns:p14="http://schemas.microsoft.com/office/powerpoint/2010/main" val="63889489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a:extLst>
              <a:ext uri="{FF2B5EF4-FFF2-40B4-BE49-F238E27FC236}">
                <a16:creationId xmlns:a16="http://schemas.microsoft.com/office/drawing/2014/main" id="{57D9CC9A-53E6-43B3-C53D-27B6CD6C7B6B}"/>
              </a:ext>
            </a:extLst>
          </p:cNvPr>
          <p:cNvPicPr>
            <a:picLocks noGrp="1" noChangeAspect="1"/>
          </p:cNvPicPr>
          <p:nvPr>
            <p:ph sz="half" idx="1"/>
          </p:nvPr>
        </p:nvPicPr>
        <p:blipFill>
          <a:blip r:embed="rId3"/>
          <a:stretch>
            <a:fillRect/>
          </a:stretch>
        </p:blipFill>
        <p:spPr>
          <a:xfrm>
            <a:off x="397893" y="737419"/>
            <a:ext cx="3908158" cy="2794101"/>
          </a:xfrm>
        </p:spPr>
      </p:pic>
      <p:pic>
        <p:nvPicPr>
          <p:cNvPr id="8" name="Content Placeholder 7">
            <a:extLst>
              <a:ext uri="{FF2B5EF4-FFF2-40B4-BE49-F238E27FC236}">
                <a16:creationId xmlns:a16="http://schemas.microsoft.com/office/drawing/2014/main" id="{03A0F71C-70DC-3FCC-1386-9B17BC7725C8}"/>
              </a:ext>
            </a:extLst>
          </p:cNvPr>
          <p:cNvPicPr>
            <a:picLocks noGrp="1" noChangeAspect="1"/>
          </p:cNvPicPr>
          <p:nvPr>
            <p:ph sz="half" idx="2"/>
          </p:nvPr>
        </p:nvPicPr>
        <p:blipFill>
          <a:blip r:embed="rId4"/>
          <a:stretch>
            <a:fillRect/>
          </a:stretch>
        </p:blipFill>
        <p:spPr>
          <a:xfrm>
            <a:off x="4572000" y="737419"/>
            <a:ext cx="3918291" cy="2794101"/>
          </a:xfrm>
        </p:spPr>
      </p:pic>
      <p:sp>
        <p:nvSpPr>
          <p:cNvPr id="11" name="TextBox 10">
            <a:extLst>
              <a:ext uri="{FF2B5EF4-FFF2-40B4-BE49-F238E27FC236}">
                <a16:creationId xmlns:a16="http://schemas.microsoft.com/office/drawing/2014/main" id="{129215E2-8257-3D8A-E8A0-054396992EC2}"/>
              </a:ext>
            </a:extLst>
          </p:cNvPr>
          <p:cNvSpPr txBox="1"/>
          <p:nvPr/>
        </p:nvSpPr>
        <p:spPr>
          <a:xfrm>
            <a:off x="1047918" y="3757602"/>
            <a:ext cx="2551813" cy="307777"/>
          </a:xfrm>
          <a:prstGeom prst="rect">
            <a:avLst/>
          </a:prstGeom>
          <a:noFill/>
        </p:spPr>
        <p:txBody>
          <a:bodyPr wrap="square" rtlCol="0">
            <a:spAutoFit/>
          </a:bodyPr>
          <a:lstStyle/>
          <a:p>
            <a:r>
              <a:rPr lang="en-US" sz="1400" dirty="0"/>
              <a:t>IDFS benefit:  </a:t>
            </a:r>
            <a:r>
              <a:rPr lang="en-US" sz="1400" dirty="0">
                <a:latin typeface="Arial" panose="020B0604020202020204" pitchFamily="34" charset="0"/>
                <a:cs typeface="Arial" panose="020B0604020202020204" pitchFamily="34" charset="0"/>
              </a:rPr>
              <a:t>∆ 6.4%</a:t>
            </a:r>
            <a:endParaRPr lang="en-US" sz="1400" dirty="0"/>
          </a:p>
        </p:txBody>
      </p:sp>
      <p:sp>
        <p:nvSpPr>
          <p:cNvPr id="12" name="TextBox 11">
            <a:extLst>
              <a:ext uri="{FF2B5EF4-FFF2-40B4-BE49-F238E27FC236}">
                <a16:creationId xmlns:a16="http://schemas.microsoft.com/office/drawing/2014/main" id="{2931FC44-09D1-F6EE-D849-D92FC9BC97C9}"/>
              </a:ext>
            </a:extLst>
          </p:cNvPr>
          <p:cNvSpPr txBox="1"/>
          <p:nvPr/>
        </p:nvSpPr>
        <p:spPr>
          <a:xfrm>
            <a:off x="5400767" y="3757601"/>
            <a:ext cx="2551813" cy="307777"/>
          </a:xfrm>
          <a:prstGeom prst="rect">
            <a:avLst/>
          </a:prstGeom>
          <a:noFill/>
        </p:spPr>
        <p:txBody>
          <a:bodyPr wrap="square" rtlCol="0">
            <a:spAutoFit/>
          </a:bodyPr>
          <a:lstStyle/>
          <a:p>
            <a:r>
              <a:rPr lang="en-US" sz="1400" dirty="0"/>
              <a:t>DRFS benefit:  </a:t>
            </a:r>
            <a:r>
              <a:rPr lang="en-US" sz="1400" dirty="0">
                <a:latin typeface="Arial" panose="020B0604020202020204" pitchFamily="34" charset="0"/>
                <a:cs typeface="Arial" panose="020B0604020202020204" pitchFamily="34" charset="0"/>
              </a:rPr>
              <a:t>∆ 5.9%</a:t>
            </a:r>
            <a:endParaRPr lang="en-US" sz="1400" dirty="0"/>
          </a:p>
        </p:txBody>
      </p:sp>
      <p:sp>
        <p:nvSpPr>
          <p:cNvPr id="13" name="Rectangle 12">
            <a:extLst>
              <a:ext uri="{FF2B5EF4-FFF2-40B4-BE49-F238E27FC236}">
                <a16:creationId xmlns:a16="http://schemas.microsoft.com/office/drawing/2014/main" id="{E5841501-922A-A968-AA15-2E2EFCFE74D5}"/>
              </a:ext>
            </a:extLst>
          </p:cNvPr>
          <p:cNvSpPr/>
          <p:nvPr/>
        </p:nvSpPr>
        <p:spPr bwMode="auto">
          <a:xfrm>
            <a:off x="229392" y="625776"/>
            <a:ext cx="7329156" cy="223285"/>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
        <p:nvSpPr>
          <p:cNvPr id="14" name="TextBox 13">
            <a:extLst>
              <a:ext uri="{FF2B5EF4-FFF2-40B4-BE49-F238E27FC236}">
                <a16:creationId xmlns:a16="http://schemas.microsoft.com/office/drawing/2014/main" id="{865C2781-1246-7EEE-4212-CB789DAAB145}"/>
              </a:ext>
            </a:extLst>
          </p:cNvPr>
          <p:cNvSpPr txBox="1"/>
          <p:nvPr/>
        </p:nvSpPr>
        <p:spPr>
          <a:xfrm>
            <a:off x="3814431" y="4749849"/>
            <a:ext cx="4609214" cy="246221"/>
          </a:xfrm>
          <a:prstGeom prst="rect">
            <a:avLst/>
          </a:prstGeom>
          <a:noFill/>
        </p:spPr>
        <p:txBody>
          <a:bodyPr wrap="square">
            <a:spAutoFit/>
          </a:bodyPr>
          <a:lstStyle/>
          <a:p>
            <a:r>
              <a:rPr lang="en-US" sz="1000" dirty="0">
                <a:latin typeface="+mn-lt"/>
              </a:rPr>
              <a:t>Johnston et al, Abstract GS1-09 SABCS 2022 </a:t>
            </a:r>
          </a:p>
        </p:txBody>
      </p:sp>
    </p:spTree>
    <p:extLst>
      <p:ext uri="{BB962C8B-B14F-4D97-AF65-F5344CB8AC3E}">
        <p14:creationId xmlns:p14="http://schemas.microsoft.com/office/powerpoint/2010/main" val="229708414"/>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A340FF03-A1B9-6515-4833-8531F62B4919}"/>
              </a:ext>
            </a:extLst>
          </p:cNvPr>
          <p:cNvSpPr>
            <a:spLocks noGrp="1"/>
          </p:cNvSpPr>
          <p:nvPr>
            <p:ph sz="half" idx="1"/>
          </p:nvPr>
        </p:nvSpPr>
        <p:spPr>
          <a:xfrm>
            <a:off x="685799" y="1117600"/>
            <a:ext cx="7553739" cy="2878667"/>
          </a:xfrm>
        </p:spPr>
        <p:txBody>
          <a:bodyPr>
            <a:normAutofit lnSpcReduction="10000"/>
          </a:bodyPr>
          <a:lstStyle/>
          <a:p>
            <a:pPr marL="514350" indent="-514350">
              <a:buFont typeface="+mj-lt"/>
              <a:buAutoNum type="arabicPeriod"/>
            </a:pPr>
            <a:r>
              <a:rPr lang="en-US" dirty="0"/>
              <a:t>circulating tumor DNA: detection and clinical use cases</a:t>
            </a:r>
          </a:p>
          <a:p>
            <a:pPr marL="514350" indent="-514350">
              <a:buFont typeface="+mj-lt"/>
              <a:buAutoNum type="arabicPeriod"/>
            </a:pPr>
            <a:r>
              <a:rPr lang="en-US" dirty="0"/>
              <a:t>ctDNA dynamics and neoadjuvant therapy response </a:t>
            </a:r>
          </a:p>
          <a:p>
            <a:pPr marL="514350" indent="-514350">
              <a:buFont typeface="+mj-lt"/>
              <a:buAutoNum type="arabicPeriod"/>
            </a:pPr>
            <a:r>
              <a:rPr lang="en-US" dirty="0"/>
              <a:t>ctDNA for detection of disease relapse</a:t>
            </a:r>
          </a:p>
          <a:p>
            <a:pPr marL="514350" indent="-514350">
              <a:buFont typeface="+mj-lt"/>
              <a:buAutoNum type="arabicPeriod"/>
            </a:pPr>
            <a:r>
              <a:rPr lang="en-US" dirty="0"/>
              <a:t>ctDNA and adjuvant therapy</a:t>
            </a:r>
          </a:p>
        </p:txBody>
      </p:sp>
      <p:sp>
        <p:nvSpPr>
          <p:cNvPr id="2" name="Title 1">
            <a:extLst>
              <a:ext uri="{FF2B5EF4-FFF2-40B4-BE49-F238E27FC236}">
                <a16:creationId xmlns:a16="http://schemas.microsoft.com/office/drawing/2014/main" id="{5DA0CF5E-F475-9B41-A01F-6AED938E3C57}"/>
              </a:ext>
            </a:extLst>
          </p:cNvPr>
          <p:cNvSpPr>
            <a:spLocks noGrp="1"/>
          </p:cNvSpPr>
          <p:nvPr>
            <p:ph type="title"/>
          </p:nvPr>
        </p:nvSpPr>
        <p:spPr/>
        <p:txBody>
          <a:bodyPr/>
          <a:lstStyle/>
          <a:p>
            <a:r>
              <a:rPr lang="en-US" dirty="0"/>
              <a:t>Outline</a:t>
            </a:r>
          </a:p>
        </p:txBody>
      </p:sp>
    </p:spTree>
    <p:extLst>
      <p:ext uri="{BB962C8B-B14F-4D97-AF65-F5344CB8AC3E}">
        <p14:creationId xmlns:p14="http://schemas.microsoft.com/office/powerpoint/2010/main" val="3049222258"/>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127000"/>
            <a:ext cx="9144000" cy="695325"/>
          </a:xfrm>
          <a:prstGeom prst="rect">
            <a:avLst/>
          </a:prstGeom>
        </p:spPr>
        <p:txBody>
          <a:bodyPr/>
          <a:lstStyle/>
          <a:p>
            <a:r>
              <a:rPr lang="en-US" dirty="0">
                <a:solidFill>
                  <a:srgbClr val="002E51"/>
                </a:solidFill>
              </a:rPr>
              <a:t>ctDNA and breast cancer relapse</a:t>
            </a:r>
          </a:p>
        </p:txBody>
      </p:sp>
      <p:pic>
        <p:nvPicPr>
          <p:cNvPr id="6" name="New picture">
            <a:extLst>
              <a:ext uri="{FF2B5EF4-FFF2-40B4-BE49-F238E27FC236}">
                <a16:creationId xmlns:a16="http://schemas.microsoft.com/office/drawing/2014/main" id="{0F5FB488-83C7-07B6-654D-9B2CDBCABCD3}"/>
              </a:ext>
            </a:extLst>
          </p:cNvPr>
          <p:cNvPicPr>
            <a:picLocks noChangeAspect="1" noChangeArrowheads="1"/>
          </p:cNvPicPr>
          <p:nvPr>
            <p:custDataLst>
              <p:tags r:id="rId1"/>
            </p:custDataLst>
          </p:nvPr>
        </p:nvPicPr>
        <p:blipFill rotWithShape="1">
          <a:blip r:embed="rId5">
            <a:extLst>
              <a:ext uri="{28A0092B-C50C-407E-A947-70E740481C1C}">
                <a14:useLocalDpi xmlns:a14="http://schemas.microsoft.com/office/drawing/2010/main" val="0"/>
              </a:ext>
            </a:extLst>
          </a:blip>
          <a:srcRect l="6242" t="83487" r="40814"/>
          <a:stretch/>
        </p:blipFill>
        <p:spPr bwMode="auto">
          <a:xfrm>
            <a:off x="4100712" y="951298"/>
            <a:ext cx="3836857" cy="1745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lgn="ctr">
                <a:solidFill>
                  <a:srgbClr val="000000"/>
                </a:solidFill>
                <a:prstDash val="solid"/>
                <a:round/>
                <a:headEnd type="none" w="med" len="med"/>
                <a:tailEnd type="none" w="med" len="med"/>
              </a14:hiddenLine>
            </a:ext>
          </a:extLst>
        </p:spPr>
      </p:pic>
      <p:sp>
        <p:nvSpPr>
          <p:cNvPr id="8" name="TextBox 7">
            <a:extLst>
              <a:ext uri="{FF2B5EF4-FFF2-40B4-BE49-F238E27FC236}">
                <a16:creationId xmlns:a16="http://schemas.microsoft.com/office/drawing/2014/main" id="{0989D590-8F39-3509-A7A1-2DEFFC23C59F}"/>
              </a:ext>
            </a:extLst>
          </p:cNvPr>
          <p:cNvSpPr txBox="1"/>
          <p:nvPr/>
        </p:nvSpPr>
        <p:spPr>
          <a:xfrm>
            <a:off x="3614644" y="4602461"/>
            <a:ext cx="3041983" cy="461665"/>
          </a:xfrm>
          <a:prstGeom prst="rect">
            <a:avLst/>
          </a:prstGeom>
          <a:noFill/>
        </p:spPr>
        <p:txBody>
          <a:bodyPr wrap="square" rtlCol="0">
            <a:spAutoFit/>
          </a:bodyPr>
          <a:lstStyle/>
          <a:p>
            <a:r>
              <a:rPr lang="en-US" sz="1200" dirty="0"/>
              <a:t>Coombes et al, Clinical Cancer Research 2019 (PMID: 30992300)</a:t>
            </a:r>
          </a:p>
        </p:txBody>
      </p:sp>
      <p:pic>
        <p:nvPicPr>
          <p:cNvPr id="9" name="New picture">
            <a:extLst>
              <a:ext uri="{FF2B5EF4-FFF2-40B4-BE49-F238E27FC236}">
                <a16:creationId xmlns:a16="http://schemas.microsoft.com/office/drawing/2014/main" id="{EACD0544-6B37-9191-9CC7-8A0346BEAACA}"/>
              </a:ext>
            </a:extLst>
          </p:cNvPr>
          <p:cNvPicPr>
            <a:picLocks noChangeAspect="1" noChangeArrowheads="1"/>
          </p:cNvPicPr>
          <p:nvPr>
            <p:custDataLst>
              <p:tags r:id="rId2"/>
            </p:custDataLst>
          </p:nvPr>
        </p:nvPicPr>
        <p:blipFill rotWithShape="1">
          <a:blip r:embed="rId6">
            <a:extLst>
              <a:ext uri="{28A0092B-C50C-407E-A947-70E740481C1C}">
                <a14:useLocalDpi xmlns:a14="http://schemas.microsoft.com/office/drawing/2010/main" val="0"/>
              </a:ext>
            </a:extLst>
          </a:blip>
          <a:srcRect b="50543"/>
          <a:stretch/>
        </p:blipFill>
        <p:spPr bwMode="auto">
          <a:xfrm>
            <a:off x="4100712" y="2751532"/>
            <a:ext cx="1866900" cy="15263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lgn="ctr">
                <a:solidFill>
                  <a:srgbClr val="000000"/>
                </a:solidFill>
                <a:prstDash val="solid"/>
                <a:round/>
                <a:headEnd type="none" w="med" len="med"/>
                <a:tailEnd type="none" w="med" len="med"/>
              </a14:hiddenLine>
            </a:ext>
          </a:extLst>
        </p:spPr>
      </p:pic>
      <p:pic>
        <p:nvPicPr>
          <p:cNvPr id="10" name="New picture">
            <a:extLst>
              <a:ext uri="{FF2B5EF4-FFF2-40B4-BE49-F238E27FC236}">
                <a16:creationId xmlns:a16="http://schemas.microsoft.com/office/drawing/2014/main" id="{73874A81-1339-2D86-19C7-3982E6515D31}"/>
              </a:ext>
            </a:extLst>
          </p:cNvPr>
          <p:cNvPicPr>
            <a:picLocks noChangeAspect="1" noChangeArrowheads="1"/>
          </p:cNvPicPr>
          <p:nvPr>
            <p:custDataLst>
              <p:tags r:id="rId3"/>
            </p:custDataLst>
          </p:nvPr>
        </p:nvPicPr>
        <p:blipFill rotWithShape="1">
          <a:blip r:embed="rId6">
            <a:extLst>
              <a:ext uri="{28A0092B-C50C-407E-A947-70E740481C1C}">
                <a14:useLocalDpi xmlns:a14="http://schemas.microsoft.com/office/drawing/2010/main" val="0"/>
              </a:ext>
            </a:extLst>
          </a:blip>
          <a:srcRect t="49037"/>
          <a:stretch/>
        </p:blipFill>
        <p:spPr bwMode="auto">
          <a:xfrm>
            <a:off x="6019140" y="2728296"/>
            <a:ext cx="1866900" cy="15727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lgn="ctr">
                <a:solidFill>
                  <a:srgbClr val="000000"/>
                </a:solidFill>
                <a:prstDash val="solid"/>
                <a:round/>
                <a:headEnd type="none" w="med" len="med"/>
                <a:tailEnd type="none" w="med" len="med"/>
              </a14:hiddenLine>
            </a:ext>
          </a:extLst>
        </p:spPr>
      </p:pic>
      <p:sp>
        <p:nvSpPr>
          <p:cNvPr id="13" name="TextBox 12">
            <a:extLst>
              <a:ext uri="{FF2B5EF4-FFF2-40B4-BE49-F238E27FC236}">
                <a16:creationId xmlns:a16="http://schemas.microsoft.com/office/drawing/2014/main" id="{9461FF0D-B9D9-4E51-52A5-8D066FB36D2B}"/>
              </a:ext>
            </a:extLst>
          </p:cNvPr>
          <p:cNvSpPr txBox="1"/>
          <p:nvPr/>
        </p:nvSpPr>
        <p:spPr>
          <a:xfrm>
            <a:off x="124424" y="822325"/>
            <a:ext cx="3976287" cy="3539430"/>
          </a:xfrm>
          <a:prstGeom prst="rect">
            <a:avLst/>
          </a:prstGeom>
          <a:noFill/>
        </p:spPr>
        <p:txBody>
          <a:bodyPr wrap="square" rtlCol="0">
            <a:spAutoFit/>
          </a:bodyPr>
          <a:lstStyle/>
          <a:p>
            <a:r>
              <a:rPr lang="en-US" sz="1600" u="sng" dirty="0"/>
              <a:t>EBLIS cohort study:</a:t>
            </a:r>
          </a:p>
          <a:p>
            <a:pPr marL="285750" indent="-285750">
              <a:buFont typeface="Arial" panose="020B0604020202020204" pitchFamily="34" charset="0"/>
              <a:buChar char="•"/>
            </a:pPr>
            <a:r>
              <a:rPr lang="en-US" sz="1600" dirty="0"/>
              <a:t>49 patients with non-metastatic stage IIB/III breast cancer</a:t>
            </a:r>
          </a:p>
          <a:p>
            <a:pPr marL="285750" indent="-285750">
              <a:buFont typeface="Arial" panose="020B0604020202020204" pitchFamily="34" charset="0"/>
              <a:buChar char="•"/>
            </a:pPr>
            <a:r>
              <a:rPr lang="en-US" sz="1600" dirty="0">
                <a:sym typeface="Wingdings" pitchFamily="2" charset="2"/>
              </a:rPr>
              <a:t>Within 3 years of completing adjuvant therapy</a:t>
            </a:r>
          </a:p>
          <a:p>
            <a:pPr marL="285750" indent="-285750">
              <a:buFont typeface="Arial" panose="020B0604020202020204" pitchFamily="34" charset="0"/>
              <a:buChar char="•"/>
            </a:pPr>
            <a:r>
              <a:rPr lang="en-US" sz="1600" dirty="0">
                <a:sym typeface="Wingdings" pitchFamily="2" charset="2"/>
              </a:rPr>
              <a:t>ctDNA every 6 months for up to 4 years</a:t>
            </a:r>
          </a:p>
          <a:p>
            <a:pPr marL="285750" indent="-285750">
              <a:buFont typeface="Arial" panose="020B0604020202020204" pitchFamily="34" charset="0"/>
              <a:buChar char="•"/>
            </a:pPr>
            <a:r>
              <a:rPr lang="en-US" sz="1600" dirty="0">
                <a:sym typeface="Wingdings" pitchFamily="2" charset="2"/>
              </a:rPr>
              <a:t>Tumor-informed assay (</a:t>
            </a:r>
            <a:r>
              <a:rPr lang="en-US" sz="1600" dirty="0" err="1">
                <a:sym typeface="Wingdings" pitchFamily="2" charset="2"/>
              </a:rPr>
              <a:t>Signatera</a:t>
            </a:r>
            <a:r>
              <a:rPr lang="en-US" sz="1600" dirty="0">
                <a:sym typeface="Wingdings" pitchFamily="2" charset="2"/>
              </a:rPr>
              <a:t>)</a:t>
            </a:r>
          </a:p>
          <a:p>
            <a:endParaRPr lang="en-US" sz="1600" dirty="0">
              <a:sym typeface="Wingdings" pitchFamily="2" charset="2"/>
            </a:endParaRPr>
          </a:p>
          <a:p>
            <a:r>
              <a:rPr lang="en-US" sz="1600" dirty="0">
                <a:sym typeface="Wingdings" pitchFamily="2" charset="2"/>
              </a:rPr>
              <a:t>16/18 patients with relapse were ctDNA positive prior (median lead time 10.7mo)</a:t>
            </a:r>
          </a:p>
          <a:p>
            <a:endParaRPr lang="en-US" sz="1600" dirty="0">
              <a:sym typeface="Wingdings" pitchFamily="2" charset="2"/>
            </a:endParaRPr>
          </a:p>
          <a:p>
            <a:r>
              <a:rPr lang="en-US" sz="1600" dirty="0">
                <a:sym typeface="Wingdings" pitchFamily="2" charset="2"/>
              </a:rPr>
              <a:t>31/31 patients without relapse were ctDNA negative</a:t>
            </a:r>
          </a:p>
        </p:txBody>
      </p:sp>
    </p:spTree>
    <p:extLst>
      <p:ext uri="{BB962C8B-B14F-4D97-AF65-F5344CB8AC3E}">
        <p14:creationId xmlns:p14="http://schemas.microsoft.com/office/powerpoint/2010/main" val="1865928614"/>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241002"/>
            <a:ext cx="9144000" cy="695325"/>
          </a:xfrm>
          <a:prstGeom prst="rect">
            <a:avLst/>
          </a:prstGeom>
        </p:spPr>
        <p:txBody>
          <a:bodyPr/>
          <a:lstStyle/>
          <a:p>
            <a:r>
              <a:rPr lang="en-US" dirty="0">
                <a:solidFill>
                  <a:srgbClr val="002E51"/>
                </a:solidFill>
              </a:rPr>
              <a:t>ctDNA and breast cancer relapse</a:t>
            </a:r>
          </a:p>
        </p:txBody>
      </p:sp>
      <p:sp>
        <p:nvSpPr>
          <p:cNvPr id="8" name="TextBox 7">
            <a:extLst>
              <a:ext uri="{FF2B5EF4-FFF2-40B4-BE49-F238E27FC236}">
                <a16:creationId xmlns:a16="http://schemas.microsoft.com/office/drawing/2014/main" id="{0989D590-8F39-3509-A7A1-2DEFFC23C59F}"/>
              </a:ext>
            </a:extLst>
          </p:cNvPr>
          <p:cNvSpPr txBox="1"/>
          <p:nvPr/>
        </p:nvSpPr>
        <p:spPr>
          <a:xfrm>
            <a:off x="3614644" y="4602461"/>
            <a:ext cx="3041983" cy="461665"/>
          </a:xfrm>
          <a:prstGeom prst="rect">
            <a:avLst/>
          </a:prstGeom>
          <a:noFill/>
        </p:spPr>
        <p:txBody>
          <a:bodyPr wrap="square" rtlCol="0">
            <a:spAutoFit/>
          </a:bodyPr>
          <a:lstStyle/>
          <a:p>
            <a:r>
              <a:rPr lang="en-US" sz="1200" dirty="0"/>
              <a:t>Garcia-</a:t>
            </a:r>
            <a:r>
              <a:rPr lang="en-US" sz="1200" dirty="0" err="1"/>
              <a:t>Murillas</a:t>
            </a:r>
            <a:r>
              <a:rPr lang="en-US" sz="1200" dirty="0"/>
              <a:t> et al, JAMA Oncology 2019 (PMID: 31369045)</a:t>
            </a:r>
          </a:p>
        </p:txBody>
      </p:sp>
      <p:sp>
        <p:nvSpPr>
          <p:cNvPr id="13" name="TextBox 12">
            <a:extLst>
              <a:ext uri="{FF2B5EF4-FFF2-40B4-BE49-F238E27FC236}">
                <a16:creationId xmlns:a16="http://schemas.microsoft.com/office/drawing/2014/main" id="{9461FF0D-B9D9-4E51-52A5-8D066FB36D2B}"/>
              </a:ext>
            </a:extLst>
          </p:cNvPr>
          <p:cNvSpPr txBox="1"/>
          <p:nvPr/>
        </p:nvSpPr>
        <p:spPr>
          <a:xfrm>
            <a:off x="124425" y="822325"/>
            <a:ext cx="7747366" cy="1569660"/>
          </a:xfrm>
          <a:prstGeom prst="rect">
            <a:avLst/>
          </a:prstGeom>
          <a:noFill/>
        </p:spPr>
        <p:txBody>
          <a:bodyPr wrap="square" rtlCol="0">
            <a:spAutoFit/>
          </a:bodyPr>
          <a:lstStyle/>
          <a:p>
            <a:r>
              <a:rPr lang="en-US" sz="1600" u="sng" dirty="0"/>
              <a:t>Garcia-</a:t>
            </a:r>
            <a:r>
              <a:rPr lang="en-US" sz="1600" u="sng" dirty="0" err="1"/>
              <a:t>Murillas</a:t>
            </a:r>
            <a:r>
              <a:rPr lang="en-US" sz="1600" u="sng" dirty="0"/>
              <a:t> et al cohort study:</a:t>
            </a:r>
          </a:p>
          <a:p>
            <a:pPr marL="285750" indent="-285750">
              <a:buFont typeface="Arial" panose="020B0604020202020204" pitchFamily="34" charset="0"/>
              <a:buChar char="•"/>
            </a:pPr>
            <a:r>
              <a:rPr lang="en-US" sz="1600" dirty="0"/>
              <a:t>101 patients with non-metastatic breast cancer </a:t>
            </a:r>
          </a:p>
          <a:p>
            <a:pPr marL="285750" indent="-285750">
              <a:buFont typeface="Arial" panose="020B0604020202020204" pitchFamily="34" charset="0"/>
              <a:buChar char="•"/>
            </a:pPr>
            <a:r>
              <a:rPr lang="en-US" sz="1600" dirty="0">
                <a:sym typeface="Wingdings" pitchFamily="2" charset="2"/>
              </a:rPr>
              <a:t>ctDNA every 3 months x 1 year then every 6 months</a:t>
            </a:r>
          </a:p>
          <a:p>
            <a:pPr marL="285750" indent="-285750">
              <a:buFont typeface="Arial" panose="020B0604020202020204" pitchFamily="34" charset="0"/>
              <a:buChar char="•"/>
            </a:pPr>
            <a:r>
              <a:rPr lang="en-US" sz="1600" dirty="0">
                <a:sym typeface="Wingdings" pitchFamily="2" charset="2"/>
              </a:rPr>
              <a:t>Tumor-informed assay (successful in 101/170 screened patients)</a:t>
            </a:r>
          </a:p>
          <a:p>
            <a:endParaRPr lang="en-US" sz="1600" dirty="0">
              <a:sym typeface="Wingdings" pitchFamily="2" charset="2"/>
            </a:endParaRPr>
          </a:p>
          <a:p>
            <a:r>
              <a:rPr lang="en-US" sz="1600" dirty="0">
                <a:sym typeface="Wingdings" pitchFamily="2" charset="2"/>
              </a:rPr>
              <a:t>23/29 patients with relapse were ctDNA positive prior (median lead time 8.9mo)</a:t>
            </a:r>
          </a:p>
        </p:txBody>
      </p:sp>
      <p:pic>
        <p:nvPicPr>
          <p:cNvPr id="1028" name="Picture 4">
            <a:extLst>
              <a:ext uri="{FF2B5EF4-FFF2-40B4-BE49-F238E27FC236}">
                <a16:creationId xmlns:a16="http://schemas.microsoft.com/office/drawing/2014/main" id="{6437875B-E075-87BE-3A96-024CF738197D}"/>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2625" r="48498" b="67099"/>
          <a:stretch/>
        </p:blipFill>
        <p:spPr bwMode="auto">
          <a:xfrm>
            <a:off x="283449" y="2430107"/>
            <a:ext cx="2631720" cy="1870031"/>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4">
            <a:extLst>
              <a:ext uri="{FF2B5EF4-FFF2-40B4-BE49-F238E27FC236}">
                <a16:creationId xmlns:a16="http://schemas.microsoft.com/office/drawing/2014/main" id="{FE8B84B0-7C7C-7742-490C-3FB7B1F34DD4}"/>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33962" r="48498" b="34884"/>
          <a:stretch/>
        </p:blipFill>
        <p:spPr bwMode="auto">
          <a:xfrm>
            <a:off x="3048632" y="2430107"/>
            <a:ext cx="2557583" cy="1870030"/>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4">
            <a:extLst>
              <a:ext uri="{FF2B5EF4-FFF2-40B4-BE49-F238E27FC236}">
                <a16:creationId xmlns:a16="http://schemas.microsoft.com/office/drawing/2014/main" id="{82DA6487-89D9-17A4-0C4E-1E3D6E357C0B}"/>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65196" r="48498" b="3649"/>
          <a:stretch/>
        </p:blipFill>
        <p:spPr bwMode="auto">
          <a:xfrm>
            <a:off x="5739677" y="2430107"/>
            <a:ext cx="2557584" cy="18700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67596228"/>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127000"/>
            <a:ext cx="9144000" cy="695325"/>
          </a:xfrm>
          <a:prstGeom prst="rect">
            <a:avLst/>
          </a:prstGeom>
        </p:spPr>
        <p:txBody>
          <a:bodyPr/>
          <a:lstStyle/>
          <a:p>
            <a:r>
              <a:rPr lang="en-US" dirty="0">
                <a:solidFill>
                  <a:srgbClr val="002E51"/>
                </a:solidFill>
              </a:rPr>
              <a:t>ctDNA and breast cancer relapse</a:t>
            </a:r>
          </a:p>
        </p:txBody>
      </p:sp>
      <p:pic>
        <p:nvPicPr>
          <p:cNvPr id="1028" name="Picture 4">
            <a:extLst>
              <a:ext uri="{FF2B5EF4-FFF2-40B4-BE49-F238E27FC236}">
                <a16:creationId xmlns:a16="http://schemas.microsoft.com/office/drawing/2014/main" id="{6437875B-E075-87BE-3A96-024CF738197D}"/>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55304" t="72313"/>
          <a:stretch/>
        </p:blipFill>
        <p:spPr bwMode="auto">
          <a:xfrm>
            <a:off x="6137365" y="1629401"/>
            <a:ext cx="2852928" cy="2136093"/>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AFBA0C25-2208-DB72-2CD4-C003579A7A1E}"/>
              </a:ext>
            </a:extLst>
          </p:cNvPr>
          <p:cNvSpPr txBox="1"/>
          <p:nvPr/>
        </p:nvSpPr>
        <p:spPr>
          <a:xfrm>
            <a:off x="3614644" y="4602461"/>
            <a:ext cx="3041983" cy="461665"/>
          </a:xfrm>
          <a:prstGeom prst="rect">
            <a:avLst/>
          </a:prstGeom>
          <a:noFill/>
        </p:spPr>
        <p:txBody>
          <a:bodyPr wrap="square" rtlCol="0">
            <a:spAutoFit/>
          </a:bodyPr>
          <a:lstStyle/>
          <a:p>
            <a:r>
              <a:rPr lang="en-US" sz="1200" dirty="0"/>
              <a:t>Garcia-</a:t>
            </a:r>
            <a:r>
              <a:rPr lang="en-US" sz="1200" dirty="0" err="1"/>
              <a:t>Murillas</a:t>
            </a:r>
            <a:r>
              <a:rPr lang="en-US" sz="1200" dirty="0"/>
              <a:t> et al, JAMA Oncology 2019 (PMID: 31369045)</a:t>
            </a:r>
          </a:p>
        </p:txBody>
      </p:sp>
      <p:pic>
        <p:nvPicPr>
          <p:cNvPr id="6" name="Picture 4">
            <a:extLst>
              <a:ext uri="{FF2B5EF4-FFF2-40B4-BE49-F238E27FC236}">
                <a16:creationId xmlns:a16="http://schemas.microsoft.com/office/drawing/2014/main" id="{F8E26BC1-D197-4E22-559A-20349D3F64D3}"/>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55304" t="37027" b="27491"/>
          <a:stretch/>
        </p:blipFill>
        <p:spPr bwMode="auto">
          <a:xfrm>
            <a:off x="3144323" y="1025636"/>
            <a:ext cx="2855354" cy="2739858"/>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4">
            <a:extLst>
              <a:ext uri="{FF2B5EF4-FFF2-40B4-BE49-F238E27FC236}">
                <a16:creationId xmlns:a16="http://schemas.microsoft.com/office/drawing/2014/main" id="{7EE237C1-3922-8003-DAE0-072C05BE42DB}"/>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55304" t="2507" b="63889"/>
          <a:stretch/>
        </p:blipFill>
        <p:spPr bwMode="auto">
          <a:xfrm>
            <a:off x="153707" y="1170385"/>
            <a:ext cx="2855686" cy="2595109"/>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6C1F6F30-BC40-3FDB-401F-5489F39B2AC4}"/>
              </a:ext>
            </a:extLst>
          </p:cNvPr>
          <p:cNvSpPr txBox="1"/>
          <p:nvPr/>
        </p:nvSpPr>
        <p:spPr>
          <a:xfrm>
            <a:off x="1176631" y="3783309"/>
            <a:ext cx="809837" cy="461665"/>
          </a:xfrm>
          <a:prstGeom prst="rect">
            <a:avLst/>
          </a:prstGeom>
          <a:noFill/>
        </p:spPr>
        <p:txBody>
          <a:bodyPr wrap="none" rtlCol="0">
            <a:spAutoFit/>
          </a:bodyPr>
          <a:lstStyle/>
          <a:p>
            <a:r>
              <a:rPr lang="en-US" dirty="0"/>
              <a:t>HR+</a:t>
            </a:r>
          </a:p>
        </p:txBody>
      </p:sp>
      <p:sp>
        <p:nvSpPr>
          <p:cNvPr id="10" name="TextBox 9">
            <a:extLst>
              <a:ext uri="{FF2B5EF4-FFF2-40B4-BE49-F238E27FC236}">
                <a16:creationId xmlns:a16="http://schemas.microsoft.com/office/drawing/2014/main" id="{1CD162DF-3F92-5AAE-082F-76D052DBD3E5}"/>
              </a:ext>
            </a:extLst>
          </p:cNvPr>
          <p:cNvSpPr txBox="1"/>
          <p:nvPr/>
        </p:nvSpPr>
        <p:spPr>
          <a:xfrm>
            <a:off x="4107819" y="3783308"/>
            <a:ext cx="1186543" cy="461665"/>
          </a:xfrm>
          <a:prstGeom prst="rect">
            <a:avLst/>
          </a:prstGeom>
          <a:noFill/>
        </p:spPr>
        <p:txBody>
          <a:bodyPr wrap="none" rtlCol="0">
            <a:spAutoFit/>
          </a:bodyPr>
          <a:lstStyle/>
          <a:p>
            <a:r>
              <a:rPr lang="en-US" dirty="0"/>
              <a:t>HER2+</a:t>
            </a:r>
          </a:p>
        </p:txBody>
      </p:sp>
      <p:sp>
        <p:nvSpPr>
          <p:cNvPr id="11" name="TextBox 10">
            <a:extLst>
              <a:ext uri="{FF2B5EF4-FFF2-40B4-BE49-F238E27FC236}">
                <a16:creationId xmlns:a16="http://schemas.microsoft.com/office/drawing/2014/main" id="{35A6BD5D-0A1C-B5E4-BED2-45E40B101EE5}"/>
              </a:ext>
            </a:extLst>
          </p:cNvPr>
          <p:cNvSpPr txBox="1"/>
          <p:nvPr/>
        </p:nvSpPr>
        <p:spPr>
          <a:xfrm>
            <a:off x="6970557" y="3783308"/>
            <a:ext cx="1023037" cy="461665"/>
          </a:xfrm>
          <a:prstGeom prst="rect">
            <a:avLst/>
          </a:prstGeom>
          <a:noFill/>
        </p:spPr>
        <p:txBody>
          <a:bodyPr wrap="none" rtlCol="0">
            <a:spAutoFit/>
          </a:bodyPr>
          <a:lstStyle/>
          <a:p>
            <a:r>
              <a:rPr lang="en-US" dirty="0"/>
              <a:t>TNBC</a:t>
            </a:r>
          </a:p>
        </p:txBody>
      </p:sp>
    </p:spTree>
    <p:extLst>
      <p:ext uri="{BB962C8B-B14F-4D97-AF65-F5344CB8AC3E}">
        <p14:creationId xmlns:p14="http://schemas.microsoft.com/office/powerpoint/2010/main" val="1913841866"/>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241002"/>
            <a:ext cx="9144000" cy="695325"/>
          </a:xfrm>
          <a:prstGeom prst="rect">
            <a:avLst/>
          </a:prstGeom>
        </p:spPr>
        <p:txBody>
          <a:bodyPr>
            <a:normAutofit fontScale="90000"/>
          </a:bodyPr>
          <a:lstStyle/>
          <a:p>
            <a:r>
              <a:rPr lang="en-US" dirty="0">
                <a:solidFill>
                  <a:srgbClr val="002E51"/>
                </a:solidFill>
              </a:rPr>
              <a:t>ctDNA and breast cancer relapse - late relapse</a:t>
            </a:r>
          </a:p>
        </p:txBody>
      </p:sp>
      <p:sp>
        <p:nvSpPr>
          <p:cNvPr id="8" name="TextBox 7">
            <a:extLst>
              <a:ext uri="{FF2B5EF4-FFF2-40B4-BE49-F238E27FC236}">
                <a16:creationId xmlns:a16="http://schemas.microsoft.com/office/drawing/2014/main" id="{0989D590-8F39-3509-A7A1-2DEFFC23C59F}"/>
              </a:ext>
            </a:extLst>
          </p:cNvPr>
          <p:cNvSpPr txBox="1"/>
          <p:nvPr/>
        </p:nvSpPr>
        <p:spPr>
          <a:xfrm>
            <a:off x="3614644" y="4602461"/>
            <a:ext cx="3041983" cy="461665"/>
          </a:xfrm>
          <a:prstGeom prst="rect">
            <a:avLst/>
          </a:prstGeom>
          <a:noFill/>
        </p:spPr>
        <p:txBody>
          <a:bodyPr wrap="square" rtlCol="0">
            <a:spAutoFit/>
          </a:bodyPr>
          <a:lstStyle/>
          <a:p>
            <a:r>
              <a:rPr lang="en-US" sz="1200" dirty="0"/>
              <a:t>Marla </a:t>
            </a:r>
            <a:r>
              <a:rPr lang="en-US" sz="1200" dirty="0" err="1"/>
              <a:t>Lipsyc-Sharf</a:t>
            </a:r>
            <a:r>
              <a:rPr lang="en-US" sz="1200" dirty="0"/>
              <a:t> et al, JCO 2022 (PMID: 35658506)</a:t>
            </a:r>
          </a:p>
        </p:txBody>
      </p:sp>
      <p:sp>
        <p:nvSpPr>
          <p:cNvPr id="13" name="TextBox 12">
            <a:extLst>
              <a:ext uri="{FF2B5EF4-FFF2-40B4-BE49-F238E27FC236}">
                <a16:creationId xmlns:a16="http://schemas.microsoft.com/office/drawing/2014/main" id="{9461FF0D-B9D9-4E51-52A5-8D066FB36D2B}"/>
              </a:ext>
            </a:extLst>
          </p:cNvPr>
          <p:cNvSpPr txBox="1"/>
          <p:nvPr/>
        </p:nvSpPr>
        <p:spPr>
          <a:xfrm>
            <a:off x="124425" y="822325"/>
            <a:ext cx="5272344" cy="2554545"/>
          </a:xfrm>
          <a:prstGeom prst="rect">
            <a:avLst/>
          </a:prstGeom>
          <a:noFill/>
        </p:spPr>
        <p:txBody>
          <a:bodyPr wrap="square" rtlCol="0">
            <a:spAutoFit/>
          </a:bodyPr>
          <a:lstStyle/>
          <a:p>
            <a:r>
              <a:rPr lang="en-US" sz="1600" u="sng" dirty="0" err="1"/>
              <a:t>Lipsyc-Sharf</a:t>
            </a:r>
            <a:r>
              <a:rPr lang="en-US" sz="1600" u="sng" dirty="0"/>
              <a:t> et al prospective late relapse cohort study:</a:t>
            </a:r>
          </a:p>
          <a:p>
            <a:pPr marL="285750" indent="-285750">
              <a:buFont typeface="Arial" panose="020B0604020202020204" pitchFamily="34" charset="0"/>
              <a:buChar char="•"/>
            </a:pPr>
            <a:r>
              <a:rPr lang="en-US" sz="1600" dirty="0"/>
              <a:t>103 patients with high risk stage II-III HR+/HER2- breast cancer, &gt; 5 years from diagnosis without recurrence (median 8.4 years)</a:t>
            </a:r>
          </a:p>
          <a:p>
            <a:pPr marL="285750" indent="-285750">
              <a:buFont typeface="Arial" panose="020B0604020202020204" pitchFamily="34" charset="0"/>
              <a:buChar char="•"/>
            </a:pPr>
            <a:r>
              <a:rPr lang="en-US" sz="1600" dirty="0">
                <a:sym typeface="Wingdings" pitchFamily="2" charset="2"/>
              </a:rPr>
              <a:t>ctDNA at enrollment and then every 6-12 months</a:t>
            </a:r>
          </a:p>
          <a:p>
            <a:pPr marL="285750" indent="-285750">
              <a:buFont typeface="Arial" panose="020B0604020202020204" pitchFamily="34" charset="0"/>
              <a:buChar char="•"/>
            </a:pPr>
            <a:r>
              <a:rPr lang="en-US" sz="1600" dirty="0">
                <a:sym typeface="Wingdings" pitchFamily="2" charset="2"/>
              </a:rPr>
              <a:t>Median follow up from diagnosis 10.4 years and from enrollment 2 years</a:t>
            </a:r>
          </a:p>
          <a:p>
            <a:pPr marL="285750" indent="-285750">
              <a:buFont typeface="Arial" panose="020B0604020202020204" pitchFamily="34" charset="0"/>
              <a:buChar char="•"/>
            </a:pPr>
            <a:r>
              <a:rPr lang="en-US" sz="1600" dirty="0">
                <a:sym typeface="Wingdings" pitchFamily="2" charset="2"/>
              </a:rPr>
              <a:t>Tumor-informed assay (</a:t>
            </a:r>
            <a:r>
              <a:rPr lang="en-US" sz="1600" dirty="0" err="1">
                <a:sym typeface="Wingdings" pitchFamily="2" charset="2"/>
              </a:rPr>
              <a:t>RaDaR</a:t>
            </a:r>
            <a:r>
              <a:rPr lang="en-US" sz="1600" dirty="0">
                <a:sym typeface="Wingdings" pitchFamily="2" charset="2"/>
              </a:rPr>
              <a:t> - successful in 83/103 patients)</a:t>
            </a:r>
          </a:p>
          <a:p>
            <a:endParaRPr lang="en-US" sz="1600" dirty="0">
              <a:sym typeface="Wingdings" pitchFamily="2" charset="2"/>
            </a:endParaRPr>
          </a:p>
        </p:txBody>
      </p:sp>
      <p:pic>
        <p:nvPicPr>
          <p:cNvPr id="5" name="Picture 4" descr="A graph of a patient's life cycle&#10;&#10;Description automatically generated">
            <a:extLst>
              <a:ext uri="{FF2B5EF4-FFF2-40B4-BE49-F238E27FC236}">
                <a16:creationId xmlns:a16="http://schemas.microsoft.com/office/drawing/2014/main" id="{D944EA57-C479-3218-76D6-774791EDACC4}"/>
              </a:ext>
            </a:extLst>
          </p:cNvPr>
          <p:cNvPicPr>
            <a:picLocks noChangeAspect="1"/>
          </p:cNvPicPr>
          <p:nvPr/>
        </p:nvPicPr>
        <p:blipFill rotWithShape="1">
          <a:blip r:embed="rId2"/>
          <a:srcRect l="9991" t="84027" r="12295"/>
          <a:stretch/>
        </p:blipFill>
        <p:spPr>
          <a:xfrm>
            <a:off x="260510" y="3128707"/>
            <a:ext cx="4749099" cy="1197231"/>
          </a:xfrm>
          <a:prstGeom prst="rect">
            <a:avLst/>
          </a:prstGeom>
        </p:spPr>
      </p:pic>
      <p:pic>
        <p:nvPicPr>
          <p:cNvPr id="6" name="Picture 5" descr="A graph of a patient's life cycle&#10;&#10;Description automatically generated">
            <a:extLst>
              <a:ext uri="{FF2B5EF4-FFF2-40B4-BE49-F238E27FC236}">
                <a16:creationId xmlns:a16="http://schemas.microsoft.com/office/drawing/2014/main" id="{5209E02D-B901-E4A9-4235-123965D5A6E0}"/>
              </a:ext>
            </a:extLst>
          </p:cNvPr>
          <p:cNvPicPr>
            <a:picLocks noChangeAspect="1"/>
          </p:cNvPicPr>
          <p:nvPr/>
        </p:nvPicPr>
        <p:blipFill rotWithShape="1">
          <a:blip r:embed="rId2"/>
          <a:srcRect l="4773" t="4266" r="1657" b="22201"/>
          <a:stretch/>
        </p:blipFill>
        <p:spPr>
          <a:xfrm>
            <a:off x="5284016" y="822325"/>
            <a:ext cx="3569927" cy="3441061"/>
          </a:xfrm>
          <a:prstGeom prst="rect">
            <a:avLst/>
          </a:prstGeom>
        </p:spPr>
      </p:pic>
    </p:spTree>
    <p:extLst>
      <p:ext uri="{BB962C8B-B14F-4D97-AF65-F5344CB8AC3E}">
        <p14:creationId xmlns:p14="http://schemas.microsoft.com/office/powerpoint/2010/main" val="149356183"/>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241002"/>
            <a:ext cx="9144000" cy="695325"/>
          </a:xfrm>
          <a:prstGeom prst="rect">
            <a:avLst/>
          </a:prstGeom>
        </p:spPr>
        <p:txBody>
          <a:bodyPr>
            <a:normAutofit fontScale="90000"/>
          </a:bodyPr>
          <a:lstStyle/>
          <a:p>
            <a:r>
              <a:rPr lang="en-US" dirty="0">
                <a:solidFill>
                  <a:srgbClr val="002E51"/>
                </a:solidFill>
              </a:rPr>
              <a:t>ctDNA and breast cancer relapse - late relapse</a:t>
            </a:r>
          </a:p>
        </p:txBody>
      </p:sp>
      <p:sp>
        <p:nvSpPr>
          <p:cNvPr id="8" name="TextBox 7">
            <a:extLst>
              <a:ext uri="{FF2B5EF4-FFF2-40B4-BE49-F238E27FC236}">
                <a16:creationId xmlns:a16="http://schemas.microsoft.com/office/drawing/2014/main" id="{0989D590-8F39-3509-A7A1-2DEFFC23C59F}"/>
              </a:ext>
            </a:extLst>
          </p:cNvPr>
          <p:cNvSpPr txBox="1"/>
          <p:nvPr/>
        </p:nvSpPr>
        <p:spPr>
          <a:xfrm>
            <a:off x="3614644" y="4602461"/>
            <a:ext cx="3041983" cy="461665"/>
          </a:xfrm>
          <a:prstGeom prst="rect">
            <a:avLst/>
          </a:prstGeom>
          <a:noFill/>
        </p:spPr>
        <p:txBody>
          <a:bodyPr wrap="square" rtlCol="0">
            <a:spAutoFit/>
          </a:bodyPr>
          <a:lstStyle/>
          <a:p>
            <a:r>
              <a:rPr lang="en-US" sz="1200" dirty="0"/>
              <a:t>Marla </a:t>
            </a:r>
            <a:r>
              <a:rPr lang="en-US" sz="1200" dirty="0" err="1"/>
              <a:t>Lipsyc-Sharf</a:t>
            </a:r>
            <a:r>
              <a:rPr lang="en-US" sz="1200" dirty="0"/>
              <a:t> et al, JCO 2022 (PMID: 35658506)</a:t>
            </a:r>
          </a:p>
        </p:txBody>
      </p:sp>
      <p:pic>
        <p:nvPicPr>
          <p:cNvPr id="9" name="Picture 8" descr="A table with numbers and text&#10;&#10;Description automatically generated">
            <a:extLst>
              <a:ext uri="{FF2B5EF4-FFF2-40B4-BE49-F238E27FC236}">
                <a16:creationId xmlns:a16="http://schemas.microsoft.com/office/drawing/2014/main" id="{34D9022B-0906-D433-AE92-DACD1B26E077}"/>
              </a:ext>
            </a:extLst>
          </p:cNvPr>
          <p:cNvPicPr>
            <a:picLocks noChangeAspect="1"/>
          </p:cNvPicPr>
          <p:nvPr/>
        </p:nvPicPr>
        <p:blipFill>
          <a:blip r:embed="rId2"/>
          <a:stretch>
            <a:fillRect/>
          </a:stretch>
        </p:blipFill>
        <p:spPr>
          <a:xfrm>
            <a:off x="239626" y="936327"/>
            <a:ext cx="8828605" cy="2545923"/>
          </a:xfrm>
          <a:prstGeom prst="rect">
            <a:avLst/>
          </a:prstGeom>
        </p:spPr>
      </p:pic>
      <p:sp>
        <p:nvSpPr>
          <p:cNvPr id="2" name="TextBox 1">
            <a:extLst>
              <a:ext uri="{FF2B5EF4-FFF2-40B4-BE49-F238E27FC236}">
                <a16:creationId xmlns:a16="http://schemas.microsoft.com/office/drawing/2014/main" id="{27EFED58-C013-0975-A8A4-F5D1121B5ED8}"/>
              </a:ext>
            </a:extLst>
          </p:cNvPr>
          <p:cNvSpPr txBox="1"/>
          <p:nvPr/>
        </p:nvSpPr>
        <p:spPr>
          <a:xfrm>
            <a:off x="2381459" y="3580690"/>
            <a:ext cx="4806765" cy="461665"/>
          </a:xfrm>
          <a:prstGeom prst="rect">
            <a:avLst/>
          </a:prstGeom>
          <a:noFill/>
        </p:spPr>
        <p:txBody>
          <a:bodyPr wrap="none" rtlCol="0">
            <a:spAutoFit/>
          </a:bodyPr>
          <a:lstStyle/>
          <a:p>
            <a:r>
              <a:rPr lang="en-US" dirty="0"/>
              <a:t>*Median ctDNA lead time: 12.4mo</a:t>
            </a:r>
          </a:p>
        </p:txBody>
      </p:sp>
    </p:spTree>
    <p:extLst>
      <p:ext uri="{BB962C8B-B14F-4D97-AF65-F5344CB8AC3E}">
        <p14:creationId xmlns:p14="http://schemas.microsoft.com/office/powerpoint/2010/main" val="982007876"/>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A340FF03-A1B9-6515-4833-8531F62B4919}"/>
              </a:ext>
            </a:extLst>
          </p:cNvPr>
          <p:cNvSpPr>
            <a:spLocks noGrp="1"/>
          </p:cNvSpPr>
          <p:nvPr>
            <p:ph sz="half" idx="1"/>
          </p:nvPr>
        </p:nvSpPr>
        <p:spPr>
          <a:xfrm>
            <a:off x="685799" y="1117600"/>
            <a:ext cx="7553739" cy="2878667"/>
          </a:xfrm>
        </p:spPr>
        <p:txBody>
          <a:bodyPr>
            <a:normAutofit lnSpcReduction="10000"/>
          </a:bodyPr>
          <a:lstStyle/>
          <a:p>
            <a:pPr marL="514350" indent="-514350">
              <a:buFont typeface="+mj-lt"/>
              <a:buAutoNum type="arabicPeriod"/>
            </a:pPr>
            <a:r>
              <a:rPr lang="en-US" dirty="0"/>
              <a:t>circulating tumor DNA: detection and clinical use cases</a:t>
            </a:r>
          </a:p>
          <a:p>
            <a:pPr marL="514350" indent="-514350">
              <a:buFont typeface="+mj-lt"/>
              <a:buAutoNum type="arabicPeriod"/>
            </a:pPr>
            <a:r>
              <a:rPr lang="en-US" dirty="0"/>
              <a:t>ctDNA dynamics and neoadjuvant therapy response </a:t>
            </a:r>
          </a:p>
          <a:p>
            <a:pPr marL="514350" indent="-514350">
              <a:buFont typeface="+mj-lt"/>
              <a:buAutoNum type="arabicPeriod"/>
            </a:pPr>
            <a:r>
              <a:rPr lang="en-US" dirty="0"/>
              <a:t>ctDNA for detection of disease relapse</a:t>
            </a:r>
          </a:p>
          <a:p>
            <a:pPr marL="514350" indent="-514350">
              <a:buFont typeface="+mj-lt"/>
              <a:buAutoNum type="arabicPeriod"/>
            </a:pPr>
            <a:r>
              <a:rPr lang="en-US" dirty="0"/>
              <a:t>ctDNA and adjuvant therapy</a:t>
            </a:r>
          </a:p>
        </p:txBody>
      </p:sp>
      <p:sp>
        <p:nvSpPr>
          <p:cNvPr id="2" name="Title 1">
            <a:extLst>
              <a:ext uri="{FF2B5EF4-FFF2-40B4-BE49-F238E27FC236}">
                <a16:creationId xmlns:a16="http://schemas.microsoft.com/office/drawing/2014/main" id="{5DA0CF5E-F475-9B41-A01F-6AED938E3C57}"/>
              </a:ext>
            </a:extLst>
          </p:cNvPr>
          <p:cNvSpPr>
            <a:spLocks noGrp="1"/>
          </p:cNvSpPr>
          <p:nvPr>
            <p:ph type="title"/>
          </p:nvPr>
        </p:nvSpPr>
        <p:spPr/>
        <p:txBody>
          <a:bodyPr/>
          <a:lstStyle/>
          <a:p>
            <a:r>
              <a:rPr lang="en-US" dirty="0"/>
              <a:t>Outline</a:t>
            </a:r>
          </a:p>
        </p:txBody>
      </p:sp>
    </p:spTree>
    <p:extLst>
      <p:ext uri="{BB962C8B-B14F-4D97-AF65-F5344CB8AC3E}">
        <p14:creationId xmlns:p14="http://schemas.microsoft.com/office/powerpoint/2010/main" val="3290526069"/>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127000"/>
            <a:ext cx="9144000" cy="695325"/>
          </a:xfrm>
          <a:prstGeom prst="rect">
            <a:avLst/>
          </a:prstGeom>
        </p:spPr>
        <p:txBody>
          <a:bodyPr>
            <a:normAutofit/>
          </a:bodyPr>
          <a:lstStyle/>
          <a:p>
            <a:r>
              <a:rPr lang="en-US" dirty="0">
                <a:solidFill>
                  <a:srgbClr val="002E51"/>
                </a:solidFill>
              </a:rPr>
              <a:t>ctDNA and adjuvant therapy – HR+</a:t>
            </a:r>
          </a:p>
        </p:txBody>
      </p:sp>
      <p:sp>
        <p:nvSpPr>
          <p:cNvPr id="8" name="TextBox 7">
            <a:extLst>
              <a:ext uri="{FF2B5EF4-FFF2-40B4-BE49-F238E27FC236}">
                <a16:creationId xmlns:a16="http://schemas.microsoft.com/office/drawing/2014/main" id="{C7F0ACAC-FC14-7052-DC47-8307C4750B09}"/>
              </a:ext>
            </a:extLst>
          </p:cNvPr>
          <p:cNvSpPr txBox="1"/>
          <p:nvPr/>
        </p:nvSpPr>
        <p:spPr>
          <a:xfrm>
            <a:off x="3614644" y="4602461"/>
            <a:ext cx="3041983" cy="276999"/>
          </a:xfrm>
          <a:prstGeom prst="rect">
            <a:avLst/>
          </a:prstGeom>
          <a:noFill/>
        </p:spPr>
        <p:txBody>
          <a:bodyPr wrap="square" rtlCol="0">
            <a:spAutoFit/>
          </a:bodyPr>
          <a:lstStyle/>
          <a:p>
            <a:r>
              <a:rPr lang="en-US" sz="1200" dirty="0"/>
              <a:t>Turner et al, ASCO 2023</a:t>
            </a:r>
          </a:p>
        </p:txBody>
      </p:sp>
      <p:pic>
        <p:nvPicPr>
          <p:cNvPr id="5" name="Picture 4" descr="A close-up of a sign&#10;&#10;Description automatically generated">
            <a:extLst>
              <a:ext uri="{FF2B5EF4-FFF2-40B4-BE49-F238E27FC236}">
                <a16:creationId xmlns:a16="http://schemas.microsoft.com/office/drawing/2014/main" id="{F83960D9-6218-ED01-8141-B5D9246F3809}"/>
              </a:ext>
            </a:extLst>
          </p:cNvPr>
          <p:cNvPicPr>
            <a:picLocks noChangeAspect="1"/>
          </p:cNvPicPr>
          <p:nvPr/>
        </p:nvPicPr>
        <p:blipFill>
          <a:blip r:embed="rId2"/>
          <a:stretch>
            <a:fillRect/>
          </a:stretch>
        </p:blipFill>
        <p:spPr>
          <a:xfrm>
            <a:off x="774553" y="2724021"/>
            <a:ext cx="6400800" cy="1054003"/>
          </a:xfrm>
          <a:prstGeom prst="rect">
            <a:avLst/>
          </a:prstGeom>
        </p:spPr>
      </p:pic>
      <p:pic>
        <p:nvPicPr>
          <p:cNvPr id="10" name="Picture 9" descr="A diagram of a patient's surgery&#10;&#10;Description automatically generated">
            <a:extLst>
              <a:ext uri="{FF2B5EF4-FFF2-40B4-BE49-F238E27FC236}">
                <a16:creationId xmlns:a16="http://schemas.microsoft.com/office/drawing/2014/main" id="{569D330B-7D92-8B76-12A1-68E22764F518}"/>
              </a:ext>
            </a:extLst>
          </p:cNvPr>
          <p:cNvPicPr>
            <a:picLocks noChangeAspect="1"/>
          </p:cNvPicPr>
          <p:nvPr/>
        </p:nvPicPr>
        <p:blipFill rotWithShape="1">
          <a:blip r:embed="rId3"/>
          <a:srcRect b="8969"/>
          <a:stretch/>
        </p:blipFill>
        <p:spPr>
          <a:xfrm>
            <a:off x="914400" y="822325"/>
            <a:ext cx="6400800" cy="2131263"/>
          </a:xfrm>
          <a:prstGeom prst="rect">
            <a:avLst/>
          </a:prstGeom>
        </p:spPr>
      </p:pic>
      <p:sp>
        <p:nvSpPr>
          <p:cNvPr id="12" name="TextBox 11">
            <a:extLst>
              <a:ext uri="{FF2B5EF4-FFF2-40B4-BE49-F238E27FC236}">
                <a16:creationId xmlns:a16="http://schemas.microsoft.com/office/drawing/2014/main" id="{11283FB1-DFE0-5EFE-17F7-3F4105DED6DB}"/>
              </a:ext>
            </a:extLst>
          </p:cNvPr>
          <p:cNvSpPr txBox="1"/>
          <p:nvPr/>
        </p:nvSpPr>
        <p:spPr>
          <a:xfrm>
            <a:off x="774553" y="3725598"/>
            <a:ext cx="6516445" cy="707886"/>
          </a:xfrm>
          <a:prstGeom prst="rect">
            <a:avLst/>
          </a:prstGeom>
          <a:noFill/>
        </p:spPr>
        <p:txBody>
          <a:bodyPr wrap="square">
            <a:spAutoFit/>
          </a:bodyPr>
          <a:lstStyle/>
          <a:p>
            <a:pPr marL="285750" indent="-285750">
              <a:buFont typeface="Arial" panose="020B0604020202020204" pitchFamily="34" charset="0"/>
              <a:buChar char="•"/>
            </a:pPr>
            <a:r>
              <a:rPr lang="en-US" sz="2000" dirty="0">
                <a:sym typeface="Wingdings" pitchFamily="2" charset="2"/>
              </a:rPr>
              <a:t>78/1250 patients, median f/u 42.9 months</a:t>
            </a:r>
          </a:p>
          <a:p>
            <a:pPr marL="285750" indent="-285750">
              <a:buFont typeface="Arial" panose="020B0604020202020204" pitchFamily="34" charset="0"/>
              <a:buChar char="•"/>
            </a:pPr>
            <a:r>
              <a:rPr lang="en-US" sz="2000" dirty="0">
                <a:sym typeface="Wingdings" pitchFamily="2" charset="2"/>
              </a:rPr>
              <a:t>Tumor-informed assay (</a:t>
            </a:r>
            <a:r>
              <a:rPr lang="en-US" sz="2000" dirty="0" err="1">
                <a:sym typeface="Wingdings" pitchFamily="2" charset="2"/>
              </a:rPr>
              <a:t>RaDaR</a:t>
            </a:r>
            <a:r>
              <a:rPr lang="en-US" sz="2000" dirty="0">
                <a:sym typeface="Wingdings" pitchFamily="2" charset="2"/>
              </a:rPr>
              <a:t>)</a:t>
            </a:r>
          </a:p>
        </p:txBody>
      </p:sp>
    </p:spTree>
    <p:extLst>
      <p:ext uri="{BB962C8B-B14F-4D97-AF65-F5344CB8AC3E}">
        <p14:creationId xmlns:p14="http://schemas.microsoft.com/office/powerpoint/2010/main" val="2615322770"/>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127000"/>
            <a:ext cx="9144000" cy="695325"/>
          </a:xfrm>
          <a:prstGeom prst="rect">
            <a:avLst/>
          </a:prstGeom>
        </p:spPr>
        <p:txBody>
          <a:bodyPr/>
          <a:lstStyle/>
          <a:p>
            <a:r>
              <a:rPr kumimoji="0" lang="en-US" sz="3200" b="0" i="0" u="none" strike="noStrike" kern="0" cap="none" spc="0" normalizeH="0" baseline="0" noProof="0" dirty="0">
                <a:ln>
                  <a:noFill/>
                </a:ln>
                <a:solidFill>
                  <a:srgbClr val="002E51"/>
                </a:solidFill>
                <a:effectLst/>
                <a:uLnTx/>
                <a:uFillTx/>
                <a:latin typeface="Arial"/>
                <a:ea typeface="ＭＳ Ｐゴシック"/>
              </a:rPr>
              <a:t>ctDNA and adjuvant therapy – HR+</a:t>
            </a:r>
            <a:endParaRPr lang="en-US" dirty="0">
              <a:solidFill>
                <a:srgbClr val="002E51"/>
              </a:solidFill>
            </a:endParaRPr>
          </a:p>
        </p:txBody>
      </p:sp>
      <p:sp>
        <p:nvSpPr>
          <p:cNvPr id="8" name="TextBox 7">
            <a:extLst>
              <a:ext uri="{FF2B5EF4-FFF2-40B4-BE49-F238E27FC236}">
                <a16:creationId xmlns:a16="http://schemas.microsoft.com/office/drawing/2014/main" id="{C7F0ACAC-FC14-7052-DC47-8307C4750B09}"/>
              </a:ext>
            </a:extLst>
          </p:cNvPr>
          <p:cNvSpPr txBox="1"/>
          <p:nvPr/>
        </p:nvSpPr>
        <p:spPr>
          <a:xfrm>
            <a:off x="3614644" y="4602461"/>
            <a:ext cx="3041983" cy="276999"/>
          </a:xfrm>
          <a:prstGeom prst="rect">
            <a:avLst/>
          </a:prstGeom>
          <a:noFill/>
        </p:spPr>
        <p:txBody>
          <a:bodyPr wrap="square" rtlCol="0">
            <a:spAutoFit/>
          </a:bodyPr>
          <a:lstStyle/>
          <a:p>
            <a:r>
              <a:rPr lang="en-US" sz="1200" dirty="0"/>
              <a:t>Turner et al, ASCO 2023</a:t>
            </a:r>
          </a:p>
        </p:txBody>
      </p:sp>
      <p:pic>
        <p:nvPicPr>
          <p:cNvPr id="3" name="Picture 2" descr="A graph of survival and distant events&#10;&#10;Description automatically generated with medium confidence">
            <a:extLst>
              <a:ext uri="{FF2B5EF4-FFF2-40B4-BE49-F238E27FC236}">
                <a16:creationId xmlns:a16="http://schemas.microsoft.com/office/drawing/2014/main" id="{EBC92E3F-F148-4341-E850-FCC8B0B5628D}"/>
              </a:ext>
            </a:extLst>
          </p:cNvPr>
          <p:cNvPicPr>
            <a:picLocks noChangeAspect="1"/>
          </p:cNvPicPr>
          <p:nvPr/>
        </p:nvPicPr>
        <p:blipFill>
          <a:blip r:embed="rId3"/>
          <a:stretch>
            <a:fillRect/>
          </a:stretch>
        </p:blipFill>
        <p:spPr>
          <a:xfrm>
            <a:off x="492163" y="1295379"/>
            <a:ext cx="7772400" cy="3024434"/>
          </a:xfrm>
          <a:prstGeom prst="rect">
            <a:avLst/>
          </a:prstGeom>
        </p:spPr>
      </p:pic>
      <p:sp>
        <p:nvSpPr>
          <p:cNvPr id="6" name="TextBox 5">
            <a:extLst>
              <a:ext uri="{FF2B5EF4-FFF2-40B4-BE49-F238E27FC236}">
                <a16:creationId xmlns:a16="http://schemas.microsoft.com/office/drawing/2014/main" id="{739D9DBC-1881-F919-3EA3-FAC29A1AEAC0}"/>
              </a:ext>
            </a:extLst>
          </p:cNvPr>
          <p:cNvSpPr txBox="1"/>
          <p:nvPr/>
        </p:nvSpPr>
        <p:spPr>
          <a:xfrm>
            <a:off x="603606" y="852176"/>
            <a:ext cx="4053354" cy="461665"/>
          </a:xfrm>
          <a:prstGeom prst="rect">
            <a:avLst/>
          </a:prstGeom>
          <a:noFill/>
        </p:spPr>
        <p:txBody>
          <a:bodyPr wrap="none" rtlCol="0">
            <a:spAutoFit/>
          </a:bodyPr>
          <a:lstStyle/>
          <a:p>
            <a:r>
              <a:rPr lang="en-US" dirty="0"/>
              <a:t>ctDNA detection at baseline:</a:t>
            </a:r>
          </a:p>
        </p:txBody>
      </p:sp>
    </p:spTree>
    <p:extLst>
      <p:ext uri="{BB962C8B-B14F-4D97-AF65-F5344CB8AC3E}">
        <p14:creationId xmlns:p14="http://schemas.microsoft.com/office/powerpoint/2010/main" val="2527693350"/>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127000"/>
            <a:ext cx="9144000" cy="695325"/>
          </a:xfrm>
          <a:prstGeom prst="rect">
            <a:avLst/>
          </a:prstGeom>
        </p:spPr>
        <p:txBody>
          <a:bodyPr/>
          <a:lstStyle/>
          <a:p>
            <a:r>
              <a:rPr kumimoji="0" lang="en-US" sz="3200" b="0" i="0" u="none" strike="noStrike" kern="0" cap="none" spc="0" normalizeH="0" baseline="0" noProof="0" dirty="0">
                <a:ln>
                  <a:noFill/>
                </a:ln>
                <a:solidFill>
                  <a:srgbClr val="002E51"/>
                </a:solidFill>
                <a:effectLst/>
                <a:uLnTx/>
                <a:uFillTx/>
                <a:latin typeface="Arial"/>
                <a:ea typeface="ＭＳ Ｐゴシック"/>
              </a:rPr>
              <a:t>ctDNA and adjuvant therapy – HR+</a:t>
            </a:r>
            <a:endParaRPr lang="en-US" dirty="0">
              <a:solidFill>
                <a:srgbClr val="002E51"/>
              </a:solidFill>
            </a:endParaRPr>
          </a:p>
        </p:txBody>
      </p:sp>
      <p:sp>
        <p:nvSpPr>
          <p:cNvPr id="8" name="TextBox 7">
            <a:extLst>
              <a:ext uri="{FF2B5EF4-FFF2-40B4-BE49-F238E27FC236}">
                <a16:creationId xmlns:a16="http://schemas.microsoft.com/office/drawing/2014/main" id="{C7F0ACAC-FC14-7052-DC47-8307C4750B09}"/>
              </a:ext>
            </a:extLst>
          </p:cNvPr>
          <p:cNvSpPr txBox="1"/>
          <p:nvPr/>
        </p:nvSpPr>
        <p:spPr>
          <a:xfrm>
            <a:off x="3614644" y="4602461"/>
            <a:ext cx="3041983" cy="276999"/>
          </a:xfrm>
          <a:prstGeom prst="rect">
            <a:avLst/>
          </a:prstGeom>
          <a:noFill/>
        </p:spPr>
        <p:txBody>
          <a:bodyPr wrap="square" rtlCol="0">
            <a:spAutoFit/>
          </a:bodyPr>
          <a:lstStyle/>
          <a:p>
            <a:r>
              <a:rPr lang="en-US" sz="1200" dirty="0"/>
              <a:t>Turner et al, ASCO 2023</a:t>
            </a:r>
          </a:p>
        </p:txBody>
      </p:sp>
      <p:sp>
        <p:nvSpPr>
          <p:cNvPr id="6" name="TextBox 5">
            <a:extLst>
              <a:ext uri="{FF2B5EF4-FFF2-40B4-BE49-F238E27FC236}">
                <a16:creationId xmlns:a16="http://schemas.microsoft.com/office/drawing/2014/main" id="{739D9DBC-1881-F919-3EA3-FAC29A1AEAC0}"/>
              </a:ext>
            </a:extLst>
          </p:cNvPr>
          <p:cNvSpPr txBox="1"/>
          <p:nvPr/>
        </p:nvSpPr>
        <p:spPr>
          <a:xfrm>
            <a:off x="603606" y="852176"/>
            <a:ext cx="7236918" cy="461665"/>
          </a:xfrm>
          <a:prstGeom prst="rect">
            <a:avLst/>
          </a:prstGeom>
          <a:noFill/>
        </p:spPr>
        <p:txBody>
          <a:bodyPr wrap="none" rtlCol="0">
            <a:spAutoFit/>
          </a:bodyPr>
          <a:lstStyle/>
          <a:p>
            <a:r>
              <a:rPr lang="en-US" dirty="0"/>
              <a:t>ctDNA detection at baseline by treatment allocation:</a:t>
            </a:r>
          </a:p>
        </p:txBody>
      </p:sp>
      <p:pic>
        <p:nvPicPr>
          <p:cNvPr id="5" name="Picture 4" descr="A graph of disease free survival&#10;&#10;Description automatically generated">
            <a:extLst>
              <a:ext uri="{FF2B5EF4-FFF2-40B4-BE49-F238E27FC236}">
                <a16:creationId xmlns:a16="http://schemas.microsoft.com/office/drawing/2014/main" id="{B2862388-B65F-8905-B3E4-B7CDE21422F8}"/>
              </a:ext>
            </a:extLst>
          </p:cNvPr>
          <p:cNvPicPr>
            <a:picLocks noChangeAspect="1"/>
          </p:cNvPicPr>
          <p:nvPr/>
        </p:nvPicPr>
        <p:blipFill>
          <a:blip r:embed="rId2"/>
          <a:stretch>
            <a:fillRect/>
          </a:stretch>
        </p:blipFill>
        <p:spPr>
          <a:xfrm>
            <a:off x="2275941" y="1343692"/>
            <a:ext cx="4380686" cy="2817846"/>
          </a:xfrm>
          <a:prstGeom prst="rect">
            <a:avLst/>
          </a:prstGeom>
        </p:spPr>
      </p:pic>
    </p:spTree>
    <p:extLst>
      <p:ext uri="{BB962C8B-B14F-4D97-AF65-F5344CB8AC3E}">
        <p14:creationId xmlns:p14="http://schemas.microsoft.com/office/powerpoint/2010/main" val="10541447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a:xfrm>
            <a:off x="665825" y="1753676"/>
            <a:ext cx="7812349" cy="2204975"/>
          </a:xfrm>
        </p:spPr>
        <p: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kern="1200" dirty="0">
                <a:solidFill>
                  <a:sysClr val="windowText" lastClr="000000"/>
                </a:solidFill>
              </a:rPr>
              <a:t>Shane Marchesani</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kern="1200" dirty="0">
              <a:solidFill>
                <a:sysClr val="windowText" lastClr="000000"/>
              </a:solidFill>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kern="1200" dirty="0">
                <a:solidFill>
                  <a:sysClr val="windowText" lastClr="000000"/>
                </a:solidFill>
              </a:rPr>
              <a:t>Senior National Accounts Manager</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kern="1200" dirty="0">
                <a:solidFill>
                  <a:sysClr val="windowText" lastClr="000000"/>
                </a:solidFill>
              </a:rPr>
              <a:t>OncLive</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kern="1200" dirty="0">
                <a:solidFill>
                  <a:sysClr val="windowText" lastClr="000000"/>
                </a:solidFill>
              </a:rPr>
              <a:t>MJH Life Sciences</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2400" u="none" strike="noStrike" kern="1200" cap="none" spc="0" normalizeH="0" baseline="0" noProof="0" dirty="0">
              <a:ln>
                <a:noFill/>
              </a:ln>
              <a:solidFill>
                <a:sysClr val="windowText" lastClr="000000"/>
              </a:solidFill>
              <a:effectLst/>
              <a:uLnTx/>
              <a:uFillTx/>
              <a:latin typeface="+mn-lt"/>
            </a:endParaRPr>
          </a:p>
        </p:txBody>
      </p:sp>
      <p:sp>
        <p:nvSpPr>
          <p:cNvPr id="4" name="Title 3"/>
          <p:cNvSpPr>
            <a:spLocks noGrp="1"/>
          </p:cNvSpPr>
          <p:nvPr>
            <p:ph type="title"/>
          </p:nvPr>
        </p:nvSpPr>
        <p:spPr>
          <a:xfrm>
            <a:off x="0" y="127465"/>
            <a:ext cx="9144000" cy="786936"/>
          </a:xfrm>
        </p:spPr>
        <p:txBody>
          <a:bodyPr/>
          <a:lstStyle/>
          <a:p>
            <a:r>
              <a:rPr lang="en-US" sz="3200" b="1" dirty="0">
                <a:solidFill>
                  <a:srgbClr val="002E51"/>
                </a:solidFill>
              </a:rPr>
              <a:t>Welcome</a:t>
            </a:r>
          </a:p>
        </p:txBody>
      </p:sp>
    </p:spTree>
    <p:extLst>
      <p:ext uri="{BB962C8B-B14F-4D97-AF65-F5344CB8AC3E}">
        <p14:creationId xmlns:p14="http://schemas.microsoft.com/office/powerpoint/2010/main" val="164316052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FA91C79-E718-28B4-DAFD-68804BDFE17B}"/>
              </a:ext>
            </a:extLst>
          </p:cNvPr>
          <p:cNvPicPr>
            <a:picLocks noChangeAspect="1"/>
          </p:cNvPicPr>
          <p:nvPr/>
        </p:nvPicPr>
        <p:blipFill>
          <a:blip r:embed="rId3"/>
          <a:stretch>
            <a:fillRect/>
          </a:stretch>
        </p:blipFill>
        <p:spPr>
          <a:xfrm>
            <a:off x="991401" y="278777"/>
            <a:ext cx="6559774" cy="3570965"/>
          </a:xfrm>
          <a:prstGeom prst="rect">
            <a:avLst/>
          </a:prstGeom>
        </p:spPr>
      </p:pic>
      <p:sp>
        <p:nvSpPr>
          <p:cNvPr id="6" name="TextBox 5">
            <a:extLst>
              <a:ext uri="{FF2B5EF4-FFF2-40B4-BE49-F238E27FC236}">
                <a16:creationId xmlns:a16="http://schemas.microsoft.com/office/drawing/2014/main" id="{B13066AC-415A-4837-4521-891606B90838}"/>
              </a:ext>
            </a:extLst>
          </p:cNvPr>
          <p:cNvSpPr txBox="1"/>
          <p:nvPr/>
        </p:nvSpPr>
        <p:spPr>
          <a:xfrm>
            <a:off x="3814431" y="4749849"/>
            <a:ext cx="4609214" cy="246221"/>
          </a:xfrm>
          <a:prstGeom prst="rect">
            <a:avLst/>
          </a:prstGeom>
          <a:noFill/>
        </p:spPr>
        <p:txBody>
          <a:bodyPr wrap="square">
            <a:spAutoFit/>
          </a:bodyPr>
          <a:lstStyle/>
          <a:p>
            <a:r>
              <a:rPr lang="en-US" sz="1000" dirty="0">
                <a:latin typeface="+mn-lt"/>
              </a:rPr>
              <a:t>Johnston et al, Abstract GS1-09 SABCS 2022 </a:t>
            </a:r>
          </a:p>
        </p:txBody>
      </p:sp>
    </p:spTree>
    <p:extLst>
      <p:ext uri="{BB962C8B-B14F-4D97-AF65-F5344CB8AC3E}">
        <p14:creationId xmlns:p14="http://schemas.microsoft.com/office/powerpoint/2010/main" val="2273350026"/>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127000"/>
            <a:ext cx="9144000" cy="695325"/>
          </a:xfrm>
          <a:prstGeom prst="rect">
            <a:avLst/>
          </a:prstGeom>
        </p:spPr>
        <p:txBody>
          <a:bodyPr/>
          <a:lstStyle/>
          <a:p>
            <a:r>
              <a:rPr kumimoji="0" lang="en-US" sz="3200" b="0" i="0" u="none" strike="noStrike" kern="0" cap="none" spc="0" normalizeH="0" baseline="0" noProof="0" dirty="0">
                <a:ln>
                  <a:noFill/>
                </a:ln>
                <a:solidFill>
                  <a:srgbClr val="002E51"/>
                </a:solidFill>
                <a:effectLst/>
                <a:uLnTx/>
                <a:uFillTx/>
                <a:latin typeface="Arial"/>
                <a:ea typeface="ＭＳ Ｐゴシック"/>
              </a:rPr>
              <a:t>ctDNA and adjuvant therapy – HR+</a:t>
            </a:r>
            <a:endParaRPr lang="en-US" dirty="0">
              <a:solidFill>
                <a:srgbClr val="002E51"/>
              </a:solidFill>
            </a:endParaRPr>
          </a:p>
        </p:txBody>
      </p:sp>
      <p:sp>
        <p:nvSpPr>
          <p:cNvPr id="8" name="TextBox 7">
            <a:extLst>
              <a:ext uri="{FF2B5EF4-FFF2-40B4-BE49-F238E27FC236}">
                <a16:creationId xmlns:a16="http://schemas.microsoft.com/office/drawing/2014/main" id="{C7F0ACAC-FC14-7052-DC47-8307C4750B09}"/>
              </a:ext>
            </a:extLst>
          </p:cNvPr>
          <p:cNvSpPr txBox="1"/>
          <p:nvPr/>
        </p:nvSpPr>
        <p:spPr>
          <a:xfrm>
            <a:off x="3614644" y="4602461"/>
            <a:ext cx="3041983" cy="276999"/>
          </a:xfrm>
          <a:prstGeom prst="rect">
            <a:avLst/>
          </a:prstGeom>
          <a:noFill/>
        </p:spPr>
        <p:txBody>
          <a:bodyPr wrap="square" rtlCol="0">
            <a:spAutoFit/>
          </a:bodyPr>
          <a:lstStyle/>
          <a:p>
            <a:r>
              <a:rPr lang="en-US" sz="1200" dirty="0"/>
              <a:t>Turner et al, ASCO 2023</a:t>
            </a:r>
          </a:p>
        </p:txBody>
      </p:sp>
      <p:sp>
        <p:nvSpPr>
          <p:cNvPr id="6" name="TextBox 5">
            <a:extLst>
              <a:ext uri="{FF2B5EF4-FFF2-40B4-BE49-F238E27FC236}">
                <a16:creationId xmlns:a16="http://schemas.microsoft.com/office/drawing/2014/main" id="{739D9DBC-1881-F919-3EA3-FAC29A1AEAC0}"/>
              </a:ext>
            </a:extLst>
          </p:cNvPr>
          <p:cNvSpPr txBox="1"/>
          <p:nvPr/>
        </p:nvSpPr>
        <p:spPr>
          <a:xfrm>
            <a:off x="603606" y="744680"/>
            <a:ext cx="4224875" cy="461665"/>
          </a:xfrm>
          <a:prstGeom prst="rect">
            <a:avLst/>
          </a:prstGeom>
          <a:noFill/>
        </p:spPr>
        <p:txBody>
          <a:bodyPr wrap="none" rtlCol="0">
            <a:spAutoFit/>
          </a:bodyPr>
          <a:lstStyle/>
          <a:p>
            <a:r>
              <a:rPr lang="en-US" dirty="0"/>
              <a:t>ctDNA dynamics and relapse:</a:t>
            </a:r>
          </a:p>
        </p:txBody>
      </p:sp>
      <p:pic>
        <p:nvPicPr>
          <p:cNvPr id="3" name="Picture 2" descr="A graph of diseased patients&#10;&#10;Description automatically generated with medium confidence">
            <a:extLst>
              <a:ext uri="{FF2B5EF4-FFF2-40B4-BE49-F238E27FC236}">
                <a16:creationId xmlns:a16="http://schemas.microsoft.com/office/drawing/2014/main" id="{9757E22F-225D-3E96-E4DD-A17271C411C3}"/>
              </a:ext>
            </a:extLst>
          </p:cNvPr>
          <p:cNvPicPr>
            <a:picLocks noChangeAspect="1"/>
          </p:cNvPicPr>
          <p:nvPr/>
        </p:nvPicPr>
        <p:blipFill>
          <a:blip r:embed="rId2"/>
          <a:stretch>
            <a:fillRect/>
          </a:stretch>
        </p:blipFill>
        <p:spPr>
          <a:xfrm>
            <a:off x="1885215" y="1153624"/>
            <a:ext cx="4128310" cy="3108797"/>
          </a:xfrm>
          <a:prstGeom prst="rect">
            <a:avLst/>
          </a:prstGeom>
        </p:spPr>
      </p:pic>
    </p:spTree>
    <p:extLst>
      <p:ext uri="{BB962C8B-B14F-4D97-AF65-F5344CB8AC3E}">
        <p14:creationId xmlns:p14="http://schemas.microsoft.com/office/powerpoint/2010/main" val="2638748872"/>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127000"/>
            <a:ext cx="9144000" cy="695325"/>
          </a:xfrm>
          <a:prstGeom prst="rect">
            <a:avLst/>
          </a:prstGeom>
        </p:spPr>
        <p:txBody>
          <a:bodyPr/>
          <a:lstStyle/>
          <a:p>
            <a:r>
              <a:rPr lang="en-US" dirty="0">
                <a:solidFill>
                  <a:srgbClr val="002E51"/>
                </a:solidFill>
              </a:rPr>
              <a:t>ctDNA and adjuvant therapy - TNBC</a:t>
            </a:r>
          </a:p>
        </p:txBody>
      </p:sp>
      <p:sp>
        <p:nvSpPr>
          <p:cNvPr id="8" name="TextBox 7">
            <a:extLst>
              <a:ext uri="{FF2B5EF4-FFF2-40B4-BE49-F238E27FC236}">
                <a16:creationId xmlns:a16="http://schemas.microsoft.com/office/drawing/2014/main" id="{C7F0ACAC-FC14-7052-DC47-8307C4750B09}"/>
              </a:ext>
            </a:extLst>
          </p:cNvPr>
          <p:cNvSpPr txBox="1"/>
          <p:nvPr/>
        </p:nvSpPr>
        <p:spPr>
          <a:xfrm>
            <a:off x="3614644" y="4602461"/>
            <a:ext cx="3041983" cy="276999"/>
          </a:xfrm>
          <a:prstGeom prst="rect">
            <a:avLst/>
          </a:prstGeom>
          <a:noFill/>
        </p:spPr>
        <p:txBody>
          <a:bodyPr wrap="square" rtlCol="0">
            <a:spAutoFit/>
          </a:bodyPr>
          <a:lstStyle/>
          <a:p>
            <a:r>
              <a:rPr lang="en-US" sz="1200" dirty="0"/>
              <a:t>Turner et al, SABCS 2021</a:t>
            </a:r>
          </a:p>
        </p:txBody>
      </p:sp>
      <p:pic>
        <p:nvPicPr>
          <p:cNvPr id="2" name="Picture 1">
            <a:extLst>
              <a:ext uri="{FF2B5EF4-FFF2-40B4-BE49-F238E27FC236}">
                <a16:creationId xmlns:a16="http://schemas.microsoft.com/office/drawing/2014/main" id="{CB01C853-5B80-6A1B-96AA-7E7473DE54B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82133" y="890055"/>
            <a:ext cx="6995857" cy="3368151"/>
          </a:xfrm>
          <a:prstGeom prst="rect">
            <a:avLst/>
          </a:prstGeom>
        </p:spPr>
      </p:pic>
    </p:spTree>
    <p:extLst>
      <p:ext uri="{BB962C8B-B14F-4D97-AF65-F5344CB8AC3E}">
        <p14:creationId xmlns:p14="http://schemas.microsoft.com/office/powerpoint/2010/main" val="3998584570"/>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127000"/>
            <a:ext cx="9144000" cy="695325"/>
          </a:xfrm>
          <a:prstGeom prst="rect">
            <a:avLst/>
          </a:prstGeom>
        </p:spPr>
        <p:txBody>
          <a:bodyPr/>
          <a:lstStyle/>
          <a:p>
            <a:r>
              <a:rPr lang="en-US" dirty="0">
                <a:solidFill>
                  <a:srgbClr val="002E51"/>
                </a:solidFill>
              </a:rPr>
              <a:t>ctDNA and adjuvant therapy - TNBC</a:t>
            </a:r>
          </a:p>
        </p:txBody>
      </p:sp>
      <p:sp>
        <p:nvSpPr>
          <p:cNvPr id="8" name="TextBox 7">
            <a:extLst>
              <a:ext uri="{FF2B5EF4-FFF2-40B4-BE49-F238E27FC236}">
                <a16:creationId xmlns:a16="http://schemas.microsoft.com/office/drawing/2014/main" id="{C7F0ACAC-FC14-7052-DC47-8307C4750B09}"/>
              </a:ext>
            </a:extLst>
          </p:cNvPr>
          <p:cNvSpPr txBox="1"/>
          <p:nvPr/>
        </p:nvSpPr>
        <p:spPr>
          <a:xfrm>
            <a:off x="3614644" y="4602461"/>
            <a:ext cx="3041983" cy="461665"/>
          </a:xfrm>
          <a:prstGeom prst="rect">
            <a:avLst/>
          </a:prstGeom>
          <a:noFill/>
        </p:spPr>
        <p:txBody>
          <a:bodyPr wrap="square" rtlCol="0">
            <a:spAutoFit/>
          </a:bodyPr>
          <a:lstStyle/>
          <a:p>
            <a:r>
              <a:rPr lang="en-US" sz="1200" dirty="0"/>
              <a:t>Turner et al, Annals of Oncology 2023 (PMID: 36423745)</a:t>
            </a:r>
          </a:p>
        </p:txBody>
      </p:sp>
      <p:pic>
        <p:nvPicPr>
          <p:cNvPr id="3" name="Main graphic">
            <a:extLst>
              <a:ext uri="{FF2B5EF4-FFF2-40B4-BE49-F238E27FC236}">
                <a16:creationId xmlns:a16="http://schemas.microsoft.com/office/drawing/2014/main" id="{082686A3-9AC3-AAAA-1B86-B76547B7F34B}"/>
              </a:ext>
            </a:extLst>
          </p:cNvPr>
          <p:cNvPicPr/>
          <p:nvPr/>
        </p:nvPicPr>
        <p:blipFill>
          <a:blip r:embed="rId2"/>
          <a:stretch/>
        </p:blipFill>
        <p:spPr>
          <a:xfrm>
            <a:off x="357351" y="747021"/>
            <a:ext cx="7599715" cy="3416188"/>
          </a:xfrm>
          <a:prstGeom prst="rect">
            <a:avLst/>
          </a:prstGeom>
          <a:ln>
            <a:noFill/>
          </a:ln>
        </p:spPr>
      </p:pic>
    </p:spTree>
    <p:extLst>
      <p:ext uri="{BB962C8B-B14F-4D97-AF65-F5344CB8AC3E}">
        <p14:creationId xmlns:p14="http://schemas.microsoft.com/office/powerpoint/2010/main" val="1740519927"/>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E858E9C-39CD-7F14-D003-79E72303B59A}"/>
              </a:ext>
            </a:extLst>
          </p:cNvPr>
          <p:cNvSpPr>
            <a:spLocks noGrp="1"/>
          </p:cNvSpPr>
          <p:nvPr>
            <p:ph idx="1"/>
          </p:nvPr>
        </p:nvSpPr>
        <p:spPr/>
        <p:txBody>
          <a:bodyPr/>
          <a:lstStyle/>
          <a:p>
            <a:r>
              <a:rPr lang="en-US" dirty="0"/>
              <a:t>7 patients relapsed without prior ctDNA+</a:t>
            </a:r>
          </a:p>
          <a:p>
            <a:r>
              <a:rPr lang="en-US" dirty="0"/>
              <a:t>45/161 patients ctDNA+ by 12 months</a:t>
            </a:r>
          </a:p>
          <a:p>
            <a:pPr lvl="1"/>
            <a:r>
              <a:rPr lang="en-US" dirty="0"/>
              <a:t>32 allocated to pembrolizumab</a:t>
            </a:r>
          </a:p>
          <a:p>
            <a:pPr lvl="2"/>
            <a:r>
              <a:rPr lang="en-US" dirty="0">
                <a:sym typeface="Wingdings" pitchFamily="2" charset="2"/>
              </a:rPr>
              <a:t>23</a:t>
            </a:r>
            <a:r>
              <a:rPr lang="en-US" dirty="0"/>
              <a:t> found to have overt metastatic disease on baseline staging</a:t>
            </a:r>
          </a:p>
          <a:p>
            <a:pPr lvl="2"/>
            <a:r>
              <a:rPr lang="en-US" dirty="0"/>
              <a:t>5 started treatment, none had ctDNA clearance</a:t>
            </a:r>
          </a:p>
          <a:p>
            <a:pPr lvl="1"/>
            <a:r>
              <a:rPr lang="en-US" dirty="0"/>
              <a:t>14 allocated to observation</a:t>
            </a:r>
          </a:p>
          <a:p>
            <a:pPr lvl="2"/>
            <a:r>
              <a:rPr lang="en-US" dirty="0"/>
              <a:t>4/14 recurrence free at 12 months – all had ctDNA clearance</a:t>
            </a:r>
          </a:p>
          <a:p>
            <a:pPr lvl="2"/>
            <a:r>
              <a:rPr lang="en-US" dirty="0"/>
              <a:t>2/15 had initial clearance and then became positive again</a:t>
            </a:r>
          </a:p>
          <a:p>
            <a:pPr lvl="2"/>
            <a:endParaRPr lang="en-US" dirty="0"/>
          </a:p>
        </p:txBody>
      </p:sp>
      <p:sp>
        <p:nvSpPr>
          <p:cNvPr id="4" name="Title 3"/>
          <p:cNvSpPr>
            <a:spLocks noGrp="1"/>
          </p:cNvSpPr>
          <p:nvPr>
            <p:ph type="title" idx="4294967295"/>
          </p:nvPr>
        </p:nvSpPr>
        <p:spPr>
          <a:xfrm>
            <a:off x="0" y="127000"/>
            <a:ext cx="9144000" cy="695325"/>
          </a:xfrm>
          <a:prstGeom prst="rect">
            <a:avLst/>
          </a:prstGeom>
        </p:spPr>
        <p:txBody>
          <a:bodyPr/>
          <a:lstStyle/>
          <a:p>
            <a:r>
              <a:rPr lang="en-US" dirty="0">
                <a:solidFill>
                  <a:srgbClr val="002E51"/>
                </a:solidFill>
              </a:rPr>
              <a:t>ctDNA and adjuvant therapy - TNBC</a:t>
            </a:r>
          </a:p>
        </p:txBody>
      </p:sp>
      <p:sp>
        <p:nvSpPr>
          <p:cNvPr id="5" name="TextBox 4">
            <a:extLst>
              <a:ext uri="{FF2B5EF4-FFF2-40B4-BE49-F238E27FC236}">
                <a16:creationId xmlns:a16="http://schemas.microsoft.com/office/drawing/2014/main" id="{31040B68-3F96-DFD6-DFDC-2A6B2E6859DD}"/>
              </a:ext>
            </a:extLst>
          </p:cNvPr>
          <p:cNvSpPr txBox="1"/>
          <p:nvPr/>
        </p:nvSpPr>
        <p:spPr>
          <a:xfrm>
            <a:off x="3614644" y="4602461"/>
            <a:ext cx="3041983" cy="461665"/>
          </a:xfrm>
          <a:prstGeom prst="rect">
            <a:avLst/>
          </a:prstGeom>
          <a:noFill/>
        </p:spPr>
        <p:txBody>
          <a:bodyPr wrap="square" rtlCol="0">
            <a:spAutoFit/>
          </a:bodyPr>
          <a:lstStyle/>
          <a:p>
            <a:r>
              <a:rPr lang="en-US" sz="1200" dirty="0"/>
              <a:t>Turner et al, Annals of Oncology 2023 (PMID: 36423745)</a:t>
            </a:r>
          </a:p>
        </p:txBody>
      </p:sp>
    </p:spTree>
    <p:extLst>
      <p:ext uri="{BB962C8B-B14F-4D97-AF65-F5344CB8AC3E}">
        <p14:creationId xmlns:p14="http://schemas.microsoft.com/office/powerpoint/2010/main" val="2925652747"/>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E858E9C-39CD-7F14-D003-79E72303B59A}"/>
              </a:ext>
            </a:extLst>
          </p:cNvPr>
          <p:cNvSpPr>
            <a:spLocks noGrp="1"/>
          </p:cNvSpPr>
          <p:nvPr>
            <p:ph idx="1"/>
          </p:nvPr>
        </p:nvSpPr>
        <p:spPr/>
        <p:txBody>
          <a:bodyPr/>
          <a:lstStyle/>
          <a:p>
            <a:r>
              <a:rPr lang="en-US" dirty="0"/>
              <a:t>What went wrong?</a:t>
            </a:r>
          </a:p>
          <a:p>
            <a:r>
              <a:rPr lang="en-US" dirty="0"/>
              <a:t>Population too high risk and/or didn’t start ctDNA screening early enough</a:t>
            </a:r>
          </a:p>
        </p:txBody>
      </p:sp>
      <p:sp>
        <p:nvSpPr>
          <p:cNvPr id="4" name="Title 3"/>
          <p:cNvSpPr>
            <a:spLocks noGrp="1"/>
          </p:cNvSpPr>
          <p:nvPr>
            <p:ph type="title" idx="4294967295"/>
          </p:nvPr>
        </p:nvSpPr>
        <p:spPr>
          <a:xfrm>
            <a:off x="0" y="127000"/>
            <a:ext cx="9144000" cy="695325"/>
          </a:xfrm>
          <a:prstGeom prst="rect">
            <a:avLst/>
          </a:prstGeom>
        </p:spPr>
        <p:txBody>
          <a:bodyPr/>
          <a:lstStyle/>
          <a:p>
            <a:r>
              <a:rPr lang="en-US" dirty="0">
                <a:solidFill>
                  <a:srgbClr val="002E51"/>
                </a:solidFill>
              </a:rPr>
              <a:t>ctDNA and adjuvant therapy - TNBC</a:t>
            </a:r>
          </a:p>
        </p:txBody>
      </p:sp>
      <p:sp>
        <p:nvSpPr>
          <p:cNvPr id="8" name="TextBox 7">
            <a:extLst>
              <a:ext uri="{FF2B5EF4-FFF2-40B4-BE49-F238E27FC236}">
                <a16:creationId xmlns:a16="http://schemas.microsoft.com/office/drawing/2014/main" id="{C7F0ACAC-FC14-7052-DC47-8307C4750B09}"/>
              </a:ext>
            </a:extLst>
          </p:cNvPr>
          <p:cNvSpPr txBox="1"/>
          <p:nvPr/>
        </p:nvSpPr>
        <p:spPr>
          <a:xfrm>
            <a:off x="3614644" y="4602461"/>
            <a:ext cx="3041983" cy="276999"/>
          </a:xfrm>
          <a:prstGeom prst="rect">
            <a:avLst/>
          </a:prstGeom>
          <a:noFill/>
        </p:spPr>
        <p:txBody>
          <a:bodyPr wrap="square" rtlCol="0">
            <a:spAutoFit/>
          </a:bodyPr>
          <a:lstStyle/>
          <a:p>
            <a:r>
              <a:rPr lang="en-US" sz="1200" dirty="0"/>
              <a:t>Turner et al, SABCS 2021</a:t>
            </a:r>
          </a:p>
        </p:txBody>
      </p:sp>
    </p:spTree>
    <p:extLst>
      <p:ext uri="{BB962C8B-B14F-4D97-AF65-F5344CB8AC3E}">
        <p14:creationId xmlns:p14="http://schemas.microsoft.com/office/powerpoint/2010/main" val="103987459"/>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E858E9C-39CD-7F14-D003-79E72303B59A}"/>
              </a:ext>
            </a:extLst>
          </p:cNvPr>
          <p:cNvSpPr>
            <a:spLocks noGrp="1"/>
          </p:cNvSpPr>
          <p:nvPr>
            <p:ph idx="1"/>
          </p:nvPr>
        </p:nvSpPr>
        <p:spPr/>
        <p:txBody>
          <a:bodyPr>
            <a:normAutofit fontScale="85000" lnSpcReduction="10000"/>
          </a:bodyPr>
          <a:lstStyle/>
          <a:p>
            <a:r>
              <a:rPr lang="en-US" dirty="0"/>
              <a:t>Population too high risk and/or didn’t start ctDNA screening early enough</a:t>
            </a:r>
          </a:p>
          <a:p>
            <a:r>
              <a:rPr lang="en-US" dirty="0"/>
              <a:t>Ineffective agent?</a:t>
            </a:r>
          </a:p>
          <a:p>
            <a:r>
              <a:rPr lang="en-US" dirty="0">
                <a:sym typeface="Wingdings" pitchFamily="2" charset="2"/>
              </a:rPr>
              <a:t>Gupta et al ESMO Breast 2023:</a:t>
            </a:r>
          </a:p>
          <a:p>
            <a:pPr lvl="1"/>
            <a:r>
              <a:rPr lang="en-US" dirty="0">
                <a:sym typeface="Wingdings" pitchFamily="2" charset="2"/>
              </a:rPr>
              <a:t>28 TNBC with residual disease receiving adjuvant capecitabine</a:t>
            </a:r>
          </a:p>
          <a:p>
            <a:pPr lvl="1"/>
            <a:r>
              <a:rPr lang="en-US" dirty="0">
                <a:sym typeface="Wingdings" pitchFamily="2" charset="2"/>
              </a:rPr>
              <a:t>Tumor informed ctDNA (</a:t>
            </a:r>
            <a:r>
              <a:rPr lang="en-US" dirty="0" err="1">
                <a:sym typeface="Wingdings" pitchFamily="2" charset="2"/>
              </a:rPr>
              <a:t>Signatera</a:t>
            </a:r>
            <a:r>
              <a:rPr lang="en-US" dirty="0">
                <a:sym typeface="Wingdings" pitchFamily="2" charset="2"/>
              </a:rPr>
              <a:t>) before, during and after treatment</a:t>
            </a:r>
          </a:p>
          <a:p>
            <a:pPr lvl="1"/>
            <a:r>
              <a:rPr lang="en-US" dirty="0">
                <a:sym typeface="Wingdings" pitchFamily="2" charset="2"/>
              </a:rPr>
              <a:t>3/20 ctDNA positive before capecitabine, 4/28 became positive during/after</a:t>
            </a:r>
          </a:p>
          <a:p>
            <a:pPr lvl="1"/>
            <a:r>
              <a:rPr lang="en-US" dirty="0">
                <a:sym typeface="Wingdings" pitchFamily="2" charset="2"/>
              </a:rPr>
              <a:t>None with a positive converted to ctDNA negative after capecitabine</a:t>
            </a:r>
          </a:p>
          <a:p>
            <a:pPr lvl="1"/>
            <a:r>
              <a:rPr lang="en-US" dirty="0">
                <a:sym typeface="Wingdings" pitchFamily="2" charset="2"/>
              </a:rPr>
              <a:t>6/7 ctDNA positive relapsed within 11 months.</a:t>
            </a:r>
            <a:endParaRPr lang="en-US" dirty="0"/>
          </a:p>
        </p:txBody>
      </p:sp>
      <p:sp>
        <p:nvSpPr>
          <p:cNvPr id="4" name="Title 3"/>
          <p:cNvSpPr>
            <a:spLocks noGrp="1"/>
          </p:cNvSpPr>
          <p:nvPr>
            <p:ph type="title" idx="4294967295"/>
          </p:nvPr>
        </p:nvSpPr>
        <p:spPr>
          <a:xfrm>
            <a:off x="0" y="127000"/>
            <a:ext cx="9144000" cy="695325"/>
          </a:xfrm>
          <a:prstGeom prst="rect">
            <a:avLst/>
          </a:prstGeom>
        </p:spPr>
        <p:txBody>
          <a:bodyPr/>
          <a:lstStyle/>
          <a:p>
            <a:r>
              <a:rPr lang="en-US" dirty="0">
                <a:solidFill>
                  <a:srgbClr val="002E51"/>
                </a:solidFill>
              </a:rPr>
              <a:t>ctDNA and adjuvant therapy</a:t>
            </a:r>
          </a:p>
        </p:txBody>
      </p:sp>
    </p:spTree>
    <p:extLst>
      <p:ext uri="{BB962C8B-B14F-4D97-AF65-F5344CB8AC3E}">
        <p14:creationId xmlns:p14="http://schemas.microsoft.com/office/powerpoint/2010/main" val="4091534335"/>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FF32EE-CAC4-DE41-3BCB-7BEA09605C62}"/>
              </a:ext>
            </a:extLst>
          </p:cNvPr>
          <p:cNvSpPr>
            <a:spLocks noGrp="1"/>
          </p:cNvSpPr>
          <p:nvPr>
            <p:ph type="title"/>
          </p:nvPr>
        </p:nvSpPr>
        <p:spPr/>
        <p:txBody>
          <a:bodyPr/>
          <a:lstStyle/>
          <a:p>
            <a:r>
              <a:rPr lang="en-US"/>
              <a:t>Selected ongoing </a:t>
            </a:r>
            <a:r>
              <a:rPr lang="en-US" dirty="0"/>
              <a:t>intervention trials</a:t>
            </a:r>
          </a:p>
        </p:txBody>
      </p:sp>
      <p:graphicFrame>
        <p:nvGraphicFramePr>
          <p:cNvPr id="3" name="Table 3">
            <a:extLst>
              <a:ext uri="{FF2B5EF4-FFF2-40B4-BE49-F238E27FC236}">
                <a16:creationId xmlns:a16="http://schemas.microsoft.com/office/drawing/2014/main" id="{18FE2E8E-B054-1593-B0FE-8C1D1918416E}"/>
              </a:ext>
            </a:extLst>
          </p:cNvPr>
          <p:cNvGraphicFramePr>
            <a:graphicFrameLocks noGrp="1"/>
          </p:cNvGraphicFramePr>
          <p:nvPr>
            <p:extLst>
              <p:ext uri="{D42A27DB-BD31-4B8C-83A1-F6EECF244321}">
                <p14:modId xmlns:p14="http://schemas.microsoft.com/office/powerpoint/2010/main" val="3316447692"/>
              </p:ext>
            </p:extLst>
          </p:nvPr>
        </p:nvGraphicFramePr>
        <p:xfrm>
          <a:off x="193992" y="925671"/>
          <a:ext cx="8756015" cy="3296920"/>
        </p:xfrm>
        <a:graphic>
          <a:graphicData uri="http://schemas.openxmlformats.org/drawingml/2006/table">
            <a:tbl>
              <a:tblPr firstRow="1" bandRow="1">
                <a:tableStyleId>{5C22544A-7EE6-4342-B048-85BDC9FD1C3A}</a:tableStyleId>
              </a:tblPr>
              <a:tblGrid>
                <a:gridCol w="1501108">
                  <a:extLst>
                    <a:ext uri="{9D8B030D-6E8A-4147-A177-3AD203B41FA5}">
                      <a16:colId xmlns:a16="http://schemas.microsoft.com/office/drawing/2014/main" val="2265417794"/>
                    </a:ext>
                  </a:extLst>
                </a:gridCol>
                <a:gridCol w="932848">
                  <a:extLst>
                    <a:ext uri="{9D8B030D-6E8A-4147-A177-3AD203B41FA5}">
                      <a16:colId xmlns:a16="http://schemas.microsoft.com/office/drawing/2014/main" val="2625870480"/>
                    </a:ext>
                  </a:extLst>
                </a:gridCol>
                <a:gridCol w="889461">
                  <a:extLst>
                    <a:ext uri="{9D8B030D-6E8A-4147-A177-3AD203B41FA5}">
                      <a16:colId xmlns:a16="http://schemas.microsoft.com/office/drawing/2014/main" val="3895674904"/>
                    </a:ext>
                  </a:extLst>
                </a:gridCol>
                <a:gridCol w="2267039">
                  <a:extLst>
                    <a:ext uri="{9D8B030D-6E8A-4147-A177-3AD203B41FA5}">
                      <a16:colId xmlns:a16="http://schemas.microsoft.com/office/drawing/2014/main" val="891865626"/>
                    </a:ext>
                  </a:extLst>
                </a:gridCol>
                <a:gridCol w="3165559">
                  <a:extLst>
                    <a:ext uri="{9D8B030D-6E8A-4147-A177-3AD203B41FA5}">
                      <a16:colId xmlns:a16="http://schemas.microsoft.com/office/drawing/2014/main" val="3233149567"/>
                    </a:ext>
                  </a:extLst>
                </a:gridCol>
              </a:tblGrid>
              <a:tr h="370840">
                <a:tc>
                  <a:txBody>
                    <a:bodyPr/>
                    <a:lstStyle/>
                    <a:p>
                      <a:r>
                        <a:rPr lang="en-US" sz="1200" dirty="0"/>
                        <a:t>Name</a:t>
                      </a:r>
                    </a:p>
                  </a:txBody>
                  <a:tcPr/>
                </a:tc>
                <a:tc>
                  <a:txBody>
                    <a:bodyPr/>
                    <a:lstStyle/>
                    <a:p>
                      <a:r>
                        <a:rPr lang="en-US" sz="1200" dirty="0"/>
                        <a:t>Phase</a:t>
                      </a:r>
                    </a:p>
                  </a:txBody>
                  <a:tcPr/>
                </a:tc>
                <a:tc>
                  <a:txBody>
                    <a:bodyPr/>
                    <a:lstStyle/>
                    <a:p>
                      <a:r>
                        <a:rPr lang="en-US" sz="1200" dirty="0"/>
                        <a:t>Subtype</a:t>
                      </a:r>
                    </a:p>
                  </a:txBody>
                  <a:tcPr/>
                </a:tc>
                <a:tc>
                  <a:txBody>
                    <a:bodyPr/>
                    <a:lstStyle/>
                    <a:p>
                      <a:r>
                        <a:rPr lang="en-US" sz="1200" dirty="0"/>
                        <a:t>Clinical population</a:t>
                      </a:r>
                    </a:p>
                  </a:txBody>
                  <a:tcPr/>
                </a:tc>
                <a:tc>
                  <a:txBody>
                    <a:bodyPr/>
                    <a:lstStyle/>
                    <a:p>
                      <a:r>
                        <a:rPr lang="en-US" sz="1200" dirty="0"/>
                        <a:t>Intervention</a:t>
                      </a:r>
                    </a:p>
                  </a:txBody>
                  <a:tcPr/>
                </a:tc>
                <a:extLst>
                  <a:ext uri="{0D108BD9-81ED-4DB2-BD59-A6C34878D82A}">
                    <a16:rowId xmlns:a16="http://schemas.microsoft.com/office/drawing/2014/main" val="2816922528"/>
                  </a:ext>
                </a:extLst>
              </a:tr>
              <a:tr h="370840">
                <a:tc>
                  <a:txBody>
                    <a:bodyPr/>
                    <a:lstStyle/>
                    <a:p>
                      <a:r>
                        <a:rPr lang="en-US" sz="1200" dirty="0">
                          <a:solidFill>
                            <a:srgbClr val="FF0000"/>
                          </a:solidFill>
                        </a:rPr>
                        <a:t>PERSEVERE (NCT04849364)</a:t>
                      </a:r>
                    </a:p>
                  </a:txBody>
                  <a:tcPr/>
                </a:tc>
                <a:tc>
                  <a:txBody>
                    <a:bodyPr/>
                    <a:lstStyle/>
                    <a:p>
                      <a:r>
                        <a:rPr lang="en-US" sz="1200" dirty="0">
                          <a:solidFill>
                            <a:srgbClr val="FF0000"/>
                          </a:solidFill>
                        </a:rPr>
                        <a:t>Phase II</a:t>
                      </a:r>
                    </a:p>
                  </a:txBody>
                  <a:tcPr/>
                </a:tc>
                <a:tc>
                  <a:txBody>
                    <a:bodyPr/>
                    <a:lstStyle/>
                    <a:p>
                      <a:r>
                        <a:rPr lang="en-US" sz="1200" dirty="0">
                          <a:solidFill>
                            <a:srgbClr val="FF0000"/>
                          </a:solidFill>
                        </a:rPr>
                        <a:t>TNBC</a:t>
                      </a:r>
                    </a:p>
                  </a:txBody>
                  <a:tcPr/>
                </a:tc>
                <a:tc>
                  <a:txBody>
                    <a:bodyPr/>
                    <a:lstStyle/>
                    <a:p>
                      <a:r>
                        <a:rPr lang="en-US" sz="1200" dirty="0">
                          <a:solidFill>
                            <a:srgbClr val="FF0000"/>
                          </a:solidFill>
                        </a:rPr>
                        <a:t>Patients with residual disease after </a:t>
                      </a:r>
                      <a:r>
                        <a:rPr lang="en-US" sz="1200" dirty="0" err="1">
                          <a:solidFill>
                            <a:srgbClr val="FF0000"/>
                          </a:solidFill>
                        </a:rPr>
                        <a:t>NAT+surgery</a:t>
                      </a:r>
                      <a:endParaRPr lang="en-US" sz="1200" dirty="0">
                        <a:solidFill>
                          <a:srgbClr val="FF0000"/>
                        </a:solidFill>
                      </a:endParaRP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dirty="0">
                          <a:solidFill>
                            <a:srgbClr val="FF0000"/>
                          </a:solidFill>
                        </a:rPr>
                        <a:t>ctDNA-guided adjuvant therapy</a:t>
                      </a:r>
                    </a:p>
                  </a:txBody>
                  <a:tcPr/>
                </a:tc>
                <a:extLst>
                  <a:ext uri="{0D108BD9-81ED-4DB2-BD59-A6C34878D82A}">
                    <a16:rowId xmlns:a16="http://schemas.microsoft.com/office/drawing/2014/main" val="1436254725"/>
                  </a:ext>
                </a:extLst>
              </a:tr>
              <a:tr h="370840">
                <a:tc>
                  <a:txBody>
                    <a:bodyPr/>
                    <a:lstStyle/>
                    <a:p>
                      <a:r>
                        <a:rPr lang="en-US" sz="1200" dirty="0"/>
                        <a:t>APOLLO (NCT04501523)</a:t>
                      </a:r>
                    </a:p>
                  </a:txBody>
                  <a:tcPr/>
                </a:tc>
                <a:tc>
                  <a:txBody>
                    <a:bodyPr/>
                    <a:lstStyle/>
                    <a:p>
                      <a:r>
                        <a:rPr lang="en-US" sz="1200" dirty="0"/>
                        <a:t>Phase II</a:t>
                      </a:r>
                    </a:p>
                  </a:txBody>
                  <a:tcPr/>
                </a:tc>
                <a:tc>
                  <a:txBody>
                    <a:bodyPr/>
                    <a:lstStyle/>
                    <a:p>
                      <a:r>
                        <a:rPr lang="en-US" sz="1200" dirty="0"/>
                        <a:t>TNBC</a:t>
                      </a:r>
                    </a:p>
                  </a:txBody>
                  <a:tcPr/>
                </a:tc>
                <a:tc>
                  <a:txBody>
                    <a:bodyPr/>
                    <a:lstStyle/>
                    <a:p>
                      <a:r>
                        <a:rPr lang="en-US" sz="1200" dirty="0"/>
                        <a:t>Patients with ctDNA+ after </a:t>
                      </a:r>
                      <a:r>
                        <a:rPr lang="en-US" sz="1200" dirty="0" err="1"/>
                        <a:t>NAT+surgery</a:t>
                      </a:r>
                      <a:endParaRPr lang="en-US" sz="1200" dirty="0"/>
                    </a:p>
                  </a:txBody>
                  <a:tcPr/>
                </a:tc>
                <a:tc>
                  <a:txBody>
                    <a:bodyPr/>
                    <a:lstStyle/>
                    <a:p>
                      <a:r>
                        <a:rPr lang="en-US" sz="1200" dirty="0"/>
                        <a:t>RD/ctDNA+: randomized capecitabine +- anti-PD-1</a:t>
                      </a:r>
                    </a:p>
                    <a:p>
                      <a:r>
                        <a:rPr lang="en-US" sz="1200" dirty="0" err="1"/>
                        <a:t>pCR</a:t>
                      </a:r>
                      <a:r>
                        <a:rPr lang="en-US" sz="1200" dirty="0"/>
                        <a:t>/ctDNA+: capecitabine</a:t>
                      </a:r>
                    </a:p>
                  </a:txBody>
                  <a:tcPr/>
                </a:tc>
                <a:extLst>
                  <a:ext uri="{0D108BD9-81ED-4DB2-BD59-A6C34878D82A}">
                    <a16:rowId xmlns:a16="http://schemas.microsoft.com/office/drawing/2014/main" val="3021025749"/>
                  </a:ext>
                </a:extLst>
              </a:tr>
              <a:tr h="370840">
                <a:tc>
                  <a:txBody>
                    <a:bodyPr/>
                    <a:lstStyle/>
                    <a:p>
                      <a:r>
                        <a:rPr lang="en-US" sz="1200" dirty="0"/>
                        <a:t>ARTEMIS (NCT04803539)</a:t>
                      </a:r>
                    </a:p>
                  </a:txBody>
                  <a:tcPr/>
                </a:tc>
                <a:tc>
                  <a:txBody>
                    <a:bodyPr/>
                    <a:lstStyle/>
                    <a:p>
                      <a:r>
                        <a:rPr lang="en-US" sz="1200" dirty="0"/>
                        <a:t>Phase II/III</a:t>
                      </a:r>
                    </a:p>
                  </a:txBody>
                  <a:tcPr/>
                </a:tc>
                <a:tc>
                  <a:txBody>
                    <a:bodyPr/>
                    <a:lstStyle/>
                    <a:p>
                      <a:r>
                        <a:rPr lang="en-US" sz="1200" dirty="0"/>
                        <a:t>TNBC</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dirty="0"/>
                        <a:t>Patients with ctDNA+ after </a:t>
                      </a:r>
                      <a:r>
                        <a:rPr lang="en-US" sz="1200" dirty="0" err="1"/>
                        <a:t>NAT+surgery</a:t>
                      </a:r>
                      <a:endParaRPr lang="en-US" sz="1200" dirty="0"/>
                    </a:p>
                  </a:txBody>
                  <a:tcPr/>
                </a:tc>
                <a:tc>
                  <a:txBody>
                    <a:bodyPr/>
                    <a:lstStyle/>
                    <a:p>
                      <a:r>
                        <a:rPr lang="en-US" sz="1200" dirty="0"/>
                        <a:t>Randomized capecitabine +- anti-PD-1 + </a:t>
                      </a:r>
                      <a:r>
                        <a:rPr lang="en-US" sz="1200" dirty="0" err="1"/>
                        <a:t>apatinib</a:t>
                      </a:r>
                      <a:endParaRPr lang="en-US" sz="1200" dirty="0"/>
                    </a:p>
                  </a:txBody>
                  <a:tcPr/>
                </a:tc>
                <a:extLst>
                  <a:ext uri="{0D108BD9-81ED-4DB2-BD59-A6C34878D82A}">
                    <a16:rowId xmlns:a16="http://schemas.microsoft.com/office/drawing/2014/main" val="3473244110"/>
                  </a:ext>
                </a:extLst>
              </a:tr>
              <a:tr h="370840">
                <a:tc>
                  <a:txBody>
                    <a:bodyPr/>
                    <a:lstStyle/>
                    <a:p>
                      <a:r>
                        <a:rPr lang="en-US" sz="1200" dirty="0"/>
                        <a:t>TRAK-ER (NCT04985266)</a:t>
                      </a:r>
                    </a:p>
                  </a:txBody>
                  <a:tcPr/>
                </a:tc>
                <a:tc>
                  <a:txBody>
                    <a:bodyPr/>
                    <a:lstStyle/>
                    <a:p>
                      <a:r>
                        <a:rPr lang="en-US" sz="1200" dirty="0"/>
                        <a:t>Phase II</a:t>
                      </a:r>
                    </a:p>
                  </a:txBody>
                  <a:tcPr/>
                </a:tc>
                <a:tc>
                  <a:txBody>
                    <a:bodyPr/>
                    <a:lstStyle/>
                    <a:p>
                      <a:r>
                        <a:rPr lang="en-US" sz="1200" dirty="0"/>
                        <a:t>HR+</a:t>
                      </a:r>
                    </a:p>
                  </a:txBody>
                  <a:tcPr/>
                </a:tc>
                <a:tc>
                  <a:txBody>
                    <a:bodyPr/>
                    <a:lstStyle/>
                    <a:p>
                      <a:r>
                        <a:rPr lang="en-US" sz="1200" dirty="0"/>
                        <a:t>Patients in adjuvant phase</a:t>
                      </a:r>
                    </a:p>
                  </a:txBody>
                  <a:tcPr/>
                </a:tc>
                <a:tc>
                  <a:txBody>
                    <a:bodyPr/>
                    <a:lstStyle/>
                    <a:p>
                      <a:r>
                        <a:rPr lang="en-US" sz="1200" dirty="0"/>
                        <a:t>ctDNA </a:t>
                      </a:r>
                      <a:r>
                        <a:rPr lang="en-US" sz="1200" dirty="0" err="1"/>
                        <a:t>surveillance</a:t>
                      </a:r>
                      <a:r>
                        <a:rPr lang="en-US" sz="1200" dirty="0" err="1">
                          <a:sym typeface="Wingdings" pitchFamily="2" charset="2"/>
                        </a:rPr>
                        <a:t>if</a:t>
                      </a:r>
                      <a:r>
                        <a:rPr lang="en-US" sz="1200" dirty="0">
                          <a:sym typeface="Wingdings" pitchFamily="2" charset="2"/>
                        </a:rPr>
                        <a:t> +, randomization to fulvestrant/palbociclib vs SOC ET</a:t>
                      </a:r>
                      <a:endParaRPr lang="en-US" sz="1200" dirty="0"/>
                    </a:p>
                  </a:txBody>
                  <a:tcPr/>
                </a:tc>
                <a:extLst>
                  <a:ext uri="{0D108BD9-81ED-4DB2-BD59-A6C34878D82A}">
                    <a16:rowId xmlns:a16="http://schemas.microsoft.com/office/drawing/2014/main" val="135736272"/>
                  </a:ext>
                </a:extLst>
              </a:tr>
              <a:tr h="370840">
                <a:tc>
                  <a:txBody>
                    <a:bodyPr/>
                    <a:lstStyle/>
                    <a:p>
                      <a:r>
                        <a:rPr lang="en-US" sz="1200" dirty="0">
                          <a:solidFill>
                            <a:srgbClr val="FF0000"/>
                          </a:solidFill>
                        </a:rPr>
                        <a:t>DARE (NCT04567420)</a:t>
                      </a:r>
                    </a:p>
                  </a:txBody>
                  <a:tcPr/>
                </a:tc>
                <a:tc>
                  <a:txBody>
                    <a:bodyPr/>
                    <a:lstStyle/>
                    <a:p>
                      <a:r>
                        <a:rPr lang="en-US" sz="1200" dirty="0">
                          <a:solidFill>
                            <a:srgbClr val="FF0000"/>
                          </a:solidFill>
                        </a:rPr>
                        <a:t>Phase II</a:t>
                      </a:r>
                    </a:p>
                  </a:txBody>
                  <a:tcPr/>
                </a:tc>
                <a:tc>
                  <a:txBody>
                    <a:bodyPr/>
                    <a:lstStyle/>
                    <a:p>
                      <a:r>
                        <a:rPr lang="en-US" sz="1200" dirty="0">
                          <a:solidFill>
                            <a:srgbClr val="FF0000"/>
                          </a:solidFill>
                        </a:rPr>
                        <a:t>HR+</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dirty="0">
                          <a:solidFill>
                            <a:srgbClr val="FF0000"/>
                          </a:solidFill>
                        </a:rPr>
                        <a:t>Patients in adjuvant phase</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dirty="0">
                          <a:solidFill>
                            <a:srgbClr val="FF0000"/>
                          </a:solidFill>
                        </a:rPr>
                        <a:t>ctDNA </a:t>
                      </a:r>
                      <a:r>
                        <a:rPr lang="en-US" sz="1200" dirty="0" err="1">
                          <a:solidFill>
                            <a:srgbClr val="FF0000"/>
                          </a:solidFill>
                        </a:rPr>
                        <a:t>surveillance</a:t>
                      </a:r>
                      <a:r>
                        <a:rPr lang="en-US" sz="1200" dirty="0" err="1">
                          <a:solidFill>
                            <a:srgbClr val="FF0000"/>
                          </a:solidFill>
                          <a:sym typeface="Wingdings" pitchFamily="2" charset="2"/>
                        </a:rPr>
                        <a:t>if</a:t>
                      </a:r>
                      <a:r>
                        <a:rPr lang="en-US" sz="1200" dirty="0">
                          <a:solidFill>
                            <a:srgbClr val="FF0000"/>
                          </a:solidFill>
                          <a:sym typeface="Wingdings" pitchFamily="2" charset="2"/>
                        </a:rPr>
                        <a:t> +, randomization to fulvestrant/palbociclib vs SOC ET</a:t>
                      </a:r>
                      <a:endParaRPr lang="en-US" sz="1200" dirty="0">
                        <a:solidFill>
                          <a:srgbClr val="FF0000"/>
                        </a:solidFill>
                      </a:endParaRPr>
                    </a:p>
                  </a:txBody>
                  <a:tcPr/>
                </a:tc>
                <a:extLst>
                  <a:ext uri="{0D108BD9-81ED-4DB2-BD59-A6C34878D82A}">
                    <a16:rowId xmlns:a16="http://schemas.microsoft.com/office/drawing/2014/main" val="2250025375"/>
                  </a:ext>
                </a:extLst>
              </a:tr>
              <a:tr h="370840">
                <a:tc>
                  <a:txBody>
                    <a:bodyPr/>
                    <a:lstStyle/>
                    <a:p>
                      <a:r>
                        <a:rPr lang="en-US" sz="1200" dirty="0"/>
                        <a:t>LEADER (NCT03285412)</a:t>
                      </a:r>
                    </a:p>
                  </a:txBody>
                  <a:tcPr/>
                </a:tc>
                <a:tc>
                  <a:txBody>
                    <a:bodyPr/>
                    <a:lstStyle/>
                    <a:p>
                      <a:r>
                        <a:rPr lang="en-US" sz="1200" dirty="0"/>
                        <a:t>Phase II</a:t>
                      </a:r>
                    </a:p>
                  </a:txBody>
                  <a:tcPr/>
                </a:tc>
                <a:tc>
                  <a:txBody>
                    <a:bodyPr/>
                    <a:lstStyle/>
                    <a:p>
                      <a:r>
                        <a:rPr lang="en-US" sz="1200" dirty="0"/>
                        <a:t>HR+</a:t>
                      </a:r>
                    </a:p>
                  </a:txBody>
                  <a:tcPr/>
                </a:tc>
                <a:tc>
                  <a:txBody>
                    <a:bodyPr/>
                    <a:lstStyle/>
                    <a:p>
                      <a:r>
                        <a:rPr lang="en-US" sz="1200" dirty="0"/>
                        <a:t>Patients with ctDNA+ in adjuvant phase</a:t>
                      </a:r>
                    </a:p>
                  </a:txBody>
                  <a:tcPr/>
                </a:tc>
                <a:tc>
                  <a:txBody>
                    <a:bodyPr/>
                    <a:lstStyle/>
                    <a:p>
                      <a:r>
                        <a:rPr lang="en-US" sz="1200" dirty="0">
                          <a:sym typeface="Wingdings" pitchFamily="2" charset="2"/>
                        </a:rPr>
                        <a:t>randomization to ET +- ribociclib</a:t>
                      </a:r>
                      <a:endParaRPr lang="en-US" sz="1200" dirty="0"/>
                    </a:p>
                  </a:txBody>
                  <a:tcPr/>
                </a:tc>
                <a:extLst>
                  <a:ext uri="{0D108BD9-81ED-4DB2-BD59-A6C34878D82A}">
                    <a16:rowId xmlns:a16="http://schemas.microsoft.com/office/drawing/2014/main" val="2906682054"/>
                  </a:ext>
                </a:extLst>
              </a:tr>
            </a:tbl>
          </a:graphicData>
        </a:graphic>
      </p:graphicFrame>
    </p:spTree>
    <p:extLst>
      <p:ext uri="{BB962C8B-B14F-4D97-AF65-F5344CB8AC3E}">
        <p14:creationId xmlns:p14="http://schemas.microsoft.com/office/powerpoint/2010/main" val="2933663925"/>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C32DD23-CB5A-879D-7CB0-2034F23C45AA}"/>
              </a:ext>
            </a:extLst>
          </p:cNvPr>
          <p:cNvSpPr>
            <a:spLocks noGrp="1"/>
          </p:cNvSpPr>
          <p:nvPr>
            <p:ph sz="half" idx="1"/>
          </p:nvPr>
        </p:nvSpPr>
        <p:spPr>
          <a:xfrm>
            <a:off x="695848" y="822961"/>
            <a:ext cx="7583993" cy="3628459"/>
          </a:xfrm>
        </p:spPr>
        <p:txBody>
          <a:bodyPr>
            <a:normAutofit fontScale="55000" lnSpcReduction="20000"/>
          </a:bodyPr>
          <a:lstStyle/>
          <a:p>
            <a:r>
              <a:rPr lang="en-US" sz="3600" dirty="0"/>
              <a:t>ctDNA dynamics during neoadjuvant therapy show promise in predicting response and stratifying risk for patients with residual disease</a:t>
            </a:r>
          </a:p>
          <a:p>
            <a:r>
              <a:rPr lang="en-US" sz="3600" dirty="0"/>
              <a:t>ctDNA detection after definitive therapy has high specificity for early and late distant relapse with lead time ranging from 3-4 to up to &gt;12 months</a:t>
            </a:r>
          </a:p>
          <a:p>
            <a:r>
              <a:rPr lang="en-US" sz="3600" dirty="0"/>
              <a:t>Assay sensitivity improving, but even with current assays, a portion of ctDNA negative patients will relapse</a:t>
            </a:r>
          </a:p>
          <a:p>
            <a:pPr lvl="1"/>
            <a:r>
              <a:rPr lang="en-US" sz="3200" dirty="0"/>
              <a:t>Utilizing a highly sensitive assay designed for MRD detection is crucial</a:t>
            </a:r>
          </a:p>
          <a:p>
            <a:r>
              <a:rPr lang="en-US" sz="3600" dirty="0"/>
              <a:t>Interventions for ctDNA positive/radiographic negative patients remain under investigation </a:t>
            </a:r>
            <a:r>
              <a:rPr lang="en-US" sz="3600" dirty="0">
                <a:sym typeface="Wingdings" pitchFamily="2" charset="2"/>
              </a:rPr>
              <a:t> whether metastatic relapse can be prevented in these patients </a:t>
            </a:r>
            <a:r>
              <a:rPr lang="en-US" sz="3600" b="1" dirty="0">
                <a:sym typeface="Wingdings" pitchFamily="2" charset="2"/>
              </a:rPr>
              <a:t>remains unknown</a:t>
            </a:r>
            <a:endParaRPr lang="en-US" sz="3600" dirty="0"/>
          </a:p>
        </p:txBody>
      </p:sp>
      <p:sp>
        <p:nvSpPr>
          <p:cNvPr id="2" name="Title 1">
            <a:extLst>
              <a:ext uri="{FF2B5EF4-FFF2-40B4-BE49-F238E27FC236}">
                <a16:creationId xmlns:a16="http://schemas.microsoft.com/office/drawing/2014/main" id="{E6A31840-3182-75BE-2445-878803DEA696}"/>
              </a:ext>
            </a:extLst>
          </p:cNvPr>
          <p:cNvSpPr>
            <a:spLocks noGrp="1"/>
          </p:cNvSpPr>
          <p:nvPr>
            <p:ph type="title"/>
          </p:nvPr>
        </p:nvSpPr>
        <p:spPr/>
        <p:txBody>
          <a:bodyPr/>
          <a:lstStyle/>
          <a:p>
            <a:r>
              <a:rPr lang="en-US" dirty="0"/>
              <a:t>Conclusions</a:t>
            </a:r>
          </a:p>
        </p:txBody>
      </p:sp>
    </p:spTree>
    <p:extLst>
      <p:ext uri="{BB962C8B-B14F-4D97-AF65-F5344CB8AC3E}">
        <p14:creationId xmlns:p14="http://schemas.microsoft.com/office/powerpoint/2010/main" val="4123917669"/>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241002"/>
            <a:ext cx="9144000" cy="695325"/>
          </a:xfrm>
          <a:prstGeom prst="rect">
            <a:avLst/>
          </a:prstGeom>
        </p:spPr>
        <p:txBody>
          <a:bodyPr/>
          <a:lstStyle/>
          <a:p>
            <a:r>
              <a:rPr lang="en-US" dirty="0">
                <a:solidFill>
                  <a:srgbClr val="002E51"/>
                </a:solidFill>
              </a:rPr>
              <a:t>ctDNA and breast cancer relapse</a:t>
            </a:r>
          </a:p>
        </p:txBody>
      </p:sp>
      <p:sp>
        <p:nvSpPr>
          <p:cNvPr id="8" name="TextBox 7">
            <a:extLst>
              <a:ext uri="{FF2B5EF4-FFF2-40B4-BE49-F238E27FC236}">
                <a16:creationId xmlns:a16="http://schemas.microsoft.com/office/drawing/2014/main" id="{0989D590-8F39-3509-A7A1-2DEFFC23C59F}"/>
              </a:ext>
            </a:extLst>
          </p:cNvPr>
          <p:cNvSpPr txBox="1"/>
          <p:nvPr/>
        </p:nvSpPr>
        <p:spPr>
          <a:xfrm>
            <a:off x="3614644" y="4602461"/>
            <a:ext cx="3041983" cy="461665"/>
          </a:xfrm>
          <a:prstGeom prst="rect">
            <a:avLst/>
          </a:prstGeom>
          <a:noFill/>
        </p:spPr>
        <p:txBody>
          <a:bodyPr wrap="square" rtlCol="0">
            <a:spAutoFit/>
          </a:bodyPr>
          <a:lstStyle/>
          <a:p>
            <a:r>
              <a:rPr lang="en-US" sz="1200" dirty="0"/>
              <a:t>Parsons et al, JAMA Oncology 2020 (PMID: 32170028)</a:t>
            </a:r>
          </a:p>
        </p:txBody>
      </p:sp>
      <p:sp>
        <p:nvSpPr>
          <p:cNvPr id="13" name="TextBox 12">
            <a:extLst>
              <a:ext uri="{FF2B5EF4-FFF2-40B4-BE49-F238E27FC236}">
                <a16:creationId xmlns:a16="http://schemas.microsoft.com/office/drawing/2014/main" id="{9461FF0D-B9D9-4E51-52A5-8D066FB36D2B}"/>
              </a:ext>
            </a:extLst>
          </p:cNvPr>
          <p:cNvSpPr txBox="1"/>
          <p:nvPr/>
        </p:nvSpPr>
        <p:spPr>
          <a:xfrm>
            <a:off x="124425" y="822325"/>
            <a:ext cx="7747366" cy="3539430"/>
          </a:xfrm>
          <a:prstGeom prst="rect">
            <a:avLst/>
          </a:prstGeom>
          <a:noFill/>
        </p:spPr>
        <p:txBody>
          <a:bodyPr wrap="square" rtlCol="0">
            <a:spAutoFit/>
          </a:bodyPr>
          <a:lstStyle/>
          <a:p>
            <a:r>
              <a:rPr lang="en-US" sz="1600" u="sng" dirty="0"/>
              <a:t>Parsons et al retrospective cohort study:</a:t>
            </a:r>
          </a:p>
          <a:p>
            <a:pPr marL="285750" indent="-285750">
              <a:buFont typeface="Arial" panose="020B0604020202020204" pitchFamily="34" charset="0"/>
              <a:buChar char="•"/>
            </a:pPr>
            <a:r>
              <a:rPr lang="en-US" sz="1600" dirty="0"/>
              <a:t>142 patients with non-metastatic HR+/HER2- breast cancer</a:t>
            </a:r>
          </a:p>
          <a:p>
            <a:pPr marL="285750" indent="-285750">
              <a:buFont typeface="Arial" panose="020B0604020202020204" pitchFamily="34" charset="0"/>
              <a:buChar char="•"/>
            </a:pPr>
            <a:r>
              <a:rPr lang="en-US" sz="1600" dirty="0">
                <a:sym typeface="Wingdings" pitchFamily="2" charset="2"/>
              </a:rPr>
              <a:t>ctDNA 3 months, 1 year, and in some cases 4 years after surgery</a:t>
            </a:r>
          </a:p>
          <a:p>
            <a:pPr marL="285750" indent="-285750">
              <a:buFont typeface="Arial" panose="020B0604020202020204" pitchFamily="34" charset="0"/>
              <a:buChar char="•"/>
            </a:pPr>
            <a:r>
              <a:rPr lang="en-US" sz="1600" dirty="0">
                <a:sym typeface="Wingdings" pitchFamily="2" charset="2"/>
              </a:rPr>
              <a:t>13y follow up</a:t>
            </a:r>
          </a:p>
          <a:p>
            <a:pPr marL="285750" indent="-285750">
              <a:buFont typeface="Arial" panose="020B0604020202020204" pitchFamily="34" charset="0"/>
              <a:buChar char="•"/>
            </a:pPr>
            <a:r>
              <a:rPr lang="en-US" sz="1600" dirty="0">
                <a:sym typeface="Wingdings" pitchFamily="2" charset="2"/>
              </a:rPr>
              <a:t>Tumor-informed assay</a:t>
            </a:r>
          </a:p>
          <a:p>
            <a:endParaRPr lang="en-US" sz="1600" dirty="0">
              <a:sym typeface="Wingdings" pitchFamily="2" charset="2"/>
            </a:endParaRPr>
          </a:p>
          <a:p>
            <a:r>
              <a:rPr lang="en-US" sz="1600" dirty="0">
                <a:sym typeface="Wingdings" pitchFamily="2" charset="2"/>
              </a:rPr>
              <a:t>3 months:</a:t>
            </a:r>
          </a:p>
          <a:p>
            <a:pPr marL="285750" indent="-285750">
              <a:buFont typeface="Arial" panose="020B0604020202020204" pitchFamily="34" charset="0"/>
              <a:buChar char="•"/>
            </a:pPr>
            <a:r>
              <a:rPr lang="en-US" sz="1600" dirty="0">
                <a:sym typeface="Wingdings" pitchFamily="2" charset="2"/>
              </a:rPr>
              <a:t>7/10 ctDNA+ relapsed</a:t>
            </a:r>
          </a:p>
          <a:p>
            <a:pPr marL="285750" indent="-285750">
              <a:buFont typeface="Arial" panose="020B0604020202020204" pitchFamily="34" charset="0"/>
              <a:buChar char="•"/>
            </a:pPr>
            <a:r>
              <a:rPr lang="en-US" sz="1600" dirty="0">
                <a:sym typeface="Wingdings" pitchFamily="2" charset="2"/>
              </a:rPr>
              <a:t>23/101 ctDNA- relapsed</a:t>
            </a:r>
          </a:p>
          <a:p>
            <a:endParaRPr lang="en-US" sz="1600" dirty="0">
              <a:sym typeface="Wingdings" pitchFamily="2" charset="2"/>
            </a:endParaRPr>
          </a:p>
          <a:p>
            <a:r>
              <a:rPr lang="en-US" sz="1600" dirty="0">
                <a:sym typeface="Wingdings" pitchFamily="2" charset="2"/>
              </a:rPr>
              <a:t>1 year: </a:t>
            </a:r>
          </a:p>
          <a:p>
            <a:pPr marL="285750" indent="-285750">
              <a:buFont typeface="Arial" panose="020B0604020202020204" pitchFamily="34" charset="0"/>
              <a:buChar char="•"/>
            </a:pPr>
            <a:r>
              <a:rPr lang="en-US" sz="1600" dirty="0">
                <a:sym typeface="Wingdings" pitchFamily="2" charset="2"/>
              </a:rPr>
              <a:t>6/6 ctDNA+ relapsed</a:t>
            </a:r>
          </a:p>
          <a:p>
            <a:pPr marL="285750" indent="-285750">
              <a:buFont typeface="Arial" panose="020B0604020202020204" pitchFamily="34" charset="0"/>
              <a:buChar char="•"/>
            </a:pPr>
            <a:r>
              <a:rPr lang="en-US" sz="1600" dirty="0">
                <a:sym typeface="Wingdings" pitchFamily="2" charset="2"/>
              </a:rPr>
              <a:t>26/116 ctDNA- relapsed</a:t>
            </a:r>
          </a:p>
          <a:p>
            <a:pPr marL="285750" indent="-285750">
              <a:buFont typeface="Arial" panose="020B0604020202020204" pitchFamily="34" charset="0"/>
              <a:buChar char="•"/>
            </a:pPr>
            <a:r>
              <a:rPr lang="en-US" sz="1600" dirty="0">
                <a:sym typeface="Wingdings" pitchFamily="2" charset="2"/>
              </a:rPr>
              <a:t>Median lead time 18.9 </a:t>
            </a:r>
            <a:r>
              <a:rPr lang="en-US" sz="1600" dirty="0" err="1">
                <a:sym typeface="Wingdings" pitchFamily="2" charset="2"/>
              </a:rPr>
              <a:t>mo</a:t>
            </a:r>
            <a:endParaRPr lang="en-US" sz="1600" dirty="0">
              <a:sym typeface="Wingdings" pitchFamily="2" charset="2"/>
            </a:endParaRPr>
          </a:p>
        </p:txBody>
      </p:sp>
      <p:pic>
        <p:nvPicPr>
          <p:cNvPr id="3" name="Picture 2" descr="A graph of a patient's growth&#10;&#10;Description automatically generated with medium confidence">
            <a:extLst>
              <a:ext uri="{FF2B5EF4-FFF2-40B4-BE49-F238E27FC236}">
                <a16:creationId xmlns:a16="http://schemas.microsoft.com/office/drawing/2014/main" id="{9308825B-536E-D035-3401-3FEC3D5AD1CD}"/>
              </a:ext>
            </a:extLst>
          </p:cNvPr>
          <p:cNvPicPr>
            <a:picLocks noChangeAspect="1"/>
          </p:cNvPicPr>
          <p:nvPr/>
        </p:nvPicPr>
        <p:blipFill>
          <a:blip r:embed="rId2"/>
          <a:stretch>
            <a:fillRect/>
          </a:stretch>
        </p:blipFill>
        <p:spPr>
          <a:xfrm>
            <a:off x="2940108" y="1876196"/>
            <a:ext cx="6203892" cy="2449742"/>
          </a:xfrm>
          <a:prstGeom prst="rect">
            <a:avLst/>
          </a:prstGeom>
        </p:spPr>
      </p:pic>
    </p:spTree>
    <p:extLst>
      <p:ext uri="{BB962C8B-B14F-4D97-AF65-F5344CB8AC3E}">
        <p14:creationId xmlns:p14="http://schemas.microsoft.com/office/powerpoint/2010/main" val="3338099461"/>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241002"/>
            <a:ext cx="9144000" cy="695325"/>
          </a:xfrm>
          <a:prstGeom prst="rect">
            <a:avLst/>
          </a:prstGeom>
        </p:spPr>
        <p:txBody>
          <a:bodyPr/>
          <a:lstStyle/>
          <a:p>
            <a:r>
              <a:rPr lang="en-US" dirty="0">
                <a:solidFill>
                  <a:srgbClr val="002E51"/>
                </a:solidFill>
              </a:rPr>
              <a:t>ctDNA and breast cancer relapse</a:t>
            </a:r>
          </a:p>
        </p:txBody>
      </p:sp>
      <p:sp>
        <p:nvSpPr>
          <p:cNvPr id="8" name="TextBox 7">
            <a:extLst>
              <a:ext uri="{FF2B5EF4-FFF2-40B4-BE49-F238E27FC236}">
                <a16:creationId xmlns:a16="http://schemas.microsoft.com/office/drawing/2014/main" id="{0989D590-8F39-3509-A7A1-2DEFFC23C59F}"/>
              </a:ext>
            </a:extLst>
          </p:cNvPr>
          <p:cNvSpPr txBox="1"/>
          <p:nvPr/>
        </p:nvSpPr>
        <p:spPr>
          <a:xfrm>
            <a:off x="3614644" y="4602461"/>
            <a:ext cx="3041983" cy="461665"/>
          </a:xfrm>
          <a:prstGeom prst="rect">
            <a:avLst/>
          </a:prstGeom>
          <a:noFill/>
        </p:spPr>
        <p:txBody>
          <a:bodyPr wrap="square" rtlCol="0">
            <a:spAutoFit/>
          </a:bodyPr>
          <a:lstStyle/>
          <a:p>
            <a:r>
              <a:rPr lang="en-US" sz="1200" dirty="0"/>
              <a:t>Parsons et al, JAMA Oncology 2020 (PMID: 32170028)</a:t>
            </a:r>
          </a:p>
        </p:txBody>
      </p:sp>
      <p:sp>
        <p:nvSpPr>
          <p:cNvPr id="13" name="TextBox 12">
            <a:extLst>
              <a:ext uri="{FF2B5EF4-FFF2-40B4-BE49-F238E27FC236}">
                <a16:creationId xmlns:a16="http://schemas.microsoft.com/office/drawing/2014/main" id="{9461FF0D-B9D9-4E51-52A5-8D066FB36D2B}"/>
              </a:ext>
            </a:extLst>
          </p:cNvPr>
          <p:cNvSpPr txBox="1"/>
          <p:nvPr/>
        </p:nvSpPr>
        <p:spPr>
          <a:xfrm>
            <a:off x="124425" y="822325"/>
            <a:ext cx="7747366" cy="3539430"/>
          </a:xfrm>
          <a:prstGeom prst="rect">
            <a:avLst/>
          </a:prstGeom>
          <a:noFill/>
        </p:spPr>
        <p:txBody>
          <a:bodyPr wrap="square" rtlCol="0">
            <a:spAutoFit/>
          </a:bodyPr>
          <a:lstStyle/>
          <a:p>
            <a:r>
              <a:rPr lang="en-US" sz="1600" u="sng" dirty="0"/>
              <a:t>Parsons et al retrospective cohort study:</a:t>
            </a:r>
          </a:p>
          <a:p>
            <a:pPr marL="285750" indent="-285750">
              <a:buFont typeface="Arial" panose="020B0604020202020204" pitchFamily="34" charset="0"/>
              <a:buChar char="•"/>
            </a:pPr>
            <a:r>
              <a:rPr lang="en-US" sz="1600" dirty="0"/>
              <a:t>142 patients with non-metastatic HR+/HER2- breast cancer</a:t>
            </a:r>
          </a:p>
          <a:p>
            <a:pPr marL="285750" indent="-285750">
              <a:buFont typeface="Arial" panose="020B0604020202020204" pitchFamily="34" charset="0"/>
              <a:buChar char="•"/>
            </a:pPr>
            <a:r>
              <a:rPr lang="en-US" sz="1600" dirty="0">
                <a:sym typeface="Wingdings" pitchFamily="2" charset="2"/>
              </a:rPr>
              <a:t>ctDNA 3 months, 1 year, and in some cases 4 years after surgery</a:t>
            </a:r>
          </a:p>
          <a:p>
            <a:pPr marL="285750" indent="-285750">
              <a:buFont typeface="Arial" panose="020B0604020202020204" pitchFamily="34" charset="0"/>
              <a:buChar char="•"/>
            </a:pPr>
            <a:r>
              <a:rPr lang="en-US" sz="1600" dirty="0">
                <a:sym typeface="Wingdings" pitchFamily="2" charset="2"/>
              </a:rPr>
              <a:t>13y follow up</a:t>
            </a:r>
          </a:p>
          <a:p>
            <a:pPr marL="285750" indent="-285750">
              <a:buFont typeface="Arial" panose="020B0604020202020204" pitchFamily="34" charset="0"/>
              <a:buChar char="•"/>
            </a:pPr>
            <a:r>
              <a:rPr lang="en-US" sz="1600" dirty="0">
                <a:sym typeface="Wingdings" pitchFamily="2" charset="2"/>
              </a:rPr>
              <a:t>Tumor-informed assay</a:t>
            </a:r>
          </a:p>
          <a:p>
            <a:endParaRPr lang="en-US" sz="1600" dirty="0">
              <a:sym typeface="Wingdings" pitchFamily="2" charset="2"/>
            </a:endParaRPr>
          </a:p>
          <a:p>
            <a:r>
              <a:rPr lang="en-US" sz="1600" dirty="0">
                <a:sym typeface="Wingdings" pitchFamily="2" charset="2"/>
              </a:rPr>
              <a:t>3 months:</a:t>
            </a:r>
          </a:p>
          <a:p>
            <a:pPr marL="285750" indent="-285750">
              <a:buFont typeface="Arial" panose="020B0604020202020204" pitchFamily="34" charset="0"/>
              <a:buChar char="•"/>
            </a:pPr>
            <a:r>
              <a:rPr lang="en-US" sz="1600" dirty="0">
                <a:sym typeface="Wingdings" pitchFamily="2" charset="2"/>
              </a:rPr>
              <a:t>7/10 ctDNA+ relapsed</a:t>
            </a:r>
          </a:p>
          <a:p>
            <a:pPr marL="285750" indent="-285750">
              <a:buFont typeface="Arial" panose="020B0604020202020204" pitchFamily="34" charset="0"/>
              <a:buChar char="•"/>
            </a:pPr>
            <a:r>
              <a:rPr lang="en-US" sz="1600" dirty="0">
                <a:sym typeface="Wingdings" pitchFamily="2" charset="2"/>
              </a:rPr>
              <a:t>23/101 ctDNA- relapsed</a:t>
            </a:r>
          </a:p>
          <a:p>
            <a:endParaRPr lang="en-US" sz="1600" dirty="0">
              <a:sym typeface="Wingdings" pitchFamily="2" charset="2"/>
            </a:endParaRPr>
          </a:p>
          <a:p>
            <a:r>
              <a:rPr lang="en-US" sz="1600" dirty="0">
                <a:sym typeface="Wingdings" pitchFamily="2" charset="2"/>
              </a:rPr>
              <a:t>1 year: </a:t>
            </a:r>
          </a:p>
          <a:p>
            <a:pPr marL="285750" indent="-285750">
              <a:buFont typeface="Arial" panose="020B0604020202020204" pitchFamily="34" charset="0"/>
              <a:buChar char="•"/>
            </a:pPr>
            <a:r>
              <a:rPr lang="en-US" sz="1600" dirty="0">
                <a:sym typeface="Wingdings" pitchFamily="2" charset="2"/>
              </a:rPr>
              <a:t>6/6 ctDNA+ relapsed</a:t>
            </a:r>
          </a:p>
          <a:p>
            <a:pPr marL="285750" indent="-285750">
              <a:buFont typeface="Arial" panose="020B0604020202020204" pitchFamily="34" charset="0"/>
              <a:buChar char="•"/>
            </a:pPr>
            <a:r>
              <a:rPr lang="en-US" sz="1600" dirty="0">
                <a:sym typeface="Wingdings" pitchFamily="2" charset="2"/>
              </a:rPr>
              <a:t>26/116 ctDNA- relapsed</a:t>
            </a:r>
          </a:p>
          <a:p>
            <a:pPr marL="285750" indent="-285750">
              <a:buFont typeface="Arial" panose="020B0604020202020204" pitchFamily="34" charset="0"/>
              <a:buChar char="•"/>
            </a:pPr>
            <a:r>
              <a:rPr lang="en-US" sz="1600" dirty="0">
                <a:sym typeface="Wingdings" pitchFamily="2" charset="2"/>
              </a:rPr>
              <a:t>Median lead time 18.9 </a:t>
            </a:r>
            <a:r>
              <a:rPr lang="en-US" sz="1600" dirty="0" err="1">
                <a:sym typeface="Wingdings" pitchFamily="2" charset="2"/>
              </a:rPr>
              <a:t>mo</a:t>
            </a:r>
            <a:endParaRPr lang="en-US" sz="1600" dirty="0">
              <a:sym typeface="Wingdings" pitchFamily="2" charset="2"/>
            </a:endParaRPr>
          </a:p>
        </p:txBody>
      </p:sp>
      <p:pic>
        <p:nvPicPr>
          <p:cNvPr id="2" name="Picture 1" descr="A graph of numbers and numbers&#10;&#10;Description automatically generated">
            <a:extLst>
              <a:ext uri="{FF2B5EF4-FFF2-40B4-BE49-F238E27FC236}">
                <a16:creationId xmlns:a16="http://schemas.microsoft.com/office/drawing/2014/main" id="{4B42E349-2299-14D8-FDA7-78162C567BA8}"/>
              </a:ext>
            </a:extLst>
          </p:cNvPr>
          <p:cNvPicPr>
            <a:picLocks noChangeAspect="1"/>
          </p:cNvPicPr>
          <p:nvPr/>
        </p:nvPicPr>
        <p:blipFill>
          <a:blip r:embed="rId2"/>
          <a:stretch>
            <a:fillRect/>
          </a:stretch>
        </p:blipFill>
        <p:spPr>
          <a:xfrm>
            <a:off x="4446515" y="1687067"/>
            <a:ext cx="2810125" cy="2638871"/>
          </a:xfrm>
          <a:prstGeom prst="rect">
            <a:avLst/>
          </a:prstGeom>
        </p:spPr>
      </p:pic>
    </p:spTree>
    <p:extLst>
      <p:ext uri="{BB962C8B-B14F-4D97-AF65-F5344CB8AC3E}">
        <p14:creationId xmlns:p14="http://schemas.microsoft.com/office/powerpoint/2010/main" val="12251909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6">
            <a:extLst>
              <a:ext uri="{FF2B5EF4-FFF2-40B4-BE49-F238E27FC236}">
                <a16:creationId xmlns:a16="http://schemas.microsoft.com/office/drawing/2014/main" id="{092D47A4-EF78-6E23-D637-97FA8D4496E1}"/>
              </a:ext>
            </a:extLst>
          </p:cNvPr>
          <p:cNvPicPr>
            <a:picLocks noGrp="1" noChangeAspect="1"/>
          </p:cNvPicPr>
          <p:nvPr>
            <p:ph sz="half" idx="2"/>
          </p:nvPr>
        </p:nvPicPr>
        <p:blipFill>
          <a:blip r:embed="rId3"/>
          <a:stretch>
            <a:fillRect/>
          </a:stretch>
        </p:blipFill>
        <p:spPr>
          <a:xfrm>
            <a:off x="181143" y="884904"/>
            <a:ext cx="3826619" cy="2848754"/>
          </a:xfrm>
        </p:spPr>
      </p:pic>
      <p:pic>
        <p:nvPicPr>
          <p:cNvPr id="5" name="Content Placeholder 4">
            <a:extLst>
              <a:ext uri="{FF2B5EF4-FFF2-40B4-BE49-F238E27FC236}">
                <a16:creationId xmlns:a16="http://schemas.microsoft.com/office/drawing/2014/main" id="{D4608377-1F11-63FD-C270-BD86F5EAC75E}"/>
              </a:ext>
            </a:extLst>
          </p:cNvPr>
          <p:cNvPicPr>
            <a:picLocks noGrp="1" noChangeAspect="1"/>
          </p:cNvPicPr>
          <p:nvPr>
            <p:ph sz="half" idx="1"/>
          </p:nvPr>
        </p:nvPicPr>
        <p:blipFill>
          <a:blip r:embed="rId4"/>
          <a:stretch>
            <a:fillRect/>
          </a:stretch>
        </p:blipFill>
        <p:spPr>
          <a:xfrm>
            <a:off x="4389531" y="884904"/>
            <a:ext cx="4109040" cy="3053173"/>
          </a:xfrm>
          <a:prstGeom prst="rect">
            <a:avLst/>
          </a:prstGeom>
        </p:spPr>
      </p:pic>
      <p:sp>
        <p:nvSpPr>
          <p:cNvPr id="21" name="Rectangle 20">
            <a:extLst>
              <a:ext uri="{FF2B5EF4-FFF2-40B4-BE49-F238E27FC236}">
                <a16:creationId xmlns:a16="http://schemas.microsoft.com/office/drawing/2014/main" id="{6244DFE9-DD2A-40DA-9AD2-79A6E2344EA8}"/>
              </a:ext>
            </a:extLst>
          </p:cNvPr>
          <p:cNvSpPr/>
          <p:nvPr/>
        </p:nvSpPr>
        <p:spPr bwMode="auto">
          <a:xfrm>
            <a:off x="6887497" y="2839065"/>
            <a:ext cx="1611074" cy="501445"/>
          </a:xfrm>
          <a:prstGeom prst="rect">
            <a:avLst/>
          </a:prstGeom>
          <a:noFill/>
          <a:ln w="1905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
        <p:nvSpPr>
          <p:cNvPr id="22" name="Rectangle 21">
            <a:extLst>
              <a:ext uri="{FF2B5EF4-FFF2-40B4-BE49-F238E27FC236}">
                <a16:creationId xmlns:a16="http://schemas.microsoft.com/office/drawing/2014/main" id="{6320E06F-B3F9-0D37-2A65-148C9B7A9B8F}"/>
              </a:ext>
            </a:extLst>
          </p:cNvPr>
          <p:cNvSpPr/>
          <p:nvPr/>
        </p:nvSpPr>
        <p:spPr bwMode="auto">
          <a:xfrm>
            <a:off x="247223" y="3487436"/>
            <a:ext cx="3705345" cy="246221"/>
          </a:xfrm>
          <a:prstGeom prst="rect">
            <a:avLst/>
          </a:prstGeom>
          <a:noFill/>
          <a:ln w="1905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
        <p:nvSpPr>
          <p:cNvPr id="23" name="TextBox 22">
            <a:extLst>
              <a:ext uri="{FF2B5EF4-FFF2-40B4-BE49-F238E27FC236}">
                <a16:creationId xmlns:a16="http://schemas.microsoft.com/office/drawing/2014/main" id="{729DEB00-B159-04D8-F895-0B053A1168A3}"/>
              </a:ext>
            </a:extLst>
          </p:cNvPr>
          <p:cNvSpPr txBox="1"/>
          <p:nvPr/>
        </p:nvSpPr>
        <p:spPr>
          <a:xfrm>
            <a:off x="3657599" y="4731488"/>
            <a:ext cx="3242931" cy="246221"/>
          </a:xfrm>
          <a:prstGeom prst="rect">
            <a:avLst/>
          </a:prstGeom>
          <a:noFill/>
        </p:spPr>
        <p:txBody>
          <a:bodyPr wrap="square" rtlCol="0">
            <a:spAutoFit/>
          </a:bodyPr>
          <a:lstStyle/>
          <a:p>
            <a:r>
              <a:rPr lang="en-US" sz="1000" dirty="0"/>
              <a:t>Hamilton et al, ASCO 2023 Abstract 501</a:t>
            </a:r>
          </a:p>
        </p:txBody>
      </p:sp>
      <p:sp>
        <p:nvSpPr>
          <p:cNvPr id="2" name="Title 3">
            <a:extLst>
              <a:ext uri="{FF2B5EF4-FFF2-40B4-BE49-F238E27FC236}">
                <a16:creationId xmlns:a16="http://schemas.microsoft.com/office/drawing/2014/main" id="{8D95E1BF-F421-26CA-5D30-DD3BD70D9DEE}"/>
              </a:ext>
            </a:extLst>
          </p:cNvPr>
          <p:cNvSpPr>
            <a:spLocks noGrp="1"/>
          </p:cNvSpPr>
          <p:nvPr>
            <p:ph type="title"/>
          </p:nvPr>
        </p:nvSpPr>
        <p:spPr>
          <a:xfrm>
            <a:off x="0" y="127465"/>
            <a:ext cx="9144000" cy="807256"/>
          </a:xfrm>
        </p:spPr>
        <p:txBody>
          <a:bodyPr/>
          <a:lstStyle/>
          <a:p>
            <a:r>
              <a:rPr lang="en-US" b="1" dirty="0"/>
              <a:t>Adjuvant abema in older cohort</a:t>
            </a:r>
          </a:p>
        </p:txBody>
      </p:sp>
    </p:spTree>
    <p:extLst>
      <p:ext uri="{BB962C8B-B14F-4D97-AF65-F5344CB8AC3E}">
        <p14:creationId xmlns:p14="http://schemas.microsoft.com/office/powerpoint/2010/main" val="4254098061"/>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Calendar&#10;&#10;Description automatically generated">
            <a:extLst>
              <a:ext uri="{FF2B5EF4-FFF2-40B4-BE49-F238E27FC236}">
                <a16:creationId xmlns:a16="http://schemas.microsoft.com/office/drawing/2014/main" id="{13805364-3E24-344F-95DA-43DA6B97ACDC}"/>
              </a:ext>
            </a:extLst>
          </p:cNvPr>
          <p:cNvPicPr>
            <a:picLocks noChangeAspect="1"/>
          </p:cNvPicPr>
          <p:nvPr/>
        </p:nvPicPr>
        <p:blipFill>
          <a:blip r:embed="rId3"/>
          <a:stretch>
            <a:fillRect/>
          </a:stretch>
        </p:blipFill>
        <p:spPr>
          <a:xfrm>
            <a:off x="7037" y="0"/>
            <a:ext cx="9129925" cy="5148263"/>
          </a:xfrm>
          <a:prstGeom prst="rect">
            <a:avLst/>
          </a:prstGeom>
        </p:spPr>
      </p:pic>
      <p:pic>
        <p:nvPicPr>
          <p:cNvPr id="15" name="Picture 14" descr="Graphical user interface, website&#10;&#10;Description automatically generated">
            <a:extLst>
              <a:ext uri="{FF2B5EF4-FFF2-40B4-BE49-F238E27FC236}">
                <a16:creationId xmlns:a16="http://schemas.microsoft.com/office/drawing/2014/main" id="{80727F13-6791-5B49-9F46-3BF36290A24F}"/>
              </a:ext>
            </a:extLst>
          </p:cNvPr>
          <p:cNvPicPr>
            <a:picLocks noChangeAspect="1"/>
          </p:cNvPicPr>
          <p:nvPr/>
        </p:nvPicPr>
        <p:blipFill>
          <a:blip r:embed="rId4"/>
          <a:stretch>
            <a:fillRect/>
          </a:stretch>
        </p:blipFill>
        <p:spPr>
          <a:xfrm>
            <a:off x="7037" y="0"/>
            <a:ext cx="9129925" cy="5148263"/>
          </a:xfrm>
          <a:prstGeom prst="rect">
            <a:avLst/>
          </a:prstGeom>
        </p:spPr>
      </p:pic>
      <p:pic>
        <p:nvPicPr>
          <p:cNvPr id="17" name="Picture 16" descr="Graphical user interface&#10;&#10;Description automatically generated">
            <a:extLst>
              <a:ext uri="{FF2B5EF4-FFF2-40B4-BE49-F238E27FC236}">
                <a16:creationId xmlns:a16="http://schemas.microsoft.com/office/drawing/2014/main" id="{F0D5927F-FD5E-F648-9B5E-758022183824}"/>
              </a:ext>
            </a:extLst>
          </p:cNvPr>
          <p:cNvPicPr>
            <a:picLocks noChangeAspect="1"/>
          </p:cNvPicPr>
          <p:nvPr/>
        </p:nvPicPr>
        <p:blipFill>
          <a:blip r:embed="rId5"/>
          <a:stretch>
            <a:fillRect/>
          </a:stretch>
        </p:blipFill>
        <p:spPr>
          <a:xfrm>
            <a:off x="7037" y="0"/>
            <a:ext cx="9129925" cy="5148263"/>
          </a:xfrm>
          <a:prstGeom prst="rect">
            <a:avLst/>
          </a:prstGeom>
        </p:spPr>
      </p:pic>
      <p:pic>
        <p:nvPicPr>
          <p:cNvPr id="10" name="Picture 9" descr="A picture containing text&#10;&#10;Description automatically generated">
            <a:extLst>
              <a:ext uri="{FF2B5EF4-FFF2-40B4-BE49-F238E27FC236}">
                <a16:creationId xmlns:a16="http://schemas.microsoft.com/office/drawing/2014/main" id="{9661F0C6-188E-94BA-269D-24C866E23D00}"/>
              </a:ext>
            </a:extLst>
          </p:cNvPr>
          <p:cNvPicPr>
            <a:picLocks noChangeAspect="1"/>
          </p:cNvPicPr>
          <p:nvPr/>
        </p:nvPicPr>
        <p:blipFill>
          <a:blip r:embed="rId6"/>
          <a:stretch>
            <a:fillRect/>
          </a:stretch>
        </p:blipFill>
        <p:spPr>
          <a:xfrm>
            <a:off x="-1" y="-12701"/>
            <a:ext cx="9129925" cy="5148263"/>
          </a:xfrm>
          <a:prstGeom prst="rect">
            <a:avLst/>
          </a:prstGeom>
        </p:spPr>
      </p:pic>
      <p:pic>
        <p:nvPicPr>
          <p:cNvPr id="5" name="Picture 4" descr="A picture containing graphical user interface&#10;&#10;Description automatically generated">
            <a:extLst>
              <a:ext uri="{FF2B5EF4-FFF2-40B4-BE49-F238E27FC236}">
                <a16:creationId xmlns:a16="http://schemas.microsoft.com/office/drawing/2014/main" id="{AE206FA8-1ADF-6743-B3FD-1CA6C6C63ADB}"/>
              </a:ext>
            </a:extLst>
          </p:cNvPr>
          <p:cNvPicPr>
            <a:picLocks noChangeAspect="1"/>
          </p:cNvPicPr>
          <p:nvPr/>
        </p:nvPicPr>
        <p:blipFill>
          <a:blip r:embed="rId7"/>
          <a:stretch>
            <a:fillRect/>
          </a:stretch>
        </p:blipFill>
        <p:spPr>
          <a:xfrm>
            <a:off x="-1" y="0"/>
            <a:ext cx="9144001" cy="5148263"/>
          </a:xfrm>
          <a:prstGeom prst="rect">
            <a:avLst/>
          </a:prstGeom>
        </p:spPr>
      </p:pic>
      <p:pic>
        <p:nvPicPr>
          <p:cNvPr id="3" name="Picture 2" descr="Graphical user interface&#10;&#10;Description automatically generated with medium confidence">
            <a:extLst>
              <a:ext uri="{FF2B5EF4-FFF2-40B4-BE49-F238E27FC236}">
                <a16:creationId xmlns:a16="http://schemas.microsoft.com/office/drawing/2014/main" id="{427AC361-97E5-DB4A-97F9-E64F0D38923A}"/>
              </a:ext>
            </a:extLst>
          </p:cNvPr>
          <p:cNvPicPr>
            <a:picLocks noChangeAspect="1"/>
          </p:cNvPicPr>
          <p:nvPr/>
        </p:nvPicPr>
        <p:blipFill>
          <a:blip r:embed="rId8"/>
          <a:stretch>
            <a:fillRect/>
          </a:stretch>
        </p:blipFill>
        <p:spPr>
          <a:xfrm>
            <a:off x="-1276" y="0"/>
            <a:ext cx="9129925" cy="5148263"/>
          </a:xfrm>
          <a:prstGeom prst="rect">
            <a:avLst/>
          </a:prstGeom>
        </p:spPr>
      </p:pic>
      <p:pic>
        <p:nvPicPr>
          <p:cNvPr id="13" name="Picture 12" descr="Graphical user interface&#10;&#10;Description automatically generated with medium confidence">
            <a:extLst>
              <a:ext uri="{FF2B5EF4-FFF2-40B4-BE49-F238E27FC236}">
                <a16:creationId xmlns:a16="http://schemas.microsoft.com/office/drawing/2014/main" id="{74C209DA-DD76-F140-A409-CC2B6FB9E380}"/>
              </a:ext>
            </a:extLst>
          </p:cNvPr>
          <p:cNvPicPr>
            <a:picLocks noChangeAspect="1"/>
          </p:cNvPicPr>
          <p:nvPr/>
        </p:nvPicPr>
        <p:blipFill>
          <a:blip r:embed="rId9"/>
          <a:stretch>
            <a:fillRect/>
          </a:stretch>
        </p:blipFill>
        <p:spPr>
          <a:xfrm>
            <a:off x="7037" y="91440"/>
            <a:ext cx="9129925" cy="5148263"/>
          </a:xfrm>
          <a:prstGeom prst="rect">
            <a:avLst/>
          </a:prstGeom>
        </p:spPr>
      </p:pic>
      <p:pic>
        <p:nvPicPr>
          <p:cNvPr id="11" name="Picture 10" descr="Graphical user interface&#10;&#10;Description automatically generated">
            <a:extLst>
              <a:ext uri="{FF2B5EF4-FFF2-40B4-BE49-F238E27FC236}">
                <a16:creationId xmlns:a16="http://schemas.microsoft.com/office/drawing/2014/main" id="{39E371F3-F698-6E43-9AF5-D6112EDA06B4}"/>
              </a:ext>
            </a:extLst>
          </p:cNvPr>
          <p:cNvPicPr>
            <a:picLocks noChangeAspect="1"/>
          </p:cNvPicPr>
          <p:nvPr/>
        </p:nvPicPr>
        <p:blipFill>
          <a:blip r:embed="rId10"/>
          <a:stretch>
            <a:fillRect/>
          </a:stretch>
        </p:blipFill>
        <p:spPr>
          <a:xfrm>
            <a:off x="7037" y="0"/>
            <a:ext cx="9129925" cy="5148263"/>
          </a:xfrm>
          <a:prstGeom prst="rect">
            <a:avLst/>
          </a:prstGeom>
        </p:spPr>
      </p:pic>
      <p:pic>
        <p:nvPicPr>
          <p:cNvPr id="7" name="Picture 6" descr="Graphical user interface&#10;&#10;Description automatically generated">
            <a:extLst>
              <a:ext uri="{FF2B5EF4-FFF2-40B4-BE49-F238E27FC236}">
                <a16:creationId xmlns:a16="http://schemas.microsoft.com/office/drawing/2014/main" id="{7ECE685F-3E0A-4645-A5C2-F8F5499F2E26}"/>
              </a:ext>
            </a:extLst>
          </p:cNvPr>
          <p:cNvPicPr>
            <a:picLocks noChangeAspect="1"/>
          </p:cNvPicPr>
          <p:nvPr/>
        </p:nvPicPr>
        <p:blipFill>
          <a:blip r:embed="rId11"/>
          <a:stretch>
            <a:fillRect/>
          </a:stretch>
        </p:blipFill>
        <p:spPr>
          <a:xfrm>
            <a:off x="14075" y="12699"/>
            <a:ext cx="9129925" cy="5148263"/>
          </a:xfrm>
          <a:prstGeom prst="rect">
            <a:avLst/>
          </a:prstGeom>
        </p:spPr>
      </p:pic>
      <p:sp>
        <p:nvSpPr>
          <p:cNvPr id="36" name="Rectangle 35">
            <a:extLst>
              <a:ext uri="{FF2B5EF4-FFF2-40B4-BE49-F238E27FC236}">
                <a16:creationId xmlns:a16="http://schemas.microsoft.com/office/drawing/2014/main" id="{A1B4A22D-3BE1-6C4A-812D-C1E98E8E0076}"/>
              </a:ext>
            </a:extLst>
          </p:cNvPr>
          <p:cNvSpPr/>
          <p:nvPr/>
        </p:nvSpPr>
        <p:spPr>
          <a:xfrm>
            <a:off x="0" y="2586831"/>
            <a:ext cx="9129925" cy="461665"/>
          </a:xfrm>
          <a:prstGeom prst="rect">
            <a:avLst/>
          </a:prstGeom>
        </p:spPr>
        <p:txBody>
          <a:bodyPr wrap="square">
            <a:spAutoFit/>
          </a:bodyPr>
          <a:lstStyle/>
          <a:p>
            <a:pPr algn="ctr"/>
            <a:r>
              <a:rPr lang="en-US" spc="600" dirty="0">
                <a:solidFill>
                  <a:srgbClr val="FFC82C"/>
                </a:solidFill>
                <a:latin typeface="Corporate A Medium" panose="02000503080000020004" pitchFamily="2" charset="0"/>
              </a:rPr>
              <a:t>BREAST CANCER</a:t>
            </a:r>
          </a:p>
        </p:txBody>
      </p:sp>
      <p:sp>
        <p:nvSpPr>
          <p:cNvPr id="37" name="Rectangle 36">
            <a:extLst>
              <a:ext uri="{FF2B5EF4-FFF2-40B4-BE49-F238E27FC236}">
                <a16:creationId xmlns:a16="http://schemas.microsoft.com/office/drawing/2014/main" id="{136DD176-7412-694A-BED9-E7F8655CA44E}"/>
              </a:ext>
            </a:extLst>
          </p:cNvPr>
          <p:cNvSpPr/>
          <p:nvPr/>
        </p:nvSpPr>
        <p:spPr>
          <a:xfrm>
            <a:off x="14075" y="3073896"/>
            <a:ext cx="9129925" cy="338554"/>
          </a:xfrm>
          <a:prstGeom prst="rect">
            <a:avLst/>
          </a:prstGeom>
        </p:spPr>
        <p:txBody>
          <a:bodyPr wrap="square">
            <a:spAutoFit/>
          </a:bodyPr>
          <a:lstStyle/>
          <a:p>
            <a:pPr algn="ctr"/>
            <a:r>
              <a:rPr lang="en-US" sz="1600" dirty="0">
                <a:solidFill>
                  <a:schemeClr val="bg1"/>
                </a:solidFill>
                <a:latin typeface="Corporate S Demi" panose="02020500000000000000" pitchFamily="18" charset="0"/>
              </a:rPr>
              <a:t>Wednesday, September 6, 2023</a:t>
            </a:r>
          </a:p>
        </p:txBody>
      </p:sp>
      <p:pic>
        <p:nvPicPr>
          <p:cNvPr id="12" name="Picture 11" descr="A close-up of a sign&#10;&#10;Description automatically generated">
            <a:extLst>
              <a:ext uri="{FF2B5EF4-FFF2-40B4-BE49-F238E27FC236}">
                <a16:creationId xmlns:a16="http://schemas.microsoft.com/office/drawing/2014/main" id="{77D2A35E-AD54-5045-1134-B3EC9C729BA1}"/>
              </a:ext>
            </a:extLst>
          </p:cNvPr>
          <p:cNvPicPr>
            <a:picLocks noChangeAspect="1"/>
          </p:cNvPicPr>
          <p:nvPr/>
        </p:nvPicPr>
        <p:blipFill>
          <a:blip r:embed="rId12"/>
          <a:stretch>
            <a:fillRect/>
          </a:stretch>
        </p:blipFill>
        <p:spPr>
          <a:xfrm>
            <a:off x="7044266" y="4416631"/>
            <a:ext cx="1790699" cy="444928"/>
          </a:xfrm>
          <a:prstGeom prst="rect">
            <a:avLst/>
          </a:prstGeom>
        </p:spPr>
      </p:pic>
    </p:spTree>
    <p:extLst>
      <p:ext uri="{BB962C8B-B14F-4D97-AF65-F5344CB8AC3E}">
        <p14:creationId xmlns:p14="http://schemas.microsoft.com/office/powerpoint/2010/main" val="626535417"/>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8EEF7AF-6A94-3467-9E5C-4C62013A92FB}"/>
              </a:ext>
            </a:extLst>
          </p:cNvPr>
          <p:cNvSpPr>
            <a:spLocks noGrp="1"/>
          </p:cNvSpPr>
          <p:nvPr>
            <p:ph idx="1"/>
          </p:nvPr>
        </p:nvSpPr>
        <p:spPr>
          <a:xfrm>
            <a:off x="685800" y="1850444"/>
            <a:ext cx="7772400" cy="692257"/>
          </a:xfrm>
        </p:spPr>
        <p:txBody>
          <a:bodyPr/>
          <a:lstStyle/>
          <a:p>
            <a:pPr marL="0" indent="0" algn="ctr">
              <a:buNone/>
            </a:pPr>
            <a:r>
              <a:rPr lang="en-US" sz="3600" b="1" dirty="0">
                <a:solidFill>
                  <a:srgbClr val="003767"/>
                </a:solidFill>
              </a:rPr>
              <a:t>Discussion / Q&amp;A</a:t>
            </a:r>
          </a:p>
        </p:txBody>
      </p:sp>
    </p:spTree>
    <p:extLst>
      <p:ext uri="{BB962C8B-B14F-4D97-AF65-F5344CB8AC3E}">
        <p14:creationId xmlns:p14="http://schemas.microsoft.com/office/powerpoint/2010/main" val="755301471"/>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0" y="127465"/>
            <a:ext cx="9144000" cy="786936"/>
          </a:xfrm>
        </p:spPr>
        <p:txBody>
          <a:bodyPr/>
          <a:lstStyle/>
          <a:p>
            <a:r>
              <a:rPr lang="en-US" sz="3200" b="1" dirty="0">
                <a:solidFill>
                  <a:srgbClr val="002E51"/>
                </a:solidFill>
              </a:rPr>
              <a:t>Thank You to Our Supporters</a:t>
            </a:r>
          </a:p>
        </p:txBody>
      </p:sp>
      <p:pic>
        <p:nvPicPr>
          <p:cNvPr id="5" name="Picture 4" descr="A close up of a logo&#10;&#10;Description automatically generated">
            <a:extLst>
              <a:ext uri="{FF2B5EF4-FFF2-40B4-BE49-F238E27FC236}">
                <a16:creationId xmlns:a16="http://schemas.microsoft.com/office/drawing/2014/main" id="{3FFE3891-B651-E7E9-7ACD-512B218C955B}"/>
              </a:ext>
            </a:extLst>
          </p:cNvPr>
          <p:cNvPicPr>
            <a:picLocks noChangeAspect="1"/>
          </p:cNvPicPr>
          <p:nvPr/>
        </p:nvPicPr>
        <p:blipFill>
          <a:blip r:embed="rId3"/>
          <a:stretch>
            <a:fillRect/>
          </a:stretch>
        </p:blipFill>
        <p:spPr>
          <a:xfrm>
            <a:off x="718457" y="914401"/>
            <a:ext cx="3506841" cy="951468"/>
          </a:xfrm>
          <a:prstGeom prst="rect">
            <a:avLst/>
          </a:prstGeom>
        </p:spPr>
      </p:pic>
      <p:pic>
        <p:nvPicPr>
          <p:cNvPr id="7" name="Picture 6" descr="A black and grey logo&#10;&#10;Description automatically generated">
            <a:extLst>
              <a:ext uri="{FF2B5EF4-FFF2-40B4-BE49-F238E27FC236}">
                <a16:creationId xmlns:a16="http://schemas.microsoft.com/office/drawing/2014/main" id="{2F6C2F6C-43E6-FF37-23B1-EDD7CEA0098B}"/>
              </a:ext>
            </a:extLst>
          </p:cNvPr>
          <p:cNvPicPr>
            <a:picLocks noChangeAspect="1"/>
          </p:cNvPicPr>
          <p:nvPr/>
        </p:nvPicPr>
        <p:blipFill>
          <a:blip r:embed="rId4"/>
          <a:stretch>
            <a:fillRect/>
          </a:stretch>
        </p:blipFill>
        <p:spPr>
          <a:xfrm>
            <a:off x="4932611" y="992974"/>
            <a:ext cx="3227834" cy="909012"/>
          </a:xfrm>
          <a:prstGeom prst="rect">
            <a:avLst/>
          </a:prstGeom>
        </p:spPr>
      </p:pic>
      <p:pic>
        <p:nvPicPr>
          <p:cNvPr id="9" name="Picture 8" descr="A blue and white logo&#10;&#10;Description automatically generated">
            <a:extLst>
              <a:ext uri="{FF2B5EF4-FFF2-40B4-BE49-F238E27FC236}">
                <a16:creationId xmlns:a16="http://schemas.microsoft.com/office/drawing/2014/main" id="{6C80D0F5-A8F0-80CD-D51F-ED4AD3637B0D}"/>
              </a:ext>
            </a:extLst>
          </p:cNvPr>
          <p:cNvPicPr>
            <a:picLocks noChangeAspect="1"/>
          </p:cNvPicPr>
          <p:nvPr/>
        </p:nvPicPr>
        <p:blipFill>
          <a:blip r:embed="rId5"/>
          <a:stretch>
            <a:fillRect/>
          </a:stretch>
        </p:blipFill>
        <p:spPr>
          <a:xfrm>
            <a:off x="718457" y="2186295"/>
            <a:ext cx="3159358" cy="1633619"/>
          </a:xfrm>
          <a:prstGeom prst="rect">
            <a:avLst/>
          </a:prstGeom>
        </p:spPr>
      </p:pic>
      <p:pic>
        <p:nvPicPr>
          <p:cNvPr id="11" name="Picture 10" descr="A black and blue logo&#10;&#10;Description automatically generated">
            <a:extLst>
              <a:ext uri="{FF2B5EF4-FFF2-40B4-BE49-F238E27FC236}">
                <a16:creationId xmlns:a16="http://schemas.microsoft.com/office/drawing/2014/main" id="{7F5DA714-A7BE-37F2-CAD3-2266D568D708}"/>
              </a:ext>
            </a:extLst>
          </p:cNvPr>
          <p:cNvPicPr>
            <a:picLocks noChangeAspect="1"/>
          </p:cNvPicPr>
          <p:nvPr/>
        </p:nvPicPr>
        <p:blipFill>
          <a:blip r:embed="rId6"/>
          <a:stretch>
            <a:fillRect/>
          </a:stretch>
        </p:blipFill>
        <p:spPr>
          <a:xfrm>
            <a:off x="4633473" y="2392207"/>
            <a:ext cx="3972646" cy="1113711"/>
          </a:xfrm>
          <a:prstGeom prst="rect">
            <a:avLst/>
          </a:prstGeom>
        </p:spPr>
      </p:pic>
    </p:spTree>
    <p:extLst>
      <p:ext uri="{BB962C8B-B14F-4D97-AF65-F5344CB8AC3E}">
        <p14:creationId xmlns:p14="http://schemas.microsoft.com/office/powerpoint/2010/main" val="3386502181"/>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73BB96-06F6-84B7-61A6-F008D7A1CE5F}"/>
              </a:ext>
            </a:extLst>
          </p:cNvPr>
          <p:cNvSpPr>
            <a:spLocks noGrp="1"/>
          </p:cNvSpPr>
          <p:nvPr>
            <p:ph type="title"/>
          </p:nvPr>
        </p:nvSpPr>
        <p:spPr>
          <a:xfrm>
            <a:off x="-186431" y="1459114"/>
            <a:ext cx="9144000" cy="1006507"/>
          </a:xfrm>
        </p:spPr>
        <p:txBody>
          <a:bodyPr/>
          <a:lstStyle/>
          <a:p>
            <a:r>
              <a:rPr lang="en-US" b="1" dirty="0"/>
              <a:t>Program Chair</a:t>
            </a:r>
          </a:p>
        </p:txBody>
      </p:sp>
      <p:pic>
        <p:nvPicPr>
          <p:cNvPr id="3" name="Picture 2">
            <a:extLst>
              <a:ext uri="{FF2B5EF4-FFF2-40B4-BE49-F238E27FC236}">
                <a16:creationId xmlns:a16="http://schemas.microsoft.com/office/drawing/2014/main" id="{99B7CFF6-DB4F-C6AE-4076-D1B67D8F05CF}"/>
              </a:ext>
            </a:extLst>
          </p:cNvPr>
          <p:cNvPicPr>
            <a:picLocks noChangeAspect="1"/>
          </p:cNvPicPr>
          <p:nvPr/>
        </p:nvPicPr>
        <p:blipFill>
          <a:blip r:embed="rId2"/>
          <a:stretch>
            <a:fillRect/>
          </a:stretch>
        </p:blipFill>
        <p:spPr>
          <a:xfrm>
            <a:off x="-60233" y="-53788"/>
            <a:ext cx="9582898" cy="4341479"/>
          </a:xfrm>
          <a:prstGeom prst="rect">
            <a:avLst/>
          </a:prstGeom>
        </p:spPr>
      </p:pic>
    </p:spTree>
    <p:extLst>
      <p:ext uri="{BB962C8B-B14F-4D97-AF65-F5344CB8AC3E}">
        <p14:creationId xmlns:p14="http://schemas.microsoft.com/office/powerpoint/2010/main" val="1366155086"/>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18959E4-3A53-240C-60A9-8A4FC54BE153}"/>
              </a:ext>
            </a:extLst>
          </p:cNvPr>
          <p:cNvPicPr>
            <a:picLocks noChangeAspect="1"/>
          </p:cNvPicPr>
          <p:nvPr/>
        </p:nvPicPr>
        <p:blipFill>
          <a:blip r:embed="rId2"/>
          <a:stretch>
            <a:fillRect/>
          </a:stretch>
        </p:blipFill>
        <p:spPr>
          <a:xfrm>
            <a:off x="-76840" y="-1"/>
            <a:ext cx="9239056" cy="4318427"/>
          </a:xfrm>
          <a:prstGeom prst="rect">
            <a:avLst/>
          </a:prstGeom>
        </p:spPr>
      </p:pic>
    </p:spTree>
    <p:extLst>
      <p:ext uri="{BB962C8B-B14F-4D97-AF65-F5344CB8AC3E}">
        <p14:creationId xmlns:p14="http://schemas.microsoft.com/office/powerpoint/2010/main" val="276142614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a:xfrm>
            <a:off x="1371600" y="1168401"/>
            <a:ext cx="6400800" cy="2915920"/>
          </a:xfrm>
        </p:spPr>
        <p:txBody>
          <a:bodyPr/>
          <a:lstStyle/>
          <a:p>
            <a:pPr marL="285750" indent="-285750" algn="l">
              <a:lnSpc>
                <a:spcPct val="150000"/>
              </a:lnSpc>
              <a:buFont typeface="Arial" panose="020B0604020202020204" pitchFamily="34" charset="0"/>
              <a:buChar char="•"/>
            </a:pPr>
            <a:r>
              <a:rPr lang="en-US" sz="1400" dirty="0"/>
              <a:t>IDFS and DDFS continued to deepen after 2 years off active abema</a:t>
            </a:r>
          </a:p>
          <a:p>
            <a:pPr marL="285750" indent="-285750" algn="l">
              <a:lnSpc>
                <a:spcPct val="150000"/>
              </a:lnSpc>
              <a:buFont typeface="Arial" panose="020B0604020202020204" pitchFamily="34" charset="0"/>
              <a:buChar char="•"/>
            </a:pPr>
            <a:r>
              <a:rPr lang="en-US" sz="1400" dirty="0"/>
              <a:t>OS data ultimately needed</a:t>
            </a:r>
          </a:p>
          <a:p>
            <a:pPr marL="285750" indent="-285750" algn="l">
              <a:lnSpc>
                <a:spcPct val="150000"/>
              </a:lnSpc>
              <a:buFont typeface="Arial" panose="020B0604020202020204" pitchFamily="34" charset="0"/>
              <a:buChar char="•"/>
            </a:pPr>
            <a:r>
              <a:rPr lang="en-US" sz="1400" dirty="0"/>
              <a:t>Ki67 predictive but not prognostic of abema benefit, indication removed</a:t>
            </a:r>
          </a:p>
          <a:p>
            <a:pPr marL="285750" indent="-285750" algn="l">
              <a:lnSpc>
                <a:spcPct val="150000"/>
              </a:lnSpc>
              <a:buFont typeface="Arial" panose="020B0604020202020204" pitchFamily="34" charset="0"/>
              <a:buChar char="•"/>
            </a:pPr>
            <a:r>
              <a:rPr lang="en-US" sz="1400" dirty="0"/>
              <a:t>Older derive similar benefit from abemaciclib</a:t>
            </a:r>
          </a:p>
          <a:p>
            <a:pPr marL="742950" lvl="1" indent="-285750" algn="l">
              <a:lnSpc>
                <a:spcPct val="150000"/>
              </a:lnSpc>
              <a:buFont typeface="Arial" panose="020B0604020202020204" pitchFamily="34" charset="0"/>
              <a:buChar char="•"/>
            </a:pPr>
            <a:r>
              <a:rPr lang="en-US" sz="1000" dirty="0"/>
              <a:t>More G3 diarrhea and fatigue </a:t>
            </a:r>
          </a:p>
          <a:p>
            <a:pPr marL="742950" lvl="1" indent="-285750" algn="l">
              <a:lnSpc>
                <a:spcPct val="150000"/>
              </a:lnSpc>
              <a:buFont typeface="Arial" panose="020B0604020202020204" pitchFamily="34" charset="0"/>
              <a:buChar char="•"/>
            </a:pPr>
            <a:r>
              <a:rPr lang="en-US" sz="1000" dirty="0"/>
              <a:t>Patient education and Closer monitoring</a:t>
            </a:r>
          </a:p>
          <a:p>
            <a:pPr marL="285750" indent="-285750" algn="l">
              <a:lnSpc>
                <a:spcPct val="150000"/>
              </a:lnSpc>
              <a:buFont typeface="Arial" panose="020B0604020202020204" pitchFamily="34" charset="0"/>
              <a:buChar char="•"/>
            </a:pPr>
            <a:r>
              <a:rPr lang="en-US" sz="1400" dirty="0"/>
              <a:t>Dose reductions did not impact iDFS</a:t>
            </a:r>
            <a:r>
              <a:rPr lang="en-US" sz="1000" dirty="0">
                <a:solidFill>
                  <a:srgbClr val="002E51"/>
                </a:solidFill>
              </a:rPr>
              <a:t> </a:t>
            </a:r>
            <a:endParaRPr lang="en-US" sz="1400" dirty="0"/>
          </a:p>
        </p:txBody>
      </p:sp>
      <p:sp>
        <p:nvSpPr>
          <p:cNvPr id="4" name="Title 3"/>
          <p:cNvSpPr>
            <a:spLocks noGrp="1"/>
          </p:cNvSpPr>
          <p:nvPr>
            <p:ph type="title"/>
          </p:nvPr>
        </p:nvSpPr>
        <p:spPr>
          <a:xfrm>
            <a:off x="0" y="127465"/>
            <a:ext cx="9144000" cy="807256"/>
          </a:xfrm>
        </p:spPr>
        <p:txBody>
          <a:bodyPr/>
          <a:lstStyle/>
          <a:p>
            <a:r>
              <a:rPr lang="en-US" b="1" dirty="0"/>
              <a:t>monarchE Takeaways</a:t>
            </a:r>
          </a:p>
        </p:txBody>
      </p:sp>
    </p:spTree>
    <p:extLst>
      <p:ext uri="{BB962C8B-B14F-4D97-AF65-F5344CB8AC3E}">
        <p14:creationId xmlns:p14="http://schemas.microsoft.com/office/powerpoint/2010/main" val="43123979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9139D76-36FB-8FFA-FE55-AF082FA139B4}"/>
              </a:ext>
            </a:extLst>
          </p:cNvPr>
          <p:cNvPicPr>
            <a:picLocks noChangeAspect="1"/>
          </p:cNvPicPr>
          <p:nvPr/>
        </p:nvPicPr>
        <p:blipFill>
          <a:blip r:embed="rId3"/>
          <a:stretch>
            <a:fillRect/>
          </a:stretch>
        </p:blipFill>
        <p:spPr>
          <a:xfrm>
            <a:off x="687676" y="531093"/>
            <a:ext cx="8006497" cy="2839428"/>
          </a:xfrm>
          <a:prstGeom prst="rect">
            <a:avLst/>
          </a:prstGeom>
        </p:spPr>
      </p:pic>
      <p:sp>
        <p:nvSpPr>
          <p:cNvPr id="6" name="TextBox 5">
            <a:extLst>
              <a:ext uri="{FF2B5EF4-FFF2-40B4-BE49-F238E27FC236}">
                <a16:creationId xmlns:a16="http://schemas.microsoft.com/office/drawing/2014/main" id="{5B34A8B6-AB48-40DA-B8D9-0D112A1BA219}"/>
              </a:ext>
            </a:extLst>
          </p:cNvPr>
          <p:cNvSpPr txBox="1"/>
          <p:nvPr/>
        </p:nvSpPr>
        <p:spPr>
          <a:xfrm>
            <a:off x="3814431" y="4749849"/>
            <a:ext cx="4609214" cy="246221"/>
          </a:xfrm>
          <a:prstGeom prst="rect">
            <a:avLst/>
          </a:prstGeom>
          <a:noFill/>
        </p:spPr>
        <p:txBody>
          <a:bodyPr wrap="square">
            <a:spAutoFit/>
          </a:bodyPr>
          <a:lstStyle/>
          <a:p>
            <a:r>
              <a:rPr lang="en-US" sz="1000" dirty="0">
                <a:latin typeface="+mn-lt"/>
              </a:rPr>
              <a:t>Slamon et al ASCO LBA 500, 2023</a:t>
            </a:r>
          </a:p>
        </p:txBody>
      </p:sp>
    </p:spTree>
    <p:extLst>
      <p:ext uri="{BB962C8B-B14F-4D97-AF65-F5344CB8AC3E}">
        <p14:creationId xmlns:p14="http://schemas.microsoft.com/office/powerpoint/2010/main" val="354598649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916CF568-8B22-B605-B15C-3B7CD450918C}"/>
              </a:ext>
            </a:extLst>
          </p:cNvPr>
          <p:cNvPicPr>
            <a:picLocks noChangeAspect="1"/>
          </p:cNvPicPr>
          <p:nvPr/>
        </p:nvPicPr>
        <p:blipFill>
          <a:blip r:embed="rId3"/>
          <a:stretch>
            <a:fillRect/>
          </a:stretch>
        </p:blipFill>
        <p:spPr>
          <a:xfrm>
            <a:off x="893786" y="403593"/>
            <a:ext cx="7356427" cy="3309820"/>
          </a:xfrm>
          <a:prstGeom prst="rect">
            <a:avLst/>
          </a:prstGeom>
        </p:spPr>
      </p:pic>
      <p:sp>
        <p:nvSpPr>
          <p:cNvPr id="11" name="Rectangle 10">
            <a:extLst>
              <a:ext uri="{FF2B5EF4-FFF2-40B4-BE49-F238E27FC236}">
                <a16:creationId xmlns:a16="http://schemas.microsoft.com/office/drawing/2014/main" id="{52A5FBDE-3916-AF2A-540F-CACD4919C45B}"/>
              </a:ext>
            </a:extLst>
          </p:cNvPr>
          <p:cNvSpPr/>
          <p:nvPr/>
        </p:nvSpPr>
        <p:spPr bwMode="auto">
          <a:xfrm>
            <a:off x="669850" y="3089759"/>
            <a:ext cx="3434317" cy="914400"/>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
        <p:nvSpPr>
          <p:cNvPr id="14" name="TextBox 13">
            <a:extLst>
              <a:ext uri="{FF2B5EF4-FFF2-40B4-BE49-F238E27FC236}">
                <a16:creationId xmlns:a16="http://schemas.microsoft.com/office/drawing/2014/main" id="{96DE47A5-CECC-9C89-BAFD-ED2321D504C9}"/>
              </a:ext>
            </a:extLst>
          </p:cNvPr>
          <p:cNvSpPr txBox="1"/>
          <p:nvPr/>
        </p:nvSpPr>
        <p:spPr>
          <a:xfrm>
            <a:off x="3814431" y="4749849"/>
            <a:ext cx="4609214" cy="246221"/>
          </a:xfrm>
          <a:prstGeom prst="rect">
            <a:avLst/>
          </a:prstGeom>
          <a:noFill/>
        </p:spPr>
        <p:txBody>
          <a:bodyPr wrap="square">
            <a:spAutoFit/>
          </a:bodyPr>
          <a:lstStyle/>
          <a:p>
            <a:r>
              <a:rPr lang="en-US" sz="1000" dirty="0">
                <a:latin typeface="+mn-lt"/>
              </a:rPr>
              <a:t>Slamon et al ASCO LBA 500, 2023</a:t>
            </a:r>
          </a:p>
        </p:txBody>
      </p:sp>
    </p:spTree>
    <p:extLst>
      <p:ext uri="{BB962C8B-B14F-4D97-AF65-F5344CB8AC3E}">
        <p14:creationId xmlns:p14="http://schemas.microsoft.com/office/powerpoint/2010/main" val="123768985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28ABA3F-22C5-CA6E-3050-351151A218FB}"/>
              </a:ext>
            </a:extLst>
          </p:cNvPr>
          <p:cNvPicPr>
            <a:picLocks noChangeAspect="1"/>
          </p:cNvPicPr>
          <p:nvPr/>
        </p:nvPicPr>
        <p:blipFill>
          <a:blip r:embed="rId3"/>
          <a:stretch>
            <a:fillRect/>
          </a:stretch>
        </p:blipFill>
        <p:spPr>
          <a:xfrm>
            <a:off x="679283" y="414134"/>
            <a:ext cx="7785433" cy="3797150"/>
          </a:xfrm>
          <a:prstGeom prst="rect">
            <a:avLst/>
          </a:prstGeom>
        </p:spPr>
      </p:pic>
      <p:sp>
        <p:nvSpPr>
          <p:cNvPr id="7" name="TextBox 6">
            <a:extLst>
              <a:ext uri="{FF2B5EF4-FFF2-40B4-BE49-F238E27FC236}">
                <a16:creationId xmlns:a16="http://schemas.microsoft.com/office/drawing/2014/main" id="{227997FE-5075-872B-41DB-6EE2193AB8C5}"/>
              </a:ext>
            </a:extLst>
          </p:cNvPr>
          <p:cNvSpPr txBox="1"/>
          <p:nvPr/>
        </p:nvSpPr>
        <p:spPr>
          <a:xfrm>
            <a:off x="3814431" y="4749849"/>
            <a:ext cx="4609214" cy="246221"/>
          </a:xfrm>
          <a:prstGeom prst="rect">
            <a:avLst/>
          </a:prstGeom>
          <a:noFill/>
        </p:spPr>
        <p:txBody>
          <a:bodyPr wrap="square">
            <a:spAutoFit/>
          </a:bodyPr>
          <a:lstStyle/>
          <a:p>
            <a:r>
              <a:rPr lang="en-US" sz="1000" dirty="0">
                <a:latin typeface="+mn-lt"/>
              </a:rPr>
              <a:t>Slamon et al ASCO LBA 500, 2023</a:t>
            </a:r>
          </a:p>
        </p:txBody>
      </p:sp>
      <p:sp>
        <p:nvSpPr>
          <p:cNvPr id="8" name="Rectangle 7">
            <a:extLst>
              <a:ext uri="{FF2B5EF4-FFF2-40B4-BE49-F238E27FC236}">
                <a16:creationId xmlns:a16="http://schemas.microsoft.com/office/drawing/2014/main" id="{524211D0-127D-993C-AAC3-415AC9CBC16A}"/>
              </a:ext>
            </a:extLst>
          </p:cNvPr>
          <p:cNvSpPr/>
          <p:nvPr/>
        </p:nvSpPr>
        <p:spPr bwMode="auto">
          <a:xfrm>
            <a:off x="478465" y="3710763"/>
            <a:ext cx="7785433" cy="574158"/>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Tree>
    <p:extLst>
      <p:ext uri="{BB962C8B-B14F-4D97-AF65-F5344CB8AC3E}">
        <p14:creationId xmlns:p14="http://schemas.microsoft.com/office/powerpoint/2010/main" val="60693405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Content Placeholder 2">
            <a:extLst>
              <a:ext uri="{FF2B5EF4-FFF2-40B4-BE49-F238E27FC236}">
                <a16:creationId xmlns:a16="http://schemas.microsoft.com/office/drawing/2014/main" id="{FDD444F8-A588-DE32-2BE1-F677B4C1308B}"/>
              </a:ext>
            </a:extLst>
          </p:cNvPr>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4230269" y="853148"/>
            <a:ext cx="4662469" cy="26970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extBox 3">
            <a:extLst>
              <a:ext uri="{FF2B5EF4-FFF2-40B4-BE49-F238E27FC236}">
                <a16:creationId xmlns:a16="http://schemas.microsoft.com/office/drawing/2014/main" id="{B652A029-41D3-7B7B-7719-9B09E3838D6A}"/>
              </a:ext>
            </a:extLst>
          </p:cNvPr>
          <p:cNvSpPr txBox="1"/>
          <p:nvPr/>
        </p:nvSpPr>
        <p:spPr>
          <a:xfrm>
            <a:off x="3814431" y="4749849"/>
            <a:ext cx="4609214" cy="246221"/>
          </a:xfrm>
          <a:prstGeom prst="rect">
            <a:avLst/>
          </a:prstGeom>
          <a:noFill/>
        </p:spPr>
        <p:txBody>
          <a:bodyPr wrap="square">
            <a:spAutoFit/>
          </a:bodyPr>
          <a:lstStyle/>
          <a:p>
            <a:r>
              <a:rPr lang="en-US" sz="1000" dirty="0">
                <a:latin typeface="+mn-lt"/>
              </a:rPr>
              <a:t>Slamon et al ASCO LBA 500, 2023</a:t>
            </a:r>
          </a:p>
        </p:txBody>
      </p:sp>
      <p:graphicFrame>
        <p:nvGraphicFramePr>
          <p:cNvPr id="5" name="Table 10">
            <a:extLst>
              <a:ext uri="{FF2B5EF4-FFF2-40B4-BE49-F238E27FC236}">
                <a16:creationId xmlns:a16="http://schemas.microsoft.com/office/drawing/2014/main" id="{DF457472-1E71-46E2-1ABE-5151E43FB150}"/>
              </a:ext>
            </a:extLst>
          </p:cNvPr>
          <p:cNvGraphicFramePr>
            <a:graphicFrameLocks noGrp="1"/>
          </p:cNvGraphicFramePr>
          <p:nvPr>
            <p:extLst>
              <p:ext uri="{D42A27DB-BD31-4B8C-83A1-F6EECF244321}">
                <p14:modId xmlns:p14="http://schemas.microsoft.com/office/powerpoint/2010/main" val="1660709822"/>
              </p:ext>
            </p:extLst>
          </p:nvPr>
        </p:nvGraphicFramePr>
        <p:xfrm>
          <a:off x="360018" y="601482"/>
          <a:ext cx="3785191" cy="3200400"/>
        </p:xfrm>
        <a:graphic>
          <a:graphicData uri="http://schemas.openxmlformats.org/drawingml/2006/table">
            <a:tbl>
              <a:tblPr firstRow="1" bandRow="1">
                <a:effectLst/>
                <a:tableStyleId>{5C22544A-7EE6-4342-B048-85BDC9FD1C3A}</a:tableStyleId>
              </a:tblPr>
              <a:tblGrid>
                <a:gridCol w="1856670">
                  <a:extLst>
                    <a:ext uri="{9D8B030D-6E8A-4147-A177-3AD203B41FA5}">
                      <a16:colId xmlns:a16="http://schemas.microsoft.com/office/drawing/2014/main" val="1693100719"/>
                    </a:ext>
                  </a:extLst>
                </a:gridCol>
                <a:gridCol w="1100390">
                  <a:extLst>
                    <a:ext uri="{9D8B030D-6E8A-4147-A177-3AD203B41FA5}">
                      <a16:colId xmlns:a16="http://schemas.microsoft.com/office/drawing/2014/main" val="265442415"/>
                    </a:ext>
                  </a:extLst>
                </a:gridCol>
                <a:gridCol w="828131">
                  <a:extLst>
                    <a:ext uri="{9D8B030D-6E8A-4147-A177-3AD203B41FA5}">
                      <a16:colId xmlns:a16="http://schemas.microsoft.com/office/drawing/2014/main" val="1009156240"/>
                    </a:ext>
                  </a:extLst>
                </a:gridCol>
              </a:tblGrid>
              <a:tr h="158853">
                <a:tc gridSpan="3">
                  <a:txBody>
                    <a:bodyPr/>
                    <a:lstStyle/>
                    <a:p>
                      <a:pPr algn="ctr"/>
                      <a:r>
                        <a:rPr lang="en-US" sz="1200" b="0" u="none" dirty="0">
                          <a:ln>
                            <a:noFill/>
                          </a:ln>
                          <a:solidFill>
                            <a:schemeClr val="tx1"/>
                          </a:solidFill>
                        </a:rPr>
                        <a:t>Baseline Patient Characteristic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sz="1200" b="0" dirty="0">
                        <a:solidFill>
                          <a:schemeClr val="tx1"/>
                        </a:solidFill>
                      </a:endParaRPr>
                    </a:p>
                  </a:txBody>
                  <a:tcPr>
                    <a:solidFill>
                      <a:schemeClr val="bg1"/>
                    </a:solidFill>
                  </a:tcPr>
                </a:tc>
                <a:tc hMerge="1">
                  <a:txBody>
                    <a:bodyPr/>
                    <a:lstStyle/>
                    <a:p>
                      <a:endParaRPr lang="en-US" sz="1200" b="0" dirty="0">
                        <a:solidFill>
                          <a:schemeClr val="tx1"/>
                        </a:solidFill>
                      </a:endParaRPr>
                    </a:p>
                  </a:txBody>
                  <a:tcPr>
                    <a:solidFill>
                      <a:schemeClr val="bg1"/>
                    </a:solidFill>
                  </a:tcPr>
                </a:tc>
                <a:extLst>
                  <a:ext uri="{0D108BD9-81ED-4DB2-BD59-A6C34878D82A}">
                    <a16:rowId xmlns:a16="http://schemas.microsoft.com/office/drawing/2014/main" val="1276472091"/>
                  </a:ext>
                </a:extLst>
              </a:tr>
              <a:tr h="0">
                <a:tc>
                  <a:txBody>
                    <a:bodyPr/>
                    <a:lstStyle/>
                    <a:p>
                      <a:endParaRPr lang="en-US" sz="1200" b="0" dirty="0">
                        <a:ln>
                          <a:noFill/>
                        </a:ln>
                        <a:solidFill>
                          <a:schemeClr val="tx1"/>
                        </a:solidFill>
                      </a:endParaRPr>
                    </a:p>
                  </a:txBody>
                  <a:tcPr>
                    <a:lnT w="12700" cap="flat" cmpd="sng" algn="ctr">
                      <a:noFill/>
                      <a:prstDash val="solid"/>
                      <a:round/>
                      <a:headEnd type="none" w="med" len="med"/>
                      <a:tailEnd type="none" w="med" len="med"/>
                    </a:lnT>
                    <a:solidFill>
                      <a:schemeClr val="bg1">
                        <a:lumMod val="95000"/>
                      </a:schemeClr>
                    </a:solidFill>
                  </a:tcPr>
                </a:tc>
                <a:tc>
                  <a:txBody>
                    <a:bodyPr/>
                    <a:lstStyle/>
                    <a:p>
                      <a:r>
                        <a:rPr lang="en-US" sz="1200" b="0" dirty="0">
                          <a:ln>
                            <a:noFill/>
                          </a:ln>
                          <a:solidFill>
                            <a:schemeClr val="tx1"/>
                          </a:solidFill>
                        </a:rPr>
                        <a:t>Ribo + AI</a:t>
                      </a:r>
                    </a:p>
                  </a:txBody>
                  <a:tcPr>
                    <a:lnT w="12700" cap="flat" cmpd="sng" algn="ctr">
                      <a:noFill/>
                      <a:prstDash val="solid"/>
                      <a:round/>
                      <a:headEnd type="none" w="med" len="med"/>
                      <a:tailEnd type="none" w="med" len="med"/>
                    </a:lnT>
                    <a:solidFill>
                      <a:schemeClr val="bg1">
                        <a:lumMod val="95000"/>
                      </a:schemeClr>
                    </a:solidFill>
                  </a:tcPr>
                </a:tc>
                <a:tc>
                  <a:txBody>
                    <a:bodyPr/>
                    <a:lstStyle/>
                    <a:p>
                      <a:r>
                        <a:rPr lang="en-US" sz="1200" b="0" dirty="0">
                          <a:ln>
                            <a:noFill/>
                          </a:ln>
                          <a:solidFill>
                            <a:schemeClr val="tx1"/>
                          </a:solidFill>
                        </a:rPr>
                        <a:t>AI alone</a:t>
                      </a:r>
                    </a:p>
                  </a:txBody>
                  <a:tcPr>
                    <a:lnT w="12700" cap="flat" cmpd="sng" algn="ctr">
                      <a:no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4230804838"/>
                  </a:ext>
                </a:extLst>
              </a:tr>
              <a:tr h="1052401">
                <a:tc>
                  <a:txBody>
                    <a:bodyPr/>
                    <a:lstStyle/>
                    <a:p>
                      <a:r>
                        <a:rPr lang="en-US" sz="1200" b="0" dirty="0">
                          <a:ln>
                            <a:noFill/>
                          </a:ln>
                          <a:solidFill>
                            <a:schemeClr val="tx1"/>
                          </a:solidFill>
                        </a:rPr>
                        <a:t>Postmenopausal</a:t>
                      </a:r>
                    </a:p>
                    <a:p>
                      <a:endParaRPr lang="en-US" sz="1200" b="0" dirty="0">
                        <a:ln>
                          <a:noFill/>
                        </a:ln>
                        <a:solidFill>
                          <a:schemeClr val="tx1"/>
                        </a:solidFill>
                      </a:endParaRPr>
                    </a:p>
                    <a:p>
                      <a:r>
                        <a:rPr lang="en-US" sz="1200" b="0" dirty="0">
                          <a:ln>
                            <a:noFill/>
                          </a:ln>
                          <a:solidFill>
                            <a:schemeClr val="tx1"/>
                          </a:solidFill>
                        </a:rPr>
                        <a:t>Stage IIA</a:t>
                      </a:r>
                    </a:p>
                    <a:p>
                      <a:r>
                        <a:rPr lang="en-US" sz="1200" b="0" dirty="0">
                          <a:ln>
                            <a:noFill/>
                          </a:ln>
                          <a:solidFill>
                            <a:schemeClr val="tx1"/>
                          </a:solidFill>
                        </a:rPr>
                        <a:t>Stage IIB</a:t>
                      </a:r>
                    </a:p>
                    <a:p>
                      <a:r>
                        <a:rPr lang="en-US" sz="1200" b="0" dirty="0">
                          <a:ln>
                            <a:noFill/>
                          </a:ln>
                          <a:solidFill>
                            <a:schemeClr val="tx1"/>
                          </a:solidFill>
                        </a:rPr>
                        <a:t>Stage III</a:t>
                      </a:r>
                    </a:p>
                    <a:p>
                      <a:endParaRPr lang="en-US" sz="1200" b="0" dirty="0">
                        <a:ln>
                          <a:noFill/>
                        </a:ln>
                        <a:solidFill>
                          <a:schemeClr val="tx1"/>
                        </a:solidFill>
                      </a:endParaRPr>
                    </a:p>
                    <a:p>
                      <a:r>
                        <a:rPr lang="en-US" sz="1200" b="0" dirty="0">
                          <a:ln>
                            <a:noFill/>
                          </a:ln>
                          <a:solidFill>
                            <a:schemeClr val="tx1"/>
                          </a:solidFill>
                        </a:rPr>
                        <a:t>Nx</a:t>
                      </a:r>
                    </a:p>
                    <a:p>
                      <a:r>
                        <a:rPr lang="en-US" sz="1200" b="0" dirty="0">
                          <a:ln>
                            <a:noFill/>
                          </a:ln>
                          <a:solidFill>
                            <a:schemeClr val="tx1"/>
                          </a:solidFill>
                        </a:rPr>
                        <a:t>N0</a:t>
                      </a:r>
                    </a:p>
                    <a:p>
                      <a:r>
                        <a:rPr lang="en-US" sz="1200" b="0" dirty="0">
                          <a:ln>
                            <a:noFill/>
                          </a:ln>
                          <a:solidFill>
                            <a:schemeClr val="tx1"/>
                          </a:solidFill>
                        </a:rPr>
                        <a:t>N1</a:t>
                      </a:r>
                    </a:p>
                    <a:p>
                      <a:r>
                        <a:rPr lang="en-US" sz="1200" b="0" dirty="0">
                          <a:ln>
                            <a:noFill/>
                          </a:ln>
                          <a:solidFill>
                            <a:schemeClr val="tx1"/>
                          </a:solidFill>
                        </a:rPr>
                        <a:t>N2/N3</a:t>
                      </a:r>
                    </a:p>
                    <a:p>
                      <a:endParaRPr lang="en-US" sz="1200" b="0" dirty="0">
                        <a:ln>
                          <a:noFill/>
                        </a:ln>
                        <a:solidFill>
                          <a:schemeClr val="tx1"/>
                        </a:solidFill>
                      </a:endParaRPr>
                    </a:p>
                    <a:p>
                      <a:r>
                        <a:rPr lang="en-US" sz="1200" b="0" dirty="0">
                          <a:ln>
                            <a:noFill/>
                          </a:ln>
                          <a:solidFill>
                            <a:schemeClr val="tx1"/>
                          </a:solidFill>
                        </a:rPr>
                        <a:t>Prior ET</a:t>
                      </a:r>
                    </a:p>
                    <a:p>
                      <a:endParaRPr lang="en-US" sz="1200" b="0" dirty="0">
                        <a:ln>
                          <a:noFill/>
                        </a:ln>
                        <a:solidFill>
                          <a:schemeClr val="tx1"/>
                        </a:solidFill>
                      </a:endParaRPr>
                    </a:p>
                    <a:p>
                      <a:r>
                        <a:rPr lang="en-US" sz="1200" b="0" dirty="0">
                          <a:ln>
                            <a:noFill/>
                          </a:ln>
                          <a:solidFill>
                            <a:schemeClr val="tx1"/>
                          </a:solidFill>
                        </a:rPr>
                        <a:t>Prior (neo)adj CT</a:t>
                      </a:r>
                    </a:p>
                  </a:txBody>
                  <a:tcPr>
                    <a:solidFill>
                      <a:schemeClr val="bg1">
                        <a:lumMod val="95000"/>
                      </a:schemeClr>
                    </a:solidFill>
                  </a:tcPr>
                </a:tc>
                <a:tc>
                  <a:txBody>
                    <a:bodyPr/>
                    <a:lstStyle/>
                    <a:p>
                      <a:r>
                        <a:rPr lang="en-US" sz="1200" b="0" dirty="0">
                          <a:ln>
                            <a:noFill/>
                          </a:ln>
                          <a:solidFill>
                            <a:schemeClr val="tx1"/>
                          </a:solidFill>
                        </a:rPr>
                        <a:t>56%</a:t>
                      </a:r>
                    </a:p>
                    <a:p>
                      <a:endParaRPr lang="en-US" sz="1200" b="0" dirty="0">
                        <a:ln>
                          <a:noFill/>
                        </a:ln>
                        <a:solidFill>
                          <a:schemeClr val="tx1"/>
                        </a:solidFill>
                      </a:endParaRPr>
                    </a:p>
                    <a:p>
                      <a:r>
                        <a:rPr lang="en-US" sz="1200" b="0" dirty="0">
                          <a:ln>
                            <a:noFill/>
                          </a:ln>
                          <a:solidFill>
                            <a:schemeClr val="tx1"/>
                          </a:solidFill>
                        </a:rPr>
                        <a:t>19%</a:t>
                      </a:r>
                    </a:p>
                    <a:p>
                      <a:r>
                        <a:rPr lang="en-US" sz="1200" b="0" dirty="0">
                          <a:ln>
                            <a:noFill/>
                          </a:ln>
                          <a:solidFill>
                            <a:schemeClr val="tx1"/>
                          </a:solidFill>
                        </a:rPr>
                        <a:t>21%</a:t>
                      </a:r>
                    </a:p>
                    <a:p>
                      <a:r>
                        <a:rPr lang="en-US" sz="1200" b="0" dirty="0">
                          <a:ln>
                            <a:noFill/>
                          </a:ln>
                          <a:solidFill>
                            <a:schemeClr val="tx1"/>
                          </a:solidFill>
                        </a:rPr>
                        <a:t>60%</a:t>
                      </a:r>
                    </a:p>
                    <a:p>
                      <a:endParaRPr lang="en-US" sz="1200" b="0" dirty="0">
                        <a:ln>
                          <a:noFill/>
                        </a:ln>
                        <a:solidFill>
                          <a:schemeClr val="tx1"/>
                        </a:solidFill>
                      </a:endParaRPr>
                    </a:p>
                    <a:p>
                      <a:r>
                        <a:rPr lang="en-US" sz="1200" b="0" dirty="0">
                          <a:ln>
                            <a:noFill/>
                          </a:ln>
                          <a:solidFill>
                            <a:schemeClr val="tx1"/>
                          </a:solidFill>
                        </a:rPr>
                        <a:t>11%</a:t>
                      </a:r>
                    </a:p>
                    <a:p>
                      <a:r>
                        <a:rPr lang="en-US" sz="1200" b="0" dirty="0">
                          <a:ln>
                            <a:noFill/>
                          </a:ln>
                          <a:solidFill>
                            <a:schemeClr val="tx1"/>
                          </a:solidFill>
                        </a:rPr>
                        <a:t>27%</a:t>
                      </a:r>
                    </a:p>
                    <a:p>
                      <a:r>
                        <a:rPr lang="en-US" sz="1200" b="0" dirty="0">
                          <a:ln>
                            <a:noFill/>
                          </a:ln>
                          <a:solidFill>
                            <a:schemeClr val="tx1"/>
                          </a:solidFill>
                        </a:rPr>
                        <a:t>41%</a:t>
                      </a:r>
                    </a:p>
                    <a:p>
                      <a:r>
                        <a:rPr lang="en-US" sz="1200" b="0" dirty="0">
                          <a:ln>
                            <a:noFill/>
                          </a:ln>
                          <a:solidFill>
                            <a:schemeClr val="tx1"/>
                          </a:solidFill>
                        </a:rPr>
                        <a:t>19%</a:t>
                      </a:r>
                    </a:p>
                    <a:p>
                      <a:endParaRPr lang="en-US" sz="1200" b="0" dirty="0">
                        <a:ln>
                          <a:noFill/>
                        </a:ln>
                        <a:solidFill>
                          <a:schemeClr val="tx1"/>
                        </a:solidFill>
                      </a:endParaRPr>
                    </a:p>
                    <a:p>
                      <a:r>
                        <a:rPr lang="en-US" sz="1200" b="0" dirty="0">
                          <a:ln>
                            <a:noFill/>
                          </a:ln>
                          <a:solidFill>
                            <a:schemeClr val="tx1"/>
                          </a:solidFill>
                        </a:rPr>
                        <a:t>72%</a:t>
                      </a:r>
                    </a:p>
                    <a:p>
                      <a:endParaRPr lang="en-US" sz="1200" b="0" dirty="0">
                        <a:ln>
                          <a:noFill/>
                        </a:ln>
                        <a:solidFill>
                          <a:schemeClr val="tx1"/>
                        </a:solidFill>
                      </a:endParaRPr>
                    </a:p>
                    <a:p>
                      <a:r>
                        <a:rPr lang="en-US" sz="1200" b="0" dirty="0">
                          <a:ln>
                            <a:noFill/>
                          </a:ln>
                          <a:solidFill>
                            <a:schemeClr val="tx1"/>
                          </a:solidFill>
                        </a:rPr>
                        <a:t>88%</a:t>
                      </a:r>
                    </a:p>
                  </a:txBody>
                  <a:tcPr>
                    <a:solidFill>
                      <a:schemeClr val="bg1">
                        <a:lumMod val="95000"/>
                      </a:schemeClr>
                    </a:solidFill>
                  </a:tcPr>
                </a:tc>
                <a:tc>
                  <a:txBody>
                    <a:bodyPr/>
                    <a:lstStyle/>
                    <a:p>
                      <a:r>
                        <a:rPr lang="en-US" sz="1200" b="0" dirty="0">
                          <a:ln>
                            <a:noFill/>
                          </a:ln>
                          <a:solidFill>
                            <a:schemeClr val="tx1"/>
                          </a:solidFill>
                        </a:rPr>
                        <a:t>56%</a:t>
                      </a:r>
                    </a:p>
                    <a:p>
                      <a:endParaRPr lang="en-US" sz="1200" b="0" dirty="0">
                        <a:ln>
                          <a:noFill/>
                        </a:ln>
                        <a:solidFill>
                          <a:schemeClr val="tx1"/>
                        </a:solidFill>
                      </a:endParaRPr>
                    </a:p>
                    <a:p>
                      <a:r>
                        <a:rPr lang="en-US" sz="1200" b="0" dirty="0">
                          <a:ln>
                            <a:noFill/>
                          </a:ln>
                          <a:solidFill>
                            <a:schemeClr val="tx1"/>
                          </a:solidFill>
                        </a:rPr>
                        <a:t>20%</a:t>
                      </a:r>
                    </a:p>
                    <a:p>
                      <a:r>
                        <a:rPr lang="en-US" sz="1200" b="0" dirty="0">
                          <a:ln>
                            <a:noFill/>
                          </a:ln>
                          <a:solidFill>
                            <a:schemeClr val="tx1"/>
                          </a:solidFill>
                        </a:rPr>
                        <a:t>20%</a:t>
                      </a:r>
                    </a:p>
                    <a:p>
                      <a:r>
                        <a:rPr lang="en-US" sz="1200" b="0" dirty="0">
                          <a:ln>
                            <a:noFill/>
                          </a:ln>
                          <a:solidFill>
                            <a:schemeClr val="tx1"/>
                          </a:solidFill>
                        </a:rPr>
                        <a:t>59%</a:t>
                      </a:r>
                    </a:p>
                    <a:p>
                      <a:endParaRPr lang="en-US" sz="1200" b="0" dirty="0">
                        <a:ln>
                          <a:noFill/>
                        </a:ln>
                        <a:solidFill>
                          <a:schemeClr val="tx1"/>
                        </a:solidFill>
                      </a:endParaRPr>
                    </a:p>
                    <a:p>
                      <a:r>
                        <a:rPr lang="en-US" sz="1200" b="0" dirty="0">
                          <a:ln>
                            <a:noFill/>
                          </a:ln>
                          <a:solidFill>
                            <a:schemeClr val="tx1"/>
                          </a:solidFill>
                        </a:rPr>
                        <a:t>10%</a:t>
                      </a:r>
                    </a:p>
                    <a:p>
                      <a:r>
                        <a:rPr lang="en-US" sz="1200" b="0" dirty="0">
                          <a:ln>
                            <a:noFill/>
                          </a:ln>
                          <a:solidFill>
                            <a:schemeClr val="tx1"/>
                          </a:solidFill>
                        </a:rPr>
                        <a:t>29%</a:t>
                      </a:r>
                    </a:p>
                    <a:p>
                      <a:r>
                        <a:rPr lang="en-US" sz="1200" b="0" dirty="0">
                          <a:ln>
                            <a:noFill/>
                          </a:ln>
                          <a:solidFill>
                            <a:schemeClr val="tx1"/>
                          </a:solidFill>
                        </a:rPr>
                        <a:t>41%</a:t>
                      </a:r>
                    </a:p>
                    <a:p>
                      <a:r>
                        <a:rPr lang="en-US" sz="1200" b="0" dirty="0">
                          <a:ln>
                            <a:noFill/>
                          </a:ln>
                          <a:solidFill>
                            <a:schemeClr val="tx1"/>
                          </a:solidFill>
                        </a:rPr>
                        <a:t>18%</a:t>
                      </a:r>
                    </a:p>
                    <a:p>
                      <a:endParaRPr lang="en-US" sz="1200" b="0" dirty="0">
                        <a:ln>
                          <a:noFill/>
                        </a:ln>
                        <a:solidFill>
                          <a:schemeClr val="tx1"/>
                        </a:solidFill>
                      </a:endParaRPr>
                    </a:p>
                    <a:p>
                      <a:r>
                        <a:rPr lang="en-US" sz="1200" b="0" dirty="0">
                          <a:ln>
                            <a:noFill/>
                          </a:ln>
                          <a:solidFill>
                            <a:schemeClr val="tx1"/>
                          </a:solidFill>
                        </a:rPr>
                        <a:t>71%</a:t>
                      </a:r>
                    </a:p>
                    <a:p>
                      <a:endParaRPr lang="en-US" sz="1200" b="0" dirty="0">
                        <a:ln>
                          <a:noFill/>
                        </a:ln>
                        <a:solidFill>
                          <a:schemeClr val="tx1"/>
                        </a:solidFill>
                      </a:endParaRPr>
                    </a:p>
                    <a:p>
                      <a:r>
                        <a:rPr lang="en-US" sz="1200" b="0" dirty="0">
                          <a:ln>
                            <a:noFill/>
                          </a:ln>
                          <a:solidFill>
                            <a:schemeClr val="tx1"/>
                          </a:solidFill>
                        </a:rPr>
                        <a:t>88%</a:t>
                      </a:r>
                    </a:p>
                  </a:txBody>
                  <a:tcPr>
                    <a:solidFill>
                      <a:schemeClr val="bg1">
                        <a:lumMod val="95000"/>
                      </a:schemeClr>
                    </a:solidFill>
                  </a:tcPr>
                </a:tc>
                <a:extLst>
                  <a:ext uri="{0D108BD9-81ED-4DB2-BD59-A6C34878D82A}">
                    <a16:rowId xmlns:a16="http://schemas.microsoft.com/office/drawing/2014/main" val="1673806607"/>
                  </a:ext>
                </a:extLst>
              </a:tr>
            </a:tbl>
          </a:graphicData>
        </a:graphic>
      </p:graphicFrame>
    </p:spTree>
    <p:extLst>
      <p:ext uri="{BB962C8B-B14F-4D97-AF65-F5344CB8AC3E}">
        <p14:creationId xmlns:p14="http://schemas.microsoft.com/office/powerpoint/2010/main" val="216526096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a:extLst>
              <a:ext uri="{FF2B5EF4-FFF2-40B4-BE49-F238E27FC236}">
                <a16:creationId xmlns:a16="http://schemas.microsoft.com/office/drawing/2014/main" id="{3F0FAD86-94AE-5E1B-C8F3-989CE60DDDE8}"/>
              </a:ext>
            </a:extLst>
          </p:cNvPr>
          <p:cNvPicPr>
            <a:picLocks noGrp="1" noChangeAspect="1"/>
          </p:cNvPicPr>
          <p:nvPr>
            <p:ph sz="half" idx="1"/>
          </p:nvPr>
        </p:nvPicPr>
        <p:blipFill>
          <a:blip r:embed="rId3"/>
          <a:stretch>
            <a:fillRect/>
          </a:stretch>
        </p:blipFill>
        <p:spPr>
          <a:xfrm>
            <a:off x="285443" y="568097"/>
            <a:ext cx="3936711" cy="3332850"/>
          </a:xfrm>
        </p:spPr>
      </p:pic>
      <p:pic>
        <p:nvPicPr>
          <p:cNvPr id="8" name="Content Placeholder 7">
            <a:extLst>
              <a:ext uri="{FF2B5EF4-FFF2-40B4-BE49-F238E27FC236}">
                <a16:creationId xmlns:a16="http://schemas.microsoft.com/office/drawing/2014/main" id="{322E9555-BF23-8040-A13C-0D7BA5A5B69E}"/>
              </a:ext>
            </a:extLst>
          </p:cNvPr>
          <p:cNvPicPr>
            <a:picLocks noGrp="1" noChangeAspect="1"/>
          </p:cNvPicPr>
          <p:nvPr>
            <p:ph sz="half" idx="2"/>
          </p:nvPr>
        </p:nvPicPr>
        <p:blipFill>
          <a:blip r:embed="rId4"/>
          <a:stretch>
            <a:fillRect/>
          </a:stretch>
        </p:blipFill>
        <p:spPr>
          <a:xfrm>
            <a:off x="4633292" y="707923"/>
            <a:ext cx="3790353" cy="3193024"/>
          </a:xfrm>
        </p:spPr>
      </p:pic>
      <p:sp>
        <p:nvSpPr>
          <p:cNvPr id="9" name="TextBox 8">
            <a:extLst>
              <a:ext uri="{FF2B5EF4-FFF2-40B4-BE49-F238E27FC236}">
                <a16:creationId xmlns:a16="http://schemas.microsoft.com/office/drawing/2014/main" id="{09FC005D-C2B3-61F7-47E0-A7FDC6D5D7DA}"/>
              </a:ext>
            </a:extLst>
          </p:cNvPr>
          <p:cNvSpPr txBox="1"/>
          <p:nvPr/>
        </p:nvSpPr>
        <p:spPr>
          <a:xfrm>
            <a:off x="1485443" y="3996997"/>
            <a:ext cx="2551813" cy="307777"/>
          </a:xfrm>
          <a:prstGeom prst="rect">
            <a:avLst/>
          </a:prstGeom>
          <a:noFill/>
        </p:spPr>
        <p:txBody>
          <a:bodyPr wrap="square" rtlCol="0">
            <a:spAutoFit/>
          </a:bodyPr>
          <a:lstStyle/>
          <a:p>
            <a:r>
              <a:rPr lang="en-US" sz="1400" dirty="0"/>
              <a:t>IDFS benefit:  </a:t>
            </a:r>
            <a:r>
              <a:rPr lang="en-US" sz="1400" dirty="0">
                <a:latin typeface="Arial" panose="020B0604020202020204" pitchFamily="34" charset="0"/>
                <a:cs typeface="Arial" panose="020B0604020202020204" pitchFamily="34" charset="0"/>
              </a:rPr>
              <a:t>∆ 3.3%</a:t>
            </a:r>
            <a:endParaRPr lang="en-US" sz="1400" dirty="0"/>
          </a:p>
        </p:txBody>
      </p:sp>
      <p:sp>
        <p:nvSpPr>
          <p:cNvPr id="10" name="TextBox 9">
            <a:extLst>
              <a:ext uri="{FF2B5EF4-FFF2-40B4-BE49-F238E27FC236}">
                <a16:creationId xmlns:a16="http://schemas.microsoft.com/office/drawing/2014/main" id="{6A42E583-39CD-518F-7374-A88707FBE8F3}"/>
              </a:ext>
            </a:extLst>
          </p:cNvPr>
          <p:cNvSpPr txBox="1"/>
          <p:nvPr/>
        </p:nvSpPr>
        <p:spPr>
          <a:xfrm>
            <a:off x="5670354" y="3995508"/>
            <a:ext cx="2551813" cy="307777"/>
          </a:xfrm>
          <a:prstGeom prst="rect">
            <a:avLst/>
          </a:prstGeom>
          <a:noFill/>
        </p:spPr>
        <p:txBody>
          <a:bodyPr wrap="square" rtlCol="0">
            <a:spAutoFit/>
          </a:bodyPr>
          <a:lstStyle/>
          <a:p>
            <a:r>
              <a:rPr lang="en-US" sz="1400" dirty="0"/>
              <a:t>DDFS benefit:  </a:t>
            </a:r>
            <a:r>
              <a:rPr lang="en-US" sz="1400" dirty="0">
                <a:latin typeface="Arial" panose="020B0604020202020204" pitchFamily="34" charset="0"/>
                <a:cs typeface="Arial" panose="020B0604020202020204" pitchFamily="34" charset="0"/>
              </a:rPr>
              <a:t>∆ 2.2%</a:t>
            </a:r>
            <a:endParaRPr lang="en-US" sz="1400" dirty="0"/>
          </a:p>
        </p:txBody>
      </p:sp>
      <p:sp>
        <p:nvSpPr>
          <p:cNvPr id="13" name="TextBox 12">
            <a:extLst>
              <a:ext uri="{FF2B5EF4-FFF2-40B4-BE49-F238E27FC236}">
                <a16:creationId xmlns:a16="http://schemas.microsoft.com/office/drawing/2014/main" id="{B262635E-5C57-0757-A865-29B54F70300F}"/>
              </a:ext>
            </a:extLst>
          </p:cNvPr>
          <p:cNvSpPr txBox="1"/>
          <p:nvPr/>
        </p:nvSpPr>
        <p:spPr>
          <a:xfrm>
            <a:off x="3814431" y="4749849"/>
            <a:ext cx="4609214" cy="246221"/>
          </a:xfrm>
          <a:prstGeom prst="rect">
            <a:avLst/>
          </a:prstGeom>
          <a:noFill/>
        </p:spPr>
        <p:txBody>
          <a:bodyPr wrap="square">
            <a:spAutoFit/>
          </a:bodyPr>
          <a:lstStyle/>
          <a:p>
            <a:r>
              <a:rPr lang="en-US" sz="1000" dirty="0">
                <a:latin typeface="+mn-lt"/>
              </a:rPr>
              <a:t>Slamon et al ASCO LBA 500, 2023</a:t>
            </a:r>
          </a:p>
        </p:txBody>
      </p:sp>
    </p:spTree>
    <p:extLst>
      <p:ext uri="{BB962C8B-B14F-4D97-AF65-F5344CB8AC3E}">
        <p14:creationId xmlns:p14="http://schemas.microsoft.com/office/powerpoint/2010/main" val="262101367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5B29FD8-60FB-E69B-38BF-7B0BB24C08ED}"/>
              </a:ext>
            </a:extLst>
          </p:cNvPr>
          <p:cNvPicPr>
            <a:picLocks noChangeAspect="1"/>
          </p:cNvPicPr>
          <p:nvPr/>
        </p:nvPicPr>
        <p:blipFill>
          <a:blip r:embed="rId3"/>
          <a:stretch>
            <a:fillRect/>
          </a:stretch>
        </p:blipFill>
        <p:spPr>
          <a:xfrm>
            <a:off x="1106741" y="290418"/>
            <a:ext cx="6922299" cy="3824382"/>
          </a:xfrm>
          <a:prstGeom prst="rect">
            <a:avLst/>
          </a:prstGeom>
        </p:spPr>
      </p:pic>
      <p:sp>
        <p:nvSpPr>
          <p:cNvPr id="6" name="TextBox 5">
            <a:extLst>
              <a:ext uri="{FF2B5EF4-FFF2-40B4-BE49-F238E27FC236}">
                <a16:creationId xmlns:a16="http://schemas.microsoft.com/office/drawing/2014/main" id="{3E06A9D2-6A70-E272-3D93-7FB2CCFA06ED}"/>
              </a:ext>
            </a:extLst>
          </p:cNvPr>
          <p:cNvSpPr txBox="1"/>
          <p:nvPr/>
        </p:nvSpPr>
        <p:spPr>
          <a:xfrm>
            <a:off x="3814431" y="4749849"/>
            <a:ext cx="4609214" cy="246221"/>
          </a:xfrm>
          <a:prstGeom prst="rect">
            <a:avLst/>
          </a:prstGeom>
          <a:noFill/>
        </p:spPr>
        <p:txBody>
          <a:bodyPr wrap="square">
            <a:spAutoFit/>
          </a:bodyPr>
          <a:lstStyle/>
          <a:p>
            <a:r>
              <a:rPr lang="en-US" sz="1000" dirty="0">
                <a:latin typeface="+mn-lt"/>
              </a:rPr>
              <a:t>Slamon et al ASCO LBA 500, 2023</a:t>
            </a:r>
          </a:p>
        </p:txBody>
      </p:sp>
    </p:spTree>
    <p:extLst>
      <p:ext uri="{BB962C8B-B14F-4D97-AF65-F5344CB8AC3E}">
        <p14:creationId xmlns:p14="http://schemas.microsoft.com/office/powerpoint/2010/main" val="381858519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68A2DA2E-252F-C1E4-7603-02500B9D82D5}"/>
              </a:ext>
            </a:extLst>
          </p:cNvPr>
          <p:cNvSpPr txBox="1"/>
          <p:nvPr/>
        </p:nvSpPr>
        <p:spPr>
          <a:xfrm>
            <a:off x="3814431" y="4749849"/>
            <a:ext cx="4609214" cy="246221"/>
          </a:xfrm>
          <a:prstGeom prst="rect">
            <a:avLst/>
          </a:prstGeom>
          <a:noFill/>
        </p:spPr>
        <p:txBody>
          <a:bodyPr wrap="square">
            <a:spAutoFit/>
          </a:bodyPr>
          <a:lstStyle/>
          <a:p>
            <a:r>
              <a:rPr lang="en-US" sz="1000" dirty="0">
                <a:latin typeface="+mn-lt"/>
              </a:rPr>
              <a:t>Slamon et al ASCO LBA 500, 2023</a:t>
            </a:r>
          </a:p>
        </p:txBody>
      </p:sp>
      <p:pic>
        <p:nvPicPr>
          <p:cNvPr id="9" name="Picture 8">
            <a:extLst>
              <a:ext uri="{FF2B5EF4-FFF2-40B4-BE49-F238E27FC236}">
                <a16:creationId xmlns:a16="http://schemas.microsoft.com/office/drawing/2014/main" id="{2BF5D229-71B5-9B88-CC57-AAAA831A92FB}"/>
              </a:ext>
            </a:extLst>
          </p:cNvPr>
          <p:cNvPicPr>
            <a:picLocks noChangeAspect="1"/>
          </p:cNvPicPr>
          <p:nvPr/>
        </p:nvPicPr>
        <p:blipFill>
          <a:blip r:embed="rId3"/>
          <a:stretch>
            <a:fillRect/>
          </a:stretch>
        </p:blipFill>
        <p:spPr>
          <a:xfrm>
            <a:off x="774290" y="907370"/>
            <a:ext cx="7595419" cy="2760770"/>
          </a:xfrm>
          <a:prstGeom prst="rect">
            <a:avLst/>
          </a:prstGeom>
        </p:spPr>
      </p:pic>
    </p:spTree>
    <p:extLst>
      <p:ext uri="{BB962C8B-B14F-4D97-AF65-F5344CB8AC3E}">
        <p14:creationId xmlns:p14="http://schemas.microsoft.com/office/powerpoint/2010/main" val="254694617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0" y="127465"/>
            <a:ext cx="9144000" cy="786936"/>
          </a:xfrm>
        </p:spPr>
        <p:txBody>
          <a:bodyPr/>
          <a:lstStyle/>
          <a:p>
            <a:r>
              <a:rPr lang="en-US" sz="3200" b="1" dirty="0">
                <a:solidFill>
                  <a:srgbClr val="002E51"/>
                </a:solidFill>
              </a:rPr>
              <a:t>Thank You to Our Supporters</a:t>
            </a:r>
          </a:p>
        </p:txBody>
      </p:sp>
      <p:pic>
        <p:nvPicPr>
          <p:cNvPr id="5" name="Picture 4" descr="A close up of a logo&#10;&#10;Description automatically generated">
            <a:extLst>
              <a:ext uri="{FF2B5EF4-FFF2-40B4-BE49-F238E27FC236}">
                <a16:creationId xmlns:a16="http://schemas.microsoft.com/office/drawing/2014/main" id="{3FFE3891-B651-E7E9-7ACD-512B218C955B}"/>
              </a:ext>
            </a:extLst>
          </p:cNvPr>
          <p:cNvPicPr>
            <a:picLocks noChangeAspect="1"/>
          </p:cNvPicPr>
          <p:nvPr/>
        </p:nvPicPr>
        <p:blipFill>
          <a:blip r:embed="rId3"/>
          <a:stretch>
            <a:fillRect/>
          </a:stretch>
        </p:blipFill>
        <p:spPr>
          <a:xfrm>
            <a:off x="718457" y="914401"/>
            <a:ext cx="3506841" cy="951468"/>
          </a:xfrm>
          <a:prstGeom prst="rect">
            <a:avLst/>
          </a:prstGeom>
        </p:spPr>
      </p:pic>
      <p:pic>
        <p:nvPicPr>
          <p:cNvPr id="7" name="Picture 6" descr="A black and grey logo&#10;&#10;Description automatically generated">
            <a:extLst>
              <a:ext uri="{FF2B5EF4-FFF2-40B4-BE49-F238E27FC236}">
                <a16:creationId xmlns:a16="http://schemas.microsoft.com/office/drawing/2014/main" id="{2F6C2F6C-43E6-FF37-23B1-EDD7CEA0098B}"/>
              </a:ext>
            </a:extLst>
          </p:cNvPr>
          <p:cNvPicPr>
            <a:picLocks noChangeAspect="1"/>
          </p:cNvPicPr>
          <p:nvPr/>
        </p:nvPicPr>
        <p:blipFill>
          <a:blip r:embed="rId4"/>
          <a:stretch>
            <a:fillRect/>
          </a:stretch>
        </p:blipFill>
        <p:spPr>
          <a:xfrm>
            <a:off x="4932611" y="992974"/>
            <a:ext cx="3227834" cy="909012"/>
          </a:xfrm>
          <a:prstGeom prst="rect">
            <a:avLst/>
          </a:prstGeom>
        </p:spPr>
      </p:pic>
      <p:pic>
        <p:nvPicPr>
          <p:cNvPr id="9" name="Picture 8" descr="A blue and white logo&#10;&#10;Description automatically generated">
            <a:extLst>
              <a:ext uri="{FF2B5EF4-FFF2-40B4-BE49-F238E27FC236}">
                <a16:creationId xmlns:a16="http://schemas.microsoft.com/office/drawing/2014/main" id="{6C80D0F5-A8F0-80CD-D51F-ED4AD3637B0D}"/>
              </a:ext>
            </a:extLst>
          </p:cNvPr>
          <p:cNvPicPr>
            <a:picLocks noChangeAspect="1"/>
          </p:cNvPicPr>
          <p:nvPr/>
        </p:nvPicPr>
        <p:blipFill>
          <a:blip r:embed="rId5"/>
          <a:stretch>
            <a:fillRect/>
          </a:stretch>
        </p:blipFill>
        <p:spPr>
          <a:xfrm>
            <a:off x="718457" y="2186295"/>
            <a:ext cx="3159358" cy="1633619"/>
          </a:xfrm>
          <a:prstGeom prst="rect">
            <a:avLst/>
          </a:prstGeom>
        </p:spPr>
      </p:pic>
      <p:pic>
        <p:nvPicPr>
          <p:cNvPr id="11" name="Picture 10" descr="A black and blue logo&#10;&#10;Description automatically generated">
            <a:extLst>
              <a:ext uri="{FF2B5EF4-FFF2-40B4-BE49-F238E27FC236}">
                <a16:creationId xmlns:a16="http://schemas.microsoft.com/office/drawing/2014/main" id="{7F5DA714-A7BE-37F2-CAD3-2266D568D708}"/>
              </a:ext>
            </a:extLst>
          </p:cNvPr>
          <p:cNvPicPr>
            <a:picLocks noChangeAspect="1"/>
          </p:cNvPicPr>
          <p:nvPr/>
        </p:nvPicPr>
        <p:blipFill>
          <a:blip r:embed="rId6"/>
          <a:stretch>
            <a:fillRect/>
          </a:stretch>
        </p:blipFill>
        <p:spPr>
          <a:xfrm>
            <a:off x="4633473" y="2392207"/>
            <a:ext cx="3972646" cy="1113711"/>
          </a:xfrm>
          <a:prstGeom prst="rect">
            <a:avLst/>
          </a:prstGeom>
        </p:spPr>
      </p:pic>
    </p:spTree>
    <p:extLst>
      <p:ext uri="{BB962C8B-B14F-4D97-AF65-F5344CB8AC3E}">
        <p14:creationId xmlns:p14="http://schemas.microsoft.com/office/powerpoint/2010/main" val="249603056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a:extLst>
              <a:ext uri="{FF2B5EF4-FFF2-40B4-BE49-F238E27FC236}">
                <a16:creationId xmlns:a16="http://schemas.microsoft.com/office/drawing/2014/main" id="{9F0ADDE5-F93B-8E55-E918-C0AC02B09BB4}"/>
              </a:ext>
            </a:extLst>
          </p:cNvPr>
          <p:cNvSpPr txBox="1"/>
          <p:nvPr/>
        </p:nvSpPr>
        <p:spPr>
          <a:xfrm>
            <a:off x="3662352" y="4641242"/>
            <a:ext cx="2483372" cy="400110"/>
          </a:xfrm>
          <a:prstGeom prst="rect">
            <a:avLst/>
          </a:prstGeom>
          <a:noFill/>
        </p:spPr>
        <p:txBody>
          <a:bodyPr wrap="none" rtlCol="0">
            <a:spAutoFit/>
          </a:bodyPr>
          <a:lstStyle/>
          <a:p>
            <a:r>
              <a:rPr lang="en-US" sz="1000" dirty="0">
                <a:latin typeface="+mn-lt"/>
              </a:rPr>
              <a:t>Johnston S et al Lancet Oncology 2023</a:t>
            </a:r>
          </a:p>
          <a:p>
            <a:r>
              <a:rPr lang="en-US" sz="1000" dirty="0">
                <a:latin typeface="+mn-lt"/>
              </a:rPr>
              <a:t>Slamon et al ASCO LBA 500, 2023</a:t>
            </a:r>
          </a:p>
        </p:txBody>
      </p:sp>
      <p:graphicFrame>
        <p:nvGraphicFramePr>
          <p:cNvPr id="16" name="Table 8">
            <a:extLst>
              <a:ext uri="{FF2B5EF4-FFF2-40B4-BE49-F238E27FC236}">
                <a16:creationId xmlns:a16="http://schemas.microsoft.com/office/drawing/2014/main" id="{2E5088BB-C2BA-2A48-F2F6-5CFC0190C018}"/>
              </a:ext>
            </a:extLst>
          </p:cNvPr>
          <p:cNvGraphicFramePr>
            <a:graphicFrameLocks noGrp="1"/>
          </p:cNvGraphicFramePr>
          <p:nvPr>
            <p:extLst>
              <p:ext uri="{D42A27DB-BD31-4B8C-83A1-F6EECF244321}">
                <p14:modId xmlns:p14="http://schemas.microsoft.com/office/powerpoint/2010/main" val="3894565591"/>
              </p:ext>
            </p:extLst>
          </p:nvPr>
        </p:nvGraphicFramePr>
        <p:xfrm>
          <a:off x="1032387" y="398176"/>
          <a:ext cx="6747387" cy="3779520"/>
        </p:xfrm>
        <a:graphic>
          <a:graphicData uri="http://schemas.openxmlformats.org/drawingml/2006/table">
            <a:tbl>
              <a:tblPr firstRow="1" bandRow="1">
                <a:tableStyleId>{5C22544A-7EE6-4342-B048-85BDC9FD1C3A}</a:tableStyleId>
              </a:tblPr>
              <a:tblGrid>
                <a:gridCol w="1497819">
                  <a:extLst>
                    <a:ext uri="{9D8B030D-6E8A-4147-A177-3AD203B41FA5}">
                      <a16:colId xmlns:a16="http://schemas.microsoft.com/office/drawing/2014/main" val="1778503661"/>
                    </a:ext>
                  </a:extLst>
                </a:gridCol>
                <a:gridCol w="2327473">
                  <a:extLst>
                    <a:ext uri="{9D8B030D-6E8A-4147-A177-3AD203B41FA5}">
                      <a16:colId xmlns:a16="http://schemas.microsoft.com/office/drawing/2014/main" val="4004388212"/>
                    </a:ext>
                  </a:extLst>
                </a:gridCol>
                <a:gridCol w="2922095">
                  <a:extLst>
                    <a:ext uri="{9D8B030D-6E8A-4147-A177-3AD203B41FA5}">
                      <a16:colId xmlns:a16="http://schemas.microsoft.com/office/drawing/2014/main" val="3213007259"/>
                    </a:ext>
                  </a:extLst>
                </a:gridCol>
              </a:tblGrid>
              <a:tr h="409141">
                <a:tc>
                  <a:txBody>
                    <a:bodyPr/>
                    <a:lstStyle/>
                    <a:p>
                      <a:endParaRPr lang="en-US" sz="1200" dirty="0">
                        <a:solidFill>
                          <a:schemeClr val="tx1"/>
                        </a:solidFill>
                      </a:endParaRPr>
                    </a:p>
                  </a:txBody>
                  <a:tcPr/>
                </a:tc>
                <a:tc>
                  <a:txBody>
                    <a:bodyPr/>
                    <a:lstStyle/>
                    <a:p>
                      <a:r>
                        <a:rPr lang="en-US" sz="1800" dirty="0">
                          <a:solidFill>
                            <a:schemeClr val="tx1"/>
                          </a:solidFill>
                        </a:rPr>
                        <a:t>Natalee </a:t>
                      </a:r>
                    </a:p>
                    <a:p>
                      <a:r>
                        <a:rPr lang="en-US" sz="1200" b="0" dirty="0">
                          <a:solidFill>
                            <a:schemeClr val="tx1"/>
                          </a:solidFill>
                        </a:rPr>
                        <a:t>(N = 5,101)</a:t>
                      </a:r>
                    </a:p>
                  </a:txBody>
                  <a:tcPr/>
                </a:tc>
                <a:tc>
                  <a:txBody>
                    <a:bodyPr/>
                    <a:lstStyle/>
                    <a:p>
                      <a:r>
                        <a:rPr lang="en-US" sz="1800" dirty="0">
                          <a:solidFill>
                            <a:schemeClr val="tx1"/>
                          </a:solidFill>
                        </a:rPr>
                        <a:t>monarchE</a:t>
                      </a:r>
                      <a:r>
                        <a:rPr lang="en-US" sz="1200" dirty="0">
                          <a:solidFill>
                            <a:schemeClr val="tx1"/>
                          </a:solidFill>
                        </a:rPr>
                        <a:t> </a:t>
                      </a:r>
                    </a:p>
                    <a:p>
                      <a:r>
                        <a:rPr lang="en-US" sz="1200" b="0" dirty="0">
                          <a:solidFill>
                            <a:schemeClr val="tx1"/>
                          </a:solidFill>
                        </a:rPr>
                        <a:t>(N = 5,601)</a:t>
                      </a:r>
                    </a:p>
                  </a:txBody>
                  <a:tcPr/>
                </a:tc>
                <a:extLst>
                  <a:ext uri="{0D108BD9-81ED-4DB2-BD59-A6C34878D82A}">
                    <a16:rowId xmlns:a16="http://schemas.microsoft.com/office/drawing/2014/main" val="1112445637"/>
                  </a:ext>
                </a:extLst>
              </a:tr>
              <a:tr h="568252">
                <a:tc>
                  <a:txBody>
                    <a:bodyPr/>
                    <a:lstStyle/>
                    <a:p>
                      <a:r>
                        <a:rPr lang="en-US" sz="1100" dirty="0"/>
                        <a:t>Key Inclusion</a:t>
                      </a:r>
                    </a:p>
                  </a:txBody>
                  <a:tcPr/>
                </a:tc>
                <a:tc>
                  <a:txBody>
                    <a:bodyPr/>
                    <a:lstStyle/>
                    <a:p>
                      <a:pPr marL="171450" indent="-171450">
                        <a:buFont typeface="Arial" panose="020B0604020202020204" pitchFamily="34" charset="0"/>
                        <a:buChar char="•"/>
                      </a:pPr>
                      <a:r>
                        <a:rPr lang="en-US" sz="1100" dirty="0">
                          <a:latin typeface="Arial" panose="020B0604020202020204" pitchFamily="34" charset="0"/>
                          <a:cs typeface="Arial" panose="020B0604020202020204" pitchFamily="34" charset="0"/>
                        </a:rPr>
                        <a:t>≥N1</a:t>
                      </a:r>
                    </a:p>
                    <a:p>
                      <a:pPr marL="171450" indent="-171450">
                        <a:buFont typeface="Arial" panose="020B0604020202020204" pitchFamily="34" charset="0"/>
                        <a:buChar char="•"/>
                      </a:pPr>
                      <a:r>
                        <a:rPr lang="en-US" sz="1100" dirty="0">
                          <a:latin typeface="Arial" panose="020B0604020202020204" pitchFamily="34" charset="0"/>
                          <a:cs typeface="Arial" panose="020B0604020202020204" pitchFamily="34" charset="0"/>
                        </a:rPr>
                        <a:t>N0 + G3 or G2 and</a:t>
                      </a:r>
                    </a:p>
                    <a:p>
                      <a:pPr marL="628650" lvl="1" indent="-171450">
                        <a:buFont typeface="Courier New" panose="02070309020205020404" pitchFamily="49" charset="0"/>
                        <a:buChar char="o"/>
                      </a:pPr>
                      <a:r>
                        <a:rPr lang="en-US" sz="1100" dirty="0">
                          <a:latin typeface="Arial" panose="020B0604020202020204" pitchFamily="34" charset="0"/>
                          <a:cs typeface="Arial" panose="020B0604020202020204" pitchFamily="34" charset="0"/>
                        </a:rPr>
                        <a:t>Ki67 ≥ 20%</a:t>
                      </a:r>
                    </a:p>
                    <a:p>
                      <a:pPr marL="628650" lvl="1" indent="-171450">
                        <a:buFont typeface="Courier New" panose="02070309020205020404" pitchFamily="49" charset="0"/>
                        <a:buChar char="o"/>
                      </a:pPr>
                      <a:r>
                        <a:rPr lang="en-US" sz="1100" dirty="0">
                          <a:latin typeface="Arial" panose="020B0604020202020204" pitchFamily="34" charset="0"/>
                          <a:cs typeface="Arial" panose="020B0604020202020204" pitchFamily="34" charset="0"/>
                        </a:rPr>
                        <a:t>RS ≥ 26 (or other)</a:t>
                      </a:r>
                    </a:p>
                  </a:txBody>
                  <a:tcPr/>
                </a:tc>
                <a:tc>
                  <a:txBody>
                    <a:bodyPr/>
                    <a:lstStyle/>
                    <a:p>
                      <a:pPr marL="171450" indent="-171450">
                        <a:buFont typeface="Arial" panose="020B0604020202020204" pitchFamily="34" charset="0"/>
                        <a:buChar char="•"/>
                      </a:pPr>
                      <a:r>
                        <a:rPr lang="en-US" sz="1100" dirty="0">
                          <a:latin typeface="Arial" panose="020B0604020202020204" pitchFamily="34" charset="0"/>
                          <a:cs typeface="Arial" panose="020B0604020202020204" pitchFamily="34" charset="0"/>
                        </a:rPr>
                        <a:t>≥ </a:t>
                      </a:r>
                      <a:r>
                        <a:rPr lang="en-US" sz="1100" dirty="0">
                          <a:latin typeface="+mn-lt"/>
                        </a:rPr>
                        <a:t>4 LN</a:t>
                      </a:r>
                    </a:p>
                    <a:p>
                      <a:pPr marL="171450" indent="-171450">
                        <a:buFont typeface="Arial" panose="020B0604020202020204" pitchFamily="34" charset="0"/>
                        <a:buChar char="•"/>
                      </a:pPr>
                      <a:r>
                        <a:rPr lang="en-US" sz="1100" dirty="0">
                          <a:latin typeface="+mn-lt"/>
                        </a:rPr>
                        <a:t>1-3 LN and G3 or T3</a:t>
                      </a:r>
                    </a:p>
                  </a:txBody>
                  <a:tcPr/>
                </a:tc>
                <a:extLst>
                  <a:ext uri="{0D108BD9-81ED-4DB2-BD59-A6C34878D82A}">
                    <a16:rowId xmlns:a16="http://schemas.microsoft.com/office/drawing/2014/main" val="461771739"/>
                  </a:ext>
                </a:extLst>
              </a:tr>
              <a:tr h="318221">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100" dirty="0"/>
                        <a:t>CDK 4/6 dose</a:t>
                      </a:r>
                    </a:p>
                    <a:p>
                      <a:endParaRPr lang="en-US" sz="1100" dirty="0"/>
                    </a:p>
                  </a:txBody>
                  <a:tcPr/>
                </a:tc>
                <a:tc>
                  <a:txBody>
                    <a:bodyPr/>
                    <a:lstStyle/>
                    <a:p>
                      <a:pPr marL="0" indent="0">
                        <a:buFont typeface="Arial" panose="020B0604020202020204" pitchFamily="34" charset="0"/>
                        <a:buNone/>
                      </a:pPr>
                      <a:r>
                        <a:rPr lang="en-US" sz="1100" dirty="0"/>
                        <a:t>Ribociclib 400mg</a:t>
                      </a:r>
                    </a:p>
                    <a:p>
                      <a:pPr marL="0" indent="0">
                        <a:buFont typeface="Arial" panose="020B0604020202020204" pitchFamily="34" charset="0"/>
                        <a:buNone/>
                      </a:pPr>
                      <a:r>
                        <a:rPr lang="en-US" sz="1100" dirty="0"/>
                        <a:t>3 weeks on/ 1 week off</a:t>
                      </a:r>
                    </a:p>
                  </a:txBody>
                  <a:tcPr/>
                </a:tc>
                <a:tc>
                  <a:txBody>
                    <a:bodyPr/>
                    <a:lstStyle/>
                    <a:p>
                      <a:pPr marL="0" indent="0">
                        <a:buFont typeface="Arial" panose="020B0604020202020204" pitchFamily="34" charset="0"/>
                        <a:buNone/>
                      </a:pPr>
                      <a:r>
                        <a:rPr lang="en-US" sz="1100" dirty="0">
                          <a:latin typeface="+mn-lt"/>
                        </a:rPr>
                        <a:t>Abemaciclib 150mg BID</a:t>
                      </a:r>
                    </a:p>
                    <a:p>
                      <a:pPr marL="0" indent="0">
                        <a:buFont typeface="Arial" panose="020B0604020202020204" pitchFamily="34" charset="0"/>
                        <a:buNone/>
                      </a:pPr>
                      <a:r>
                        <a:rPr lang="en-US" sz="1100" dirty="0">
                          <a:latin typeface="+mn-lt"/>
                        </a:rPr>
                        <a:t>Continuous dosing</a:t>
                      </a:r>
                    </a:p>
                  </a:txBody>
                  <a:tcPr/>
                </a:tc>
                <a:extLst>
                  <a:ext uri="{0D108BD9-81ED-4DB2-BD59-A6C34878D82A}">
                    <a16:rowId xmlns:a16="http://schemas.microsoft.com/office/drawing/2014/main" val="3012642057"/>
                  </a:ext>
                </a:extLst>
              </a:tr>
              <a:tr h="213773">
                <a:tc>
                  <a:txBody>
                    <a:bodyPr/>
                    <a:lstStyle/>
                    <a:p>
                      <a:r>
                        <a:rPr lang="en-US" sz="1100" dirty="0"/>
                        <a:t>CDK 4/6 duration</a:t>
                      </a:r>
                    </a:p>
                  </a:txBody>
                  <a:tcPr/>
                </a:tc>
                <a:tc>
                  <a:txBody>
                    <a:bodyPr/>
                    <a:lstStyle/>
                    <a:p>
                      <a:pPr marL="0" indent="0">
                        <a:buFont typeface="Arial" panose="020B0604020202020204" pitchFamily="34" charset="0"/>
                        <a:buNone/>
                      </a:pPr>
                      <a:r>
                        <a:rPr lang="en-US" sz="1100" dirty="0"/>
                        <a:t>3 years</a:t>
                      </a:r>
                    </a:p>
                  </a:txBody>
                  <a:tcPr/>
                </a:tc>
                <a:tc>
                  <a:txBody>
                    <a:bodyPr/>
                    <a:lstStyle/>
                    <a:p>
                      <a:pPr marL="0" indent="0">
                        <a:buFont typeface="Arial" panose="020B0604020202020204" pitchFamily="34" charset="0"/>
                        <a:buNone/>
                      </a:pPr>
                      <a:r>
                        <a:rPr lang="en-US" sz="1100" dirty="0">
                          <a:latin typeface="+mn-lt"/>
                        </a:rPr>
                        <a:t>2 years</a:t>
                      </a:r>
                    </a:p>
                  </a:txBody>
                  <a:tcPr/>
                </a:tc>
                <a:extLst>
                  <a:ext uri="{0D108BD9-81ED-4DB2-BD59-A6C34878D82A}">
                    <a16:rowId xmlns:a16="http://schemas.microsoft.com/office/drawing/2014/main" val="900291436"/>
                  </a:ext>
                </a:extLst>
              </a:tr>
              <a:tr h="318221">
                <a:tc>
                  <a:txBody>
                    <a:bodyPr/>
                    <a:lstStyle/>
                    <a:p>
                      <a:r>
                        <a:rPr lang="en-US" sz="1100" dirty="0"/>
                        <a:t>ET</a:t>
                      </a:r>
                    </a:p>
                  </a:txBody>
                  <a:tcPr/>
                </a:tc>
                <a:tc>
                  <a:txBody>
                    <a:bodyPr/>
                    <a:lstStyle/>
                    <a:p>
                      <a:r>
                        <a:rPr lang="en-US" sz="1100" dirty="0"/>
                        <a:t>NSAI +/- goserelin in pre-meno and men</a:t>
                      </a:r>
                    </a:p>
                  </a:txBody>
                  <a:tcPr/>
                </a:tc>
                <a:tc>
                  <a:txBody>
                    <a:bodyPr/>
                    <a:lstStyle/>
                    <a:p>
                      <a:r>
                        <a:rPr lang="en-US" sz="1100" dirty="0">
                          <a:latin typeface="+mn-lt"/>
                        </a:rPr>
                        <a:t>AI or tamoxifen per physician choice +/- OFS</a:t>
                      </a:r>
                    </a:p>
                  </a:txBody>
                  <a:tcPr/>
                </a:tc>
                <a:extLst>
                  <a:ext uri="{0D108BD9-81ED-4DB2-BD59-A6C34878D82A}">
                    <a16:rowId xmlns:a16="http://schemas.microsoft.com/office/drawing/2014/main" val="4289674455"/>
                  </a:ext>
                </a:extLst>
              </a:tr>
              <a:tr h="693267">
                <a:tc>
                  <a:txBody>
                    <a:bodyPr/>
                    <a:lstStyle/>
                    <a:p>
                      <a:r>
                        <a:rPr lang="en-US" sz="1100" dirty="0"/>
                        <a:t>iDFS</a:t>
                      </a:r>
                    </a:p>
                  </a:txBody>
                  <a:tcPr/>
                </a:tc>
                <a:tc>
                  <a:txBody>
                    <a:bodyPr/>
                    <a:lstStyle/>
                    <a:p>
                      <a:pPr marL="171450" indent="-171450">
                        <a:buFont typeface="Arial" panose="020B0604020202020204" pitchFamily="34" charset="0"/>
                        <a:buChar char="•"/>
                      </a:pPr>
                      <a:r>
                        <a:rPr lang="en-US" sz="1100" dirty="0"/>
                        <a:t>34 mo median f/u</a:t>
                      </a:r>
                    </a:p>
                    <a:p>
                      <a:pPr marL="171450" indent="-171450">
                        <a:buFont typeface="Arial" panose="020B0604020202020204" pitchFamily="34" charset="0"/>
                        <a:buChar char="•"/>
                      </a:pPr>
                      <a:r>
                        <a:rPr lang="en-US" sz="1100" dirty="0"/>
                        <a:t>3 year: 90.4% vs 87.1% (HR 0.748, p&lt;0.0014)</a:t>
                      </a:r>
                    </a:p>
                    <a:p>
                      <a:pPr marL="171450" indent="-171450">
                        <a:buFont typeface="Arial" panose="020B0604020202020204" pitchFamily="34" charset="0"/>
                        <a:buChar char="•"/>
                      </a:pPr>
                      <a:r>
                        <a:rPr lang="en-US" sz="1100" dirty="0">
                          <a:highlight>
                            <a:srgbClr val="FFFF00"/>
                          </a:highlight>
                        </a:rPr>
                        <a:t>3.3% difference</a:t>
                      </a:r>
                    </a:p>
                  </a:txBody>
                  <a:tcPr/>
                </a:tc>
                <a:tc>
                  <a:txBody>
                    <a:bodyPr/>
                    <a:lstStyle/>
                    <a:p>
                      <a:pPr marL="171450" indent="-171450">
                        <a:buFont typeface="Arial" panose="020B0604020202020204" pitchFamily="34" charset="0"/>
                        <a:buChar char="•"/>
                      </a:pPr>
                      <a:r>
                        <a:rPr lang="en-US" sz="1100" dirty="0">
                          <a:latin typeface="+mn-lt"/>
                        </a:rPr>
                        <a:t>42 mo median f/u</a:t>
                      </a:r>
                    </a:p>
                    <a:p>
                      <a:pPr marL="171450" indent="-171450">
                        <a:buFont typeface="Arial" panose="020B0604020202020204" pitchFamily="34" charset="0"/>
                        <a:buChar char="•"/>
                      </a:pPr>
                      <a:r>
                        <a:rPr lang="en-US" sz="1100" dirty="0">
                          <a:latin typeface="+mn-lt"/>
                        </a:rPr>
                        <a:t>4 year: 85.8 vs 79.4% (HR 0.664, p&lt;0.0001)</a:t>
                      </a:r>
                    </a:p>
                    <a:p>
                      <a:pPr marL="171450" indent="-171450">
                        <a:buFont typeface="Arial" panose="020B0604020202020204" pitchFamily="34" charset="0"/>
                        <a:buChar char="•"/>
                      </a:pPr>
                      <a:r>
                        <a:rPr lang="en-US" sz="1100" dirty="0">
                          <a:highlight>
                            <a:srgbClr val="FFFF00"/>
                          </a:highlight>
                          <a:latin typeface="+mn-lt"/>
                        </a:rPr>
                        <a:t>6.4% difference</a:t>
                      </a:r>
                    </a:p>
                    <a:p>
                      <a:pPr marL="628650" lvl="1" indent="-171450">
                        <a:buFont typeface="Wingdings" panose="05000000000000000000" pitchFamily="2" charset="2"/>
                        <a:buChar char="Ø"/>
                      </a:pPr>
                      <a:r>
                        <a:rPr lang="en-US" sz="1100" dirty="0">
                          <a:highlight>
                            <a:srgbClr val="FFFF00"/>
                          </a:highlight>
                          <a:latin typeface="+mn-lt"/>
                        </a:rPr>
                        <a:t>3.0% at 19 mo</a:t>
                      </a:r>
                    </a:p>
                  </a:txBody>
                  <a:tcPr/>
                </a:tc>
                <a:extLst>
                  <a:ext uri="{0D108BD9-81ED-4DB2-BD59-A6C34878D82A}">
                    <a16:rowId xmlns:a16="http://schemas.microsoft.com/office/drawing/2014/main" val="115001872"/>
                  </a:ext>
                </a:extLst>
              </a:tr>
              <a:tr h="318221">
                <a:tc>
                  <a:txBody>
                    <a:bodyPr/>
                    <a:lstStyle/>
                    <a:p>
                      <a:r>
                        <a:rPr lang="en-US" sz="1100" dirty="0"/>
                        <a:t>Completed CDK 4/6</a:t>
                      </a:r>
                    </a:p>
                  </a:txBody>
                  <a:tcPr/>
                </a:tc>
                <a:tc>
                  <a:txBody>
                    <a:bodyPr/>
                    <a:lstStyle/>
                    <a:p>
                      <a:r>
                        <a:rPr lang="en-US" sz="1100" dirty="0"/>
                        <a:t>20%</a:t>
                      </a:r>
                    </a:p>
                  </a:txBody>
                  <a:tcPr/>
                </a:tc>
                <a:tc>
                  <a:txBody>
                    <a:bodyPr/>
                    <a:lstStyle/>
                    <a:p>
                      <a:r>
                        <a:rPr lang="en-US" sz="1100" dirty="0">
                          <a:latin typeface="+mn-lt"/>
                        </a:rPr>
                        <a:t>100% past 2-year time</a:t>
                      </a:r>
                    </a:p>
                    <a:p>
                      <a:pPr marL="628650" lvl="1" indent="-171450">
                        <a:buFont typeface="Wingdings" panose="05000000000000000000" pitchFamily="2" charset="2"/>
                        <a:buChar char="Ø"/>
                      </a:pPr>
                      <a:r>
                        <a:rPr lang="en-US" sz="1100" dirty="0">
                          <a:latin typeface="+mn-lt"/>
                        </a:rPr>
                        <a:t>69% all of 2-year tx</a:t>
                      </a:r>
                    </a:p>
                  </a:txBody>
                  <a:tcPr/>
                </a:tc>
                <a:extLst>
                  <a:ext uri="{0D108BD9-81ED-4DB2-BD59-A6C34878D82A}">
                    <a16:rowId xmlns:a16="http://schemas.microsoft.com/office/drawing/2014/main" val="3326615776"/>
                  </a:ext>
                </a:extLst>
              </a:tr>
            </a:tbl>
          </a:graphicData>
        </a:graphic>
      </p:graphicFrame>
    </p:spTree>
    <p:extLst>
      <p:ext uri="{BB962C8B-B14F-4D97-AF65-F5344CB8AC3E}">
        <p14:creationId xmlns:p14="http://schemas.microsoft.com/office/powerpoint/2010/main" val="146219168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0" y="127465"/>
            <a:ext cx="9144000" cy="807256"/>
          </a:xfrm>
        </p:spPr>
        <p:txBody>
          <a:bodyPr/>
          <a:lstStyle/>
          <a:p>
            <a:r>
              <a:rPr lang="en-US" b="1" dirty="0"/>
              <a:t>Adjuvant CDK 4/6 inhibitor</a:t>
            </a:r>
          </a:p>
        </p:txBody>
      </p:sp>
      <p:sp>
        <p:nvSpPr>
          <p:cNvPr id="3" name="Content Placeholder 2">
            <a:extLst>
              <a:ext uri="{FF2B5EF4-FFF2-40B4-BE49-F238E27FC236}">
                <a16:creationId xmlns:a16="http://schemas.microsoft.com/office/drawing/2014/main" id="{0351CD2B-CCB6-DC8D-9619-D58F29448C44}"/>
              </a:ext>
            </a:extLst>
          </p:cNvPr>
          <p:cNvSpPr>
            <a:spLocks noGrp="1"/>
          </p:cNvSpPr>
          <p:nvPr>
            <p:ph type="subTitle" idx="1"/>
          </p:nvPr>
        </p:nvSpPr>
        <p:spPr>
          <a:xfrm>
            <a:off x="1371600" y="1168400"/>
            <a:ext cx="6400800" cy="2916238"/>
          </a:xfrm>
        </p:spPr>
        <p:txBody>
          <a:bodyPr>
            <a:noAutofit/>
          </a:bodyPr>
          <a:lstStyle/>
          <a:p>
            <a:pPr marL="342900" indent="-342900" algn="l">
              <a:lnSpc>
                <a:spcPct val="120000"/>
              </a:lnSpc>
              <a:buFont typeface="Arial" panose="020B0604020202020204" pitchFamily="34" charset="0"/>
              <a:buChar char="•"/>
            </a:pPr>
            <a:r>
              <a:rPr lang="en-US" sz="1400" dirty="0">
                <a:ea typeface="Verdana" panose="020B0604030504040204" pitchFamily="34" charset="0"/>
              </a:rPr>
              <a:t>Early positive findings encouraging, longer follow up needed</a:t>
            </a:r>
          </a:p>
          <a:p>
            <a:pPr marL="342900" indent="-342900" algn="l">
              <a:lnSpc>
                <a:spcPct val="120000"/>
              </a:lnSpc>
              <a:buFont typeface="Arial" panose="020B0604020202020204" pitchFamily="34" charset="0"/>
              <a:buChar char="•"/>
            </a:pPr>
            <a:r>
              <a:rPr lang="en-US" sz="1400" dirty="0">
                <a:ea typeface="Verdana" panose="020B0604030504040204" pitchFamily="34" charset="0"/>
              </a:rPr>
              <a:t>Most remain on </a:t>
            </a:r>
            <a:r>
              <a:rPr lang="en-US" sz="1400" dirty="0" err="1">
                <a:ea typeface="Verdana" panose="020B0604030504040204" pitchFamily="34" charset="0"/>
              </a:rPr>
              <a:t>ribociclib</a:t>
            </a:r>
            <a:r>
              <a:rPr lang="en-US" sz="1400" dirty="0">
                <a:ea typeface="Verdana" panose="020B0604030504040204" pitchFamily="34" charset="0"/>
              </a:rPr>
              <a:t> still</a:t>
            </a:r>
          </a:p>
          <a:p>
            <a:pPr marL="342900" indent="-342900" algn="l">
              <a:lnSpc>
                <a:spcPct val="120000"/>
              </a:lnSpc>
              <a:buFont typeface="Arial" panose="020B0604020202020204" pitchFamily="34" charset="0"/>
              <a:buChar char="•"/>
            </a:pPr>
            <a:r>
              <a:rPr lang="en-US" sz="1400" dirty="0">
                <a:ea typeface="Verdana" panose="020B0604030504040204" pitchFamily="34" charset="0"/>
              </a:rPr>
              <a:t>400mg less AE and early evidence of activity</a:t>
            </a:r>
          </a:p>
          <a:p>
            <a:pPr marL="800100" lvl="1" indent="-342900" algn="l">
              <a:lnSpc>
                <a:spcPct val="120000"/>
              </a:lnSpc>
              <a:buFont typeface="Arial" panose="020B0604020202020204" pitchFamily="34" charset="0"/>
              <a:buChar char="•"/>
            </a:pPr>
            <a:r>
              <a:rPr lang="en-US" sz="1000" dirty="0">
                <a:ea typeface="Verdana" panose="020B0604030504040204" pitchFamily="34" charset="0"/>
              </a:rPr>
              <a:t>Prior analysis from Monaleesa trials that dose reduction did not impact OS outcomes</a:t>
            </a:r>
            <a:endParaRPr lang="en-US" sz="1400" dirty="0">
              <a:ea typeface="Verdana" panose="020B0604030504040204" pitchFamily="34" charset="0"/>
            </a:endParaRPr>
          </a:p>
          <a:p>
            <a:pPr marL="342900" indent="-342900" algn="l">
              <a:lnSpc>
                <a:spcPct val="120000"/>
              </a:lnSpc>
              <a:buFont typeface="Arial" panose="020B0604020202020204" pitchFamily="34" charset="0"/>
              <a:buChar char="•"/>
            </a:pPr>
            <a:r>
              <a:rPr lang="en-US" sz="1400" dirty="0">
                <a:ea typeface="Verdana" panose="020B0604030504040204" pitchFamily="34" charset="0"/>
              </a:rPr>
              <a:t>Key questions that remain:</a:t>
            </a:r>
          </a:p>
          <a:p>
            <a:pPr marL="800100" lvl="1" indent="-342900" algn="l">
              <a:lnSpc>
                <a:spcPct val="120000"/>
              </a:lnSpc>
              <a:buFont typeface="Arial" panose="020B0604020202020204" pitchFamily="34" charset="0"/>
              <a:buChar char="•"/>
            </a:pPr>
            <a:r>
              <a:rPr lang="en-US" sz="1400" dirty="0">
                <a:ea typeface="Verdana" panose="020B0604030504040204" pitchFamily="34" charset="0"/>
              </a:rPr>
              <a:t>Will Overall Survival be improved?</a:t>
            </a:r>
          </a:p>
          <a:p>
            <a:pPr marL="800100" lvl="1" indent="-342900" algn="l">
              <a:lnSpc>
                <a:spcPct val="120000"/>
              </a:lnSpc>
              <a:buFont typeface="Arial" panose="020B0604020202020204" pitchFamily="34" charset="0"/>
              <a:buChar char="•"/>
            </a:pPr>
            <a:r>
              <a:rPr lang="en-US" sz="1400" dirty="0">
                <a:ea typeface="Verdana" panose="020B0604030504040204" pitchFamily="34" charset="0"/>
              </a:rPr>
              <a:t>What is the optimal dosing and duration?</a:t>
            </a:r>
          </a:p>
          <a:p>
            <a:pPr marL="800100" lvl="1" indent="-342900" algn="l">
              <a:lnSpc>
                <a:spcPct val="120000"/>
              </a:lnSpc>
              <a:buFont typeface="Arial" panose="020B0604020202020204" pitchFamily="34" charset="0"/>
              <a:buChar char="•"/>
            </a:pPr>
            <a:r>
              <a:rPr lang="en-US" sz="1400" dirty="0">
                <a:ea typeface="Verdana" panose="020B0604030504040204" pitchFamily="34" charset="0"/>
              </a:rPr>
              <a:t>Will node negative subgroup have iDFS benefit? </a:t>
            </a:r>
          </a:p>
          <a:p>
            <a:pPr marL="1257300" lvl="2" indent="-342900" algn="l">
              <a:lnSpc>
                <a:spcPct val="120000"/>
              </a:lnSpc>
              <a:buFont typeface="Arial" panose="020B0604020202020204" pitchFamily="34" charset="0"/>
              <a:buChar char="•"/>
            </a:pPr>
            <a:r>
              <a:rPr lang="en-US" sz="1200" dirty="0">
                <a:ea typeface="Verdana" panose="020B0604030504040204" pitchFamily="34" charset="0"/>
              </a:rPr>
              <a:t>Need more follow up and data collected</a:t>
            </a:r>
          </a:p>
        </p:txBody>
      </p:sp>
      <p:sp>
        <p:nvSpPr>
          <p:cNvPr id="6" name="TextBox 5">
            <a:extLst>
              <a:ext uri="{FF2B5EF4-FFF2-40B4-BE49-F238E27FC236}">
                <a16:creationId xmlns:a16="http://schemas.microsoft.com/office/drawing/2014/main" id="{E9E1851F-89B3-3AE5-600D-BFE7B1E69C92}"/>
              </a:ext>
            </a:extLst>
          </p:cNvPr>
          <p:cNvSpPr txBox="1"/>
          <p:nvPr/>
        </p:nvSpPr>
        <p:spPr>
          <a:xfrm>
            <a:off x="3414252" y="4778477"/>
            <a:ext cx="3052916" cy="246221"/>
          </a:xfrm>
          <a:prstGeom prst="rect">
            <a:avLst/>
          </a:prstGeom>
          <a:noFill/>
        </p:spPr>
        <p:txBody>
          <a:bodyPr wrap="square" rtlCol="0">
            <a:spAutoFit/>
          </a:bodyPr>
          <a:lstStyle/>
          <a:p>
            <a:r>
              <a:rPr lang="en-US" sz="1000" dirty="0"/>
              <a:t>Hart et al, JCO 2022;40 (suppl 16):11017.</a:t>
            </a:r>
          </a:p>
        </p:txBody>
      </p:sp>
    </p:spTree>
    <p:extLst>
      <p:ext uri="{BB962C8B-B14F-4D97-AF65-F5344CB8AC3E}">
        <p14:creationId xmlns:p14="http://schemas.microsoft.com/office/powerpoint/2010/main" val="332456673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1">
            <a:extLst>
              <a:ext uri="{FF2B5EF4-FFF2-40B4-BE49-F238E27FC236}">
                <a16:creationId xmlns:a16="http://schemas.microsoft.com/office/drawing/2014/main" id="{052EC946-9AB5-6EC9-56A6-7CFBDEE0705E}"/>
              </a:ext>
            </a:extLst>
          </p:cNvPr>
          <p:cNvSpPr>
            <a:spLocks noGrp="1"/>
          </p:cNvSpPr>
          <p:nvPr>
            <p:ph type="subTitle" idx="1"/>
          </p:nvPr>
        </p:nvSpPr>
        <p:spPr>
          <a:xfrm>
            <a:off x="1371600" y="1168400"/>
            <a:ext cx="6400800" cy="2916238"/>
          </a:xfrm>
        </p:spPr>
        <p:txBody>
          <a:bodyPr anchor="ctr"/>
          <a:lstStyle/>
          <a:p>
            <a:pPr marL="0" indent="0" algn="ctr">
              <a:buNone/>
            </a:pPr>
            <a:r>
              <a:rPr lang="en-US" sz="3600" b="1" dirty="0"/>
              <a:t>CDK 4/6 inhibitors in 1L</a:t>
            </a:r>
          </a:p>
          <a:p>
            <a:pPr marL="0" indent="0" algn="ctr">
              <a:buNone/>
            </a:pPr>
            <a:endParaRPr lang="en-US" sz="3600" b="1" dirty="0"/>
          </a:p>
        </p:txBody>
      </p:sp>
    </p:spTree>
    <p:extLst>
      <p:ext uri="{BB962C8B-B14F-4D97-AF65-F5344CB8AC3E}">
        <p14:creationId xmlns:p14="http://schemas.microsoft.com/office/powerpoint/2010/main" val="581564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0" y="127465"/>
            <a:ext cx="9144000" cy="807256"/>
          </a:xfrm>
        </p:spPr>
        <p:txBody>
          <a:bodyPr/>
          <a:lstStyle/>
          <a:p>
            <a:r>
              <a:rPr lang="en-US" b="1" dirty="0"/>
              <a:t>Summary of 1L CDK 4/6 inhibitor trials</a:t>
            </a:r>
          </a:p>
        </p:txBody>
      </p:sp>
      <p:sp>
        <p:nvSpPr>
          <p:cNvPr id="6" name="TextBox 5">
            <a:extLst>
              <a:ext uri="{FF2B5EF4-FFF2-40B4-BE49-F238E27FC236}">
                <a16:creationId xmlns:a16="http://schemas.microsoft.com/office/drawing/2014/main" id="{AD6F3FA5-9647-91FC-CDEF-6A86BDFBE689}"/>
              </a:ext>
            </a:extLst>
          </p:cNvPr>
          <p:cNvSpPr txBox="1"/>
          <p:nvPr/>
        </p:nvSpPr>
        <p:spPr>
          <a:xfrm>
            <a:off x="3591231" y="4563488"/>
            <a:ext cx="3252019" cy="707886"/>
          </a:xfrm>
          <a:prstGeom prst="rect">
            <a:avLst/>
          </a:prstGeom>
          <a:noFill/>
        </p:spPr>
        <p:txBody>
          <a:bodyPr wrap="square" rtlCol="0">
            <a:spAutoFit/>
          </a:bodyPr>
          <a:lstStyle/>
          <a:p>
            <a:pPr algn="l"/>
            <a:r>
              <a:rPr lang="en-US" sz="800" dirty="0"/>
              <a:t>Slamon et al Annals of Oncology 2021, Hortobagyi et al ESMO 2021, Im et al NEJM 2019, Johnston et al NPJ </a:t>
            </a:r>
          </a:p>
          <a:p>
            <a:pPr algn="l"/>
            <a:r>
              <a:rPr lang="en-US" sz="800" dirty="0"/>
              <a:t>Breast Cancer 2019, Finn et al BCRT 2020, Goetz ESMO 2022, Lu et al Clin Cancer Research 2022</a:t>
            </a:r>
          </a:p>
          <a:p>
            <a:endParaRPr lang="en-US" sz="800" dirty="0"/>
          </a:p>
        </p:txBody>
      </p:sp>
      <p:graphicFrame>
        <p:nvGraphicFramePr>
          <p:cNvPr id="8" name="Table 8">
            <a:extLst>
              <a:ext uri="{FF2B5EF4-FFF2-40B4-BE49-F238E27FC236}">
                <a16:creationId xmlns:a16="http://schemas.microsoft.com/office/drawing/2014/main" id="{C5712C5F-3266-C6F8-FB20-6FA70DBB403D}"/>
              </a:ext>
            </a:extLst>
          </p:cNvPr>
          <p:cNvGraphicFramePr>
            <a:graphicFrameLocks noGrp="1"/>
          </p:cNvGraphicFramePr>
          <p:nvPr>
            <p:extLst>
              <p:ext uri="{D42A27DB-BD31-4B8C-83A1-F6EECF244321}">
                <p14:modId xmlns:p14="http://schemas.microsoft.com/office/powerpoint/2010/main" val="2861182468"/>
              </p:ext>
            </p:extLst>
          </p:nvPr>
        </p:nvGraphicFramePr>
        <p:xfrm>
          <a:off x="641554" y="806291"/>
          <a:ext cx="7860891" cy="3535680"/>
        </p:xfrm>
        <a:graphic>
          <a:graphicData uri="http://schemas.openxmlformats.org/drawingml/2006/table">
            <a:tbl>
              <a:tblPr firstRow="1" bandRow="1">
                <a:tableStyleId>{5C22544A-7EE6-4342-B048-85BDC9FD1C3A}</a:tableStyleId>
              </a:tblPr>
              <a:tblGrid>
                <a:gridCol w="1194855">
                  <a:extLst>
                    <a:ext uri="{9D8B030D-6E8A-4147-A177-3AD203B41FA5}">
                      <a16:colId xmlns:a16="http://schemas.microsoft.com/office/drawing/2014/main" val="1778503661"/>
                    </a:ext>
                  </a:extLst>
                </a:gridCol>
                <a:gridCol w="1765111">
                  <a:extLst>
                    <a:ext uri="{9D8B030D-6E8A-4147-A177-3AD203B41FA5}">
                      <a16:colId xmlns:a16="http://schemas.microsoft.com/office/drawing/2014/main" val="4004388212"/>
                    </a:ext>
                  </a:extLst>
                </a:gridCol>
                <a:gridCol w="1180103">
                  <a:extLst>
                    <a:ext uri="{9D8B030D-6E8A-4147-A177-3AD203B41FA5}">
                      <a16:colId xmlns:a16="http://schemas.microsoft.com/office/drawing/2014/main" val="3453340847"/>
                    </a:ext>
                  </a:extLst>
                </a:gridCol>
                <a:gridCol w="1218369">
                  <a:extLst>
                    <a:ext uri="{9D8B030D-6E8A-4147-A177-3AD203B41FA5}">
                      <a16:colId xmlns:a16="http://schemas.microsoft.com/office/drawing/2014/main" val="3225857704"/>
                    </a:ext>
                  </a:extLst>
                </a:gridCol>
                <a:gridCol w="1318079">
                  <a:extLst>
                    <a:ext uri="{9D8B030D-6E8A-4147-A177-3AD203B41FA5}">
                      <a16:colId xmlns:a16="http://schemas.microsoft.com/office/drawing/2014/main" val="1657236884"/>
                    </a:ext>
                  </a:extLst>
                </a:gridCol>
                <a:gridCol w="1184374">
                  <a:extLst>
                    <a:ext uri="{9D8B030D-6E8A-4147-A177-3AD203B41FA5}">
                      <a16:colId xmlns:a16="http://schemas.microsoft.com/office/drawing/2014/main" val="1171515622"/>
                    </a:ext>
                  </a:extLst>
                </a:gridCol>
              </a:tblGrid>
              <a:tr h="189551">
                <a:tc>
                  <a:txBody>
                    <a:bodyPr/>
                    <a:lstStyle/>
                    <a:p>
                      <a:r>
                        <a:rPr lang="en-US" sz="1000" dirty="0">
                          <a:solidFill>
                            <a:schemeClr val="tx1"/>
                          </a:solidFill>
                        </a:rPr>
                        <a:t>Trial</a:t>
                      </a:r>
                    </a:p>
                  </a:txBody>
                  <a:tcPr/>
                </a:tc>
                <a:tc>
                  <a:txBody>
                    <a:bodyPr/>
                    <a:lstStyle/>
                    <a:p>
                      <a:r>
                        <a:rPr lang="en-US" sz="1000" dirty="0">
                          <a:solidFill>
                            <a:schemeClr val="tx1"/>
                          </a:solidFill>
                        </a:rPr>
                        <a:t>Population</a:t>
                      </a:r>
                    </a:p>
                  </a:txBody>
                  <a:tcPr/>
                </a:tc>
                <a:tc>
                  <a:txBody>
                    <a:bodyPr/>
                    <a:lstStyle/>
                    <a:p>
                      <a:r>
                        <a:rPr lang="en-US" sz="1000" dirty="0">
                          <a:solidFill>
                            <a:schemeClr val="tx1"/>
                          </a:solidFill>
                        </a:rPr>
                        <a:t>mPFS/ (∆)</a:t>
                      </a:r>
                    </a:p>
                  </a:txBody>
                  <a:tcPr/>
                </a:tc>
                <a:tc>
                  <a:txBody>
                    <a:bodyPr/>
                    <a:lstStyle/>
                    <a:p>
                      <a:r>
                        <a:rPr lang="en-US" sz="1000" dirty="0">
                          <a:solidFill>
                            <a:schemeClr val="tx1"/>
                          </a:solidFill>
                        </a:rPr>
                        <a:t>HR/p value</a:t>
                      </a:r>
                    </a:p>
                  </a:txBody>
                  <a:tcPr/>
                </a:tc>
                <a:tc>
                  <a:txBody>
                    <a:bodyPr/>
                    <a:lstStyle/>
                    <a:p>
                      <a:r>
                        <a:rPr lang="en-US" sz="1000" dirty="0">
                          <a:solidFill>
                            <a:schemeClr val="tx1"/>
                          </a:solidFill>
                        </a:rPr>
                        <a:t>mOS/ (∆)</a:t>
                      </a:r>
                    </a:p>
                  </a:txBody>
                  <a:tcPr/>
                </a:tc>
                <a:tc>
                  <a:txBody>
                    <a:bodyPr/>
                    <a:lstStyle/>
                    <a:p>
                      <a:r>
                        <a:rPr lang="en-US" sz="1000" dirty="0">
                          <a:solidFill>
                            <a:schemeClr val="tx1"/>
                          </a:solidFill>
                        </a:rPr>
                        <a:t>HR/p value</a:t>
                      </a:r>
                    </a:p>
                  </a:txBody>
                  <a:tcPr/>
                </a:tc>
                <a:extLst>
                  <a:ext uri="{0D108BD9-81ED-4DB2-BD59-A6C34878D82A}">
                    <a16:rowId xmlns:a16="http://schemas.microsoft.com/office/drawing/2014/main" val="1112445637"/>
                  </a:ext>
                </a:extLst>
              </a:tr>
              <a:tr h="426490">
                <a:tc>
                  <a:txBody>
                    <a:bodyPr/>
                    <a:lstStyle/>
                    <a:p>
                      <a:r>
                        <a:rPr lang="en-US" sz="1000" dirty="0"/>
                        <a:t>Paloma 1</a:t>
                      </a:r>
                    </a:p>
                  </a:txBody>
                  <a:tcPr/>
                </a:tc>
                <a:tc>
                  <a:txBody>
                    <a:bodyPr/>
                    <a:lstStyle/>
                    <a:p>
                      <a:r>
                        <a:rPr lang="en-US" sz="1000" dirty="0"/>
                        <a:t>N = 165</a:t>
                      </a:r>
                    </a:p>
                    <a:p>
                      <a:r>
                        <a:rPr lang="en-US" sz="1000" dirty="0"/>
                        <a:t>Post-meno</a:t>
                      </a:r>
                    </a:p>
                    <a:p>
                      <a:r>
                        <a:rPr lang="en-US" sz="1000" dirty="0"/>
                        <a:t>Letrozole +/- palbo</a:t>
                      </a:r>
                    </a:p>
                  </a:txBody>
                  <a:tcPr/>
                </a:tc>
                <a:tc>
                  <a:txBody>
                    <a:bodyPr/>
                    <a:lstStyle/>
                    <a:p>
                      <a:r>
                        <a:rPr lang="en-US" sz="1000" dirty="0"/>
                        <a:t>20.2/ 10 mo</a:t>
                      </a:r>
                    </a:p>
                  </a:txBody>
                  <a:tcPr/>
                </a:tc>
                <a:tc>
                  <a:txBody>
                    <a:bodyPr/>
                    <a:lstStyle/>
                    <a:p>
                      <a:r>
                        <a:rPr lang="en-US" sz="1000" dirty="0"/>
                        <a:t>0.488/ &lt;0.0004</a:t>
                      </a:r>
                    </a:p>
                  </a:txBody>
                  <a:tcPr/>
                </a:tc>
                <a:tc>
                  <a:txBody>
                    <a:bodyPr/>
                    <a:lstStyle/>
                    <a:p>
                      <a:r>
                        <a:rPr lang="en-US" sz="1000" b="0" dirty="0"/>
                        <a:t>37.5 mo/ 3.2 mo </a:t>
                      </a:r>
                    </a:p>
                  </a:txBody>
                  <a:tcPr/>
                </a:tc>
                <a:tc>
                  <a:txBody>
                    <a:bodyPr/>
                    <a:lstStyle/>
                    <a:p>
                      <a:r>
                        <a:rPr lang="en-US" sz="1000" i="1" dirty="0"/>
                        <a:t>0.897/ 0.281</a:t>
                      </a:r>
                    </a:p>
                  </a:txBody>
                  <a:tcPr/>
                </a:tc>
                <a:extLst>
                  <a:ext uri="{0D108BD9-81ED-4DB2-BD59-A6C34878D82A}">
                    <a16:rowId xmlns:a16="http://schemas.microsoft.com/office/drawing/2014/main" val="3578747750"/>
                  </a:ext>
                </a:extLst>
              </a:tr>
              <a:tr h="426490">
                <a:tc>
                  <a:txBody>
                    <a:bodyPr/>
                    <a:lstStyle/>
                    <a:p>
                      <a:r>
                        <a:rPr lang="en-US" sz="1000" dirty="0"/>
                        <a:t>Paloma 2</a:t>
                      </a:r>
                    </a:p>
                  </a:txBody>
                  <a:tcPr/>
                </a:tc>
                <a:tc>
                  <a:txBody>
                    <a:bodyPr/>
                    <a:lstStyle/>
                    <a:p>
                      <a:r>
                        <a:rPr lang="en-US" sz="1000" dirty="0"/>
                        <a:t>N = 666</a:t>
                      </a:r>
                    </a:p>
                    <a:p>
                      <a:r>
                        <a:rPr lang="en-US" sz="1000" dirty="0"/>
                        <a:t>Post-meno </a:t>
                      </a:r>
                    </a:p>
                    <a:p>
                      <a:r>
                        <a:rPr lang="en-US" sz="1000" dirty="0"/>
                        <a:t>Letrozole +/- palbo</a:t>
                      </a:r>
                    </a:p>
                  </a:txBody>
                  <a:tcPr/>
                </a:tc>
                <a:tc>
                  <a:txBody>
                    <a:bodyPr/>
                    <a:lstStyle/>
                    <a:p>
                      <a:r>
                        <a:rPr lang="en-US" sz="1000" dirty="0"/>
                        <a:t>24.8 mo/ 10 mo</a:t>
                      </a:r>
                    </a:p>
                  </a:txBody>
                  <a:tcPr/>
                </a:tc>
                <a:tc>
                  <a:txBody>
                    <a:bodyPr/>
                    <a:lstStyle/>
                    <a:p>
                      <a:r>
                        <a:rPr lang="en-US" sz="1000" dirty="0"/>
                        <a:t>0.58/ &lt;0.001</a:t>
                      </a:r>
                    </a:p>
                  </a:txBody>
                  <a:tcPr/>
                </a:tc>
                <a:tc>
                  <a:txBody>
                    <a:bodyPr/>
                    <a:lstStyle/>
                    <a:p>
                      <a:r>
                        <a:rPr lang="en-US" sz="1000" b="0" dirty="0"/>
                        <a:t>53.9 mo/ 3 mo</a:t>
                      </a:r>
                    </a:p>
                  </a:txBody>
                  <a:tcPr/>
                </a:tc>
                <a:tc>
                  <a:txBody>
                    <a:bodyPr/>
                    <a:lstStyle/>
                    <a:p>
                      <a:r>
                        <a:rPr lang="en-US" sz="1000" i="1" dirty="0"/>
                        <a:t>0.956/ 0.338</a:t>
                      </a:r>
                    </a:p>
                  </a:txBody>
                  <a:tcPr/>
                </a:tc>
                <a:extLst>
                  <a:ext uri="{0D108BD9-81ED-4DB2-BD59-A6C34878D82A}">
                    <a16:rowId xmlns:a16="http://schemas.microsoft.com/office/drawing/2014/main" val="481115375"/>
                  </a:ext>
                </a:extLst>
              </a:tr>
              <a:tr h="426490">
                <a:tc>
                  <a:txBody>
                    <a:bodyPr/>
                    <a:lstStyle/>
                    <a:p>
                      <a:r>
                        <a:rPr lang="en-US" sz="1000" dirty="0"/>
                        <a:t>Monaleesa 2</a:t>
                      </a:r>
                    </a:p>
                  </a:txBody>
                  <a:tcPr/>
                </a:tc>
                <a:tc>
                  <a:txBody>
                    <a:bodyPr/>
                    <a:lstStyle/>
                    <a:p>
                      <a:r>
                        <a:rPr lang="en-US" sz="1000" dirty="0"/>
                        <a:t>N = 668</a:t>
                      </a:r>
                    </a:p>
                    <a:p>
                      <a:r>
                        <a:rPr lang="en-US" sz="1000" dirty="0"/>
                        <a:t>Post-meno</a:t>
                      </a:r>
                    </a:p>
                    <a:p>
                      <a:r>
                        <a:rPr lang="en-US" sz="1000" dirty="0"/>
                        <a:t>Letrozole +/- ribo</a:t>
                      </a:r>
                    </a:p>
                  </a:txBody>
                  <a:tcPr/>
                </a:tc>
                <a:tc>
                  <a:txBody>
                    <a:bodyPr/>
                    <a:lstStyle/>
                    <a:p>
                      <a:r>
                        <a:rPr lang="en-US" sz="1000" dirty="0"/>
                        <a:t>25.3 mo/ 9 mo</a:t>
                      </a:r>
                    </a:p>
                  </a:txBody>
                  <a:tcPr/>
                </a:tc>
                <a:tc>
                  <a:txBody>
                    <a:bodyPr/>
                    <a:lstStyle/>
                    <a:p>
                      <a:r>
                        <a:rPr lang="en-US" sz="1000" dirty="0"/>
                        <a:t>0.57/ &lt;0.001</a:t>
                      </a:r>
                    </a:p>
                  </a:txBody>
                  <a:tcPr/>
                </a:tc>
                <a:tc>
                  <a:txBody>
                    <a:bodyPr/>
                    <a:lstStyle/>
                    <a:p>
                      <a:r>
                        <a:rPr lang="en-US" sz="1000" b="0" dirty="0"/>
                        <a:t>63.9 mo/ 12.5 mo</a:t>
                      </a:r>
                    </a:p>
                  </a:txBody>
                  <a:tcPr/>
                </a:tc>
                <a:tc>
                  <a:txBody>
                    <a:bodyPr/>
                    <a:lstStyle/>
                    <a:p>
                      <a:r>
                        <a:rPr lang="en-US" sz="1000" b="0" dirty="0">
                          <a:solidFill>
                            <a:schemeClr val="tx1"/>
                          </a:solidFill>
                        </a:rPr>
                        <a:t>0.76/ &lt;0.001</a:t>
                      </a:r>
                    </a:p>
                  </a:txBody>
                  <a:tcPr/>
                </a:tc>
                <a:extLst>
                  <a:ext uri="{0D108BD9-81ED-4DB2-BD59-A6C34878D82A}">
                    <a16:rowId xmlns:a16="http://schemas.microsoft.com/office/drawing/2014/main" val="1452617177"/>
                  </a:ext>
                </a:extLst>
              </a:tr>
              <a:tr h="426490">
                <a:tc>
                  <a:txBody>
                    <a:bodyPr/>
                    <a:lstStyle/>
                    <a:p>
                      <a:r>
                        <a:rPr lang="en-US" sz="1000" dirty="0"/>
                        <a:t>Monaleesa 3</a:t>
                      </a:r>
                    </a:p>
                  </a:txBody>
                  <a:tcPr/>
                </a:tc>
                <a:tc>
                  <a:txBody>
                    <a:bodyPr/>
                    <a:lstStyle/>
                    <a:p>
                      <a:r>
                        <a:rPr lang="en-US" sz="1000" dirty="0"/>
                        <a:t>N = 365 (1L)</a:t>
                      </a:r>
                    </a:p>
                    <a:p>
                      <a:r>
                        <a:rPr lang="en-US" sz="1000" dirty="0"/>
                        <a:t>Post-meno</a:t>
                      </a:r>
                    </a:p>
                    <a:p>
                      <a:r>
                        <a:rPr lang="en-US" sz="1000" dirty="0"/>
                        <a:t>Fulvestrant +/- ribo</a:t>
                      </a:r>
                    </a:p>
                  </a:txBody>
                  <a:tcPr/>
                </a:tc>
                <a:tc>
                  <a:txBody>
                    <a:bodyPr/>
                    <a:lstStyle/>
                    <a:p>
                      <a:r>
                        <a:rPr lang="en-US" sz="1000" dirty="0"/>
                        <a:t>33.6 mo/ 15 mo</a:t>
                      </a:r>
                    </a:p>
                  </a:txBody>
                  <a:tcPr/>
                </a:tc>
                <a:tc>
                  <a:txBody>
                    <a:bodyPr/>
                    <a:lstStyle/>
                    <a:p>
                      <a:r>
                        <a:rPr lang="en-US" sz="1000" dirty="0"/>
                        <a:t>0.55/ SS</a:t>
                      </a:r>
                    </a:p>
                  </a:txBody>
                  <a:tcPr/>
                </a:tc>
                <a:tc>
                  <a:txBody>
                    <a:bodyPr/>
                    <a:lstStyle/>
                    <a:p>
                      <a:r>
                        <a:rPr lang="en-US" sz="1000" b="0" dirty="0"/>
                        <a:t>NR at 52 mo </a:t>
                      </a:r>
                    </a:p>
                  </a:txBody>
                  <a:tcPr/>
                </a:tc>
                <a:tc>
                  <a:txBody>
                    <a:bodyPr/>
                    <a:lstStyle/>
                    <a:p>
                      <a:r>
                        <a:rPr lang="en-US" sz="1000" b="0" dirty="0">
                          <a:solidFill>
                            <a:schemeClr val="tx1"/>
                          </a:solidFill>
                        </a:rPr>
                        <a:t>0.70/ SS</a:t>
                      </a:r>
                    </a:p>
                  </a:txBody>
                  <a:tcPr/>
                </a:tc>
                <a:extLst>
                  <a:ext uri="{0D108BD9-81ED-4DB2-BD59-A6C34878D82A}">
                    <a16:rowId xmlns:a16="http://schemas.microsoft.com/office/drawing/2014/main" val="4292564829"/>
                  </a:ext>
                </a:extLst>
              </a:tr>
              <a:tr h="426490">
                <a:tc>
                  <a:txBody>
                    <a:bodyPr/>
                    <a:lstStyle/>
                    <a:p>
                      <a:r>
                        <a:rPr lang="en-US" sz="1000" dirty="0"/>
                        <a:t>Monaleesa 7</a:t>
                      </a:r>
                    </a:p>
                  </a:txBody>
                  <a:tcPr/>
                </a:tc>
                <a:tc>
                  <a:txBody>
                    <a:bodyPr/>
                    <a:lstStyle/>
                    <a:p>
                      <a:r>
                        <a:rPr lang="en-US" sz="1000" dirty="0"/>
                        <a:t>N = 672</a:t>
                      </a:r>
                    </a:p>
                    <a:p>
                      <a:r>
                        <a:rPr lang="en-US" sz="1000" dirty="0"/>
                        <a:t>Pre/peri-meno</a:t>
                      </a:r>
                    </a:p>
                    <a:p>
                      <a:r>
                        <a:rPr lang="en-US" sz="1000" dirty="0"/>
                        <a:t>OFS + tam or AI +/- ribo</a:t>
                      </a:r>
                    </a:p>
                  </a:txBody>
                  <a:tcPr/>
                </a:tc>
                <a:tc>
                  <a:txBody>
                    <a:bodyPr/>
                    <a:lstStyle/>
                    <a:p>
                      <a:r>
                        <a:rPr lang="en-US" sz="1000" dirty="0"/>
                        <a:t>23.8mo/ 11 mo</a:t>
                      </a:r>
                    </a:p>
                  </a:txBody>
                  <a:tcPr/>
                </a:tc>
                <a:tc>
                  <a:txBody>
                    <a:bodyPr/>
                    <a:lstStyle/>
                    <a:p>
                      <a:r>
                        <a:rPr lang="en-US" sz="1000" dirty="0"/>
                        <a:t>0.55/ &lt;0.001</a:t>
                      </a:r>
                    </a:p>
                  </a:txBody>
                  <a:tcPr/>
                </a:tc>
                <a:tc>
                  <a:txBody>
                    <a:bodyPr/>
                    <a:lstStyle/>
                    <a:p>
                      <a:r>
                        <a:rPr lang="en-US" sz="1000" b="0" dirty="0"/>
                        <a:t>58.7 mo/ 11mo</a:t>
                      </a:r>
                    </a:p>
                  </a:txBody>
                  <a:tcPr/>
                </a:tc>
                <a:tc>
                  <a:txBody>
                    <a:bodyPr/>
                    <a:lstStyle/>
                    <a:p>
                      <a:r>
                        <a:rPr lang="en-US" sz="1000" b="0" dirty="0">
                          <a:solidFill>
                            <a:schemeClr val="tx1"/>
                          </a:solidFill>
                        </a:rPr>
                        <a:t>0.76/ 0.009</a:t>
                      </a:r>
                    </a:p>
                  </a:txBody>
                  <a:tcPr/>
                </a:tc>
                <a:extLst>
                  <a:ext uri="{0D108BD9-81ED-4DB2-BD59-A6C34878D82A}">
                    <a16:rowId xmlns:a16="http://schemas.microsoft.com/office/drawing/2014/main" val="67610283"/>
                  </a:ext>
                </a:extLst>
              </a:tr>
              <a:tr h="426490">
                <a:tc>
                  <a:txBody>
                    <a:bodyPr/>
                    <a:lstStyle/>
                    <a:p>
                      <a:r>
                        <a:rPr lang="en-US" sz="1000" dirty="0"/>
                        <a:t>Monarch 3</a:t>
                      </a:r>
                    </a:p>
                  </a:txBody>
                  <a:tcPr/>
                </a:tc>
                <a:tc>
                  <a:txBody>
                    <a:bodyPr/>
                    <a:lstStyle/>
                    <a:p>
                      <a:r>
                        <a:rPr lang="en-US" sz="1000" dirty="0"/>
                        <a:t>N = 493</a:t>
                      </a:r>
                    </a:p>
                    <a:p>
                      <a:r>
                        <a:rPr lang="en-US" sz="1000" dirty="0"/>
                        <a:t>Post-meno</a:t>
                      </a:r>
                    </a:p>
                    <a:p>
                      <a:r>
                        <a:rPr lang="en-US" sz="1000" dirty="0"/>
                        <a:t>AI +/- abema</a:t>
                      </a:r>
                    </a:p>
                  </a:txBody>
                  <a:tcPr/>
                </a:tc>
                <a:tc>
                  <a:txBody>
                    <a:bodyPr/>
                    <a:lstStyle/>
                    <a:p>
                      <a:r>
                        <a:rPr lang="en-US" sz="1000" dirty="0"/>
                        <a:t>28.2 mo/ 14mo</a:t>
                      </a:r>
                    </a:p>
                  </a:txBody>
                  <a:tcPr/>
                </a:tc>
                <a:tc>
                  <a:txBody>
                    <a:bodyPr/>
                    <a:lstStyle/>
                    <a:p>
                      <a:r>
                        <a:rPr lang="en-US" sz="1000" dirty="0"/>
                        <a:t>0.54/ 0.00002</a:t>
                      </a:r>
                    </a:p>
                  </a:txBody>
                  <a:tcPr/>
                </a:tc>
                <a:tc>
                  <a:txBody>
                    <a:bodyPr/>
                    <a:lstStyle/>
                    <a:p>
                      <a:r>
                        <a:rPr lang="en-US" sz="1000" b="0" dirty="0"/>
                        <a:t>67.1mo/ 12 mo</a:t>
                      </a:r>
                    </a:p>
                  </a:txBody>
                  <a:tcPr/>
                </a:tc>
                <a:tc>
                  <a:txBody>
                    <a:bodyPr/>
                    <a:lstStyle/>
                    <a:p>
                      <a:r>
                        <a:rPr lang="en-US" sz="1000" b="0" dirty="0">
                          <a:solidFill>
                            <a:schemeClr val="tx1"/>
                          </a:solidFill>
                        </a:rPr>
                        <a:t>0.754/ 0.0301</a:t>
                      </a:r>
                    </a:p>
                  </a:txBody>
                  <a:tcPr/>
                </a:tc>
                <a:extLst>
                  <a:ext uri="{0D108BD9-81ED-4DB2-BD59-A6C34878D82A}">
                    <a16:rowId xmlns:a16="http://schemas.microsoft.com/office/drawing/2014/main" val="3253603361"/>
                  </a:ext>
                </a:extLst>
              </a:tr>
            </a:tbl>
          </a:graphicData>
        </a:graphic>
      </p:graphicFrame>
      <p:sp>
        <p:nvSpPr>
          <p:cNvPr id="9" name="Rectangle 8">
            <a:extLst>
              <a:ext uri="{FF2B5EF4-FFF2-40B4-BE49-F238E27FC236}">
                <a16:creationId xmlns:a16="http://schemas.microsoft.com/office/drawing/2014/main" id="{10570108-31F6-3AF9-DF1F-79221CA151B6}"/>
              </a:ext>
            </a:extLst>
          </p:cNvPr>
          <p:cNvSpPr/>
          <p:nvPr/>
        </p:nvSpPr>
        <p:spPr bwMode="auto">
          <a:xfrm>
            <a:off x="6002594" y="754700"/>
            <a:ext cx="2499851" cy="3587271"/>
          </a:xfrm>
          <a:prstGeom prst="rect">
            <a:avLst/>
          </a:prstGeom>
          <a:noFill/>
          <a:ln w="19050">
            <a:solidFill>
              <a:srgbClr val="FF0000"/>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Tree>
    <p:extLst>
      <p:ext uri="{BB962C8B-B14F-4D97-AF65-F5344CB8AC3E}">
        <p14:creationId xmlns:p14="http://schemas.microsoft.com/office/powerpoint/2010/main" val="214370424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0" y="127465"/>
            <a:ext cx="9144000" cy="807256"/>
          </a:xfrm>
        </p:spPr>
        <p:txBody>
          <a:bodyPr/>
          <a:lstStyle/>
          <a:p>
            <a:r>
              <a:rPr lang="en-US" b="1" dirty="0"/>
              <a:t>OS comparison in 1L</a:t>
            </a:r>
          </a:p>
        </p:txBody>
      </p:sp>
      <p:graphicFrame>
        <p:nvGraphicFramePr>
          <p:cNvPr id="3" name="Table 8">
            <a:extLst>
              <a:ext uri="{FF2B5EF4-FFF2-40B4-BE49-F238E27FC236}">
                <a16:creationId xmlns:a16="http://schemas.microsoft.com/office/drawing/2014/main" id="{2C8C2E74-A43D-3929-3813-9861069BA73D}"/>
              </a:ext>
            </a:extLst>
          </p:cNvPr>
          <p:cNvGraphicFramePr>
            <a:graphicFrameLocks noGrp="1"/>
          </p:cNvGraphicFramePr>
          <p:nvPr>
            <p:extLst>
              <p:ext uri="{D42A27DB-BD31-4B8C-83A1-F6EECF244321}">
                <p14:modId xmlns:p14="http://schemas.microsoft.com/office/powerpoint/2010/main" val="1939571057"/>
              </p:ext>
            </p:extLst>
          </p:nvPr>
        </p:nvGraphicFramePr>
        <p:xfrm>
          <a:off x="1892781" y="1064388"/>
          <a:ext cx="5358438" cy="1077897"/>
        </p:xfrm>
        <a:graphic>
          <a:graphicData uri="http://schemas.openxmlformats.org/drawingml/2006/table">
            <a:tbl>
              <a:tblPr firstRow="1" bandRow="1">
                <a:tableStyleId>{5C22544A-7EE6-4342-B048-85BDC9FD1C3A}</a:tableStyleId>
              </a:tblPr>
              <a:tblGrid>
                <a:gridCol w="1194855">
                  <a:extLst>
                    <a:ext uri="{9D8B030D-6E8A-4147-A177-3AD203B41FA5}">
                      <a16:colId xmlns:a16="http://schemas.microsoft.com/office/drawing/2014/main" val="1778503661"/>
                    </a:ext>
                  </a:extLst>
                </a:gridCol>
                <a:gridCol w="1765111">
                  <a:extLst>
                    <a:ext uri="{9D8B030D-6E8A-4147-A177-3AD203B41FA5}">
                      <a16:colId xmlns:a16="http://schemas.microsoft.com/office/drawing/2014/main" val="4004388212"/>
                    </a:ext>
                  </a:extLst>
                </a:gridCol>
                <a:gridCol w="1180103">
                  <a:extLst>
                    <a:ext uri="{9D8B030D-6E8A-4147-A177-3AD203B41FA5}">
                      <a16:colId xmlns:a16="http://schemas.microsoft.com/office/drawing/2014/main" val="3453340847"/>
                    </a:ext>
                  </a:extLst>
                </a:gridCol>
                <a:gridCol w="1218369">
                  <a:extLst>
                    <a:ext uri="{9D8B030D-6E8A-4147-A177-3AD203B41FA5}">
                      <a16:colId xmlns:a16="http://schemas.microsoft.com/office/drawing/2014/main" val="3225857704"/>
                    </a:ext>
                  </a:extLst>
                </a:gridCol>
              </a:tblGrid>
              <a:tr h="158954">
                <a:tc>
                  <a:txBody>
                    <a:bodyPr/>
                    <a:lstStyle/>
                    <a:p>
                      <a:r>
                        <a:rPr lang="en-US" sz="1000" dirty="0">
                          <a:solidFill>
                            <a:schemeClr val="tx1"/>
                          </a:solidFill>
                        </a:rPr>
                        <a:t>Trial</a:t>
                      </a:r>
                    </a:p>
                  </a:txBody>
                  <a:tcPr/>
                </a:tc>
                <a:tc>
                  <a:txBody>
                    <a:bodyPr/>
                    <a:lstStyle/>
                    <a:p>
                      <a:r>
                        <a:rPr lang="en-US" sz="1000" dirty="0">
                          <a:solidFill>
                            <a:schemeClr val="tx1"/>
                          </a:solidFill>
                        </a:rPr>
                        <a:t>CDKi + ET</a:t>
                      </a:r>
                    </a:p>
                  </a:txBody>
                  <a:tcPr/>
                </a:tc>
                <a:tc>
                  <a:txBody>
                    <a:bodyPr/>
                    <a:lstStyle/>
                    <a:p>
                      <a:r>
                        <a:rPr lang="en-US" sz="1000" dirty="0">
                          <a:solidFill>
                            <a:schemeClr val="tx1"/>
                          </a:solidFill>
                        </a:rPr>
                        <a:t>ET</a:t>
                      </a:r>
                    </a:p>
                  </a:txBody>
                  <a:tcPr/>
                </a:tc>
                <a:tc>
                  <a:txBody>
                    <a:bodyPr/>
                    <a:lstStyle/>
                    <a:p>
                      <a:r>
                        <a:rPr lang="en-US" sz="1000" dirty="0">
                          <a:solidFill>
                            <a:schemeClr val="tx1"/>
                          </a:solidFill>
                        </a:rPr>
                        <a:t>P value</a:t>
                      </a:r>
                    </a:p>
                  </a:txBody>
                  <a:tcPr/>
                </a:tc>
                <a:extLst>
                  <a:ext uri="{0D108BD9-81ED-4DB2-BD59-A6C34878D82A}">
                    <a16:rowId xmlns:a16="http://schemas.microsoft.com/office/drawing/2014/main" val="1112445637"/>
                  </a:ext>
                </a:extLst>
              </a:tr>
              <a:tr h="278019">
                <a:tc>
                  <a:txBody>
                    <a:bodyPr/>
                    <a:lstStyle/>
                    <a:p>
                      <a:r>
                        <a:rPr lang="en-US" sz="1000" dirty="0"/>
                        <a:t>Monaleesa 2</a:t>
                      </a:r>
                    </a:p>
                  </a:txBody>
                  <a:tcPr/>
                </a:tc>
                <a:tc>
                  <a:txBody>
                    <a:bodyPr/>
                    <a:lstStyle/>
                    <a:p>
                      <a:r>
                        <a:rPr lang="en-US" sz="1000" dirty="0"/>
                        <a:t>64 months</a:t>
                      </a:r>
                    </a:p>
                  </a:txBody>
                  <a:tcPr/>
                </a:tc>
                <a:tc>
                  <a:txBody>
                    <a:bodyPr/>
                    <a:lstStyle/>
                    <a:p>
                      <a:r>
                        <a:rPr lang="en-US" sz="1000" dirty="0"/>
                        <a:t>51 months</a:t>
                      </a:r>
                    </a:p>
                  </a:txBody>
                  <a:tcPr/>
                </a:tc>
                <a:tc>
                  <a:txBody>
                    <a:bodyPr/>
                    <a:lstStyle/>
                    <a:p>
                      <a:r>
                        <a:rPr lang="en-US" sz="1000" dirty="0"/>
                        <a:t>&lt;0.001</a:t>
                      </a:r>
                    </a:p>
                  </a:txBody>
                  <a:tcPr/>
                </a:tc>
                <a:extLst>
                  <a:ext uri="{0D108BD9-81ED-4DB2-BD59-A6C34878D82A}">
                    <a16:rowId xmlns:a16="http://schemas.microsoft.com/office/drawing/2014/main" val="3578747750"/>
                  </a:ext>
                </a:extLst>
              </a:tr>
              <a:tr h="278019">
                <a:tc>
                  <a:txBody>
                    <a:bodyPr/>
                    <a:lstStyle/>
                    <a:p>
                      <a:r>
                        <a:rPr lang="en-US" sz="1000" dirty="0"/>
                        <a:t>Paloma 2</a:t>
                      </a:r>
                    </a:p>
                  </a:txBody>
                  <a:tcPr/>
                </a:tc>
                <a:tc>
                  <a:txBody>
                    <a:bodyPr/>
                    <a:lstStyle/>
                    <a:p>
                      <a:r>
                        <a:rPr lang="en-US" sz="1000" dirty="0"/>
                        <a:t>54 months</a:t>
                      </a:r>
                    </a:p>
                  </a:txBody>
                  <a:tcPr/>
                </a:tc>
                <a:tc>
                  <a:txBody>
                    <a:bodyPr/>
                    <a:lstStyle/>
                    <a:p>
                      <a:r>
                        <a:rPr lang="en-US" sz="1000" dirty="0"/>
                        <a:t>51 months</a:t>
                      </a:r>
                    </a:p>
                  </a:txBody>
                  <a:tcPr/>
                </a:tc>
                <a:tc>
                  <a:txBody>
                    <a:bodyPr/>
                    <a:lstStyle/>
                    <a:p>
                      <a:r>
                        <a:rPr lang="en-US" sz="1000" dirty="0"/>
                        <a:t>0.338</a:t>
                      </a:r>
                    </a:p>
                  </a:txBody>
                  <a:tcPr/>
                </a:tc>
                <a:extLst>
                  <a:ext uri="{0D108BD9-81ED-4DB2-BD59-A6C34878D82A}">
                    <a16:rowId xmlns:a16="http://schemas.microsoft.com/office/drawing/2014/main" val="481115375"/>
                  </a:ext>
                </a:extLst>
              </a:tr>
              <a:tr h="278019">
                <a:tc>
                  <a:txBody>
                    <a:bodyPr/>
                    <a:lstStyle/>
                    <a:p>
                      <a:r>
                        <a:rPr lang="en-US" sz="1000" dirty="0"/>
                        <a:t>Monarch 3</a:t>
                      </a:r>
                    </a:p>
                  </a:txBody>
                  <a:tcPr/>
                </a:tc>
                <a:tc>
                  <a:txBody>
                    <a:bodyPr/>
                    <a:lstStyle/>
                    <a:p>
                      <a:r>
                        <a:rPr lang="en-US" sz="1000" dirty="0"/>
                        <a:t>67 months</a:t>
                      </a:r>
                    </a:p>
                  </a:txBody>
                  <a:tcPr/>
                </a:tc>
                <a:tc>
                  <a:txBody>
                    <a:bodyPr/>
                    <a:lstStyle/>
                    <a:p>
                      <a:r>
                        <a:rPr lang="en-US" sz="1000" dirty="0"/>
                        <a:t>54 months</a:t>
                      </a:r>
                    </a:p>
                  </a:txBody>
                  <a:tcPr/>
                </a:tc>
                <a:tc>
                  <a:txBody>
                    <a:bodyPr/>
                    <a:lstStyle/>
                    <a:p>
                      <a:r>
                        <a:rPr lang="en-US" sz="1000" dirty="0"/>
                        <a:t>0.03</a:t>
                      </a:r>
                    </a:p>
                  </a:txBody>
                  <a:tcPr/>
                </a:tc>
                <a:extLst>
                  <a:ext uri="{0D108BD9-81ED-4DB2-BD59-A6C34878D82A}">
                    <a16:rowId xmlns:a16="http://schemas.microsoft.com/office/drawing/2014/main" val="1452617177"/>
                  </a:ext>
                </a:extLst>
              </a:tr>
            </a:tbl>
          </a:graphicData>
        </a:graphic>
      </p:graphicFrame>
      <p:pic>
        <p:nvPicPr>
          <p:cNvPr id="6" name="Picture 5">
            <a:extLst>
              <a:ext uri="{FF2B5EF4-FFF2-40B4-BE49-F238E27FC236}">
                <a16:creationId xmlns:a16="http://schemas.microsoft.com/office/drawing/2014/main" id="{2A65F1A7-4F77-9B8B-3C1D-5DA318B4875B}"/>
              </a:ext>
            </a:extLst>
          </p:cNvPr>
          <p:cNvPicPr>
            <a:picLocks noChangeAspect="1"/>
          </p:cNvPicPr>
          <p:nvPr/>
        </p:nvPicPr>
        <p:blipFill>
          <a:blip r:embed="rId3"/>
          <a:stretch>
            <a:fillRect/>
          </a:stretch>
        </p:blipFill>
        <p:spPr>
          <a:xfrm>
            <a:off x="184203" y="2457545"/>
            <a:ext cx="2971952" cy="1509744"/>
          </a:xfrm>
          <a:prstGeom prst="rect">
            <a:avLst/>
          </a:prstGeom>
        </p:spPr>
      </p:pic>
      <p:pic>
        <p:nvPicPr>
          <p:cNvPr id="8" name="Picture 7">
            <a:extLst>
              <a:ext uri="{FF2B5EF4-FFF2-40B4-BE49-F238E27FC236}">
                <a16:creationId xmlns:a16="http://schemas.microsoft.com/office/drawing/2014/main" id="{96421B38-5344-F872-1E24-8CBF8215A859}"/>
              </a:ext>
            </a:extLst>
          </p:cNvPr>
          <p:cNvPicPr>
            <a:picLocks noChangeAspect="1"/>
          </p:cNvPicPr>
          <p:nvPr/>
        </p:nvPicPr>
        <p:blipFill>
          <a:blip r:embed="rId4"/>
          <a:stretch>
            <a:fillRect/>
          </a:stretch>
        </p:blipFill>
        <p:spPr>
          <a:xfrm>
            <a:off x="3310087" y="2470407"/>
            <a:ext cx="2527472" cy="1484020"/>
          </a:xfrm>
          <a:prstGeom prst="rect">
            <a:avLst/>
          </a:prstGeom>
        </p:spPr>
      </p:pic>
      <p:pic>
        <p:nvPicPr>
          <p:cNvPr id="10" name="Picture 9">
            <a:extLst>
              <a:ext uri="{FF2B5EF4-FFF2-40B4-BE49-F238E27FC236}">
                <a16:creationId xmlns:a16="http://schemas.microsoft.com/office/drawing/2014/main" id="{5505113C-1593-7419-9E82-75F82B3B1FB8}"/>
              </a:ext>
            </a:extLst>
          </p:cNvPr>
          <p:cNvPicPr>
            <a:picLocks noChangeAspect="1"/>
          </p:cNvPicPr>
          <p:nvPr/>
        </p:nvPicPr>
        <p:blipFill>
          <a:blip r:embed="rId5"/>
          <a:stretch>
            <a:fillRect/>
          </a:stretch>
        </p:blipFill>
        <p:spPr>
          <a:xfrm>
            <a:off x="5965723" y="2483269"/>
            <a:ext cx="2929924" cy="1600606"/>
          </a:xfrm>
          <a:prstGeom prst="rect">
            <a:avLst/>
          </a:prstGeom>
        </p:spPr>
      </p:pic>
      <p:sp>
        <p:nvSpPr>
          <p:cNvPr id="11" name="Rectangle 10">
            <a:extLst>
              <a:ext uri="{FF2B5EF4-FFF2-40B4-BE49-F238E27FC236}">
                <a16:creationId xmlns:a16="http://schemas.microsoft.com/office/drawing/2014/main" id="{114C717E-DFF0-E6AB-5259-ADBEDAE0018F}"/>
              </a:ext>
            </a:extLst>
          </p:cNvPr>
          <p:cNvSpPr/>
          <p:nvPr/>
        </p:nvSpPr>
        <p:spPr bwMode="auto">
          <a:xfrm>
            <a:off x="4876437" y="1064388"/>
            <a:ext cx="1172496" cy="1077897"/>
          </a:xfrm>
          <a:prstGeom prst="rect">
            <a:avLst/>
          </a:prstGeom>
          <a:noFill/>
          <a:ln w="19050">
            <a:solidFill>
              <a:srgbClr val="FF0000"/>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
        <p:nvSpPr>
          <p:cNvPr id="12" name="TextBox 11">
            <a:extLst>
              <a:ext uri="{FF2B5EF4-FFF2-40B4-BE49-F238E27FC236}">
                <a16:creationId xmlns:a16="http://schemas.microsoft.com/office/drawing/2014/main" id="{2BA24D18-ADBF-80DB-47CD-F8F28B7AD109}"/>
              </a:ext>
            </a:extLst>
          </p:cNvPr>
          <p:cNvSpPr txBox="1"/>
          <p:nvPr/>
        </p:nvSpPr>
        <p:spPr>
          <a:xfrm>
            <a:off x="855408" y="4031184"/>
            <a:ext cx="8040240" cy="338554"/>
          </a:xfrm>
          <a:prstGeom prst="rect">
            <a:avLst/>
          </a:prstGeom>
          <a:noFill/>
        </p:spPr>
        <p:txBody>
          <a:bodyPr wrap="square" rtlCol="0">
            <a:spAutoFit/>
          </a:bodyPr>
          <a:lstStyle/>
          <a:p>
            <a:r>
              <a:rPr lang="en-US" sz="1600" dirty="0"/>
              <a:t>Monaleesa 2 		Paloma 2			Monarch 3</a:t>
            </a:r>
          </a:p>
        </p:txBody>
      </p:sp>
      <p:sp>
        <p:nvSpPr>
          <p:cNvPr id="13" name="TextBox 12">
            <a:extLst>
              <a:ext uri="{FF2B5EF4-FFF2-40B4-BE49-F238E27FC236}">
                <a16:creationId xmlns:a16="http://schemas.microsoft.com/office/drawing/2014/main" id="{833FA74E-5820-3A7F-EADE-13C2B666AE45}"/>
              </a:ext>
            </a:extLst>
          </p:cNvPr>
          <p:cNvSpPr txBox="1"/>
          <p:nvPr/>
        </p:nvSpPr>
        <p:spPr>
          <a:xfrm>
            <a:off x="3923071" y="4623620"/>
            <a:ext cx="2182762" cy="461665"/>
          </a:xfrm>
          <a:prstGeom prst="rect">
            <a:avLst/>
          </a:prstGeom>
          <a:noFill/>
        </p:spPr>
        <p:txBody>
          <a:bodyPr wrap="square" rtlCol="0">
            <a:spAutoFit/>
          </a:bodyPr>
          <a:lstStyle/>
          <a:p>
            <a:r>
              <a:rPr lang="en-US" sz="800" dirty="0"/>
              <a:t>O’regan, ASCO 2023 discussion. Hortobagyi et al N Eng J Med 2022, Finn et al ASCO 2022, Goetz et al ESMO 2022</a:t>
            </a:r>
          </a:p>
        </p:txBody>
      </p:sp>
    </p:spTree>
    <p:extLst>
      <p:ext uri="{BB962C8B-B14F-4D97-AF65-F5344CB8AC3E}">
        <p14:creationId xmlns:p14="http://schemas.microsoft.com/office/powerpoint/2010/main" val="406754833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DEC507E-6665-C330-D377-0BE963778F55}"/>
              </a:ext>
            </a:extLst>
          </p:cNvPr>
          <p:cNvPicPr>
            <a:picLocks noChangeAspect="1"/>
          </p:cNvPicPr>
          <p:nvPr/>
        </p:nvPicPr>
        <p:blipFill>
          <a:blip r:embed="rId3"/>
          <a:stretch>
            <a:fillRect/>
          </a:stretch>
        </p:blipFill>
        <p:spPr>
          <a:xfrm>
            <a:off x="723014" y="553410"/>
            <a:ext cx="7697972" cy="3566044"/>
          </a:xfrm>
          <a:prstGeom prst="rect">
            <a:avLst/>
          </a:prstGeom>
        </p:spPr>
      </p:pic>
      <p:sp>
        <p:nvSpPr>
          <p:cNvPr id="5" name="TextBox 4">
            <a:extLst>
              <a:ext uri="{FF2B5EF4-FFF2-40B4-BE49-F238E27FC236}">
                <a16:creationId xmlns:a16="http://schemas.microsoft.com/office/drawing/2014/main" id="{00C55B6A-F4BF-489E-4776-632717E4F684}"/>
              </a:ext>
            </a:extLst>
          </p:cNvPr>
          <p:cNvSpPr txBox="1"/>
          <p:nvPr/>
        </p:nvSpPr>
        <p:spPr>
          <a:xfrm>
            <a:off x="-1817751" y="4789965"/>
            <a:ext cx="8615083" cy="461665"/>
          </a:xfrm>
          <a:prstGeom prst="rect">
            <a:avLst/>
          </a:prstGeom>
          <a:noFill/>
        </p:spPr>
        <p:txBody>
          <a:bodyPr wrap="square" rtlCol="0">
            <a:spAutoFit/>
          </a:bodyPr>
          <a:lstStyle/>
          <a:p>
            <a:pPr algn="r"/>
            <a:r>
              <a:rPr lang="en-US" sz="1200" dirty="0"/>
              <a:t>Lu, Y et al. SABCS 2022, GS1-10 </a:t>
            </a:r>
          </a:p>
          <a:p>
            <a:pPr algn="r"/>
            <a:endParaRPr lang="en-US" sz="1200" dirty="0"/>
          </a:p>
        </p:txBody>
      </p:sp>
    </p:spTree>
    <p:extLst>
      <p:ext uri="{BB962C8B-B14F-4D97-AF65-F5344CB8AC3E}">
        <p14:creationId xmlns:p14="http://schemas.microsoft.com/office/powerpoint/2010/main" val="49008227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b="1" dirty="0">
                <a:solidFill>
                  <a:srgbClr val="002E51"/>
                </a:solidFill>
              </a:rPr>
              <a:t>Baseline Patient Population</a:t>
            </a:r>
          </a:p>
        </p:txBody>
      </p:sp>
      <p:pic>
        <p:nvPicPr>
          <p:cNvPr id="5" name="Content Placeholder 4">
            <a:extLst>
              <a:ext uri="{FF2B5EF4-FFF2-40B4-BE49-F238E27FC236}">
                <a16:creationId xmlns:a16="http://schemas.microsoft.com/office/drawing/2014/main" id="{E85E6B29-B8EC-30C6-8517-BC6211FEC4FD}"/>
              </a:ext>
            </a:extLst>
          </p:cNvPr>
          <p:cNvPicPr>
            <a:picLocks noGrp="1" noChangeAspect="1"/>
          </p:cNvPicPr>
          <p:nvPr>
            <p:ph sz="half" idx="1"/>
          </p:nvPr>
        </p:nvPicPr>
        <p:blipFill>
          <a:blip r:embed="rId3"/>
          <a:stretch>
            <a:fillRect/>
          </a:stretch>
        </p:blipFill>
        <p:spPr>
          <a:xfrm>
            <a:off x="642908" y="971024"/>
            <a:ext cx="3508397" cy="3220225"/>
          </a:xfrm>
          <a:prstGeom prst="rect">
            <a:avLst/>
          </a:prstGeom>
        </p:spPr>
      </p:pic>
      <p:pic>
        <p:nvPicPr>
          <p:cNvPr id="6" name="Content Placeholder 5">
            <a:extLst>
              <a:ext uri="{FF2B5EF4-FFF2-40B4-BE49-F238E27FC236}">
                <a16:creationId xmlns:a16="http://schemas.microsoft.com/office/drawing/2014/main" id="{BA5EE7C5-B011-A5E4-0F39-7195E111835F}"/>
              </a:ext>
            </a:extLst>
          </p:cNvPr>
          <p:cNvPicPr>
            <a:picLocks noGrp="1" noChangeAspect="1"/>
          </p:cNvPicPr>
          <p:nvPr>
            <p:ph sz="half" idx="2"/>
          </p:nvPr>
        </p:nvPicPr>
        <p:blipFill>
          <a:blip r:embed="rId4"/>
          <a:stretch>
            <a:fillRect/>
          </a:stretch>
        </p:blipFill>
        <p:spPr>
          <a:xfrm>
            <a:off x="4446287" y="958065"/>
            <a:ext cx="3861112" cy="3232132"/>
          </a:xfrm>
          <a:prstGeom prst="rect">
            <a:avLst/>
          </a:prstGeom>
        </p:spPr>
      </p:pic>
      <p:sp>
        <p:nvSpPr>
          <p:cNvPr id="7" name="TextBox 6">
            <a:extLst>
              <a:ext uri="{FF2B5EF4-FFF2-40B4-BE49-F238E27FC236}">
                <a16:creationId xmlns:a16="http://schemas.microsoft.com/office/drawing/2014/main" id="{17FBC15A-F14F-9EAE-F026-319381E2D869}"/>
              </a:ext>
            </a:extLst>
          </p:cNvPr>
          <p:cNvSpPr txBox="1"/>
          <p:nvPr/>
        </p:nvSpPr>
        <p:spPr>
          <a:xfrm>
            <a:off x="-2338746" y="4692574"/>
            <a:ext cx="8615083" cy="461665"/>
          </a:xfrm>
          <a:prstGeom prst="rect">
            <a:avLst/>
          </a:prstGeom>
          <a:noFill/>
        </p:spPr>
        <p:txBody>
          <a:bodyPr wrap="square" rtlCol="0">
            <a:spAutoFit/>
          </a:bodyPr>
          <a:lstStyle/>
          <a:p>
            <a:pPr algn="r"/>
            <a:r>
              <a:rPr lang="en-US" sz="1200" dirty="0"/>
              <a:t>Lu, Y et al. SABCS 2022, GS1-10 </a:t>
            </a:r>
          </a:p>
          <a:p>
            <a:pPr algn="r"/>
            <a:endParaRPr lang="en-US" sz="1200" dirty="0"/>
          </a:p>
        </p:txBody>
      </p:sp>
      <p:sp>
        <p:nvSpPr>
          <p:cNvPr id="8" name="Oval 7">
            <a:extLst>
              <a:ext uri="{FF2B5EF4-FFF2-40B4-BE49-F238E27FC236}">
                <a16:creationId xmlns:a16="http://schemas.microsoft.com/office/drawing/2014/main" id="{2356A8AA-86B1-80BA-C221-4865F503C61D}"/>
              </a:ext>
            </a:extLst>
          </p:cNvPr>
          <p:cNvSpPr/>
          <p:nvPr/>
        </p:nvSpPr>
        <p:spPr bwMode="auto">
          <a:xfrm>
            <a:off x="5773479" y="3955312"/>
            <a:ext cx="2533920" cy="235937"/>
          </a:xfrm>
          <a:prstGeom prst="ellipse">
            <a:avLst/>
          </a:prstGeom>
          <a:noFill/>
          <a:ln w="9525"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
        <p:nvSpPr>
          <p:cNvPr id="9" name="Oval 8">
            <a:extLst>
              <a:ext uri="{FF2B5EF4-FFF2-40B4-BE49-F238E27FC236}">
                <a16:creationId xmlns:a16="http://schemas.microsoft.com/office/drawing/2014/main" id="{0733587D-6223-DF90-FB03-4E842750E12C}"/>
              </a:ext>
            </a:extLst>
          </p:cNvPr>
          <p:cNvSpPr/>
          <p:nvPr/>
        </p:nvSpPr>
        <p:spPr bwMode="auto">
          <a:xfrm>
            <a:off x="5773479" y="3640818"/>
            <a:ext cx="2533920" cy="235937"/>
          </a:xfrm>
          <a:prstGeom prst="ellipse">
            <a:avLst/>
          </a:prstGeom>
          <a:noFill/>
          <a:ln w="9525"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
        <p:nvSpPr>
          <p:cNvPr id="10" name="Oval 9">
            <a:extLst>
              <a:ext uri="{FF2B5EF4-FFF2-40B4-BE49-F238E27FC236}">
                <a16:creationId xmlns:a16="http://schemas.microsoft.com/office/drawing/2014/main" id="{E7FF0AB3-841D-C9A2-EA12-3DB57A2F4B57}"/>
              </a:ext>
            </a:extLst>
          </p:cNvPr>
          <p:cNvSpPr/>
          <p:nvPr/>
        </p:nvSpPr>
        <p:spPr bwMode="auto">
          <a:xfrm>
            <a:off x="476308" y="3136814"/>
            <a:ext cx="3841596" cy="566131"/>
          </a:xfrm>
          <a:prstGeom prst="ellipse">
            <a:avLst/>
          </a:prstGeom>
          <a:noFill/>
          <a:ln w="9525"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
        <p:nvSpPr>
          <p:cNvPr id="11" name="Oval 10">
            <a:extLst>
              <a:ext uri="{FF2B5EF4-FFF2-40B4-BE49-F238E27FC236}">
                <a16:creationId xmlns:a16="http://schemas.microsoft.com/office/drawing/2014/main" id="{DD71682B-F988-EDCE-4707-F3ABC1278A72}"/>
              </a:ext>
            </a:extLst>
          </p:cNvPr>
          <p:cNvSpPr/>
          <p:nvPr/>
        </p:nvSpPr>
        <p:spPr bwMode="auto">
          <a:xfrm>
            <a:off x="5777023" y="1576653"/>
            <a:ext cx="2533920" cy="235937"/>
          </a:xfrm>
          <a:prstGeom prst="ellipse">
            <a:avLst/>
          </a:prstGeom>
          <a:noFill/>
          <a:ln w="9525"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Tree>
    <p:extLst>
      <p:ext uri="{BB962C8B-B14F-4D97-AF65-F5344CB8AC3E}">
        <p14:creationId xmlns:p14="http://schemas.microsoft.com/office/powerpoint/2010/main" val="314247151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0" y="127465"/>
            <a:ext cx="9144000" cy="807256"/>
          </a:xfrm>
        </p:spPr>
        <p:txBody>
          <a:bodyPr/>
          <a:lstStyle/>
          <a:p>
            <a:r>
              <a:rPr lang="en-US" sz="3600" b="1" dirty="0"/>
              <a:t>Primary Endpoint: PFS</a:t>
            </a:r>
            <a:endParaRPr lang="en-US" b="1" dirty="0"/>
          </a:p>
        </p:txBody>
      </p:sp>
      <p:pic>
        <p:nvPicPr>
          <p:cNvPr id="3" name="Picture 2">
            <a:extLst>
              <a:ext uri="{FF2B5EF4-FFF2-40B4-BE49-F238E27FC236}">
                <a16:creationId xmlns:a16="http://schemas.microsoft.com/office/drawing/2014/main" id="{93127610-D4C1-2FEB-5F08-261E522FC9E1}"/>
              </a:ext>
            </a:extLst>
          </p:cNvPr>
          <p:cNvPicPr>
            <a:picLocks noChangeAspect="1"/>
          </p:cNvPicPr>
          <p:nvPr/>
        </p:nvPicPr>
        <p:blipFill>
          <a:blip r:embed="rId3"/>
          <a:stretch>
            <a:fillRect/>
          </a:stretch>
        </p:blipFill>
        <p:spPr>
          <a:xfrm>
            <a:off x="1552354" y="934721"/>
            <a:ext cx="6356886" cy="3282971"/>
          </a:xfrm>
          <a:prstGeom prst="rect">
            <a:avLst/>
          </a:prstGeom>
        </p:spPr>
      </p:pic>
      <p:sp>
        <p:nvSpPr>
          <p:cNvPr id="5" name="TextBox 4">
            <a:extLst>
              <a:ext uri="{FF2B5EF4-FFF2-40B4-BE49-F238E27FC236}">
                <a16:creationId xmlns:a16="http://schemas.microsoft.com/office/drawing/2014/main" id="{B2B16457-329A-2EA4-095D-8634D68A803A}"/>
              </a:ext>
            </a:extLst>
          </p:cNvPr>
          <p:cNvSpPr txBox="1"/>
          <p:nvPr/>
        </p:nvSpPr>
        <p:spPr>
          <a:xfrm>
            <a:off x="3870251" y="4671309"/>
            <a:ext cx="2576207" cy="400110"/>
          </a:xfrm>
          <a:prstGeom prst="rect">
            <a:avLst/>
          </a:prstGeom>
          <a:noFill/>
        </p:spPr>
        <p:txBody>
          <a:bodyPr wrap="square" rtlCol="0">
            <a:spAutoFit/>
          </a:bodyPr>
          <a:lstStyle/>
          <a:p>
            <a:pPr algn="r"/>
            <a:r>
              <a:rPr lang="en-US" sz="1000" dirty="0">
                <a:latin typeface="+mn-lt"/>
              </a:rPr>
              <a:t>Lu, Y et al. SABCS 2022, GS1-10 </a:t>
            </a:r>
          </a:p>
          <a:p>
            <a:pPr algn="r"/>
            <a:endParaRPr lang="en-US" sz="1000" dirty="0">
              <a:latin typeface="+mn-lt"/>
            </a:endParaRPr>
          </a:p>
        </p:txBody>
      </p:sp>
    </p:spTree>
    <p:extLst>
      <p:ext uri="{BB962C8B-B14F-4D97-AF65-F5344CB8AC3E}">
        <p14:creationId xmlns:p14="http://schemas.microsoft.com/office/powerpoint/2010/main" val="220007067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0" y="127465"/>
            <a:ext cx="9144000" cy="807256"/>
          </a:xfrm>
        </p:spPr>
        <p:txBody>
          <a:bodyPr/>
          <a:lstStyle/>
          <a:p>
            <a:r>
              <a:rPr lang="en-US" b="1" dirty="0"/>
              <a:t>Secondary Endpoints</a:t>
            </a:r>
          </a:p>
        </p:txBody>
      </p:sp>
      <p:sp>
        <p:nvSpPr>
          <p:cNvPr id="3" name="TextBox 2">
            <a:extLst>
              <a:ext uri="{FF2B5EF4-FFF2-40B4-BE49-F238E27FC236}">
                <a16:creationId xmlns:a16="http://schemas.microsoft.com/office/drawing/2014/main" id="{7E58BD7D-72FC-D50F-5802-51539DA8459A}"/>
              </a:ext>
            </a:extLst>
          </p:cNvPr>
          <p:cNvSpPr txBox="1"/>
          <p:nvPr/>
        </p:nvSpPr>
        <p:spPr>
          <a:xfrm>
            <a:off x="-2668356" y="4686598"/>
            <a:ext cx="8615083" cy="461665"/>
          </a:xfrm>
          <a:prstGeom prst="rect">
            <a:avLst/>
          </a:prstGeom>
          <a:noFill/>
        </p:spPr>
        <p:txBody>
          <a:bodyPr wrap="square" rtlCol="0">
            <a:spAutoFit/>
          </a:bodyPr>
          <a:lstStyle/>
          <a:p>
            <a:pPr algn="r"/>
            <a:r>
              <a:rPr lang="en-US" sz="1200" dirty="0"/>
              <a:t>Lu, Y et al. SABCS 2022, GS1-10 </a:t>
            </a:r>
          </a:p>
          <a:p>
            <a:pPr algn="r"/>
            <a:endParaRPr lang="en-US" sz="1200" dirty="0"/>
          </a:p>
        </p:txBody>
      </p:sp>
      <p:pic>
        <p:nvPicPr>
          <p:cNvPr id="6" name="Picture 5">
            <a:extLst>
              <a:ext uri="{FF2B5EF4-FFF2-40B4-BE49-F238E27FC236}">
                <a16:creationId xmlns:a16="http://schemas.microsoft.com/office/drawing/2014/main" id="{15F69DDF-5D37-C944-F786-8B2673F7BB39}"/>
              </a:ext>
            </a:extLst>
          </p:cNvPr>
          <p:cNvPicPr>
            <a:picLocks noChangeAspect="1"/>
          </p:cNvPicPr>
          <p:nvPr/>
        </p:nvPicPr>
        <p:blipFill>
          <a:blip r:embed="rId3"/>
          <a:stretch>
            <a:fillRect/>
          </a:stretch>
        </p:blipFill>
        <p:spPr>
          <a:xfrm>
            <a:off x="427611" y="794517"/>
            <a:ext cx="3887648" cy="2016142"/>
          </a:xfrm>
          <a:prstGeom prst="rect">
            <a:avLst/>
          </a:prstGeom>
        </p:spPr>
      </p:pic>
      <p:pic>
        <p:nvPicPr>
          <p:cNvPr id="7" name="Picture 6">
            <a:extLst>
              <a:ext uri="{FF2B5EF4-FFF2-40B4-BE49-F238E27FC236}">
                <a16:creationId xmlns:a16="http://schemas.microsoft.com/office/drawing/2014/main" id="{4E0EA9F8-9DA1-35C3-3576-33227E9D6E75}"/>
              </a:ext>
            </a:extLst>
          </p:cNvPr>
          <p:cNvPicPr>
            <a:picLocks noChangeAspect="1"/>
          </p:cNvPicPr>
          <p:nvPr/>
        </p:nvPicPr>
        <p:blipFill>
          <a:blip r:embed="rId4"/>
          <a:stretch>
            <a:fillRect/>
          </a:stretch>
        </p:blipFill>
        <p:spPr>
          <a:xfrm>
            <a:off x="4433424" y="797602"/>
            <a:ext cx="4155516" cy="2016142"/>
          </a:xfrm>
          <a:prstGeom prst="rect">
            <a:avLst/>
          </a:prstGeom>
        </p:spPr>
      </p:pic>
      <p:graphicFrame>
        <p:nvGraphicFramePr>
          <p:cNvPr id="5" name="Table 5">
            <a:extLst>
              <a:ext uri="{FF2B5EF4-FFF2-40B4-BE49-F238E27FC236}">
                <a16:creationId xmlns:a16="http://schemas.microsoft.com/office/drawing/2014/main" id="{8F9AC87B-CC52-5BF1-377C-8F3DF89FDEEA}"/>
              </a:ext>
            </a:extLst>
          </p:cNvPr>
          <p:cNvGraphicFramePr>
            <a:graphicFrameLocks noGrp="1"/>
          </p:cNvGraphicFramePr>
          <p:nvPr>
            <p:extLst>
              <p:ext uri="{D42A27DB-BD31-4B8C-83A1-F6EECF244321}">
                <p14:modId xmlns:p14="http://schemas.microsoft.com/office/powerpoint/2010/main" val="2750621852"/>
              </p:ext>
            </p:extLst>
          </p:nvPr>
        </p:nvGraphicFramePr>
        <p:xfrm>
          <a:off x="1937431" y="2887621"/>
          <a:ext cx="4991986" cy="1463040"/>
        </p:xfrm>
        <a:graphic>
          <a:graphicData uri="http://schemas.openxmlformats.org/drawingml/2006/table">
            <a:tbl>
              <a:tblPr firstRow="1" bandRow="1">
                <a:tableStyleId>{00A15C55-8517-42AA-B614-E9B94910E393}</a:tableStyleId>
              </a:tblPr>
              <a:tblGrid>
                <a:gridCol w="1768960">
                  <a:extLst>
                    <a:ext uri="{9D8B030D-6E8A-4147-A177-3AD203B41FA5}">
                      <a16:colId xmlns:a16="http://schemas.microsoft.com/office/drawing/2014/main" val="129996642"/>
                    </a:ext>
                  </a:extLst>
                </a:gridCol>
                <a:gridCol w="1667082">
                  <a:extLst>
                    <a:ext uri="{9D8B030D-6E8A-4147-A177-3AD203B41FA5}">
                      <a16:colId xmlns:a16="http://schemas.microsoft.com/office/drawing/2014/main" val="761526859"/>
                    </a:ext>
                  </a:extLst>
                </a:gridCol>
                <a:gridCol w="1555944">
                  <a:extLst>
                    <a:ext uri="{9D8B030D-6E8A-4147-A177-3AD203B41FA5}">
                      <a16:colId xmlns:a16="http://schemas.microsoft.com/office/drawing/2014/main" val="1249089899"/>
                    </a:ext>
                  </a:extLst>
                </a:gridCol>
              </a:tblGrid>
              <a:tr h="290220">
                <a:tc>
                  <a:txBody>
                    <a:bodyPr/>
                    <a:lstStyle/>
                    <a:p>
                      <a:endParaRPr lang="en-US" sz="1100" dirty="0">
                        <a:solidFill>
                          <a:schemeClr val="tx2"/>
                        </a:solidFill>
                      </a:endParaRPr>
                    </a:p>
                  </a:txBody>
                  <a:tcPr>
                    <a:solidFill>
                      <a:schemeClr val="accent1"/>
                    </a:solidFill>
                  </a:tcPr>
                </a:tc>
                <a:tc>
                  <a:txBody>
                    <a:bodyPr/>
                    <a:lstStyle/>
                    <a:p>
                      <a:pPr algn="ctr"/>
                      <a:r>
                        <a:rPr lang="en-US" sz="1100" dirty="0">
                          <a:solidFill>
                            <a:schemeClr val="tx2"/>
                          </a:solidFill>
                        </a:rPr>
                        <a:t>Ribo + ET</a:t>
                      </a:r>
                    </a:p>
                    <a:p>
                      <a:pPr algn="ctr"/>
                      <a:r>
                        <a:rPr lang="en-US" sz="1100" dirty="0">
                          <a:solidFill>
                            <a:schemeClr val="tx2"/>
                          </a:solidFill>
                        </a:rPr>
                        <a:t>( n = 112)</a:t>
                      </a:r>
                    </a:p>
                  </a:txBody>
                  <a:tcPr>
                    <a:solidFill>
                      <a:schemeClr val="accent1"/>
                    </a:solidFill>
                  </a:tcPr>
                </a:tc>
                <a:tc>
                  <a:txBody>
                    <a:bodyPr/>
                    <a:lstStyle/>
                    <a:p>
                      <a:pPr algn="ctr"/>
                      <a:r>
                        <a:rPr lang="en-US" sz="1100" dirty="0">
                          <a:solidFill>
                            <a:schemeClr val="tx2"/>
                          </a:solidFill>
                        </a:rPr>
                        <a:t>Combo CT</a:t>
                      </a:r>
                    </a:p>
                    <a:p>
                      <a:pPr algn="ctr"/>
                      <a:r>
                        <a:rPr lang="en-US" sz="1100" dirty="0">
                          <a:solidFill>
                            <a:schemeClr val="tx2"/>
                          </a:solidFill>
                        </a:rPr>
                        <a:t>(n = 100)</a:t>
                      </a:r>
                    </a:p>
                  </a:txBody>
                  <a:tcPr>
                    <a:solidFill>
                      <a:schemeClr val="accent1"/>
                    </a:solidFill>
                  </a:tcPr>
                </a:tc>
                <a:extLst>
                  <a:ext uri="{0D108BD9-81ED-4DB2-BD59-A6C34878D82A}">
                    <a16:rowId xmlns:a16="http://schemas.microsoft.com/office/drawing/2014/main" val="1864675453"/>
                  </a:ext>
                </a:extLst>
              </a:tr>
              <a:tr h="174132">
                <a:tc>
                  <a:txBody>
                    <a:bodyPr/>
                    <a:lstStyle/>
                    <a:p>
                      <a:r>
                        <a:rPr lang="en-US" sz="1100" dirty="0"/>
                        <a:t>ORR</a:t>
                      </a:r>
                    </a:p>
                  </a:txBody>
                  <a:tcPr>
                    <a:solidFill>
                      <a:schemeClr val="accent5"/>
                    </a:solidFill>
                  </a:tcPr>
                </a:tc>
                <a:tc>
                  <a:txBody>
                    <a:bodyPr/>
                    <a:lstStyle/>
                    <a:p>
                      <a:pPr algn="ctr"/>
                      <a:r>
                        <a:rPr lang="en-US" sz="1100" dirty="0"/>
                        <a:t>65.2%</a:t>
                      </a:r>
                    </a:p>
                  </a:txBody>
                  <a:tcPr>
                    <a:solidFill>
                      <a:schemeClr val="accent5"/>
                    </a:solidFill>
                  </a:tcPr>
                </a:tc>
                <a:tc>
                  <a:txBody>
                    <a:bodyPr/>
                    <a:lstStyle/>
                    <a:p>
                      <a:pPr algn="ctr"/>
                      <a:r>
                        <a:rPr lang="en-US" sz="1100" dirty="0"/>
                        <a:t>60.0%</a:t>
                      </a:r>
                    </a:p>
                  </a:txBody>
                  <a:tcPr>
                    <a:solidFill>
                      <a:schemeClr val="accent5"/>
                    </a:solidFill>
                  </a:tcPr>
                </a:tc>
                <a:extLst>
                  <a:ext uri="{0D108BD9-81ED-4DB2-BD59-A6C34878D82A}">
                    <a16:rowId xmlns:a16="http://schemas.microsoft.com/office/drawing/2014/main" val="490685165"/>
                  </a:ext>
                </a:extLst>
              </a:tr>
              <a:tr h="174132">
                <a:tc>
                  <a:txBody>
                    <a:bodyPr/>
                    <a:lstStyle/>
                    <a:p>
                      <a:r>
                        <a:rPr lang="en-US" sz="1100" dirty="0"/>
                        <a:t>CBR</a:t>
                      </a:r>
                    </a:p>
                  </a:txBody>
                  <a:tcPr>
                    <a:solidFill>
                      <a:srgbClr val="F3F9FA"/>
                    </a:solidFill>
                  </a:tcPr>
                </a:tc>
                <a:tc>
                  <a:txBody>
                    <a:bodyPr/>
                    <a:lstStyle/>
                    <a:p>
                      <a:pPr algn="ctr"/>
                      <a:r>
                        <a:rPr lang="en-US" sz="1100" dirty="0"/>
                        <a:t>80.4%</a:t>
                      </a:r>
                    </a:p>
                  </a:txBody>
                  <a:tcPr>
                    <a:solidFill>
                      <a:srgbClr val="F3F9FA"/>
                    </a:solidFill>
                  </a:tcPr>
                </a:tc>
                <a:tc>
                  <a:txBody>
                    <a:bodyPr/>
                    <a:lstStyle/>
                    <a:p>
                      <a:pPr algn="ctr"/>
                      <a:r>
                        <a:rPr lang="en-US" sz="1100" dirty="0"/>
                        <a:t>72.7%</a:t>
                      </a:r>
                    </a:p>
                  </a:txBody>
                  <a:tcPr>
                    <a:solidFill>
                      <a:srgbClr val="F3F9FA"/>
                    </a:solidFill>
                  </a:tcPr>
                </a:tc>
                <a:extLst>
                  <a:ext uri="{0D108BD9-81ED-4DB2-BD59-A6C34878D82A}">
                    <a16:rowId xmlns:a16="http://schemas.microsoft.com/office/drawing/2014/main" val="3859329447"/>
                  </a:ext>
                </a:extLst>
              </a:tr>
              <a:tr h="174132">
                <a:tc>
                  <a:txBody>
                    <a:bodyPr/>
                    <a:lstStyle/>
                    <a:p>
                      <a:r>
                        <a:rPr lang="en-US" sz="1100" dirty="0"/>
                        <a:t>Serious TRAE </a:t>
                      </a:r>
                    </a:p>
                  </a:txBody>
                  <a:tcPr>
                    <a:solidFill>
                      <a:schemeClr val="accent5"/>
                    </a:solidFill>
                  </a:tcPr>
                </a:tc>
                <a:tc>
                  <a:txBody>
                    <a:bodyPr/>
                    <a:lstStyle/>
                    <a:p>
                      <a:pPr algn="ctr"/>
                      <a:r>
                        <a:rPr lang="en-US" sz="1100" dirty="0"/>
                        <a:t>1.8%</a:t>
                      </a:r>
                    </a:p>
                  </a:txBody>
                  <a:tcPr>
                    <a:solidFill>
                      <a:schemeClr val="accent5"/>
                    </a:solidFill>
                  </a:tcPr>
                </a:tc>
                <a:tc>
                  <a:txBody>
                    <a:bodyPr/>
                    <a:lstStyle/>
                    <a:p>
                      <a:pPr algn="ctr"/>
                      <a:r>
                        <a:rPr lang="en-US" sz="1100" dirty="0"/>
                        <a:t>8.0%</a:t>
                      </a:r>
                    </a:p>
                  </a:txBody>
                  <a:tcPr>
                    <a:solidFill>
                      <a:schemeClr val="accent5"/>
                    </a:solidFill>
                  </a:tcPr>
                </a:tc>
                <a:extLst>
                  <a:ext uri="{0D108BD9-81ED-4DB2-BD59-A6C34878D82A}">
                    <a16:rowId xmlns:a16="http://schemas.microsoft.com/office/drawing/2014/main" val="1498157071"/>
                  </a:ext>
                </a:extLst>
              </a:tr>
              <a:tr h="174132">
                <a:tc>
                  <a:txBody>
                    <a:bodyPr/>
                    <a:lstStyle/>
                    <a:p>
                      <a:r>
                        <a:rPr lang="en-US" sz="1100" dirty="0"/>
                        <a:t>TRAE leading to dc</a:t>
                      </a:r>
                    </a:p>
                  </a:txBody>
                  <a:tcPr>
                    <a:solidFill>
                      <a:srgbClr val="F3F9FA"/>
                    </a:solidFill>
                  </a:tcPr>
                </a:tc>
                <a:tc>
                  <a:txBody>
                    <a:bodyPr/>
                    <a:lstStyle/>
                    <a:p>
                      <a:pPr algn="ctr"/>
                      <a:r>
                        <a:rPr lang="en-US" sz="1100" dirty="0"/>
                        <a:t>7.1%</a:t>
                      </a:r>
                    </a:p>
                  </a:txBody>
                  <a:tcPr>
                    <a:solidFill>
                      <a:srgbClr val="F3F9FA"/>
                    </a:solidFill>
                  </a:tcPr>
                </a:tc>
                <a:tc>
                  <a:txBody>
                    <a:bodyPr/>
                    <a:lstStyle/>
                    <a:p>
                      <a:pPr algn="ctr"/>
                      <a:r>
                        <a:rPr lang="en-US" sz="1100" dirty="0"/>
                        <a:t>23.0%</a:t>
                      </a:r>
                    </a:p>
                  </a:txBody>
                  <a:tcPr>
                    <a:solidFill>
                      <a:srgbClr val="F3F9FA"/>
                    </a:solidFill>
                  </a:tcPr>
                </a:tc>
                <a:extLst>
                  <a:ext uri="{0D108BD9-81ED-4DB2-BD59-A6C34878D82A}">
                    <a16:rowId xmlns:a16="http://schemas.microsoft.com/office/drawing/2014/main" val="1844410060"/>
                  </a:ext>
                </a:extLst>
              </a:tr>
            </a:tbl>
          </a:graphicData>
        </a:graphic>
      </p:graphicFrame>
    </p:spTree>
    <p:extLst>
      <p:ext uri="{BB962C8B-B14F-4D97-AF65-F5344CB8AC3E}">
        <p14:creationId xmlns:p14="http://schemas.microsoft.com/office/powerpoint/2010/main" val="120833349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a:xfrm>
            <a:off x="1371600" y="1168401"/>
            <a:ext cx="6400800" cy="2915920"/>
          </a:xfrm>
        </p:spPr>
        <p:txBody>
          <a:bodyPr/>
          <a:lstStyle/>
          <a:p>
            <a:pPr marL="342900" indent="-342900" algn="l">
              <a:buFont typeface="Arial" panose="020B0604020202020204" pitchFamily="34" charset="0"/>
              <a:buChar char="•"/>
            </a:pPr>
            <a:r>
              <a:rPr lang="en-US" sz="1400" dirty="0">
                <a:latin typeface="+mn-lt"/>
                <a:ea typeface="Times New Roman" panose="02020603050405020304" pitchFamily="18" charset="0"/>
              </a:rPr>
              <a:t>R</a:t>
            </a:r>
            <a:r>
              <a:rPr lang="en-US" sz="1400" dirty="0">
                <a:effectLst/>
                <a:latin typeface="+mn-lt"/>
                <a:ea typeface="Times New Roman" panose="02020603050405020304" pitchFamily="18" charset="0"/>
              </a:rPr>
              <a:t>ibociblib + endocrine therapy </a:t>
            </a:r>
            <a:r>
              <a:rPr lang="en-US" sz="1400" dirty="0">
                <a:latin typeface="+mn-lt"/>
                <a:ea typeface="Times New Roman" panose="02020603050405020304" pitchFamily="18" charset="0"/>
              </a:rPr>
              <a:t>can be </a:t>
            </a:r>
            <a:r>
              <a:rPr lang="en-US" sz="1400" dirty="0">
                <a:effectLst/>
                <a:latin typeface="+mn-lt"/>
                <a:ea typeface="Times New Roman" panose="02020603050405020304" pitchFamily="18" charset="0"/>
              </a:rPr>
              <a:t>a 1L option for ER+ MBC </a:t>
            </a:r>
            <a:r>
              <a:rPr lang="en-US" sz="1400" dirty="0">
                <a:latin typeface="+mn-lt"/>
                <a:ea typeface="Times New Roman" panose="02020603050405020304" pitchFamily="18" charset="0"/>
              </a:rPr>
              <a:t>in those </a:t>
            </a:r>
            <a:r>
              <a:rPr lang="en-US" sz="1400" dirty="0">
                <a:effectLst/>
                <a:latin typeface="+mn-lt"/>
                <a:ea typeface="Times New Roman" panose="02020603050405020304" pitchFamily="18" charset="0"/>
              </a:rPr>
              <a:t>with visceral crisis or aggressive disease in younger pre</a:t>
            </a:r>
            <a:r>
              <a:rPr lang="en-US" sz="1400" dirty="0">
                <a:latin typeface="+mn-lt"/>
                <a:ea typeface="Times New Roman" panose="02020603050405020304" pitchFamily="18" charset="0"/>
              </a:rPr>
              <a:t>-</a:t>
            </a:r>
            <a:r>
              <a:rPr lang="en-US" sz="1400" dirty="0">
                <a:effectLst/>
                <a:latin typeface="+mn-lt"/>
                <a:ea typeface="Times New Roman" panose="02020603050405020304" pitchFamily="18" charset="0"/>
              </a:rPr>
              <a:t>menopausal </a:t>
            </a:r>
            <a:r>
              <a:rPr lang="en-US" sz="1400" dirty="0">
                <a:latin typeface="+mn-lt"/>
                <a:ea typeface="Times New Roman" panose="02020603050405020304" pitchFamily="18" charset="0"/>
              </a:rPr>
              <a:t>p</a:t>
            </a:r>
            <a:r>
              <a:rPr lang="en-US" sz="1400" dirty="0">
                <a:effectLst/>
                <a:latin typeface="+mn-lt"/>
                <a:ea typeface="Times New Roman" panose="02020603050405020304" pitchFamily="18" charset="0"/>
              </a:rPr>
              <a:t>atients</a:t>
            </a:r>
          </a:p>
          <a:p>
            <a:pPr marL="342900" indent="-342900" algn="l">
              <a:buFont typeface="Arial" panose="020B0604020202020204" pitchFamily="34" charset="0"/>
              <a:buChar char="•"/>
            </a:pPr>
            <a:r>
              <a:rPr lang="en-US" sz="1400" dirty="0">
                <a:latin typeface="+mn-lt"/>
                <a:ea typeface="Times New Roman" panose="02020603050405020304" pitchFamily="18" charset="0"/>
              </a:rPr>
              <a:t>Less toxic regimen, longer PFS, longer duration of treatment response, similar onset to treatment time </a:t>
            </a:r>
            <a:endParaRPr lang="en-US" sz="1400" dirty="0">
              <a:effectLst/>
              <a:latin typeface="+mn-lt"/>
              <a:ea typeface="Times New Roman" panose="02020603050405020304" pitchFamily="18" charset="0"/>
            </a:endParaRPr>
          </a:p>
          <a:p>
            <a:pPr marL="342900" indent="-342900" algn="l">
              <a:buFont typeface="Arial" panose="020B0604020202020204" pitchFamily="34" charset="0"/>
              <a:buChar char="•"/>
            </a:pPr>
            <a:r>
              <a:rPr lang="en-US" sz="1400" dirty="0">
                <a:latin typeface="+mn-lt"/>
              </a:rPr>
              <a:t>Questions:</a:t>
            </a:r>
          </a:p>
          <a:p>
            <a:pPr marL="742950" lvl="1" indent="-285750" algn="l">
              <a:buFont typeface="Arial" panose="020B0604020202020204" pitchFamily="34" charset="0"/>
              <a:buChar char="•"/>
            </a:pPr>
            <a:r>
              <a:rPr lang="en-US" sz="1400" dirty="0">
                <a:latin typeface="+mn-lt"/>
              </a:rPr>
              <a:t>Will this be seen with other CDK 4/6 inhibitors? </a:t>
            </a:r>
            <a:endParaRPr lang="en-US" sz="1400" dirty="0"/>
          </a:p>
          <a:p>
            <a:pPr algn="l"/>
            <a:endParaRPr lang="en-US" dirty="0">
              <a:solidFill>
                <a:srgbClr val="002E51"/>
              </a:solidFill>
            </a:endParaRPr>
          </a:p>
        </p:txBody>
      </p:sp>
      <p:sp>
        <p:nvSpPr>
          <p:cNvPr id="4" name="Title 3"/>
          <p:cNvSpPr>
            <a:spLocks noGrp="1"/>
          </p:cNvSpPr>
          <p:nvPr>
            <p:ph type="title"/>
          </p:nvPr>
        </p:nvSpPr>
        <p:spPr>
          <a:xfrm>
            <a:off x="0" y="127465"/>
            <a:ext cx="9144000" cy="807256"/>
          </a:xfrm>
        </p:spPr>
        <p:txBody>
          <a:bodyPr/>
          <a:lstStyle/>
          <a:p>
            <a:r>
              <a:rPr lang="en-US" b="1" dirty="0"/>
              <a:t>Right Choice Takeaways</a:t>
            </a:r>
          </a:p>
        </p:txBody>
      </p:sp>
    </p:spTree>
    <p:extLst>
      <p:ext uri="{BB962C8B-B14F-4D97-AF65-F5344CB8AC3E}">
        <p14:creationId xmlns:p14="http://schemas.microsoft.com/office/powerpoint/2010/main" val="57644356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a:xfrm>
            <a:off x="665825" y="1753676"/>
            <a:ext cx="7812349" cy="2204975"/>
          </a:xfrm>
        </p:spPr>
        <p: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kern="1200" dirty="0">
                <a:solidFill>
                  <a:sysClr val="windowText" lastClr="000000"/>
                </a:solidFill>
              </a:rPr>
              <a:t>Shane Marchesani</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2400" u="none" strike="noStrike" kern="1200" cap="none" spc="0" normalizeH="0" baseline="0" noProof="0" dirty="0">
              <a:ln>
                <a:noFill/>
              </a:ln>
              <a:solidFill>
                <a:sysClr val="windowText" lastClr="000000"/>
              </a:solidFill>
              <a:effectLst/>
              <a:uLnTx/>
              <a:uFillTx/>
              <a:latin typeface="+mn-lt"/>
            </a:endParaRPr>
          </a:p>
        </p:txBody>
      </p:sp>
      <p:sp>
        <p:nvSpPr>
          <p:cNvPr id="4" name="Title 3"/>
          <p:cNvSpPr>
            <a:spLocks noGrp="1"/>
          </p:cNvSpPr>
          <p:nvPr>
            <p:ph type="title"/>
          </p:nvPr>
        </p:nvSpPr>
        <p:spPr>
          <a:xfrm>
            <a:off x="0" y="127465"/>
            <a:ext cx="9144000" cy="786936"/>
          </a:xfrm>
        </p:spPr>
        <p:txBody>
          <a:bodyPr/>
          <a:lstStyle/>
          <a:p>
            <a:r>
              <a:rPr lang="en-US" sz="3200" b="1" dirty="0">
                <a:solidFill>
                  <a:srgbClr val="002E51"/>
                </a:solidFill>
              </a:rPr>
              <a:t>Thank You to Our Supporters</a:t>
            </a:r>
          </a:p>
        </p:txBody>
      </p:sp>
      <p:pic>
        <p:nvPicPr>
          <p:cNvPr id="3" name="Picture 2">
            <a:extLst>
              <a:ext uri="{FF2B5EF4-FFF2-40B4-BE49-F238E27FC236}">
                <a16:creationId xmlns:a16="http://schemas.microsoft.com/office/drawing/2014/main" id="{E6D7B922-0772-8101-D51E-74C505796D58}"/>
              </a:ext>
            </a:extLst>
          </p:cNvPr>
          <p:cNvPicPr>
            <a:picLocks noChangeAspect="1"/>
          </p:cNvPicPr>
          <p:nvPr/>
        </p:nvPicPr>
        <p:blipFill>
          <a:blip r:embed="rId3"/>
          <a:stretch>
            <a:fillRect/>
          </a:stretch>
        </p:blipFill>
        <p:spPr>
          <a:xfrm>
            <a:off x="-76841" y="-26021"/>
            <a:ext cx="9143999" cy="4300645"/>
          </a:xfrm>
          <a:prstGeom prst="rect">
            <a:avLst/>
          </a:prstGeom>
        </p:spPr>
      </p:pic>
    </p:spTree>
    <p:extLst>
      <p:ext uri="{BB962C8B-B14F-4D97-AF65-F5344CB8AC3E}">
        <p14:creationId xmlns:p14="http://schemas.microsoft.com/office/powerpoint/2010/main" val="316358725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1">
            <a:extLst>
              <a:ext uri="{FF2B5EF4-FFF2-40B4-BE49-F238E27FC236}">
                <a16:creationId xmlns:a16="http://schemas.microsoft.com/office/drawing/2014/main" id="{052EC946-9AB5-6EC9-56A6-7CFBDEE0705E}"/>
              </a:ext>
            </a:extLst>
          </p:cNvPr>
          <p:cNvSpPr>
            <a:spLocks noGrp="1"/>
          </p:cNvSpPr>
          <p:nvPr>
            <p:ph type="subTitle" idx="1"/>
          </p:nvPr>
        </p:nvSpPr>
        <p:spPr>
          <a:xfrm>
            <a:off x="1305232" y="1168400"/>
            <a:ext cx="6533536" cy="2916238"/>
          </a:xfrm>
        </p:spPr>
        <p:txBody>
          <a:bodyPr anchor="ctr"/>
          <a:lstStyle/>
          <a:p>
            <a:r>
              <a:rPr lang="en-US" sz="3600" b="1" dirty="0">
                <a:solidFill>
                  <a:srgbClr val="002E51"/>
                </a:solidFill>
              </a:rPr>
              <a:t>CDK 4/6 inhibitor after CDK 4/6 inhibitor</a:t>
            </a:r>
          </a:p>
          <a:p>
            <a:endParaRPr lang="en-US" sz="3600" b="1" dirty="0"/>
          </a:p>
        </p:txBody>
      </p:sp>
    </p:spTree>
    <p:extLst>
      <p:ext uri="{BB962C8B-B14F-4D97-AF65-F5344CB8AC3E}">
        <p14:creationId xmlns:p14="http://schemas.microsoft.com/office/powerpoint/2010/main" val="341687571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FDA72E7-B099-31B6-2B38-6F339E58BAB6}"/>
              </a:ext>
            </a:extLst>
          </p:cNvPr>
          <p:cNvPicPr>
            <a:picLocks noChangeAspect="1"/>
          </p:cNvPicPr>
          <p:nvPr/>
        </p:nvPicPr>
        <p:blipFill>
          <a:blip r:embed="rId3"/>
          <a:stretch>
            <a:fillRect/>
          </a:stretch>
        </p:blipFill>
        <p:spPr>
          <a:xfrm>
            <a:off x="872734" y="332103"/>
            <a:ext cx="6977095" cy="3502478"/>
          </a:xfrm>
          <a:prstGeom prst="rect">
            <a:avLst/>
          </a:prstGeom>
        </p:spPr>
      </p:pic>
    </p:spTree>
    <p:extLst>
      <p:ext uri="{BB962C8B-B14F-4D97-AF65-F5344CB8AC3E}">
        <p14:creationId xmlns:p14="http://schemas.microsoft.com/office/powerpoint/2010/main" val="113740198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a:xfrm>
            <a:off x="1371600" y="1168401"/>
            <a:ext cx="6400800" cy="2915920"/>
          </a:xfrm>
        </p:spPr>
        <p:txBody>
          <a:bodyPr/>
          <a:lstStyle/>
          <a:p>
            <a:endParaRPr lang="en-US" dirty="0">
              <a:solidFill>
                <a:srgbClr val="002E51"/>
              </a:solidFill>
            </a:endParaRPr>
          </a:p>
        </p:txBody>
      </p:sp>
      <p:pic>
        <p:nvPicPr>
          <p:cNvPr id="3" name="Picture 2">
            <a:extLst>
              <a:ext uri="{FF2B5EF4-FFF2-40B4-BE49-F238E27FC236}">
                <a16:creationId xmlns:a16="http://schemas.microsoft.com/office/drawing/2014/main" id="{FEDDC1F8-8B5E-05DF-E5A2-602BA7DA1CB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7533" y="360219"/>
            <a:ext cx="6974867" cy="39233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72725943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4F47BB6-BFFF-EDC1-4D3A-4295D6CC628B}"/>
              </a:ext>
            </a:extLst>
          </p:cNvPr>
          <p:cNvPicPr>
            <a:picLocks noChangeAspect="1"/>
          </p:cNvPicPr>
          <p:nvPr/>
        </p:nvPicPr>
        <p:blipFill>
          <a:blip r:embed="rId3"/>
          <a:stretch>
            <a:fillRect/>
          </a:stretch>
        </p:blipFill>
        <p:spPr>
          <a:xfrm>
            <a:off x="1178031" y="269381"/>
            <a:ext cx="6552032" cy="3851562"/>
          </a:xfrm>
          <a:prstGeom prst="rect">
            <a:avLst/>
          </a:prstGeom>
        </p:spPr>
      </p:pic>
    </p:spTree>
    <p:extLst>
      <p:ext uri="{BB962C8B-B14F-4D97-AF65-F5344CB8AC3E}">
        <p14:creationId xmlns:p14="http://schemas.microsoft.com/office/powerpoint/2010/main" val="249276817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a:xfrm>
            <a:off x="1371600" y="1168401"/>
            <a:ext cx="6400800" cy="2915920"/>
          </a:xfrm>
        </p:spPr>
        <p:txBody>
          <a:bodyPr/>
          <a:lstStyle/>
          <a:p>
            <a:endParaRPr lang="en-US" dirty="0">
              <a:solidFill>
                <a:srgbClr val="002E51"/>
              </a:solidFill>
            </a:endParaRPr>
          </a:p>
        </p:txBody>
      </p:sp>
      <p:pic>
        <p:nvPicPr>
          <p:cNvPr id="5" name="Picture 4">
            <a:extLst>
              <a:ext uri="{FF2B5EF4-FFF2-40B4-BE49-F238E27FC236}">
                <a16:creationId xmlns:a16="http://schemas.microsoft.com/office/drawing/2014/main" id="{828E375D-1B14-2A20-0C6A-60F9E1AD3973}"/>
              </a:ext>
            </a:extLst>
          </p:cNvPr>
          <p:cNvPicPr>
            <a:picLocks noChangeAspect="1"/>
          </p:cNvPicPr>
          <p:nvPr/>
        </p:nvPicPr>
        <p:blipFill>
          <a:blip r:embed="rId3"/>
          <a:stretch>
            <a:fillRect/>
          </a:stretch>
        </p:blipFill>
        <p:spPr>
          <a:xfrm>
            <a:off x="1242157" y="336431"/>
            <a:ext cx="6659686" cy="3866178"/>
          </a:xfrm>
          <a:prstGeom prst="rect">
            <a:avLst/>
          </a:prstGeom>
        </p:spPr>
      </p:pic>
    </p:spTree>
    <p:extLst>
      <p:ext uri="{BB962C8B-B14F-4D97-AF65-F5344CB8AC3E}">
        <p14:creationId xmlns:p14="http://schemas.microsoft.com/office/powerpoint/2010/main" val="27838388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a:xfrm>
            <a:off x="1371600" y="1168401"/>
            <a:ext cx="6400800" cy="2915920"/>
          </a:xfrm>
        </p:spPr>
        <p:txBody>
          <a:bodyPr/>
          <a:lstStyle/>
          <a:p>
            <a:endParaRPr lang="en-US" dirty="0">
              <a:solidFill>
                <a:srgbClr val="002E51"/>
              </a:solidFill>
            </a:endParaRPr>
          </a:p>
        </p:txBody>
      </p:sp>
      <p:pic>
        <p:nvPicPr>
          <p:cNvPr id="5" name="Picture 4">
            <a:extLst>
              <a:ext uri="{FF2B5EF4-FFF2-40B4-BE49-F238E27FC236}">
                <a16:creationId xmlns:a16="http://schemas.microsoft.com/office/drawing/2014/main" id="{2040472F-1A67-EB22-C807-44EB4CDED2B5}"/>
              </a:ext>
            </a:extLst>
          </p:cNvPr>
          <p:cNvPicPr>
            <a:picLocks noChangeAspect="1"/>
          </p:cNvPicPr>
          <p:nvPr/>
        </p:nvPicPr>
        <p:blipFill>
          <a:blip r:embed="rId3"/>
          <a:stretch>
            <a:fillRect/>
          </a:stretch>
        </p:blipFill>
        <p:spPr>
          <a:xfrm>
            <a:off x="1371600" y="473533"/>
            <a:ext cx="6492240" cy="3546044"/>
          </a:xfrm>
          <a:prstGeom prst="rect">
            <a:avLst/>
          </a:prstGeom>
        </p:spPr>
      </p:pic>
    </p:spTree>
    <p:extLst>
      <p:ext uri="{BB962C8B-B14F-4D97-AF65-F5344CB8AC3E}">
        <p14:creationId xmlns:p14="http://schemas.microsoft.com/office/powerpoint/2010/main" val="154811706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a:xfrm>
            <a:off x="1371600" y="1168401"/>
            <a:ext cx="6400800" cy="2915920"/>
          </a:xfrm>
        </p:spPr>
        <p:txBody>
          <a:bodyPr/>
          <a:lstStyle/>
          <a:p>
            <a:endParaRPr lang="en-US" dirty="0">
              <a:solidFill>
                <a:srgbClr val="002E51"/>
              </a:solidFill>
            </a:endParaRPr>
          </a:p>
        </p:txBody>
      </p:sp>
      <p:pic>
        <p:nvPicPr>
          <p:cNvPr id="3" name="Picture 2">
            <a:extLst>
              <a:ext uri="{FF2B5EF4-FFF2-40B4-BE49-F238E27FC236}">
                <a16:creationId xmlns:a16="http://schemas.microsoft.com/office/drawing/2014/main" id="{D27E0329-829F-DF37-337D-B4F165B88E0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51424" y="225307"/>
            <a:ext cx="7042991" cy="39616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40321867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D569D157-7611-61A7-C7D3-2CF72AAE64FA}"/>
              </a:ext>
            </a:extLst>
          </p:cNvPr>
          <p:cNvGrpSpPr/>
          <p:nvPr/>
        </p:nvGrpSpPr>
        <p:grpSpPr>
          <a:xfrm>
            <a:off x="533658" y="1287100"/>
            <a:ext cx="3611880" cy="2936240"/>
            <a:chOff x="730592" y="1213567"/>
            <a:chExt cx="7315200" cy="5199961"/>
          </a:xfrm>
        </p:grpSpPr>
        <p:pic>
          <p:nvPicPr>
            <p:cNvPr id="6" name="Picture 5">
              <a:extLst>
                <a:ext uri="{FF2B5EF4-FFF2-40B4-BE49-F238E27FC236}">
                  <a16:creationId xmlns:a16="http://schemas.microsoft.com/office/drawing/2014/main" id="{4ABC5710-C591-7678-2EDD-51A5F2E82BC1}"/>
                </a:ext>
              </a:extLst>
            </p:cNvPr>
            <p:cNvPicPr>
              <a:picLocks noChangeAspect="1"/>
            </p:cNvPicPr>
            <p:nvPr/>
          </p:nvPicPr>
          <p:blipFill>
            <a:blip r:embed="rId3">
              <a:clrChange>
                <a:clrFrom>
                  <a:srgbClr val="000000">
                    <a:alpha val="0"/>
                  </a:srgbClr>
                </a:clrFrom>
                <a:clrTo>
                  <a:srgbClr val="000000">
                    <a:alpha val="0"/>
                  </a:srgbClr>
                </a:clrTo>
              </a:clrChange>
              <a:extLst>
                <a:ext uri="{28A0092B-C50C-407E-A947-70E740481C1C}">
                  <a14:useLocalDpi xmlns:a14="http://schemas.microsoft.com/office/drawing/2010/main"/>
                </a:ext>
              </a:extLst>
            </a:blip>
            <a:stretch>
              <a:fillRect/>
            </a:stretch>
          </p:blipFill>
          <p:spPr>
            <a:xfrm>
              <a:off x="730592" y="1213567"/>
              <a:ext cx="7315200" cy="5199961"/>
            </a:xfrm>
            <a:prstGeom prst="rect">
              <a:avLst/>
            </a:prstGeom>
          </p:spPr>
        </p:pic>
        <p:cxnSp>
          <p:nvCxnSpPr>
            <p:cNvPr id="7" name="Straight Connector 6">
              <a:extLst>
                <a:ext uri="{FF2B5EF4-FFF2-40B4-BE49-F238E27FC236}">
                  <a16:creationId xmlns:a16="http://schemas.microsoft.com/office/drawing/2014/main" id="{D083F65B-F68C-A18D-9F1B-FE1EE6C1545E}"/>
                </a:ext>
              </a:extLst>
            </p:cNvPr>
            <p:cNvCxnSpPr/>
            <p:nvPr/>
          </p:nvCxnSpPr>
          <p:spPr>
            <a:xfrm flipV="1">
              <a:off x="5725973" y="4876558"/>
              <a:ext cx="0" cy="731520"/>
            </a:xfrm>
            <a:prstGeom prst="line">
              <a:avLst/>
            </a:prstGeom>
            <a:ln>
              <a:solidFill>
                <a:schemeClr val="tx1">
                  <a:lumMod val="50000"/>
                  <a:lumOff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685FE144-9307-DD90-D79E-B44361467A29}"/>
                </a:ext>
              </a:extLst>
            </p:cNvPr>
            <p:cNvCxnSpPr/>
            <p:nvPr/>
          </p:nvCxnSpPr>
          <p:spPr>
            <a:xfrm flipV="1">
              <a:off x="3623852" y="3869733"/>
              <a:ext cx="0" cy="1737360"/>
            </a:xfrm>
            <a:prstGeom prst="line">
              <a:avLst/>
            </a:prstGeom>
            <a:ln>
              <a:solidFill>
                <a:schemeClr val="tx1">
                  <a:lumMod val="50000"/>
                  <a:lumOff val="50000"/>
                </a:schemeClr>
              </a:solidFill>
              <a:prstDash val="sysDot"/>
            </a:ln>
          </p:spPr>
          <p:style>
            <a:lnRef idx="1">
              <a:schemeClr val="accent1"/>
            </a:lnRef>
            <a:fillRef idx="0">
              <a:schemeClr val="accent1"/>
            </a:fillRef>
            <a:effectRef idx="0">
              <a:schemeClr val="accent1"/>
            </a:effectRef>
            <a:fontRef idx="minor">
              <a:schemeClr val="tx1"/>
            </a:fontRef>
          </p:style>
        </p:cxnSp>
      </p:grpSp>
      <p:grpSp>
        <p:nvGrpSpPr>
          <p:cNvPr id="9" name="Group 8">
            <a:extLst>
              <a:ext uri="{FF2B5EF4-FFF2-40B4-BE49-F238E27FC236}">
                <a16:creationId xmlns:a16="http://schemas.microsoft.com/office/drawing/2014/main" id="{3919779E-6FB9-9474-6E30-E5E712FCAC81}"/>
              </a:ext>
            </a:extLst>
          </p:cNvPr>
          <p:cNvGrpSpPr/>
          <p:nvPr/>
        </p:nvGrpSpPr>
        <p:grpSpPr>
          <a:xfrm>
            <a:off x="4780625" y="1287099"/>
            <a:ext cx="3611880" cy="2936241"/>
            <a:chOff x="5515425" y="1023315"/>
            <a:chExt cx="6444143" cy="4943949"/>
          </a:xfrm>
        </p:grpSpPr>
        <p:pic>
          <p:nvPicPr>
            <p:cNvPr id="10" name="Picture 2">
              <a:extLst>
                <a:ext uri="{FF2B5EF4-FFF2-40B4-BE49-F238E27FC236}">
                  <a16:creationId xmlns:a16="http://schemas.microsoft.com/office/drawing/2014/main" id="{4A2FD129-1CB9-2B88-D129-C9922969A24A}"/>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8365" t="18597" r="17959" b="28788"/>
            <a:stretch/>
          </p:blipFill>
          <p:spPr bwMode="auto">
            <a:xfrm>
              <a:off x="5515425" y="1023315"/>
              <a:ext cx="6444143" cy="49439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Rectangle 10">
              <a:extLst>
                <a:ext uri="{FF2B5EF4-FFF2-40B4-BE49-F238E27FC236}">
                  <a16:creationId xmlns:a16="http://schemas.microsoft.com/office/drawing/2014/main" id="{2F8A9F37-7B26-5E8C-CFDA-F479BE22F3E6}"/>
                </a:ext>
              </a:extLst>
            </p:cNvPr>
            <p:cNvSpPr/>
            <p:nvPr/>
          </p:nvSpPr>
          <p:spPr>
            <a:xfrm>
              <a:off x="8215744" y="1542452"/>
              <a:ext cx="3743823" cy="21432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E512C059-178B-041F-BD64-72DDA889776B}"/>
                </a:ext>
              </a:extLst>
            </p:cNvPr>
            <p:cNvSpPr/>
            <p:nvPr/>
          </p:nvSpPr>
          <p:spPr>
            <a:xfrm>
              <a:off x="9856219" y="2110714"/>
              <a:ext cx="2103348" cy="21432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3" name="TextBox 12">
            <a:extLst>
              <a:ext uri="{FF2B5EF4-FFF2-40B4-BE49-F238E27FC236}">
                <a16:creationId xmlns:a16="http://schemas.microsoft.com/office/drawing/2014/main" id="{FAED5A2A-CD2B-8B54-193B-F10818C4C9B0}"/>
              </a:ext>
            </a:extLst>
          </p:cNvPr>
          <p:cNvSpPr txBox="1"/>
          <p:nvPr/>
        </p:nvSpPr>
        <p:spPr>
          <a:xfrm>
            <a:off x="649646" y="807132"/>
            <a:ext cx="707310" cy="707886"/>
          </a:xfrm>
          <a:prstGeom prst="rect">
            <a:avLst/>
          </a:prstGeom>
          <a:noFill/>
        </p:spPr>
        <p:txBody>
          <a:bodyPr wrap="none" rtlCol="0">
            <a:spAutoFit/>
          </a:bodyPr>
          <a:lstStyle/>
          <a:p>
            <a:r>
              <a:rPr lang="en-US" sz="2000" dirty="0"/>
              <a:t>PACE</a:t>
            </a:r>
          </a:p>
          <a:p>
            <a:endParaRPr lang="en-US" sz="2000" dirty="0">
              <a:solidFill>
                <a:srgbClr val="002060"/>
              </a:solidFill>
            </a:endParaRPr>
          </a:p>
        </p:txBody>
      </p:sp>
      <p:sp>
        <p:nvSpPr>
          <p:cNvPr id="14" name="TextBox 13">
            <a:extLst>
              <a:ext uri="{FF2B5EF4-FFF2-40B4-BE49-F238E27FC236}">
                <a16:creationId xmlns:a16="http://schemas.microsoft.com/office/drawing/2014/main" id="{C0168345-32D2-6DA5-7252-0FC5E82F0725}"/>
              </a:ext>
            </a:extLst>
          </p:cNvPr>
          <p:cNvSpPr txBox="1"/>
          <p:nvPr/>
        </p:nvSpPr>
        <p:spPr>
          <a:xfrm>
            <a:off x="7052046" y="770702"/>
            <a:ext cx="1265859" cy="400110"/>
          </a:xfrm>
          <a:prstGeom prst="rect">
            <a:avLst/>
          </a:prstGeom>
          <a:noFill/>
        </p:spPr>
        <p:txBody>
          <a:bodyPr wrap="none" rtlCol="0">
            <a:spAutoFit/>
          </a:bodyPr>
          <a:lstStyle/>
          <a:p>
            <a:r>
              <a:rPr lang="en-US" sz="2000" dirty="0"/>
              <a:t>MAINTAIN</a:t>
            </a:r>
          </a:p>
        </p:txBody>
      </p:sp>
      <p:graphicFrame>
        <p:nvGraphicFramePr>
          <p:cNvPr id="15" name="Table 20">
            <a:extLst>
              <a:ext uri="{FF2B5EF4-FFF2-40B4-BE49-F238E27FC236}">
                <a16:creationId xmlns:a16="http://schemas.microsoft.com/office/drawing/2014/main" id="{0503D688-A6E5-5683-4B1A-8784BB2A8769}"/>
              </a:ext>
            </a:extLst>
          </p:cNvPr>
          <p:cNvGraphicFramePr>
            <a:graphicFrameLocks noGrp="1"/>
          </p:cNvGraphicFramePr>
          <p:nvPr>
            <p:extLst>
              <p:ext uri="{D42A27DB-BD31-4B8C-83A1-F6EECF244321}">
                <p14:modId xmlns:p14="http://schemas.microsoft.com/office/powerpoint/2010/main" val="1410189727"/>
              </p:ext>
            </p:extLst>
          </p:nvPr>
        </p:nvGraphicFramePr>
        <p:xfrm>
          <a:off x="1964672" y="1371984"/>
          <a:ext cx="2607328" cy="1121856"/>
        </p:xfrm>
        <a:graphic>
          <a:graphicData uri="http://schemas.openxmlformats.org/drawingml/2006/table">
            <a:tbl>
              <a:tblPr bandRow="1">
                <a:tableStyleId>{F5AB1C69-6EDB-4FF4-983F-18BD219EF322}</a:tableStyleId>
              </a:tblPr>
              <a:tblGrid>
                <a:gridCol w="737295">
                  <a:extLst>
                    <a:ext uri="{9D8B030D-6E8A-4147-A177-3AD203B41FA5}">
                      <a16:colId xmlns:a16="http://schemas.microsoft.com/office/drawing/2014/main" val="922174502"/>
                    </a:ext>
                  </a:extLst>
                </a:gridCol>
                <a:gridCol w="937260">
                  <a:extLst>
                    <a:ext uri="{9D8B030D-6E8A-4147-A177-3AD203B41FA5}">
                      <a16:colId xmlns:a16="http://schemas.microsoft.com/office/drawing/2014/main" val="1970900214"/>
                    </a:ext>
                  </a:extLst>
                </a:gridCol>
                <a:gridCol w="932773">
                  <a:extLst>
                    <a:ext uri="{9D8B030D-6E8A-4147-A177-3AD203B41FA5}">
                      <a16:colId xmlns:a16="http://schemas.microsoft.com/office/drawing/2014/main" val="4153766895"/>
                    </a:ext>
                  </a:extLst>
                </a:gridCol>
              </a:tblGrid>
              <a:tr h="359856">
                <a:tc>
                  <a:txBody>
                    <a:bodyPr/>
                    <a:lstStyle/>
                    <a:p>
                      <a:endParaRPr lang="en-US" sz="800" dirty="0">
                        <a:solidFill>
                          <a:schemeClr val="tx1"/>
                        </a:solidFill>
                      </a:endParaRPr>
                    </a:p>
                  </a:txBody>
                  <a:tcPr/>
                </a:tc>
                <a:tc>
                  <a:txBody>
                    <a:bodyPr/>
                    <a:lstStyle/>
                    <a:p>
                      <a:r>
                        <a:rPr lang="en-US" sz="800" b="1" dirty="0">
                          <a:solidFill>
                            <a:schemeClr val="tx1"/>
                          </a:solidFill>
                        </a:rPr>
                        <a:t>Fulvestrant</a:t>
                      </a:r>
                    </a:p>
                  </a:txBody>
                  <a:tcPr/>
                </a:tc>
                <a:tc>
                  <a:txBody>
                    <a:bodyPr/>
                    <a:lstStyle/>
                    <a:p>
                      <a:r>
                        <a:rPr lang="en-US" sz="800" b="1" dirty="0">
                          <a:solidFill>
                            <a:schemeClr val="tx1"/>
                          </a:solidFill>
                        </a:rPr>
                        <a:t>Fulvestrant/</a:t>
                      </a:r>
                    </a:p>
                    <a:p>
                      <a:r>
                        <a:rPr lang="en-US" sz="800" b="1" dirty="0">
                          <a:solidFill>
                            <a:schemeClr val="tx1"/>
                          </a:solidFill>
                        </a:rPr>
                        <a:t>Palbociclib</a:t>
                      </a:r>
                    </a:p>
                  </a:txBody>
                  <a:tcPr/>
                </a:tc>
                <a:extLst>
                  <a:ext uri="{0D108BD9-81ED-4DB2-BD59-A6C34878D82A}">
                    <a16:rowId xmlns:a16="http://schemas.microsoft.com/office/drawing/2014/main" val="1673251992"/>
                  </a:ext>
                </a:extLst>
              </a:tr>
              <a:tr h="183711">
                <a:tc>
                  <a:txBody>
                    <a:bodyPr/>
                    <a:lstStyle/>
                    <a:p>
                      <a:r>
                        <a:rPr lang="en-US" sz="800" dirty="0">
                          <a:solidFill>
                            <a:schemeClr val="tx1"/>
                          </a:solidFill>
                        </a:rPr>
                        <a:t>Median PFS</a:t>
                      </a:r>
                    </a:p>
                  </a:txBody>
                  <a:tcPr/>
                </a:tc>
                <a:tc>
                  <a:txBody>
                    <a:bodyPr/>
                    <a:lstStyle/>
                    <a:p>
                      <a:r>
                        <a:rPr lang="en-US" sz="800" dirty="0">
                          <a:solidFill>
                            <a:schemeClr val="tx1"/>
                          </a:solidFill>
                        </a:rPr>
                        <a:t>4.8m</a:t>
                      </a:r>
                    </a:p>
                  </a:txBody>
                  <a:tcPr/>
                </a:tc>
                <a:tc>
                  <a:txBody>
                    <a:bodyPr/>
                    <a:lstStyle/>
                    <a:p>
                      <a:r>
                        <a:rPr lang="en-US" sz="800" dirty="0">
                          <a:solidFill>
                            <a:schemeClr val="tx1"/>
                          </a:solidFill>
                        </a:rPr>
                        <a:t>4.6m</a:t>
                      </a:r>
                    </a:p>
                  </a:txBody>
                  <a:tcPr/>
                </a:tc>
                <a:extLst>
                  <a:ext uri="{0D108BD9-81ED-4DB2-BD59-A6C34878D82A}">
                    <a16:rowId xmlns:a16="http://schemas.microsoft.com/office/drawing/2014/main" val="3945947819"/>
                  </a:ext>
                </a:extLst>
              </a:tr>
              <a:tr h="183711">
                <a:tc>
                  <a:txBody>
                    <a:bodyPr/>
                    <a:lstStyle/>
                    <a:p>
                      <a:r>
                        <a:rPr lang="en-US" sz="800" dirty="0">
                          <a:solidFill>
                            <a:schemeClr val="tx1"/>
                          </a:solidFill>
                        </a:rPr>
                        <a:t>6m PFS</a:t>
                      </a:r>
                    </a:p>
                  </a:txBody>
                  <a:tcPr/>
                </a:tc>
                <a:tc>
                  <a:txBody>
                    <a:bodyPr/>
                    <a:lstStyle/>
                    <a:p>
                      <a:r>
                        <a:rPr lang="en-US" sz="800" dirty="0">
                          <a:solidFill>
                            <a:schemeClr val="tx1"/>
                          </a:solidFill>
                        </a:rPr>
                        <a:t>42.9%</a:t>
                      </a:r>
                    </a:p>
                  </a:txBody>
                  <a:tcPr/>
                </a:tc>
                <a:tc>
                  <a:txBody>
                    <a:bodyPr/>
                    <a:lstStyle/>
                    <a:p>
                      <a:r>
                        <a:rPr lang="en-US" sz="800" dirty="0">
                          <a:solidFill>
                            <a:schemeClr val="tx1"/>
                          </a:solidFill>
                        </a:rPr>
                        <a:t>40.0%</a:t>
                      </a:r>
                    </a:p>
                  </a:txBody>
                  <a:tcPr/>
                </a:tc>
                <a:extLst>
                  <a:ext uri="{0D108BD9-81ED-4DB2-BD59-A6C34878D82A}">
                    <a16:rowId xmlns:a16="http://schemas.microsoft.com/office/drawing/2014/main" val="418899581"/>
                  </a:ext>
                </a:extLst>
              </a:tr>
              <a:tr h="183711">
                <a:tc>
                  <a:txBody>
                    <a:bodyPr/>
                    <a:lstStyle/>
                    <a:p>
                      <a:r>
                        <a:rPr lang="en-US" sz="800" dirty="0">
                          <a:solidFill>
                            <a:schemeClr val="tx1"/>
                          </a:solidFill>
                        </a:rPr>
                        <a:t>12m PFS</a:t>
                      </a:r>
                    </a:p>
                  </a:txBody>
                  <a:tcPr/>
                </a:tc>
                <a:tc>
                  <a:txBody>
                    <a:bodyPr/>
                    <a:lstStyle/>
                    <a:p>
                      <a:r>
                        <a:rPr lang="en-US" sz="800" dirty="0">
                          <a:solidFill>
                            <a:schemeClr val="tx1"/>
                          </a:solidFill>
                        </a:rPr>
                        <a:t>17.5%</a:t>
                      </a:r>
                    </a:p>
                  </a:txBody>
                  <a:tcPr/>
                </a:tc>
                <a:tc>
                  <a:txBody>
                    <a:bodyPr/>
                    <a:lstStyle/>
                    <a:p>
                      <a:r>
                        <a:rPr lang="en-US" sz="800" dirty="0">
                          <a:solidFill>
                            <a:schemeClr val="tx1"/>
                          </a:solidFill>
                        </a:rPr>
                        <a:t>13.1%</a:t>
                      </a:r>
                    </a:p>
                  </a:txBody>
                  <a:tcPr/>
                </a:tc>
                <a:extLst>
                  <a:ext uri="{0D108BD9-81ED-4DB2-BD59-A6C34878D82A}">
                    <a16:rowId xmlns:a16="http://schemas.microsoft.com/office/drawing/2014/main" val="940394872"/>
                  </a:ext>
                </a:extLst>
              </a:tr>
            </a:tbl>
          </a:graphicData>
        </a:graphic>
      </p:graphicFrame>
      <p:graphicFrame>
        <p:nvGraphicFramePr>
          <p:cNvPr id="16" name="Table 20">
            <a:extLst>
              <a:ext uri="{FF2B5EF4-FFF2-40B4-BE49-F238E27FC236}">
                <a16:creationId xmlns:a16="http://schemas.microsoft.com/office/drawing/2014/main" id="{ABD1D6FE-A52F-388D-3F41-C446723DF901}"/>
              </a:ext>
            </a:extLst>
          </p:cNvPr>
          <p:cNvGraphicFramePr>
            <a:graphicFrameLocks noGrp="1"/>
          </p:cNvGraphicFramePr>
          <p:nvPr>
            <p:extLst>
              <p:ext uri="{D42A27DB-BD31-4B8C-83A1-F6EECF244321}">
                <p14:modId xmlns:p14="http://schemas.microsoft.com/office/powerpoint/2010/main" val="450124412"/>
              </p:ext>
            </p:extLst>
          </p:nvPr>
        </p:nvGraphicFramePr>
        <p:xfrm>
          <a:off x="6129580" y="1416796"/>
          <a:ext cx="2262925" cy="1077044"/>
        </p:xfrm>
        <a:graphic>
          <a:graphicData uri="http://schemas.openxmlformats.org/drawingml/2006/table">
            <a:tbl>
              <a:tblPr bandRow="1">
                <a:tableStyleId>{F5AB1C69-6EDB-4FF4-983F-18BD219EF322}</a:tableStyleId>
              </a:tblPr>
              <a:tblGrid>
                <a:gridCol w="825185">
                  <a:extLst>
                    <a:ext uri="{9D8B030D-6E8A-4147-A177-3AD203B41FA5}">
                      <a16:colId xmlns:a16="http://schemas.microsoft.com/office/drawing/2014/main" val="922174502"/>
                    </a:ext>
                  </a:extLst>
                </a:gridCol>
                <a:gridCol w="526791">
                  <a:extLst>
                    <a:ext uri="{9D8B030D-6E8A-4147-A177-3AD203B41FA5}">
                      <a16:colId xmlns:a16="http://schemas.microsoft.com/office/drawing/2014/main" val="1970900214"/>
                    </a:ext>
                  </a:extLst>
                </a:gridCol>
                <a:gridCol w="910949">
                  <a:extLst>
                    <a:ext uri="{9D8B030D-6E8A-4147-A177-3AD203B41FA5}">
                      <a16:colId xmlns:a16="http://schemas.microsoft.com/office/drawing/2014/main" val="4153766895"/>
                    </a:ext>
                  </a:extLst>
                </a:gridCol>
              </a:tblGrid>
              <a:tr h="296887">
                <a:tc>
                  <a:txBody>
                    <a:bodyPr/>
                    <a:lstStyle/>
                    <a:p>
                      <a:endParaRPr lang="en-US" sz="800" dirty="0">
                        <a:solidFill>
                          <a:schemeClr val="tx1"/>
                        </a:solidFill>
                      </a:endParaRPr>
                    </a:p>
                  </a:txBody>
                  <a:tcPr/>
                </a:tc>
                <a:tc>
                  <a:txBody>
                    <a:bodyPr/>
                    <a:lstStyle/>
                    <a:p>
                      <a:r>
                        <a:rPr lang="en-US" sz="800" b="1" dirty="0">
                          <a:solidFill>
                            <a:schemeClr val="tx1"/>
                          </a:solidFill>
                        </a:rPr>
                        <a:t>ET</a:t>
                      </a:r>
                    </a:p>
                  </a:txBody>
                  <a:tcPr/>
                </a:tc>
                <a:tc>
                  <a:txBody>
                    <a:bodyPr/>
                    <a:lstStyle/>
                    <a:p>
                      <a:r>
                        <a:rPr lang="en-US" sz="800" b="1" dirty="0">
                          <a:solidFill>
                            <a:schemeClr val="tx1"/>
                          </a:solidFill>
                        </a:rPr>
                        <a:t>ET/ Ribociclib</a:t>
                      </a:r>
                    </a:p>
                  </a:txBody>
                  <a:tcPr/>
                </a:tc>
                <a:extLst>
                  <a:ext uri="{0D108BD9-81ED-4DB2-BD59-A6C34878D82A}">
                    <a16:rowId xmlns:a16="http://schemas.microsoft.com/office/drawing/2014/main" val="1673251992"/>
                  </a:ext>
                </a:extLst>
              </a:tr>
              <a:tr h="331815">
                <a:tc>
                  <a:txBody>
                    <a:bodyPr/>
                    <a:lstStyle/>
                    <a:p>
                      <a:r>
                        <a:rPr lang="en-US" sz="800" dirty="0">
                          <a:solidFill>
                            <a:schemeClr val="tx1"/>
                          </a:solidFill>
                        </a:rPr>
                        <a:t>Median PFS</a:t>
                      </a:r>
                    </a:p>
                  </a:txBody>
                  <a:tcPr/>
                </a:tc>
                <a:tc>
                  <a:txBody>
                    <a:bodyPr/>
                    <a:lstStyle/>
                    <a:p>
                      <a:r>
                        <a:rPr lang="en-US" sz="800" dirty="0">
                          <a:solidFill>
                            <a:schemeClr val="tx1"/>
                          </a:solidFill>
                        </a:rPr>
                        <a:t>2.76m</a:t>
                      </a:r>
                    </a:p>
                  </a:txBody>
                  <a:tcPr/>
                </a:tc>
                <a:tc>
                  <a:txBody>
                    <a:bodyPr/>
                    <a:lstStyle/>
                    <a:p>
                      <a:r>
                        <a:rPr lang="en-US" sz="800" dirty="0">
                          <a:solidFill>
                            <a:schemeClr val="tx1"/>
                          </a:solidFill>
                        </a:rPr>
                        <a:t>5.29m</a:t>
                      </a:r>
                    </a:p>
                  </a:txBody>
                  <a:tcPr/>
                </a:tc>
                <a:extLst>
                  <a:ext uri="{0D108BD9-81ED-4DB2-BD59-A6C34878D82A}">
                    <a16:rowId xmlns:a16="http://schemas.microsoft.com/office/drawing/2014/main" val="3945947819"/>
                  </a:ext>
                </a:extLst>
              </a:tr>
              <a:tr h="224171">
                <a:tc>
                  <a:txBody>
                    <a:bodyPr/>
                    <a:lstStyle/>
                    <a:p>
                      <a:r>
                        <a:rPr lang="en-US" sz="800" dirty="0">
                          <a:solidFill>
                            <a:schemeClr val="tx1"/>
                          </a:solidFill>
                        </a:rPr>
                        <a:t>6m PFS</a:t>
                      </a:r>
                    </a:p>
                  </a:txBody>
                  <a:tcPr/>
                </a:tc>
                <a:tc>
                  <a:txBody>
                    <a:bodyPr/>
                    <a:lstStyle/>
                    <a:p>
                      <a:r>
                        <a:rPr lang="en-US" sz="800" dirty="0">
                          <a:solidFill>
                            <a:schemeClr val="tx1"/>
                          </a:solidFill>
                        </a:rPr>
                        <a:t>23.9%</a:t>
                      </a:r>
                    </a:p>
                  </a:txBody>
                  <a:tcPr/>
                </a:tc>
                <a:tc>
                  <a:txBody>
                    <a:bodyPr/>
                    <a:lstStyle/>
                    <a:p>
                      <a:r>
                        <a:rPr lang="en-US" sz="800" dirty="0">
                          <a:solidFill>
                            <a:schemeClr val="tx1"/>
                          </a:solidFill>
                        </a:rPr>
                        <a:t>41.20%</a:t>
                      </a:r>
                    </a:p>
                  </a:txBody>
                  <a:tcPr/>
                </a:tc>
                <a:extLst>
                  <a:ext uri="{0D108BD9-81ED-4DB2-BD59-A6C34878D82A}">
                    <a16:rowId xmlns:a16="http://schemas.microsoft.com/office/drawing/2014/main" val="418899581"/>
                  </a:ext>
                </a:extLst>
              </a:tr>
              <a:tr h="224171">
                <a:tc>
                  <a:txBody>
                    <a:bodyPr/>
                    <a:lstStyle/>
                    <a:p>
                      <a:r>
                        <a:rPr lang="en-US" sz="800" dirty="0">
                          <a:solidFill>
                            <a:schemeClr val="tx1"/>
                          </a:solidFill>
                        </a:rPr>
                        <a:t>12m  PFS</a:t>
                      </a:r>
                    </a:p>
                  </a:txBody>
                  <a:tcPr/>
                </a:tc>
                <a:tc>
                  <a:txBody>
                    <a:bodyPr/>
                    <a:lstStyle/>
                    <a:p>
                      <a:r>
                        <a:rPr lang="en-US" sz="800" dirty="0">
                          <a:solidFill>
                            <a:schemeClr val="tx1"/>
                          </a:solidFill>
                        </a:rPr>
                        <a:t>7.4%</a:t>
                      </a:r>
                    </a:p>
                  </a:txBody>
                  <a:tcPr/>
                </a:tc>
                <a:tc>
                  <a:txBody>
                    <a:bodyPr/>
                    <a:lstStyle/>
                    <a:p>
                      <a:r>
                        <a:rPr lang="en-US" sz="800" dirty="0">
                          <a:solidFill>
                            <a:schemeClr val="tx1"/>
                          </a:solidFill>
                        </a:rPr>
                        <a:t>24.6%</a:t>
                      </a:r>
                    </a:p>
                  </a:txBody>
                  <a:tcPr/>
                </a:tc>
                <a:extLst>
                  <a:ext uri="{0D108BD9-81ED-4DB2-BD59-A6C34878D82A}">
                    <a16:rowId xmlns:a16="http://schemas.microsoft.com/office/drawing/2014/main" val="940394872"/>
                  </a:ext>
                </a:extLst>
              </a:tr>
            </a:tbl>
          </a:graphicData>
        </a:graphic>
      </p:graphicFrame>
      <p:sp>
        <p:nvSpPr>
          <p:cNvPr id="17" name="TextBox 16">
            <a:extLst>
              <a:ext uri="{FF2B5EF4-FFF2-40B4-BE49-F238E27FC236}">
                <a16:creationId xmlns:a16="http://schemas.microsoft.com/office/drawing/2014/main" id="{E098A452-B03E-1349-F698-8614F9224715}"/>
              </a:ext>
            </a:extLst>
          </p:cNvPr>
          <p:cNvSpPr txBox="1"/>
          <p:nvPr/>
        </p:nvSpPr>
        <p:spPr>
          <a:xfrm>
            <a:off x="5175653" y="4058847"/>
            <a:ext cx="2134298" cy="246221"/>
          </a:xfrm>
          <a:prstGeom prst="rect">
            <a:avLst/>
          </a:prstGeom>
          <a:noFill/>
        </p:spPr>
        <p:txBody>
          <a:bodyPr wrap="square" rtlCol="0">
            <a:spAutoFit/>
          </a:bodyPr>
          <a:lstStyle/>
          <a:p>
            <a:r>
              <a:rPr lang="en-US" sz="1000" dirty="0"/>
              <a:t>*ET was fulvestrant in 83%</a:t>
            </a:r>
          </a:p>
        </p:txBody>
      </p:sp>
      <p:sp>
        <p:nvSpPr>
          <p:cNvPr id="18" name="TextBox 17">
            <a:extLst>
              <a:ext uri="{FF2B5EF4-FFF2-40B4-BE49-F238E27FC236}">
                <a16:creationId xmlns:a16="http://schemas.microsoft.com/office/drawing/2014/main" id="{2EC3DAF8-2ED2-F4EB-1CEB-1DF0CD80B157}"/>
              </a:ext>
            </a:extLst>
          </p:cNvPr>
          <p:cNvSpPr txBox="1"/>
          <p:nvPr/>
        </p:nvSpPr>
        <p:spPr>
          <a:xfrm>
            <a:off x="4831611" y="4602985"/>
            <a:ext cx="1651414" cy="400110"/>
          </a:xfrm>
          <a:prstGeom prst="rect">
            <a:avLst/>
          </a:prstGeom>
          <a:noFill/>
        </p:spPr>
        <p:txBody>
          <a:bodyPr wrap="none" rtlCol="0">
            <a:spAutoFit/>
          </a:bodyPr>
          <a:lstStyle/>
          <a:p>
            <a:r>
              <a:rPr lang="en-US" sz="1000" dirty="0"/>
              <a:t>Mayer et al SABCS 2022</a:t>
            </a:r>
          </a:p>
          <a:p>
            <a:r>
              <a:rPr lang="en-US" sz="1000" dirty="0"/>
              <a:t>Kalinsky et al ASCO 2022</a:t>
            </a:r>
          </a:p>
        </p:txBody>
      </p:sp>
      <p:sp>
        <p:nvSpPr>
          <p:cNvPr id="19" name="TextBox 18">
            <a:extLst>
              <a:ext uri="{FF2B5EF4-FFF2-40B4-BE49-F238E27FC236}">
                <a16:creationId xmlns:a16="http://schemas.microsoft.com/office/drawing/2014/main" id="{8D663383-F55E-27DD-9BEB-36DFC029B66A}"/>
              </a:ext>
            </a:extLst>
          </p:cNvPr>
          <p:cNvSpPr txBox="1"/>
          <p:nvPr/>
        </p:nvSpPr>
        <p:spPr>
          <a:xfrm>
            <a:off x="826095" y="53052"/>
            <a:ext cx="7875945" cy="830997"/>
          </a:xfrm>
          <a:prstGeom prst="rect">
            <a:avLst/>
          </a:prstGeom>
          <a:noFill/>
        </p:spPr>
        <p:txBody>
          <a:bodyPr wrap="square" rtlCol="0">
            <a:spAutoFit/>
          </a:bodyPr>
          <a:lstStyle/>
          <a:p>
            <a:pPr algn="ctr"/>
            <a:r>
              <a:rPr lang="en-US" b="1" dirty="0"/>
              <a:t>Discussion: continued CDK 4/6 inhibitor post-progression</a:t>
            </a:r>
          </a:p>
        </p:txBody>
      </p:sp>
    </p:spTree>
    <p:extLst>
      <p:ext uri="{BB962C8B-B14F-4D97-AF65-F5344CB8AC3E}">
        <p14:creationId xmlns:p14="http://schemas.microsoft.com/office/powerpoint/2010/main" val="25228401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dissolve">
                                      <p:cBhvr>
                                        <p:cTn id="7" dur="500"/>
                                        <p:tgtEl>
                                          <p:spTgt spid="9"/>
                                        </p:tgtEl>
                                      </p:cBhvr>
                                    </p:animEffect>
                                  </p:childTnLst>
                                </p:cTn>
                              </p:par>
                              <p:par>
                                <p:cTn id="8" presetID="9" presetClass="entr" presetSubtype="0" fill="hold" nodeType="withEffect">
                                  <p:stCondLst>
                                    <p:cond delay="0"/>
                                  </p:stCondLst>
                                  <p:childTnLst>
                                    <p:set>
                                      <p:cBhvr>
                                        <p:cTn id="9" dur="1" fill="hold">
                                          <p:stCondLst>
                                            <p:cond delay="0"/>
                                          </p:stCondLst>
                                        </p:cTn>
                                        <p:tgtEl>
                                          <p:spTgt spid="14">
                                            <p:txEl>
                                              <p:pRg st="0" end="0"/>
                                            </p:txEl>
                                          </p:spTgt>
                                        </p:tgtEl>
                                        <p:attrNameLst>
                                          <p:attrName>style.visibility</p:attrName>
                                        </p:attrNameLst>
                                      </p:cBhvr>
                                      <p:to>
                                        <p:strVal val="visible"/>
                                      </p:to>
                                    </p:set>
                                    <p:animEffect transition="in" filter="dissolve">
                                      <p:cBhvr>
                                        <p:cTn id="10" dur="500"/>
                                        <p:tgtEl>
                                          <p:spTgt spid="14">
                                            <p:txEl>
                                              <p:pRg st="0" end="0"/>
                                            </p:txEl>
                                          </p:spTgt>
                                        </p:tgtEl>
                                      </p:cBhvr>
                                    </p:animEffect>
                                  </p:childTnLst>
                                </p:cTn>
                              </p:par>
                              <p:par>
                                <p:cTn id="11" presetID="9" presetClass="entr" presetSubtype="0" fill="hold" nodeType="withEffect">
                                  <p:stCondLst>
                                    <p:cond delay="0"/>
                                  </p:stCondLst>
                                  <p:childTnLst>
                                    <p:set>
                                      <p:cBhvr>
                                        <p:cTn id="12" dur="1" fill="hold">
                                          <p:stCondLst>
                                            <p:cond delay="0"/>
                                          </p:stCondLst>
                                        </p:cTn>
                                        <p:tgtEl>
                                          <p:spTgt spid="16"/>
                                        </p:tgtEl>
                                        <p:attrNameLst>
                                          <p:attrName>style.visibility</p:attrName>
                                        </p:attrNameLst>
                                      </p:cBhvr>
                                      <p:to>
                                        <p:strVal val="visible"/>
                                      </p:to>
                                    </p:set>
                                    <p:animEffect transition="in" filter="dissolve">
                                      <p:cBhvr>
                                        <p:cTn id="13" dur="500"/>
                                        <p:tgtEl>
                                          <p:spTgt spid="16"/>
                                        </p:tgtEl>
                                      </p:cBhvr>
                                    </p:animEffect>
                                  </p:childTnLst>
                                </p:cTn>
                              </p:par>
                              <p:par>
                                <p:cTn id="14" presetID="9" presetClass="entr" presetSubtype="0" fill="hold" grpId="0" nodeType="withEffect">
                                  <p:stCondLst>
                                    <p:cond delay="0"/>
                                  </p:stCondLst>
                                  <p:childTnLst>
                                    <p:set>
                                      <p:cBhvr>
                                        <p:cTn id="15" dur="1" fill="hold">
                                          <p:stCondLst>
                                            <p:cond delay="0"/>
                                          </p:stCondLst>
                                        </p:cTn>
                                        <p:tgtEl>
                                          <p:spTgt spid="17"/>
                                        </p:tgtEl>
                                        <p:attrNameLst>
                                          <p:attrName>style.visibility</p:attrName>
                                        </p:attrNameLst>
                                      </p:cBhvr>
                                      <p:to>
                                        <p:strVal val="visible"/>
                                      </p:to>
                                    </p:set>
                                    <p:animEffect transition="in" filter="dissolve">
                                      <p:cBhvr>
                                        <p:cTn id="16"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FAD695F-84B0-79C9-044D-4D3DE1FD9A99}"/>
              </a:ext>
            </a:extLst>
          </p:cNvPr>
          <p:cNvSpPr>
            <a:spLocks noGrp="1"/>
          </p:cNvSpPr>
          <p:nvPr>
            <p:ph sz="half" idx="1"/>
          </p:nvPr>
        </p:nvSpPr>
        <p:spPr>
          <a:xfrm>
            <a:off x="685800" y="1117600"/>
            <a:ext cx="6743700" cy="2936240"/>
          </a:xfrm>
        </p:spPr>
        <p:txBody>
          <a:bodyPr/>
          <a:lstStyle/>
          <a:p>
            <a:pPr>
              <a:lnSpc>
                <a:spcPct val="110000"/>
              </a:lnSpc>
            </a:pPr>
            <a:endParaRPr lang="en-US" sz="1200" dirty="0">
              <a:solidFill>
                <a:srgbClr val="2E2E2E"/>
              </a:solidFill>
              <a:ea typeface="Verdana" panose="020B0604030504040204" pitchFamily="34" charset="0"/>
            </a:endParaRPr>
          </a:p>
          <a:p>
            <a:pPr>
              <a:lnSpc>
                <a:spcPct val="110000"/>
              </a:lnSpc>
            </a:pPr>
            <a:r>
              <a:rPr lang="en-US" sz="1200" dirty="0">
                <a:solidFill>
                  <a:srgbClr val="2E2E2E"/>
                </a:solidFill>
                <a:ea typeface="Verdana" panose="020B0604030504040204" pitchFamily="34" charset="0"/>
              </a:rPr>
              <a:t>No clear data to support continuing CDKi at progression</a:t>
            </a:r>
          </a:p>
          <a:p>
            <a:pPr lvl="1">
              <a:lnSpc>
                <a:spcPct val="110000"/>
              </a:lnSpc>
            </a:pPr>
            <a:r>
              <a:rPr lang="en-US" sz="1200" dirty="0">
                <a:solidFill>
                  <a:srgbClr val="2E2E2E"/>
                </a:solidFill>
                <a:ea typeface="Verdana" panose="020B0604030504040204" pitchFamily="34" charset="0"/>
              </a:rPr>
              <a:t>MAINTAIN was a phase II study with PFS benefit </a:t>
            </a:r>
          </a:p>
          <a:p>
            <a:pPr lvl="1">
              <a:lnSpc>
                <a:spcPct val="110000"/>
              </a:lnSpc>
            </a:pPr>
            <a:r>
              <a:rPr lang="en-US" sz="1200" dirty="0">
                <a:solidFill>
                  <a:srgbClr val="2E2E2E"/>
                </a:solidFill>
                <a:ea typeface="Verdana" panose="020B0604030504040204" pitchFamily="34" charset="0"/>
              </a:rPr>
              <a:t>PACE and PALMIRA without benefit (same CDK4/6i) </a:t>
            </a:r>
          </a:p>
          <a:p>
            <a:pPr lvl="1">
              <a:lnSpc>
                <a:spcPct val="110000"/>
              </a:lnSpc>
            </a:pPr>
            <a:r>
              <a:rPr lang="en-US" sz="1200" dirty="0">
                <a:ea typeface="Verdana" panose="020B0604030504040204" pitchFamily="34" charset="0"/>
              </a:rPr>
              <a:t>Ongoing studies include EMBER-3 and </a:t>
            </a:r>
            <a:r>
              <a:rPr lang="en-US" sz="1200" dirty="0" err="1">
                <a:ea typeface="Verdana" panose="020B0604030504040204" pitchFamily="34" charset="0"/>
              </a:rPr>
              <a:t>postMONARCH</a:t>
            </a:r>
            <a:r>
              <a:rPr lang="en-US" sz="1200" dirty="0">
                <a:ea typeface="Verdana" panose="020B0604030504040204" pitchFamily="34" charset="0"/>
              </a:rPr>
              <a:t> (abemaciclib) </a:t>
            </a:r>
            <a:endParaRPr lang="en-US" sz="1200" dirty="0">
              <a:solidFill>
                <a:srgbClr val="2E2E2E"/>
              </a:solidFill>
              <a:ea typeface="Verdana" panose="020B0604030504040204" pitchFamily="34" charset="0"/>
            </a:endParaRPr>
          </a:p>
          <a:p>
            <a:pPr lvl="1">
              <a:lnSpc>
                <a:spcPct val="110000"/>
              </a:lnSpc>
            </a:pPr>
            <a:endParaRPr lang="en-US" sz="1200" dirty="0">
              <a:solidFill>
                <a:srgbClr val="2E2E2E"/>
              </a:solidFill>
              <a:ea typeface="Verdana" panose="020B0604030504040204" pitchFamily="34" charset="0"/>
            </a:endParaRPr>
          </a:p>
          <a:p>
            <a:pPr>
              <a:lnSpc>
                <a:spcPct val="110000"/>
              </a:lnSpc>
            </a:pPr>
            <a:r>
              <a:rPr lang="en-US" sz="1200" dirty="0">
                <a:ea typeface="Verdana" panose="020B0604030504040204" pitchFamily="34" charset="0"/>
              </a:rPr>
              <a:t>Key questions that remain</a:t>
            </a:r>
          </a:p>
          <a:p>
            <a:pPr lvl="1">
              <a:lnSpc>
                <a:spcPct val="110000"/>
              </a:lnSpc>
            </a:pPr>
            <a:r>
              <a:rPr lang="en-US" sz="1200" dirty="0">
                <a:ea typeface="Verdana" panose="020B0604030504040204" pitchFamily="34" charset="0"/>
              </a:rPr>
              <a:t>Does the CDK4/6 inhibitor matter?</a:t>
            </a:r>
          </a:p>
          <a:p>
            <a:pPr lvl="1">
              <a:lnSpc>
                <a:spcPct val="110000"/>
              </a:lnSpc>
            </a:pPr>
            <a:r>
              <a:rPr lang="en-US" sz="1200" dirty="0">
                <a:ea typeface="Verdana" panose="020B0604030504040204" pitchFamily="34" charset="0"/>
              </a:rPr>
              <a:t>Who potentially benefits? Are there clinical characteristics or biomarkers that predict benefit to continued CDK4/6i</a:t>
            </a:r>
          </a:p>
          <a:p>
            <a:pPr lvl="1">
              <a:lnSpc>
                <a:spcPct val="110000"/>
              </a:lnSpc>
            </a:pPr>
            <a:r>
              <a:rPr lang="en-US" sz="1200" dirty="0">
                <a:ea typeface="Verdana" panose="020B0604030504040204" pitchFamily="34" charset="0"/>
              </a:rPr>
              <a:t>Is the impact similar after progression on adjuvant CDK 4/6 inhibitor?</a:t>
            </a:r>
          </a:p>
          <a:p>
            <a:pPr marL="0" indent="0">
              <a:buNone/>
            </a:pPr>
            <a:endParaRPr lang="en-US" sz="1200" dirty="0"/>
          </a:p>
        </p:txBody>
      </p:sp>
      <p:sp>
        <p:nvSpPr>
          <p:cNvPr id="4" name="Title 3">
            <a:extLst>
              <a:ext uri="{FF2B5EF4-FFF2-40B4-BE49-F238E27FC236}">
                <a16:creationId xmlns:a16="http://schemas.microsoft.com/office/drawing/2014/main" id="{E2625934-0BCB-3F29-6286-55CD3FA847B6}"/>
              </a:ext>
            </a:extLst>
          </p:cNvPr>
          <p:cNvSpPr>
            <a:spLocks noGrp="1"/>
          </p:cNvSpPr>
          <p:nvPr>
            <p:ph type="title"/>
          </p:nvPr>
        </p:nvSpPr>
        <p:spPr/>
        <p:txBody>
          <a:bodyPr/>
          <a:lstStyle/>
          <a:p>
            <a:r>
              <a:rPr lang="en-US" dirty="0"/>
              <a:t>Summary</a:t>
            </a:r>
          </a:p>
        </p:txBody>
      </p:sp>
    </p:spTree>
    <p:extLst>
      <p:ext uri="{BB962C8B-B14F-4D97-AF65-F5344CB8AC3E}">
        <p14:creationId xmlns:p14="http://schemas.microsoft.com/office/powerpoint/2010/main" val="264203227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a:xfrm>
            <a:off x="1371600" y="1168401"/>
            <a:ext cx="6400800" cy="2915920"/>
          </a:xfrm>
        </p:spPr>
        <p:txBody>
          <a:bodyPr/>
          <a:lstStyle/>
          <a:p>
            <a:pPr marL="0" indent="0">
              <a:buNone/>
            </a:pPr>
            <a:endParaRPr lang="en-US" dirty="0"/>
          </a:p>
          <a:p>
            <a:pPr marL="0" indent="0">
              <a:buNone/>
            </a:pPr>
            <a:endParaRPr lang="en-US" dirty="0"/>
          </a:p>
          <a:p>
            <a:pPr marL="0" indent="0">
              <a:buNone/>
            </a:pPr>
            <a:r>
              <a:rPr lang="en-US" dirty="0"/>
              <a:t>@MalindaTWestMD</a:t>
            </a:r>
          </a:p>
          <a:p>
            <a:pPr marL="0" indent="0">
              <a:buNone/>
            </a:pPr>
            <a:r>
              <a:rPr lang="en-US" dirty="0"/>
              <a:t>mwest@medicine.wisc.edu</a:t>
            </a:r>
          </a:p>
          <a:p>
            <a:endParaRPr lang="en-US" dirty="0">
              <a:solidFill>
                <a:srgbClr val="002E51"/>
              </a:solidFill>
            </a:endParaRPr>
          </a:p>
        </p:txBody>
      </p:sp>
      <p:sp>
        <p:nvSpPr>
          <p:cNvPr id="4" name="Title 3"/>
          <p:cNvSpPr>
            <a:spLocks noGrp="1"/>
          </p:cNvSpPr>
          <p:nvPr>
            <p:ph type="title"/>
          </p:nvPr>
        </p:nvSpPr>
        <p:spPr>
          <a:xfrm>
            <a:off x="0" y="127465"/>
            <a:ext cx="9144000" cy="807256"/>
          </a:xfrm>
        </p:spPr>
        <p:txBody>
          <a:bodyPr/>
          <a:lstStyle/>
          <a:p>
            <a:r>
              <a:rPr lang="en-US" b="1" dirty="0"/>
              <a:t>Thank you</a:t>
            </a:r>
          </a:p>
        </p:txBody>
      </p:sp>
    </p:spTree>
    <p:extLst>
      <p:ext uri="{BB962C8B-B14F-4D97-AF65-F5344CB8AC3E}">
        <p14:creationId xmlns:p14="http://schemas.microsoft.com/office/powerpoint/2010/main" val="32227248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a:xfrm>
            <a:off x="665825" y="1753676"/>
            <a:ext cx="7812349" cy="2204975"/>
          </a:xfrm>
        </p:spPr>
        <p: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kern="1200" dirty="0">
                <a:solidFill>
                  <a:sysClr val="windowText" lastClr="000000"/>
                </a:solidFill>
              </a:rPr>
              <a:t>Shane Marchesani</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2400" u="none" strike="noStrike" kern="1200" cap="none" spc="0" normalizeH="0" baseline="0" noProof="0" dirty="0">
              <a:ln>
                <a:noFill/>
              </a:ln>
              <a:solidFill>
                <a:sysClr val="windowText" lastClr="000000"/>
              </a:solidFill>
              <a:effectLst/>
              <a:uLnTx/>
              <a:uFillTx/>
              <a:latin typeface="+mn-lt"/>
            </a:endParaRPr>
          </a:p>
        </p:txBody>
      </p:sp>
      <p:sp>
        <p:nvSpPr>
          <p:cNvPr id="4" name="Title 3"/>
          <p:cNvSpPr>
            <a:spLocks noGrp="1"/>
          </p:cNvSpPr>
          <p:nvPr>
            <p:ph type="title"/>
          </p:nvPr>
        </p:nvSpPr>
        <p:spPr>
          <a:xfrm>
            <a:off x="0" y="127465"/>
            <a:ext cx="9144000" cy="786936"/>
          </a:xfrm>
        </p:spPr>
        <p:txBody>
          <a:bodyPr/>
          <a:lstStyle/>
          <a:p>
            <a:r>
              <a:rPr lang="en-US" sz="3200" b="1" dirty="0">
                <a:solidFill>
                  <a:srgbClr val="002E51"/>
                </a:solidFill>
              </a:rPr>
              <a:t>Thank You to Our Supporters</a:t>
            </a:r>
          </a:p>
        </p:txBody>
      </p:sp>
      <p:pic>
        <p:nvPicPr>
          <p:cNvPr id="5" name="Picture 4" descr="A screenshot of a web page&#10;&#10;Description automatically generated with low confidence">
            <a:extLst>
              <a:ext uri="{FF2B5EF4-FFF2-40B4-BE49-F238E27FC236}">
                <a16:creationId xmlns:a16="http://schemas.microsoft.com/office/drawing/2014/main" id="{FF2D9231-602B-DC84-6447-597B7846662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89919"/>
            <a:ext cx="9144000" cy="5151120"/>
          </a:xfrm>
          <a:prstGeom prst="rect">
            <a:avLst/>
          </a:prstGeom>
        </p:spPr>
      </p:pic>
    </p:spTree>
    <p:extLst>
      <p:ext uri="{BB962C8B-B14F-4D97-AF65-F5344CB8AC3E}">
        <p14:creationId xmlns:p14="http://schemas.microsoft.com/office/powerpoint/2010/main" val="213014256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Calendar&#10;&#10;Description automatically generated">
            <a:extLst>
              <a:ext uri="{FF2B5EF4-FFF2-40B4-BE49-F238E27FC236}">
                <a16:creationId xmlns:a16="http://schemas.microsoft.com/office/drawing/2014/main" id="{13805364-3E24-344F-95DA-43DA6B97ACDC}"/>
              </a:ext>
            </a:extLst>
          </p:cNvPr>
          <p:cNvPicPr>
            <a:picLocks noChangeAspect="1"/>
          </p:cNvPicPr>
          <p:nvPr/>
        </p:nvPicPr>
        <p:blipFill>
          <a:blip r:embed="rId3"/>
          <a:stretch>
            <a:fillRect/>
          </a:stretch>
        </p:blipFill>
        <p:spPr>
          <a:xfrm>
            <a:off x="7037" y="0"/>
            <a:ext cx="9129925" cy="5148263"/>
          </a:xfrm>
          <a:prstGeom prst="rect">
            <a:avLst/>
          </a:prstGeom>
        </p:spPr>
      </p:pic>
      <p:pic>
        <p:nvPicPr>
          <p:cNvPr id="15" name="Picture 14" descr="Graphical user interface, website&#10;&#10;Description automatically generated">
            <a:extLst>
              <a:ext uri="{FF2B5EF4-FFF2-40B4-BE49-F238E27FC236}">
                <a16:creationId xmlns:a16="http://schemas.microsoft.com/office/drawing/2014/main" id="{80727F13-6791-5B49-9F46-3BF36290A24F}"/>
              </a:ext>
            </a:extLst>
          </p:cNvPr>
          <p:cNvPicPr>
            <a:picLocks noChangeAspect="1"/>
          </p:cNvPicPr>
          <p:nvPr/>
        </p:nvPicPr>
        <p:blipFill>
          <a:blip r:embed="rId4"/>
          <a:stretch>
            <a:fillRect/>
          </a:stretch>
        </p:blipFill>
        <p:spPr>
          <a:xfrm>
            <a:off x="7037" y="0"/>
            <a:ext cx="9129925" cy="5148263"/>
          </a:xfrm>
          <a:prstGeom prst="rect">
            <a:avLst/>
          </a:prstGeom>
        </p:spPr>
      </p:pic>
      <p:pic>
        <p:nvPicPr>
          <p:cNvPr id="17" name="Picture 16" descr="Graphical user interface&#10;&#10;Description automatically generated">
            <a:extLst>
              <a:ext uri="{FF2B5EF4-FFF2-40B4-BE49-F238E27FC236}">
                <a16:creationId xmlns:a16="http://schemas.microsoft.com/office/drawing/2014/main" id="{F0D5927F-FD5E-F648-9B5E-758022183824}"/>
              </a:ext>
            </a:extLst>
          </p:cNvPr>
          <p:cNvPicPr>
            <a:picLocks noChangeAspect="1"/>
          </p:cNvPicPr>
          <p:nvPr/>
        </p:nvPicPr>
        <p:blipFill>
          <a:blip r:embed="rId5"/>
          <a:stretch>
            <a:fillRect/>
          </a:stretch>
        </p:blipFill>
        <p:spPr>
          <a:xfrm>
            <a:off x="7037" y="0"/>
            <a:ext cx="9129925" cy="5148263"/>
          </a:xfrm>
          <a:prstGeom prst="rect">
            <a:avLst/>
          </a:prstGeom>
        </p:spPr>
      </p:pic>
      <p:pic>
        <p:nvPicPr>
          <p:cNvPr id="10" name="Picture 9" descr="A picture containing text&#10;&#10;Description automatically generated">
            <a:extLst>
              <a:ext uri="{FF2B5EF4-FFF2-40B4-BE49-F238E27FC236}">
                <a16:creationId xmlns:a16="http://schemas.microsoft.com/office/drawing/2014/main" id="{9661F0C6-188E-94BA-269D-24C866E23D00}"/>
              </a:ext>
            </a:extLst>
          </p:cNvPr>
          <p:cNvPicPr>
            <a:picLocks noChangeAspect="1"/>
          </p:cNvPicPr>
          <p:nvPr/>
        </p:nvPicPr>
        <p:blipFill>
          <a:blip r:embed="rId6"/>
          <a:stretch>
            <a:fillRect/>
          </a:stretch>
        </p:blipFill>
        <p:spPr>
          <a:xfrm>
            <a:off x="-1" y="-12701"/>
            <a:ext cx="9129925" cy="5148263"/>
          </a:xfrm>
          <a:prstGeom prst="rect">
            <a:avLst/>
          </a:prstGeom>
        </p:spPr>
      </p:pic>
      <p:pic>
        <p:nvPicPr>
          <p:cNvPr id="5" name="Picture 4" descr="A picture containing graphical user interface&#10;&#10;Description automatically generated">
            <a:extLst>
              <a:ext uri="{FF2B5EF4-FFF2-40B4-BE49-F238E27FC236}">
                <a16:creationId xmlns:a16="http://schemas.microsoft.com/office/drawing/2014/main" id="{AE206FA8-1ADF-6743-B3FD-1CA6C6C63ADB}"/>
              </a:ext>
            </a:extLst>
          </p:cNvPr>
          <p:cNvPicPr>
            <a:picLocks noChangeAspect="1"/>
          </p:cNvPicPr>
          <p:nvPr/>
        </p:nvPicPr>
        <p:blipFill>
          <a:blip r:embed="rId7"/>
          <a:stretch>
            <a:fillRect/>
          </a:stretch>
        </p:blipFill>
        <p:spPr>
          <a:xfrm>
            <a:off x="-1" y="0"/>
            <a:ext cx="9144001" cy="5148263"/>
          </a:xfrm>
          <a:prstGeom prst="rect">
            <a:avLst/>
          </a:prstGeom>
        </p:spPr>
      </p:pic>
      <p:pic>
        <p:nvPicPr>
          <p:cNvPr id="3" name="Picture 2" descr="Graphical user interface&#10;&#10;Description automatically generated with medium confidence">
            <a:extLst>
              <a:ext uri="{FF2B5EF4-FFF2-40B4-BE49-F238E27FC236}">
                <a16:creationId xmlns:a16="http://schemas.microsoft.com/office/drawing/2014/main" id="{427AC361-97E5-DB4A-97F9-E64F0D38923A}"/>
              </a:ext>
            </a:extLst>
          </p:cNvPr>
          <p:cNvPicPr>
            <a:picLocks noChangeAspect="1"/>
          </p:cNvPicPr>
          <p:nvPr/>
        </p:nvPicPr>
        <p:blipFill>
          <a:blip r:embed="rId8"/>
          <a:stretch>
            <a:fillRect/>
          </a:stretch>
        </p:blipFill>
        <p:spPr>
          <a:xfrm>
            <a:off x="-1276" y="0"/>
            <a:ext cx="9129925" cy="5148263"/>
          </a:xfrm>
          <a:prstGeom prst="rect">
            <a:avLst/>
          </a:prstGeom>
        </p:spPr>
      </p:pic>
      <p:pic>
        <p:nvPicPr>
          <p:cNvPr id="13" name="Picture 12" descr="Graphical user interface&#10;&#10;Description automatically generated with medium confidence">
            <a:extLst>
              <a:ext uri="{FF2B5EF4-FFF2-40B4-BE49-F238E27FC236}">
                <a16:creationId xmlns:a16="http://schemas.microsoft.com/office/drawing/2014/main" id="{74C209DA-DD76-F140-A409-CC2B6FB9E380}"/>
              </a:ext>
            </a:extLst>
          </p:cNvPr>
          <p:cNvPicPr>
            <a:picLocks noChangeAspect="1"/>
          </p:cNvPicPr>
          <p:nvPr/>
        </p:nvPicPr>
        <p:blipFill>
          <a:blip r:embed="rId9"/>
          <a:stretch>
            <a:fillRect/>
          </a:stretch>
        </p:blipFill>
        <p:spPr>
          <a:xfrm>
            <a:off x="7037" y="91440"/>
            <a:ext cx="9129925" cy="5148263"/>
          </a:xfrm>
          <a:prstGeom prst="rect">
            <a:avLst/>
          </a:prstGeom>
        </p:spPr>
      </p:pic>
      <p:pic>
        <p:nvPicPr>
          <p:cNvPr id="11" name="Picture 10" descr="Graphical user interface&#10;&#10;Description automatically generated">
            <a:extLst>
              <a:ext uri="{FF2B5EF4-FFF2-40B4-BE49-F238E27FC236}">
                <a16:creationId xmlns:a16="http://schemas.microsoft.com/office/drawing/2014/main" id="{39E371F3-F698-6E43-9AF5-D6112EDA06B4}"/>
              </a:ext>
            </a:extLst>
          </p:cNvPr>
          <p:cNvPicPr>
            <a:picLocks noChangeAspect="1"/>
          </p:cNvPicPr>
          <p:nvPr/>
        </p:nvPicPr>
        <p:blipFill>
          <a:blip r:embed="rId10"/>
          <a:stretch>
            <a:fillRect/>
          </a:stretch>
        </p:blipFill>
        <p:spPr>
          <a:xfrm>
            <a:off x="7037" y="0"/>
            <a:ext cx="9129925" cy="5148263"/>
          </a:xfrm>
          <a:prstGeom prst="rect">
            <a:avLst/>
          </a:prstGeom>
        </p:spPr>
      </p:pic>
      <p:pic>
        <p:nvPicPr>
          <p:cNvPr id="7" name="Picture 6" descr="Graphical user interface&#10;&#10;Description automatically generated">
            <a:extLst>
              <a:ext uri="{FF2B5EF4-FFF2-40B4-BE49-F238E27FC236}">
                <a16:creationId xmlns:a16="http://schemas.microsoft.com/office/drawing/2014/main" id="{7ECE685F-3E0A-4645-A5C2-F8F5499F2E26}"/>
              </a:ext>
            </a:extLst>
          </p:cNvPr>
          <p:cNvPicPr>
            <a:picLocks noChangeAspect="1"/>
          </p:cNvPicPr>
          <p:nvPr/>
        </p:nvPicPr>
        <p:blipFill>
          <a:blip r:embed="rId11"/>
          <a:stretch>
            <a:fillRect/>
          </a:stretch>
        </p:blipFill>
        <p:spPr>
          <a:xfrm>
            <a:off x="14075" y="12699"/>
            <a:ext cx="9129925" cy="5148263"/>
          </a:xfrm>
          <a:prstGeom prst="rect">
            <a:avLst/>
          </a:prstGeom>
        </p:spPr>
      </p:pic>
      <p:sp>
        <p:nvSpPr>
          <p:cNvPr id="36" name="Rectangle 35">
            <a:extLst>
              <a:ext uri="{FF2B5EF4-FFF2-40B4-BE49-F238E27FC236}">
                <a16:creationId xmlns:a16="http://schemas.microsoft.com/office/drawing/2014/main" id="{A1B4A22D-3BE1-6C4A-812D-C1E98E8E0076}"/>
              </a:ext>
            </a:extLst>
          </p:cNvPr>
          <p:cNvSpPr/>
          <p:nvPr/>
        </p:nvSpPr>
        <p:spPr>
          <a:xfrm>
            <a:off x="0" y="2586831"/>
            <a:ext cx="9129925" cy="461665"/>
          </a:xfrm>
          <a:prstGeom prst="rect">
            <a:avLst/>
          </a:prstGeom>
        </p:spPr>
        <p:txBody>
          <a:bodyPr wrap="square">
            <a:spAutoFit/>
          </a:bodyPr>
          <a:lstStyle/>
          <a:p>
            <a:pPr algn="ctr"/>
            <a:r>
              <a:rPr lang="en-US" spc="600" dirty="0">
                <a:solidFill>
                  <a:srgbClr val="FFC82C"/>
                </a:solidFill>
                <a:latin typeface="Corporate A Medium" panose="02000503080000020004" pitchFamily="2" charset="0"/>
              </a:rPr>
              <a:t>BREAST CANCER</a:t>
            </a:r>
          </a:p>
        </p:txBody>
      </p:sp>
      <p:sp>
        <p:nvSpPr>
          <p:cNvPr id="37" name="Rectangle 36">
            <a:extLst>
              <a:ext uri="{FF2B5EF4-FFF2-40B4-BE49-F238E27FC236}">
                <a16:creationId xmlns:a16="http://schemas.microsoft.com/office/drawing/2014/main" id="{136DD176-7412-694A-BED9-E7F8655CA44E}"/>
              </a:ext>
            </a:extLst>
          </p:cNvPr>
          <p:cNvSpPr/>
          <p:nvPr/>
        </p:nvSpPr>
        <p:spPr>
          <a:xfrm>
            <a:off x="14075" y="3073896"/>
            <a:ext cx="9129925" cy="338554"/>
          </a:xfrm>
          <a:prstGeom prst="rect">
            <a:avLst/>
          </a:prstGeom>
        </p:spPr>
        <p:txBody>
          <a:bodyPr wrap="square">
            <a:spAutoFit/>
          </a:bodyPr>
          <a:lstStyle/>
          <a:p>
            <a:pPr algn="ctr"/>
            <a:r>
              <a:rPr lang="en-US" sz="1600" dirty="0">
                <a:solidFill>
                  <a:schemeClr val="bg1"/>
                </a:solidFill>
                <a:latin typeface="Corporate S Demi" panose="02020500000000000000" pitchFamily="18" charset="0"/>
              </a:rPr>
              <a:t>Wednesday, September 6, 2023</a:t>
            </a:r>
          </a:p>
        </p:txBody>
      </p:sp>
      <p:pic>
        <p:nvPicPr>
          <p:cNvPr id="12" name="Picture 11" descr="A close-up of a sign&#10;&#10;Description automatically generated">
            <a:extLst>
              <a:ext uri="{FF2B5EF4-FFF2-40B4-BE49-F238E27FC236}">
                <a16:creationId xmlns:a16="http://schemas.microsoft.com/office/drawing/2014/main" id="{77D2A35E-AD54-5045-1134-B3EC9C729BA1}"/>
              </a:ext>
            </a:extLst>
          </p:cNvPr>
          <p:cNvPicPr>
            <a:picLocks noChangeAspect="1"/>
          </p:cNvPicPr>
          <p:nvPr/>
        </p:nvPicPr>
        <p:blipFill>
          <a:blip r:embed="rId12"/>
          <a:stretch>
            <a:fillRect/>
          </a:stretch>
        </p:blipFill>
        <p:spPr>
          <a:xfrm>
            <a:off x="7044266" y="4416631"/>
            <a:ext cx="1790699" cy="444928"/>
          </a:xfrm>
          <a:prstGeom prst="rect">
            <a:avLst/>
          </a:prstGeom>
        </p:spPr>
      </p:pic>
    </p:spTree>
    <p:extLst>
      <p:ext uri="{BB962C8B-B14F-4D97-AF65-F5344CB8AC3E}">
        <p14:creationId xmlns:p14="http://schemas.microsoft.com/office/powerpoint/2010/main" val="35732706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a:xfrm>
            <a:off x="665825" y="1753676"/>
            <a:ext cx="7812349" cy="2204975"/>
          </a:xfrm>
        </p:spPr>
        <p: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400" i="0" u="none" strike="noStrike" kern="1200" cap="none" spc="0" normalizeH="0" baseline="0" noProof="0" dirty="0">
                <a:ln>
                  <a:noFill/>
                </a:ln>
                <a:solidFill>
                  <a:sysClr val="windowText" lastClr="000000"/>
                </a:solidFill>
                <a:effectLst/>
                <a:uLnTx/>
                <a:uFillTx/>
                <a:latin typeface="+mn-lt"/>
              </a:rPr>
              <a:t>Kari</a:t>
            </a:r>
            <a:r>
              <a:rPr kumimoji="0" lang="en-US" sz="2400" i="0" u="none" strike="noStrike" kern="1200" cap="none" spc="0" normalizeH="0" noProof="0" dirty="0">
                <a:ln>
                  <a:noFill/>
                </a:ln>
                <a:solidFill>
                  <a:sysClr val="windowText" lastClr="000000"/>
                </a:solidFill>
                <a:effectLst/>
                <a:uLnTx/>
                <a:uFillTx/>
                <a:latin typeface="+mn-lt"/>
              </a:rPr>
              <a:t> B. Wisinski</a:t>
            </a:r>
            <a:r>
              <a:rPr kumimoji="0" lang="en-US" sz="2400" i="0" u="none" strike="noStrike" kern="1200" cap="none" spc="0" normalizeH="0" baseline="0" noProof="0" dirty="0">
                <a:ln>
                  <a:noFill/>
                </a:ln>
                <a:solidFill>
                  <a:sysClr val="windowText" lastClr="000000"/>
                </a:solidFill>
                <a:effectLst/>
                <a:uLnTx/>
                <a:uFillTx/>
                <a:latin typeface="+mn-lt"/>
              </a:rPr>
              <a:t>, MD</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2400" dirty="0">
                <a:solidFill>
                  <a:sysClr val="windowText" lastClr="000000"/>
                </a:solidFill>
                <a:latin typeface="+mn-lt"/>
              </a:rPr>
              <a:t>Professor of Medicine</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400" i="0" u="none" strike="noStrike" kern="1200" cap="none" spc="0" normalizeH="0" noProof="0" dirty="0">
                <a:ln>
                  <a:noFill/>
                </a:ln>
                <a:solidFill>
                  <a:sysClr val="windowText" lastClr="000000"/>
                </a:solidFill>
                <a:effectLst/>
                <a:uLnTx/>
                <a:uFillTx/>
                <a:latin typeface="+mn-lt"/>
              </a:rPr>
              <a:t>Chief, Division of Hematology, Medical Oncology and </a:t>
            </a:r>
            <a:r>
              <a:rPr kumimoji="0" lang="en-US" sz="2400" i="0" u="none" strike="noStrike" kern="1200" cap="none" spc="0" normalizeH="0" noProof="0" dirty="0" err="1">
                <a:ln>
                  <a:noFill/>
                </a:ln>
                <a:solidFill>
                  <a:sysClr val="windowText" lastClr="000000"/>
                </a:solidFill>
                <a:effectLst/>
                <a:uLnTx/>
                <a:uFillTx/>
                <a:latin typeface="+mn-lt"/>
              </a:rPr>
              <a:t>Palliat</a:t>
            </a:r>
            <a:r>
              <a:rPr lang="en-US" sz="2400" dirty="0" err="1">
                <a:solidFill>
                  <a:sysClr val="windowText" lastClr="000000"/>
                </a:solidFill>
                <a:latin typeface="+mn-lt"/>
              </a:rPr>
              <a:t>ive</a:t>
            </a:r>
            <a:r>
              <a:rPr lang="en-US" sz="2400" dirty="0">
                <a:solidFill>
                  <a:sysClr val="windowText" lastClr="000000"/>
                </a:solidFill>
                <a:latin typeface="+mn-lt"/>
              </a:rPr>
              <a:t> Care </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2400" dirty="0">
                <a:solidFill>
                  <a:sysClr val="windowText" lastClr="000000"/>
                </a:solidFill>
                <a:latin typeface="+mn-lt"/>
              </a:rPr>
              <a:t>Associate Director for Clinical Research </a:t>
            </a:r>
            <a:endParaRPr kumimoji="0" lang="en-US" sz="2400" i="0" u="none" strike="noStrike" kern="1200" cap="none" spc="0" normalizeH="0" baseline="0" noProof="0" dirty="0">
              <a:ln>
                <a:noFill/>
              </a:ln>
              <a:solidFill>
                <a:sysClr val="windowText" lastClr="000000"/>
              </a:solidFill>
              <a:effectLst/>
              <a:uLnTx/>
              <a:uFillTx/>
              <a:latin typeface="+mn-lt"/>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2400" noProof="0" dirty="0">
                <a:solidFill>
                  <a:sysClr val="windowText" lastClr="000000"/>
                </a:solidFill>
                <a:latin typeface="+mn-lt"/>
              </a:rPr>
              <a:t>University of Wisconsin Carbone Cancer Center</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400" u="none" strike="noStrike" kern="1200" cap="none" spc="0" normalizeH="0" baseline="0" dirty="0">
                <a:ln>
                  <a:noFill/>
                </a:ln>
                <a:solidFill>
                  <a:sysClr val="windowText" lastClr="000000"/>
                </a:solidFill>
                <a:effectLst/>
                <a:uLnTx/>
                <a:uFillTx/>
                <a:latin typeface="+mn-lt"/>
              </a:rPr>
              <a:t>Sept</a:t>
            </a:r>
            <a:r>
              <a:rPr lang="en-US" dirty="0">
                <a:solidFill>
                  <a:sysClr val="windowText" lastClr="000000"/>
                </a:solidFill>
                <a:latin typeface="+mn-lt"/>
              </a:rPr>
              <a:t>ember 6,</a:t>
            </a:r>
            <a:r>
              <a:rPr kumimoji="0" lang="en-US" sz="2400" u="none" strike="noStrike" kern="1200" cap="none" spc="0" normalizeH="0" baseline="0" dirty="0">
                <a:ln>
                  <a:noFill/>
                </a:ln>
                <a:solidFill>
                  <a:sysClr val="windowText" lastClr="000000"/>
                </a:solidFill>
                <a:effectLst/>
                <a:uLnTx/>
                <a:uFillTx/>
                <a:latin typeface="+mn-lt"/>
              </a:rPr>
              <a:t> 2023</a:t>
            </a:r>
            <a:endParaRPr kumimoji="0" lang="en-US" sz="2400" u="none" strike="noStrike" kern="1200" cap="none" spc="0" normalizeH="0" baseline="0" noProof="0" dirty="0">
              <a:ln>
                <a:noFill/>
              </a:ln>
              <a:solidFill>
                <a:sysClr val="windowText" lastClr="000000"/>
              </a:solidFill>
              <a:effectLst/>
              <a:uLnTx/>
              <a:uFillTx/>
              <a:latin typeface="+mn-lt"/>
            </a:endParaRPr>
          </a:p>
        </p:txBody>
      </p:sp>
      <p:sp>
        <p:nvSpPr>
          <p:cNvPr id="4" name="Title 3"/>
          <p:cNvSpPr>
            <a:spLocks noGrp="1"/>
          </p:cNvSpPr>
          <p:nvPr>
            <p:ph type="title"/>
          </p:nvPr>
        </p:nvSpPr>
        <p:spPr>
          <a:xfrm>
            <a:off x="0" y="127465"/>
            <a:ext cx="9144000" cy="786936"/>
          </a:xfrm>
        </p:spPr>
        <p:txBody>
          <a:bodyPr/>
          <a:lstStyle/>
          <a:p>
            <a:r>
              <a:rPr lang="en-US" sz="3200" b="1" dirty="0">
                <a:solidFill>
                  <a:srgbClr val="002E51"/>
                </a:solidFill>
              </a:rPr>
              <a:t>Endocrine Therapy in Metastatic HR+/HER2- Breast Cancer: Beyond CDK4/6 Inhibitors</a:t>
            </a:r>
          </a:p>
        </p:txBody>
      </p:sp>
    </p:spTree>
    <p:extLst>
      <p:ext uri="{BB962C8B-B14F-4D97-AF65-F5344CB8AC3E}">
        <p14:creationId xmlns:p14="http://schemas.microsoft.com/office/powerpoint/2010/main" val="60619653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6532" y="-43067"/>
            <a:ext cx="8797771" cy="858044"/>
          </a:xfrm>
        </p:spPr>
        <p:txBody>
          <a:bodyPr>
            <a:noAutofit/>
          </a:bodyPr>
          <a:lstStyle/>
          <a:p>
            <a:r>
              <a:rPr lang="en-US" sz="3200" b="1" dirty="0">
                <a:latin typeface="Arial" panose="020B0604020202020204" pitchFamily="34" charset="0"/>
                <a:cs typeface="Arial" panose="020B0604020202020204" pitchFamily="34" charset="0"/>
              </a:rPr>
              <a:t>Changing landscape of ER-positive metastatic breast cancer</a:t>
            </a:r>
          </a:p>
        </p:txBody>
      </p:sp>
      <p:cxnSp>
        <p:nvCxnSpPr>
          <p:cNvPr id="4" name="Straight Arrow Connector 3"/>
          <p:cNvCxnSpPr>
            <a:cxnSpLocks/>
          </p:cNvCxnSpPr>
          <p:nvPr/>
        </p:nvCxnSpPr>
        <p:spPr>
          <a:xfrm flipV="1">
            <a:off x="1177018" y="3295608"/>
            <a:ext cx="6838775" cy="9644"/>
          </a:xfrm>
          <a:prstGeom prst="straightConnector1">
            <a:avLst/>
          </a:prstGeom>
          <a:ln w="190500" cmpd="sng">
            <a:solidFill>
              <a:srgbClr val="FF0000"/>
            </a:solidFill>
            <a:tailEnd type="arrow"/>
          </a:ln>
        </p:spPr>
        <p:style>
          <a:lnRef idx="2">
            <a:schemeClr val="accent1"/>
          </a:lnRef>
          <a:fillRef idx="0">
            <a:schemeClr val="accent1"/>
          </a:fillRef>
          <a:effectRef idx="1">
            <a:schemeClr val="accent1"/>
          </a:effectRef>
          <a:fontRef idx="minor">
            <a:schemeClr val="tx1"/>
          </a:fontRef>
        </p:style>
      </p:cxnSp>
      <p:sp>
        <p:nvSpPr>
          <p:cNvPr id="9" name="TextBox 8"/>
          <p:cNvSpPr txBox="1"/>
          <p:nvPr/>
        </p:nvSpPr>
        <p:spPr>
          <a:xfrm>
            <a:off x="1187904" y="3591012"/>
            <a:ext cx="893193" cy="323294"/>
          </a:xfrm>
          <a:prstGeom prst="rect">
            <a:avLst/>
          </a:prstGeom>
          <a:noFill/>
        </p:spPr>
        <p:txBody>
          <a:bodyPr wrap="none" rtlCol="0">
            <a:spAutoFit/>
          </a:bodyPr>
          <a:lstStyle/>
          <a:p>
            <a:r>
              <a:rPr lang="en-US" sz="1501" dirty="0">
                <a:latin typeface="Arial" panose="020B0604020202020204" pitchFamily="34" charset="0"/>
                <a:cs typeface="Arial" panose="020B0604020202020204" pitchFamily="34" charset="0"/>
              </a:rPr>
              <a:t>1970-80</a:t>
            </a:r>
          </a:p>
        </p:txBody>
      </p:sp>
      <p:sp>
        <p:nvSpPr>
          <p:cNvPr id="21" name="TextBox 20"/>
          <p:cNvSpPr txBox="1"/>
          <p:nvPr/>
        </p:nvSpPr>
        <p:spPr>
          <a:xfrm>
            <a:off x="1967398" y="3596719"/>
            <a:ext cx="614271" cy="323294"/>
          </a:xfrm>
          <a:prstGeom prst="rect">
            <a:avLst/>
          </a:prstGeom>
          <a:noFill/>
        </p:spPr>
        <p:txBody>
          <a:bodyPr wrap="none" rtlCol="0">
            <a:spAutoFit/>
          </a:bodyPr>
          <a:lstStyle/>
          <a:p>
            <a:r>
              <a:rPr lang="en-US" sz="1501" dirty="0">
                <a:latin typeface="Arial" panose="020B0604020202020204" pitchFamily="34" charset="0"/>
                <a:cs typeface="Arial" panose="020B0604020202020204" pitchFamily="34" charset="0"/>
              </a:rPr>
              <a:t>1996</a:t>
            </a:r>
          </a:p>
        </p:txBody>
      </p:sp>
      <p:sp>
        <p:nvSpPr>
          <p:cNvPr id="20" name="TextBox 19"/>
          <p:cNvSpPr txBox="1"/>
          <p:nvPr/>
        </p:nvSpPr>
        <p:spPr>
          <a:xfrm>
            <a:off x="2657537" y="3596719"/>
            <a:ext cx="614271" cy="323294"/>
          </a:xfrm>
          <a:prstGeom prst="rect">
            <a:avLst/>
          </a:prstGeom>
          <a:noFill/>
        </p:spPr>
        <p:txBody>
          <a:bodyPr wrap="none" rtlCol="0">
            <a:spAutoFit/>
          </a:bodyPr>
          <a:lstStyle/>
          <a:p>
            <a:r>
              <a:rPr lang="en-US" sz="1501" dirty="0">
                <a:latin typeface="Arial" panose="020B0604020202020204" pitchFamily="34" charset="0"/>
                <a:cs typeface="Arial" panose="020B0604020202020204" pitchFamily="34" charset="0"/>
              </a:rPr>
              <a:t>2002</a:t>
            </a:r>
          </a:p>
        </p:txBody>
      </p:sp>
      <p:sp>
        <p:nvSpPr>
          <p:cNvPr id="29" name="TextBox 28"/>
          <p:cNvSpPr txBox="1"/>
          <p:nvPr/>
        </p:nvSpPr>
        <p:spPr>
          <a:xfrm>
            <a:off x="3379169" y="3592119"/>
            <a:ext cx="614271" cy="323294"/>
          </a:xfrm>
          <a:prstGeom prst="rect">
            <a:avLst/>
          </a:prstGeom>
          <a:noFill/>
        </p:spPr>
        <p:txBody>
          <a:bodyPr wrap="none" rtlCol="0">
            <a:spAutoFit/>
          </a:bodyPr>
          <a:lstStyle/>
          <a:p>
            <a:r>
              <a:rPr lang="en-US" sz="1501" dirty="0">
                <a:latin typeface="Arial" panose="020B0604020202020204" pitchFamily="34" charset="0"/>
                <a:cs typeface="Arial" panose="020B0604020202020204" pitchFamily="34" charset="0"/>
              </a:rPr>
              <a:t>2012</a:t>
            </a:r>
          </a:p>
        </p:txBody>
      </p:sp>
      <p:sp>
        <p:nvSpPr>
          <p:cNvPr id="35" name="TextBox 34"/>
          <p:cNvSpPr txBox="1"/>
          <p:nvPr/>
        </p:nvSpPr>
        <p:spPr>
          <a:xfrm>
            <a:off x="4329549" y="3584094"/>
            <a:ext cx="614271" cy="323294"/>
          </a:xfrm>
          <a:prstGeom prst="rect">
            <a:avLst/>
          </a:prstGeom>
          <a:noFill/>
        </p:spPr>
        <p:txBody>
          <a:bodyPr wrap="none" rtlCol="0">
            <a:spAutoFit/>
          </a:bodyPr>
          <a:lstStyle/>
          <a:p>
            <a:r>
              <a:rPr lang="en-US" sz="1501" dirty="0">
                <a:latin typeface="Arial" panose="020B0604020202020204" pitchFamily="34" charset="0"/>
                <a:cs typeface="Arial" panose="020B0604020202020204" pitchFamily="34" charset="0"/>
              </a:rPr>
              <a:t>2012</a:t>
            </a:r>
          </a:p>
        </p:txBody>
      </p:sp>
      <p:sp>
        <p:nvSpPr>
          <p:cNvPr id="38" name="TextBox 37"/>
          <p:cNvSpPr txBox="1"/>
          <p:nvPr/>
        </p:nvSpPr>
        <p:spPr>
          <a:xfrm>
            <a:off x="5094079" y="3584094"/>
            <a:ext cx="614271" cy="323294"/>
          </a:xfrm>
          <a:prstGeom prst="rect">
            <a:avLst/>
          </a:prstGeom>
          <a:noFill/>
        </p:spPr>
        <p:txBody>
          <a:bodyPr wrap="none" rtlCol="0">
            <a:spAutoFit/>
          </a:bodyPr>
          <a:lstStyle/>
          <a:p>
            <a:r>
              <a:rPr lang="en-US" sz="1501" dirty="0">
                <a:latin typeface="Arial" panose="020B0604020202020204" pitchFamily="34" charset="0"/>
                <a:cs typeface="Arial" panose="020B0604020202020204" pitchFamily="34" charset="0"/>
              </a:rPr>
              <a:t>2015</a:t>
            </a:r>
          </a:p>
        </p:txBody>
      </p:sp>
      <p:sp>
        <p:nvSpPr>
          <p:cNvPr id="22" name="TextBox 21"/>
          <p:cNvSpPr txBox="1"/>
          <p:nvPr/>
        </p:nvSpPr>
        <p:spPr>
          <a:xfrm>
            <a:off x="5614269" y="1587078"/>
            <a:ext cx="1225015" cy="785215"/>
          </a:xfrm>
          <a:prstGeom prst="rect">
            <a:avLst/>
          </a:prstGeom>
          <a:noFill/>
        </p:spPr>
        <p:txBody>
          <a:bodyPr wrap="none" rtlCol="0">
            <a:spAutoFit/>
          </a:bodyPr>
          <a:lstStyle/>
          <a:p>
            <a:pPr algn="ctr"/>
            <a:r>
              <a:rPr lang="en-US" sz="1501" dirty="0" err="1">
                <a:latin typeface="Arial" panose="020B0604020202020204" pitchFamily="34" charset="0"/>
                <a:cs typeface="Arial" panose="020B0604020202020204" pitchFamily="34" charset="0"/>
              </a:rPr>
              <a:t>Ribociclib</a:t>
            </a:r>
            <a:r>
              <a:rPr lang="en-US" sz="1501" dirty="0">
                <a:latin typeface="Arial" panose="020B0604020202020204" pitchFamily="34" charset="0"/>
                <a:cs typeface="Arial" panose="020B0604020202020204" pitchFamily="34" charset="0"/>
              </a:rPr>
              <a:t>/</a:t>
            </a:r>
          </a:p>
          <a:p>
            <a:pPr algn="ctr"/>
            <a:r>
              <a:rPr lang="en-US" sz="1501" dirty="0" err="1">
                <a:latin typeface="Arial" panose="020B0604020202020204" pitchFamily="34" charset="0"/>
                <a:cs typeface="Arial" panose="020B0604020202020204" pitchFamily="34" charset="0"/>
              </a:rPr>
              <a:t>Abemaciclib</a:t>
            </a:r>
            <a:endParaRPr lang="en-US" sz="1501" dirty="0">
              <a:latin typeface="Arial" panose="020B0604020202020204" pitchFamily="34" charset="0"/>
              <a:cs typeface="Arial" panose="020B0604020202020204" pitchFamily="34" charset="0"/>
            </a:endParaRPr>
          </a:p>
          <a:p>
            <a:pPr algn="ctr"/>
            <a:r>
              <a:rPr lang="en-US" sz="1501" dirty="0">
                <a:latin typeface="Arial" panose="020B0604020202020204" pitchFamily="34" charset="0"/>
                <a:cs typeface="Arial" panose="020B0604020202020204" pitchFamily="34" charset="0"/>
              </a:rPr>
              <a:t>approved</a:t>
            </a:r>
          </a:p>
        </p:txBody>
      </p:sp>
      <p:sp>
        <p:nvSpPr>
          <p:cNvPr id="24" name="TextBox 23"/>
          <p:cNvSpPr txBox="1"/>
          <p:nvPr/>
        </p:nvSpPr>
        <p:spPr>
          <a:xfrm>
            <a:off x="5888383" y="3571665"/>
            <a:ext cx="614271" cy="323294"/>
          </a:xfrm>
          <a:prstGeom prst="rect">
            <a:avLst/>
          </a:prstGeom>
          <a:noFill/>
        </p:spPr>
        <p:txBody>
          <a:bodyPr wrap="none" rtlCol="0">
            <a:spAutoFit/>
          </a:bodyPr>
          <a:lstStyle/>
          <a:p>
            <a:r>
              <a:rPr lang="en-US" sz="1501" dirty="0">
                <a:latin typeface="Arial" panose="020B0604020202020204" pitchFamily="34" charset="0"/>
                <a:cs typeface="Arial" panose="020B0604020202020204" pitchFamily="34" charset="0"/>
              </a:rPr>
              <a:t>2017</a:t>
            </a:r>
          </a:p>
        </p:txBody>
      </p:sp>
      <p:sp>
        <p:nvSpPr>
          <p:cNvPr id="6" name="TextBox 5"/>
          <p:cNvSpPr txBox="1"/>
          <p:nvPr/>
        </p:nvSpPr>
        <p:spPr>
          <a:xfrm>
            <a:off x="1128008" y="1822317"/>
            <a:ext cx="1062599" cy="554254"/>
          </a:xfrm>
          <a:prstGeom prst="rect">
            <a:avLst/>
          </a:prstGeom>
          <a:noFill/>
          <a:ln>
            <a:noFill/>
          </a:ln>
        </p:spPr>
        <p:txBody>
          <a:bodyPr wrap="none" rtlCol="0">
            <a:spAutoFit/>
          </a:bodyPr>
          <a:lstStyle/>
          <a:p>
            <a:pPr algn="ctr"/>
            <a:r>
              <a:rPr lang="en-US" sz="1501" dirty="0" err="1">
                <a:latin typeface="Arial" panose="020B0604020202020204" pitchFamily="34" charset="0"/>
                <a:cs typeface="Arial" panose="020B0604020202020204" pitchFamily="34" charset="0"/>
              </a:rPr>
              <a:t>Tamoxifen</a:t>
            </a:r>
            <a:endParaRPr lang="en-US" sz="1501" dirty="0">
              <a:latin typeface="Arial" panose="020B0604020202020204" pitchFamily="34" charset="0"/>
              <a:cs typeface="Arial" panose="020B0604020202020204" pitchFamily="34" charset="0"/>
            </a:endParaRPr>
          </a:p>
          <a:p>
            <a:pPr algn="ctr"/>
            <a:r>
              <a:rPr lang="en-US" sz="1501" dirty="0">
                <a:latin typeface="Arial" panose="020B0604020202020204" pitchFamily="34" charset="0"/>
                <a:cs typeface="Arial" panose="020B0604020202020204" pitchFamily="34" charset="0"/>
              </a:rPr>
              <a:t> approved</a:t>
            </a:r>
          </a:p>
        </p:txBody>
      </p:sp>
      <p:cxnSp>
        <p:nvCxnSpPr>
          <p:cNvPr id="16" name="Straight Arrow Connector 15"/>
          <p:cNvCxnSpPr>
            <a:stCxn id="6" idx="2"/>
          </p:cNvCxnSpPr>
          <p:nvPr/>
        </p:nvCxnSpPr>
        <p:spPr>
          <a:xfrm>
            <a:off x="1659308" y="2376571"/>
            <a:ext cx="1" cy="774518"/>
          </a:xfrm>
          <a:prstGeom prst="straightConnector1">
            <a:avLst/>
          </a:prstGeom>
          <a:ln w="28575" cmpd="sng">
            <a:solidFill>
              <a:schemeClr val="tx1"/>
            </a:solidFill>
            <a:tailEnd type="arrow"/>
          </a:ln>
        </p:spPr>
        <p:style>
          <a:lnRef idx="2">
            <a:schemeClr val="accent1"/>
          </a:lnRef>
          <a:fillRef idx="0">
            <a:schemeClr val="accent1"/>
          </a:fillRef>
          <a:effectRef idx="1">
            <a:schemeClr val="accent1"/>
          </a:effectRef>
          <a:fontRef idx="minor">
            <a:schemeClr val="tx1"/>
          </a:fontRef>
        </p:style>
      </p:cxnSp>
      <p:sp>
        <p:nvSpPr>
          <p:cNvPr id="5" name="TextBox 4"/>
          <p:cNvSpPr txBox="1"/>
          <p:nvPr/>
        </p:nvSpPr>
        <p:spPr>
          <a:xfrm>
            <a:off x="1772070" y="2170215"/>
            <a:ext cx="989374" cy="554254"/>
          </a:xfrm>
          <a:prstGeom prst="rect">
            <a:avLst/>
          </a:prstGeom>
          <a:noFill/>
        </p:spPr>
        <p:txBody>
          <a:bodyPr wrap="none" rtlCol="0">
            <a:spAutoFit/>
          </a:bodyPr>
          <a:lstStyle/>
          <a:p>
            <a:pPr algn="ctr"/>
            <a:r>
              <a:rPr lang="en-US" sz="1501" dirty="0">
                <a:latin typeface="Arial" panose="020B0604020202020204" pitchFamily="34" charset="0"/>
                <a:cs typeface="Arial" panose="020B0604020202020204" pitchFamily="34" charset="0"/>
              </a:rPr>
              <a:t>AIs </a:t>
            </a:r>
          </a:p>
          <a:p>
            <a:pPr algn="ctr"/>
            <a:r>
              <a:rPr lang="en-US" sz="1501" dirty="0">
                <a:latin typeface="Arial" panose="020B0604020202020204" pitchFamily="34" charset="0"/>
                <a:cs typeface="Arial" panose="020B0604020202020204" pitchFamily="34" charset="0"/>
              </a:rPr>
              <a:t>approved</a:t>
            </a:r>
          </a:p>
        </p:txBody>
      </p:sp>
      <p:sp>
        <p:nvSpPr>
          <p:cNvPr id="17" name="TextBox 16"/>
          <p:cNvSpPr txBox="1"/>
          <p:nvPr/>
        </p:nvSpPr>
        <p:spPr>
          <a:xfrm>
            <a:off x="2381085" y="1844569"/>
            <a:ext cx="1189749" cy="554254"/>
          </a:xfrm>
          <a:prstGeom prst="rect">
            <a:avLst/>
          </a:prstGeom>
          <a:noFill/>
        </p:spPr>
        <p:txBody>
          <a:bodyPr wrap="none" rtlCol="0">
            <a:spAutoFit/>
          </a:bodyPr>
          <a:lstStyle/>
          <a:p>
            <a:pPr algn="ctr"/>
            <a:r>
              <a:rPr lang="en-US" sz="1501" dirty="0" err="1">
                <a:latin typeface="Arial" panose="020B0604020202020204" pitchFamily="34" charset="0"/>
                <a:cs typeface="Arial" panose="020B0604020202020204" pitchFamily="34" charset="0"/>
              </a:rPr>
              <a:t>Fulvestrant</a:t>
            </a:r>
            <a:r>
              <a:rPr lang="en-US" sz="1501" dirty="0">
                <a:latin typeface="Arial" panose="020B0604020202020204" pitchFamily="34" charset="0"/>
                <a:cs typeface="Arial" panose="020B0604020202020204" pitchFamily="34" charset="0"/>
              </a:rPr>
              <a:t> </a:t>
            </a:r>
          </a:p>
          <a:p>
            <a:pPr algn="ctr"/>
            <a:r>
              <a:rPr lang="en-US" sz="1501" dirty="0">
                <a:latin typeface="Arial" panose="020B0604020202020204" pitchFamily="34" charset="0"/>
                <a:cs typeface="Arial" panose="020B0604020202020204" pitchFamily="34" charset="0"/>
              </a:rPr>
              <a:t>approved</a:t>
            </a:r>
          </a:p>
        </p:txBody>
      </p:sp>
      <p:sp>
        <p:nvSpPr>
          <p:cNvPr id="26" name="TextBox 25"/>
          <p:cNvSpPr txBox="1"/>
          <p:nvPr/>
        </p:nvSpPr>
        <p:spPr>
          <a:xfrm>
            <a:off x="3026272" y="2283236"/>
            <a:ext cx="1521571" cy="554254"/>
          </a:xfrm>
          <a:prstGeom prst="rect">
            <a:avLst/>
          </a:prstGeom>
          <a:noFill/>
        </p:spPr>
        <p:txBody>
          <a:bodyPr wrap="none" rtlCol="0">
            <a:spAutoFit/>
          </a:bodyPr>
          <a:lstStyle/>
          <a:p>
            <a:pPr algn="ctr"/>
            <a:r>
              <a:rPr lang="en-US" sz="1501" dirty="0" err="1">
                <a:latin typeface="Arial" panose="020B0604020202020204" pitchFamily="34" charset="0"/>
                <a:cs typeface="Arial" panose="020B0604020202020204" pitchFamily="34" charset="0"/>
              </a:rPr>
              <a:t>Fulvestrant</a:t>
            </a:r>
            <a:r>
              <a:rPr lang="en-US" sz="1501" dirty="0">
                <a:latin typeface="Arial" panose="020B0604020202020204" pitchFamily="34" charset="0"/>
                <a:cs typeface="Arial" panose="020B0604020202020204" pitchFamily="34" charset="0"/>
              </a:rPr>
              <a:t> HD </a:t>
            </a:r>
          </a:p>
          <a:p>
            <a:pPr algn="ctr"/>
            <a:r>
              <a:rPr lang="en-US" sz="1501" dirty="0">
                <a:latin typeface="Arial" panose="020B0604020202020204" pitchFamily="34" charset="0"/>
                <a:cs typeface="Arial" panose="020B0604020202020204" pitchFamily="34" charset="0"/>
              </a:rPr>
              <a:t>approved</a:t>
            </a:r>
          </a:p>
        </p:txBody>
      </p:sp>
      <p:cxnSp>
        <p:nvCxnSpPr>
          <p:cNvPr id="27" name="Straight Arrow Connector 26"/>
          <p:cNvCxnSpPr/>
          <p:nvPr/>
        </p:nvCxnSpPr>
        <p:spPr>
          <a:xfrm flipH="1">
            <a:off x="3714640" y="2814642"/>
            <a:ext cx="3185" cy="389062"/>
          </a:xfrm>
          <a:prstGeom prst="straightConnector1">
            <a:avLst/>
          </a:prstGeom>
          <a:ln>
            <a:solidFill>
              <a:schemeClr val="tx1"/>
            </a:solidFill>
            <a:tailEnd type="arrow"/>
          </a:ln>
        </p:spPr>
        <p:style>
          <a:lnRef idx="2">
            <a:schemeClr val="accent1"/>
          </a:lnRef>
          <a:fillRef idx="0">
            <a:schemeClr val="accent1"/>
          </a:fillRef>
          <a:effectRef idx="1">
            <a:schemeClr val="accent1"/>
          </a:effectRef>
          <a:fontRef idx="minor">
            <a:schemeClr val="tx1"/>
          </a:fontRef>
        </p:style>
      </p:cxnSp>
      <p:cxnSp>
        <p:nvCxnSpPr>
          <p:cNvPr id="30" name="Straight Arrow Connector 29"/>
          <p:cNvCxnSpPr>
            <a:stCxn id="5" idx="2"/>
          </p:cNvCxnSpPr>
          <p:nvPr/>
        </p:nvCxnSpPr>
        <p:spPr>
          <a:xfrm>
            <a:off x="2266757" y="2724469"/>
            <a:ext cx="6941" cy="508816"/>
          </a:xfrm>
          <a:prstGeom prst="straightConnector1">
            <a:avLst/>
          </a:prstGeom>
          <a:ln>
            <a:solidFill>
              <a:schemeClr val="tx1"/>
            </a:solidFill>
            <a:tailEnd type="arrow"/>
          </a:ln>
        </p:spPr>
        <p:style>
          <a:lnRef idx="2">
            <a:schemeClr val="accent1"/>
          </a:lnRef>
          <a:fillRef idx="0">
            <a:schemeClr val="accent1"/>
          </a:fillRef>
          <a:effectRef idx="1">
            <a:schemeClr val="accent1"/>
          </a:effectRef>
          <a:fontRef idx="minor">
            <a:schemeClr val="tx1"/>
          </a:fontRef>
        </p:style>
      </p:cxnSp>
      <p:sp>
        <p:nvSpPr>
          <p:cNvPr id="33" name="TextBox 32"/>
          <p:cNvSpPr txBox="1"/>
          <p:nvPr/>
        </p:nvSpPr>
        <p:spPr>
          <a:xfrm>
            <a:off x="4011522" y="1805391"/>
            <a:ext cx="1191352" cy="554254"/>
          </a:xfrm>
          <a:prstGeom prst="rect">
            <a:avLst/>
          </a:prstGeom>
          <a:noFill/>
        </p:spPr>
        <p:txBody>
          <a:bodyPr wrap="none" rtlCol="0">
            <a:spAutoFit/>
          </a:bodyPr>
          <a:lstStyle/>
          <a:p>
            <a:pPr algn="ctr"/>
            <a:r>
              <a:rPr lang="en-US" sz="1501" dirty="0">
                <a:latin typeface="Arial" panose="020B0604020202020204" pitchFamily="34" charset="0"/>
                <a:cs typeface="Arial" panose="020B0604020202020204" pitchFamily="34" charset="0"/>
              </a:rPr>
              <a:t>Everolimus </a:t>
            </a:r>
          </a:p>
          <a:p>
            <a:pPr algn="ctr"/>
            <a:r>
              <a:rPr lang="en-US" sz="1501" dirty="0">
                <a:latin typeface="Arial" panose="020B0604020202020204" pitchFamily="34" charset="0"/>
                <a:cs typeface="Arial" panose="020B0604020202020204" pitchFamily="34" charset="0"/>
              </a:rPr>
              <a:t>approved</a:t>
            </a:r>
          </a:p>
        </p:txBody>
      </p:sp>
      <p:cxnSp>
        <p:nvCxnSpPr>
          <p:cNvPr id="34" name="Straight Arrow Connector 33"/>
          <p:cNvCxnSpPr>
            <a:stCxn id="33" idx="2"/>
          </p:cNvCxnSpPr>
          <p:nvPr/>
        </p:nvCxnSpPr>
        <p:spPr>
          <a:xfrm flipH="1">
            <a:off x="4604014" y="2359645"/>
            <a:ext cx="3184" cy="881234"/>
          </a:xfrm>
          <a:prstGeom prst="straightConnector1">
            <a:avLst/>
          </a:prstGeom>
          <a:ln>
            <a:solidFill>
              <a:schemeClr val="tx1"/>
            </a:solidFill>
            <a:tailEnd type="arrow"/>
          </a:ln>
        </p:spPr>
        <p:style>
          <a:lnRef idx="2">
            <a:schemeClr val="accent1"/>
          </a:lnRef>
          <a:fillRef idx="0">
            <a:schemeClr val="accent1"/>
          </a:fillRef>
          <a:effectRef idx="1">
            <a:schemeClr val="accent1"/>
          </a:effectRef>
          <a:fontRef idx="minor">
            <a:schemeClr val="tx1"/>
          </a:fontRef>
        </p:style>
      </p:cxnSp>
      <p:sp>
        <p:nvSpPr>
          <p:cNvPr id="36" name="TextBox 35"/>
          <p:cNvSpPr txBox="1"/>
          <p:nvPr/>
        </p:nvSpPr>
        <p:spPr>
          <a:xfrm>
            <a:off x="4866199" y="2171986"/>
            <a:ext cx="1160895" cy="554254"/>
          </a:xfrm>
          <a:prstGeom prst="rect">
            <a:avLst/>
          </a:prstGeom>
          <a:noFill/>
        </p:spPr>
        <p:txBody>
          <a:bodyPr wrap="none" rtlCol="0">
            <a:spAutoFit/>
          </a:bodyPr>
          <a:lstStyle/>
          <a:p>
            <a:pPr algn="ctr"/>
            <a:r>
              <a:rPr lang="en-US" sz="1501" dirty="0">
                <a:latin typeface="Arial" panose="020B0604020202020204" pitchFamily="34" charset="0"/>
                <a:cs typeface="Arial" panose="020B0604020202020204" pitchFamily="34" charset="0"/>
              </a:rPr>
              <a:t>Palbociclib </a:t>
            </a:r>
          </a:p>
          <a:p>
            <a:pPr algn="ctr"/>
            <a:r>
              <a:rPr lang="en-US" sz="1501" dirty="0">
                <a:latin typeface="Arial" panose="020B0604020202020204" pitchFamily="34" charset="0"/>
                <a:cs typeface="Arial" panose="020B0604020202020204" pitchFamily="34" charset="0"/>
              </a:rPr>
              <a:t>approved</a:t>
            </a:r>
          </a:p>
        </p:txBody>
      </p:sp>
      <p:cxnSp>
        <p:nvCxnSpPr>
          <p:cNvPr id="37" name="Straight Arrow Connector 36"/>
          <p:cNvCxnSpPr/>
          <p:nvPr/>
        </p:nvCxnSpPr>
        <p:spPr>
          <a:xfrm flipH="1">
            <a:off x="5446647" y="2767765"/>
            <a:ext cx="3185" cy="389062"/>
          </a:xfrm>
          <a:prstGeom prst="straightConnector1">
            <a:avLst/>
          </a:prstGeom>
          <a:ln>
            <a:solidFill>
              <a:schemeClr val="tx1"/>
            </a:solidFill>
            <a:tailEnd type="arrow"/>
          </a:ln>
        </p:spPr>
        <p:style>
          <a:lnRef idx="2">
            <a:schemeClr val="accent1"/>
          </a:lnRef>
          <a:fillRef idx="0">
            <a:schemeClr val="accent1"/>
          </a:fillRef>
          <a:effectRef idx="1">
            <a:schemeClr val="accent1"/>
          </a:effectRef>
          <a:fontRef idx="minor">
            <a:schemeClr val="tx1"/>
          </a:fontRef>
        </p:style>
      </p:cxnSp>
      <p:cxnSp>
        <p:nvCxnSpPr>
          <p:cNvPr id="23" name="Straight Arrow Connector 22"/>
          <p:cNvCxnSpPr/>
          <p:nvPr/>
        </p:nvCxnSpPr>
        <p:spPr>
          <a:xfrm flipH="1">
            <a:off x="6232069" y="2336798"/>
            <a:ext cx="3184" cy="904082"/>
          </a:xfrm>
          <a:prstGeom prst="straightConnector1">
            <a:avLst/>
          </a:prstGeom>
          <a:ln>
            <a:solidFill>
              <a:schemeClr val="tx1"/>
            </a:solidFill>
            <a:tailEnd type="arrow"/>
          </a:ln>
        </p:spPr>
        <p:style>
          <a:lnRef idx="2">
            <a:schemeClr val="accent1"/>
          </a:lnRef>
          <a:fillRef idx="0">
            <a:schemeClr val="accent1"/>
          </a:fillRef>
          <a:effectRef idx="1">
            <a:schemeClr val="accent1"/>
          </a:effectRef>
          <a:fontRef idx="minor">
            <a:schemeClr val="tx1"/>
          </a:fontRef>
        </p:style>
      </p:cxnSp>
      <p:sp>
        <p:nvSpPr>
          <p:cNvPr id="3" name="TextBox 2">
            <a:extLst>
              <a:ext uri="{FF2B5EF4-FFF2-40B4-BE49-F238E27FC236}">
                <a16:creationId xmlns:a16="http://schemas.microsoft.com/office/drawing/2014/main" id="{BBBA20DA-C10A-224F-BECB-88AEE536FEA1}"/>
              </a:ext>
            </a:extLst>
          </p:cNvPr>
          <p:cNvSpPr txBox="1"/>
          <p:nvPr/>
        </p:nvSpPr>
        <p:spPr>
          <a:xfrm>
            <a:off x="6353871" y="2322939"/>
            <a:ext cx="989373" cy="600614"/>
          </a:xfrm>
          <a:prstGeom prst="rect">
            <a:avLst/>
          </a:prstGeom>
          <a:noFill/>
        </p:spPr>
        <p:txBody>
          <a:bodyPr wrap="none" rtlCol="0">
            <a:spAutoFit/>
          </a:bodyPr>
          <a:lstStyle/>
          <a:p>
            <a:r>
              <a:rPr lang="en-US" sz="1501" dirty="0" err="1">
                <a:latin typeface="Arial" panose="020B0604020202020204" pitchFamily="34" charset="0"/>
                <a:cs typeface="Arial" panose="020B0604020202020204" pitchFamily="34" charset="0"/>
              </a:rPr>
              <a:t>Alpelisib</a:t>
            </a:r>
            <a:r>
              <a:rPr lang="en-US" sz="1802" dirty="0">
                <a:latin typeface="Arial" panose="020B0604020202020204" pitchFamily="34" charset="0"/>
                <a:cs typeface="Arial" panose="020B0604020202020204" pitchFamily="34" charset="0"/>
              </a:rPr>
              <a:t> </a:t>
            </a:r>
          </a:p>
          <a:p>
            <a:r>
              <a:rPr lang="en-US" sz="1501" dirty="0">
                <a:latin typeface="Arial" panose="020B0604020202020204" pitchFamily="34" charset="0"/>
                <a:cs typeface="Arial" panose="020B0604020202020204" pitchFamily="34" charset="0"/>
              </a:rPr>
              <a:t>approved</a:t>
            </a:r>
          </a:p>
        </p:txBody>
      </p:sp>
      <p:cxnSp>
        <p:nvCxnSpPr>
          <p:cNvPr id="8" name="Straight Arrow Connector 7">
            <a:extLst>
              <a:ext uri="{FF2B5EF4-FFF2-40B4-BE49-F238E27FC236}">
                <a16:creationId xmlns:a16="http://schemas.microsoft.com/office/drawing/2014/main" id="{6D3667A3-BABD-8C48-81BD-DAAF0ACA0B25}"/>
              </a:ext>
            </a:extLst>
          </p:cNvPr>
          <p:cNvCxnSpPr>
            <a:cxnSpLocks/>
            <a:stCxn id="3" idx="2"/>
          </p:cNvCxnSpPr>
          <p:nvPr/>
        </p:nvCxnSpPr>
        <p:spPr>
          <a:xfrm flipH="1">
            <a:off x="6839284" y="2923553"/>
            <a:ext cx="9274" cy="259116"/>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10" name="TextBox 9">
            <a:extLst>
              <a:ext uri="{FF2B5EF4-FFF2-40B4-BE49-F238E27FC236}">
                <a16:creationId xmlns:a16="http://schemas.microsoft.com/office/drawing/2014/main" id="{A011A433-69CC-A642-98F7-E9AF7F8F72ED}"/>
              </a:ext>
            </a:extLst>
          </p:cNvPr>
          <p:cNvSpPr txBox="1"/>
          <p:nvPr/>
        </p:nvSpPr>
        <p:spPr>
          <a:xfrm>
            <a:off x="6515631" y="3571665"/>
            <a:ext cx="614271" cy="323294"/>
          </a:xfrm>
          <a:prstGeom prst="rect">
            <a:avLst/>
          </a:prstGeom>
          <a:noFill/>
        </p:spPr>
        <p:txBody>
          <a:bodyPr wrap="none" rtlCol="0">
            <a:spAutoFit/>
          </a:bodyPr>
          <a:lstStyle/>
          <a:p>
            <a:r>
              <a:rPr lang="en-US" sz="1501" dirty="0">
                <a:latin typeface="Arial" panose="020B0604020202020204" pitchFamily="34" charset="0"/>
                <a:cs typeface="Arial" panose="020B0604020202020204" pitchFamily="34" charset="0"/>
              </a:rPr>
              <a:t>2019</a:t>
            </a:r>
          </a:p>
        </p:txBody>
      </p:sp>
      <p:cxnSp>
        <p:nvCxnSpPr>
          <p:cNvPr id="11" name="Straight Arrow Connector 10">
            <a:extLst>
              <a:ext uri="{FF2B5EF4-FFF2-40B4-BE49-F238E27FC236}">
                <a16:creationId xmlns:a16="http://schemas.microsoft.com/office/drawing/2014/main" id="{62657FAD-08ED-AB5E-6905-164EFB485669}"/>
              </a:ext>
            </a:extLst>
          </p:cNvPr>
          <p:cNvCxnSpPr/>
          <p:nvPr/>
        </p:nvCxnSpPr>
        <p:spPr>
          <a:xfrm flipH="1">
            <a:off x="2900446" y="2329204"/>
            <a:ext cx="3184" cy="904082"/>
          </a:xfrm>
          <a:prstGeom prst="straightConnector1">
            <a:avLst/>
          </a:prstGeom>
          <a:ln>
            <a:solidFill>
              <a:schemeClr val="tx1"/>
            </a:solidFill>
            <a:tailEnd type="arrow"/>
          </a:ln>
        </p:spPr>
        <p:style>
          <a:lnRef idx="2">
            <a:schemeClr val="accent1"/>
          </a:lnRef>
          <a:fillRef idx="0">
            <a:schemeClr val="accent1"/>
          </a:fillRef>
          <a:effectRef idx="1">
            <a:schemeClr val="accent1"/>
          </a:effectRef>
          <a:fontRef idx="minor">
            <a:schemeClr val="tx1"/>
          </a:fontRef>
        </p:style>
      </p:cxnSp>
      <p:sp>
        <p:nvSpPr>
          <p:cNvPr id="12" name="TextBox 11">
            <a:extLst>
              <a:ext uri="{FF2B5EF4-FFF2-40B4-BE49-F238E27FC236}">
                <a16:creationId xmlns:a16="http://schemas.microsoft.com/office/drawing/2014/main" id="{73FF26E1-47DE-015E-842B-371451FC2AC5}"/>
              </a:ext>
            </a:extLst>
          </p:cNvPr>
          <p:cNvSpPr txBox="1"/>
          <p:nvPr/>
        </p:nvSpPr>
        <p:spPr>
          <a:xfrm>
            <a:off x="6813383" y="1743195"/>
            <a:ext cx="1148071" cy="554254"/>
          </a:xfrm>
          <a:prstGeom prst="rect">
            <a:avLst/>
          </a:prstGeom>
          <a:noFill/>
        </p:spPr>
        <p:txBody>
          <a:bodyPr wrap="none" rtlCol="0">
            <a:spAutoFit/>
          </a:bodyPr>
          <a:lstStyle/>
          <a:p>
            <a:pPr algn="ctr"/>
            <a:r>
              <a:rPr lang="en-US" sz="1501" dirty="0" err="1">
                <a:latin typeface="Arial" panose="020B0604020202020204" pitchFamily="34" charset="0"/>
                <a:cs typeface="Arial" panose="020B0604020202020204" pitchFamily="34" charset="0"/>
              </a:rPr>
              <a:t>Elacestrant</a:t>
            </a:r>
            <a:endParaRPr lang="en-US" sz="1501" dirty="0">
              <a:latin typeface="Arial" panose="020B0604020202020204" pitchFamily="34" charset="0"/>
              <a:cs typeface="Arial" panose="020B0604020202020204" pitchFamily="34" charset="0"/>
            </a:endParaRPr>
          </a:p>
          <a:p>
            <a:pPr algn="ctr"/>
            <a:r>
              <a:rPr lang="en-US" sz="1501" dirty="0">
                <a:latin typeface="Arial" panose="020B0604020202020204" pitchFamily="34" charset="0"/>
                <a:cs typeface="Arial" panose="020B0604020202020204" pitchFamily="34" charset="0"/>
              </a:rPr>
              <a:t>approved</a:t>
            </a:r>
          </a:p>
        </p:txBody>
      </p:sp>
      <p:cxnSp>
        <p:nvCxnSpPr>
          <p:cNvPr id="13" name="Straight Arrow Connector 12">
            <a:extLst>
              <a:ext uri="{FF2B5EF4-FFF2-40B4-BE49-F238E27FC236}">
                <a16:creationId xmlns:a16="http://schemas.microsoft.com/office/drawing/2014/main" id="{76C08285-D394-72F8-66A4-8EDB57D9BF31}"/>
              </a:ext>
            </a:extLst>
          </p:cNvPr>
          <p:cNvCxnSpPr/>
          <p:nvPr/>
        </p:nvCxnSpPr>
        <p:spPr>
          <a:xfrm flipH="1">
            <a:off x="7364569" y="2300365"/>
            <a:ext cx="3184" cy="904082"/>
          </a:xfrm>
          <a:prstGeom prst="straightConnector1">
            <a:avLst/>
          </a:prstGeom>
          <a:ln>
            <a:solidFill>
              <a:schemeClr val="tx1"/>
            </a:solidFill>
            <a:tailEnd type="arrow"/>
          </a:ln>
        </p:spPr>
        <p:style>
          <a:lnRef idx="2">
            <a:schemeClr val="accent1"/>
          </a:lnRef>
          <a:fillRef idx="0">
            <a:schemeClr val="accent1"/>
          </a:fillRef>
          <a:effectRef idx="1">
            <a:schemeClr val="accent1"/>
          </a:effectRef>
          <a:fontRef idx="minor">
            <a:schemeClr val="tx1"/>
          </a:fontRef>
        </p:style>
      </p:cxnSp>
      <p:sp>
        <p:nvSpPr>
          <p:cNvPr id="14" name="TextBox 13">
            <a:extLst>
              <a:ext uri="{FF2B5EF4-FFF2-40B4-BE49-F238E27FC236}">
                <a16:creationId xmlns:a16="http://schemas.microsoft.com/office/drawing/2014/main" id="{B1448FE7-BA25-A7DA-F1D1-3B18448F779E}"/>
              </a:ext>
            </a:extLst>
          </p:cNvPr>
          <p:cNvSpPr txBox="1"/>
          <p:nvPr/>
        </p:nvSpPr>
        <p:spPr>
          <a:xfrm>
            <a:off x="7108760" y="3571665"/>
            <a:ext cx="614271" cy="323294"/>
          </a:xfrm>
          <a:prstGeom prst="rect">
            <a:avLst/>
          </a:prstGeom>
          <a:noFill/>
        </p:spPr>
        <p:txBody>
          <a:bodyPr wrap="none" rtlCol="0">
            <a:spAutoFit/>
          </a:bodyPr>
          <a:lstStyle/>
          <a:p>
            <a:r>
              <a:rPr lang="en-US" sz="1501" dirty="0">
                <a:latin typeface="Arial" panose="020B0604020202020204" pitchFamily="34" charset="0"/>
                <a:cs typeface="Arial" panose="020B0604020202020204" pitchFamily="34" charset="0"/>
              </a:rPr>
              <a:t>2023</a:t>
            </a:r>
          </a:p>
        </p:txBody>
      </p:sp>
      <p:cxnSp>
        <p:nvCxnSpPr>
          <p:cNvPr id="7" name="Straight Arrow Connector 6">
            <a:extLst>
              <a:ext uri="{FF2B5EF4-FFF2-40B4-BE49-F238E27FC236}">
                <a16:creationId xmlns:a16="http://schemas.microsoft.com/office/drawing/2014/main" id="{705C46D8-933F-7094-B6DE-6575E8FAB2F8}"/>
              </a:ext>
            </a:extLst>
          </p:cNvPr>
          <p:cNvCxnSpPr>
            <a:cxnSpLocks/>
          </p:cNvCxnSpPr>
          <p:nvPr/>
        </p:nvCxnSpPr>
        <p:spPr>
          <a:xfrm>
            <a:off x="7644985" y="2765578"/>
            <a:ext cx="0" cy="433294"/>
          </a:xfrm>
          <a:prstGeom prst="straightConnector1">
            <a:avLst/>
          </a:prstGeom>
          <a:ln>
            <a:solidFill>
              <a:srgbClr val="00B050"/>
            </a:solidFill>
            <a:tailEnd type="arrow"/>
          </a:ln>
        </p:spPr>
        <p:style>
          <a:lnRef idx="2">
            <a:schemeClr val="accent1"/>
          </a:lnRef>
          <a:fillRef idx="0">
            <a:schemeClr val="accent1"/>
          </a:fillRef>
          <a:effectRef idx="1">
            <a:schemeClr val="accent1"/>
          </a:effectRef>
          <a:fontRef idx="minor">
            <a:schemeClr val="tx1"/>
          </a:fontRef>
        </p:style>
      </p:cxnSp>
      <p:sp>
        <p:nvSpPr>
          <p:cNvPr id="19" name="TextBox 18">
            <a:extLst>
              <a:ext uri="{FF2B5EF4-FFF2-40B4-BE49-F238E27FC236}">
                <a16:creationId xmlns:a16="http://schemas.microsoft.com/office/drawing/2014/main" id="{8D6764E9-C553-697D-4342-47CB6D920113}"/>
              </a:ext>
            </a:extLst>
          </p:cNvPr>
          <p:cNvSpPr txBox="1"/>
          <p:nvPr/>
        </p:nvSpPr>
        <p:spPr>
          <a:xfrm>
            <a:off x="7324697" y="2231064"/>
            <a:ext cx="1736488" cy="1016176"/>
          </a:xfrm>
          <a:prstGeom prst="rect">
            <a:avLst/>
          </a:prstGeom>
          <a:noFill/>
        </p:spPr>
        <p:txBody>
          <a:bodyPr wrap="square" rtlCol="0">
            <a:spAutoFit/>
          </a:bodyPr>
          <a:lstStyle/>
          <a:p>
            <a:pPr algn="ctr"/>
            <a:r>
              <a:rPr lang="en-US" sz="1501" dirty="0" err="1">
                <a:solidFill>
                  <a:srgbClr val="00B050"/>
                </a:solidFill>
                <a:latin typeface="Arial" panose="020B0604020202020204" pitchFamily="34" charset="0"/>
                <a:cs typeface="Arial" panose="020B0604020202020204" pitchFamily="34" charset="0"/>
              </a:rPr>
              <a:t>Capivasertib</a:t>
            </a:r>
            <a:r>
              <a:rPr lang="en-US" sz="1501" dirty="0">
                <a:solidFill>
                  <a:srgbClr val="00B050"/>
                </a:solidFill>
                <a:latin typeface="Arial" panose="020B0604020202020204" pitchFamily="34" charset="0"/>
                <a:cs typeface="Arial" panose="020B0604020202020204" pitchFamily="34" charset="0"/>
              </a:rPr>
              <a:t> anticipated</a:t>
            </a:r>
          </a:p>
          <a:p>
            <a:pPr algn="ctr"/>
            <a:r>
              <a:rPr lang="en-US" sz="1501" dirty="0">
                <a:solidFill>
                  <a:srgbClr val="00B050"/>
                </a:solidFill>
                <a:latin typeface="Arial" panose="020B0604020202020204" pitchFamily="34" charset="0"/>
                <a:cs typeface="Arial" panose="020B0604020202020204" pitchFamily="34" charset="0"/>
              </a:rPr>
              <a:t>Neratinib published</a:t>
            </a:r>
          </a:p>
        </p:txBody>
      </p:sp>
    </p:spTree>
    <p:extLst>
      <p:ext uri="{BB962C8B-B14F-4D97-AF65-F5344CB8AC3E}">
        <p14:creationId xmlns:p14="http://schemas.microsoft.com/office/powerpoint/2010/main" val="8741308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Text Box 2"/>
          <p:cNvSpPr txBox="1">
            <a:spLocks noChangeArrowheads="1"/>
          </p:cNvSpPr>
          <p:nvPr/>
        </p:nvSpPr>
        <p:spPr bwMode="auto">
          <a:xfrm>
            <a:off x="204186" y="160789"/>
            <a:ext cx="9822890" cy="523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lvl1pPr eaLnBrk="0" hangingPunct="0">
              <a:defRPr sz="2400">
                <a:solidFill>
                  <a:schemeClr val="tx1"/>
                </a:solidFill>
                <a:latin typeface="Arial" charset="0"/>
                <a:ea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defRPr/>
            </a:pPr>
            <a:r>
              <a:rPr lang="en-US" sz="2800" b="1" dirty="0">
                <a:latin typeface="Arial" panose="020B0604020202020204" pitchFamily="34" charset="0"/>
                <a:cs typeface="Arial" panose="020B0604020202020204" pitchFamily="34" charset="0"/>
              </a:rPr>
              <a:t>Growth Factor Pathways in Endocrine Resistance</a:t>
            </a:r>
          </a:p>
        </p:txBody>
      </p:sp>
      <p:sp>
        <p:nvSpPr>
          <p:cNvPr id="30723" name="Text Box 3"/>
          <p:cNvSpPr txBox="1">
            <a:spLocks noChangeArrowheads="1"/>
          </p:cNvSpPr>
          <p:nvPr/>
        </p:nvSpPr>
        <p:spPr bwMode="auto">
          <a:xfrm>
            <a:off x="4100859" y="4801264"/>
            <a:ext cx="2263761"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lvl1pPr eaLnBrk="0" hangingPunct="0">
              <a:defRPr sz="2400">
                <a:solidFill>
                  <a:schemeClr val="tx1"/>
                </a:solidFill>
                <a:latin typeface="Arial" charset="0"/>
                <a:ea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defRPr/>
            </a:pPr>
            <a:r>
              <a:rPr lang="en-US" sz="1400" dirty="0">
                <a:latin typeface="+mn-lt"/>
                <a:cs typeface="Calibri" panose="020F0502020204030204" pitchFamily="34" charset="0"/>
              </a:rPr>
              <a:t>From Johnston </a:t>
            </a:r>
            <a:r>
              <a:rPr lang="en-US" sz="1400" i="1" dirty="0">
                <a:latin typeface="+mn-lt"/>
                <a:cs typeface="Calibri" panose="020F0502020204030204" pitchFamily="34" charset="0"/>
              </a:rPr>
              <a:t>CCR</a:t>
            </a:r>
            <a:r>
              <a:rPr lang="en-US" sz="1400" dirty="0">
                <a:latin typeface="+mn-lt"/>
                <a:cs typeface="Calibri" panose="020F0502020204030204" pitchFamily="34" charset="0"/>
              </a:rPr>
              <a:t> 2005</a:t>
            </a:r>
          </a:p>
        </p:txBody>
      </p:sp>
      <p:sp>
        <p:nvSpPr>
          <p:cNvPr id="30724" name="Oval 4"/>
          <p:cNvSpPr>
            <a:spLocks noChangeArrowheads="1"/>
          </p:cNvSpPr>
          <p:nvPr/>
        </p:nvSpPr>
        <p:spPr bwMode="auto">
          <a:xfrm>
            <a:off x="4629203" y="1121417"/>
            <a:ext cx="181143" cy="107255"/>
          </a:xfrm>
          <a:prstGeom prst="ellipse">
            <a:avLst/>
          </a:prstGeom>
          <a:noFill/>
          <a:ln w="2857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802">
              <a:latin typeface="Arial" panose="020B0604020202020204" pitchFamily="34" charset="0"/>
              <a:cs typeface="Arial" panose="020B0604020202020204" pitchFamily="34" charset="0"/>
            </a:endParaRPr>
          </a:p>
        </p:txBody>
      </p:sp>
      <p:sp>
        <p:nvSpPr>
          <p:cNvPr id="30725" name="Rectangle 5"/>
          <p:cNvSpPr>
            <a:spLocks noChangeArrowheads="1"/>
          </p:cNvSpPr>
          <p:nvPr/>
        </p:nvSpPr>
        <p:spPr bwMode="auto">
          <a:xfrm>
            <a:off x="3768777" y="3545389"/>
            <a:ext cx="1313284" cy="162075"/>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lgn="ctr">
              <a:defRPr/>
            </a:pPr>
            <a:r>
              <a:rPr lang="en-US" sz="751">
                <a:latin typeface="Arial" panose="020B0604020202020204" pitchFamily="34" charset="0"/>
                <a:cs typeface="Arial" panose="020B0604020202020204" pitchFamily="34" charset="0"/>
              </a:rPr>
              <a:t>ER Target Gene Transcription</a:t>
            </a:r>
          </a:p>
        </p:txBody>
      </p:sp>
      <p:sp>
        <p:nvSpPr>
          <p:cNvPr id="30726" name="Oval 6"/>
          <p:cNvSpPr>
            <a:spLocks noChangeArrowheads="1"/>
          </p:cNvSpPr>
          <p:nvPr/>
        </p:nvSpPr>
        <p:spPr bwMode="auto">
          <a:xfrm>
            <a:off x="4629203" y="1551630"/>
            <a:ext cx="271714" cy="108448"/>
          </a:xfrm>
          <a:prstGeom prst="ellipse">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lgn="ctr">
              <a:defRPr/>
            </a:pPr>
            <a:r>
              <a:rPr lang="en-US" sz="751">
                <a:latin typeface="Arial" panose="020B0604020202020204" pitchFamily="34" charset="0"/>
                <a:cs typeface="Arial" panose="020B0604020202020204" pitchFamily="34" charset="0"/>
              </a:rPr>
              <a:t>SOS</a:t>
            </a:r>
          </a:p>
        </p:txBody>
      </p:sp>
      <p:sp>
        <p:nvSpPr>
          <p:cNvPr id="30727" name="Oval 7"/>
          <p:cNvSpPr>
            <a:spLocks noChangeArrowheads="1"/>
          </p:cNvSpPr>
          <p:nvPr/>
        </p:nvSpPr>
        <p:spPr bwMode="auto">
          <a:xfrm rot="1800000">
            <a:off x="4538633" y="1498003"/>
            <a:ext cx="135857" cy="107255"/>
          </a:xfrm>
          <a:prstGeom prst="ellipse">
            <a:avLst/>
          </a:prstGeom>
          <a:solidFill>
            <a:srgbClr val="FF3300"/>
          </a:solidFill>
          <a:ln w="9525">
            <a:solidFill>
              <a:schemeClr val="tx1"/>
            </a:solidFill>
            <a:round/>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802">
              <a:latin typeface="Arial" panose="020B0604020202020204" pitchFamily="34" charset="0"/>
              <a:cs typeface="Arial" panose="020B0604020202020204" pitchFamily="34" charset="0"/>
            </a:endParaRPr>
          </a:p>
        </p:txBody>
      </p:sp>
      <p:sp>
        <p:nvSpPr>
          <p:cNvPr id="30728" name="Oval 8"/>
          <p:cNvSpPr>
            <a:spLocks noChangeArrowheads="1"/>
          </p:cNvSpPr>
          <p:nvPr/>
        </p:nvSpPr>
        <p:spPr bwMode="auto">
          <a:xfrm rot="1800000">
            <a:off x="4493347" y="1444375"/>
            <a:ext cx="135857" cy="107255"/>
          </a:xfrm>
          <a:prstGeom prst="ellipse">
            <a:avLst/>
          </a:prstGeom>
          <a:solidFill>
            <a:srgbClr val="FF3300"/>
          </a:solidFill>
          <a:ln w="9525">
            <a:solidFill>
              <a:schemeClr val="tx1"/>
            </a:solidFill>
            <a:round/>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802">
              <a:latin typeface="Arial" panose="020B0604020202020204" pitchFamily="34" charset="0"/>
              <a:cs typeface="Arial" panose="020B0604020202020204" pitchFamily="34" charset="0"/>
            </a:endParaRPr>
          </a:p>
        </p:txBody>
      </p:sp>
      <p:sp>
        <p:nvSpPr>
          <p:cNvPr id="30729" name="Oval 9"/>
          <p:cNvSpPr>
            <a:spLocks noChangeArrowheads="1"/>
          </p:cNvSpPr>
          <p:nvPr/>
        </p:nvSpPr>
        <p:spPr bwMode="auto">
          <a:xfrm>
            <a:off x="3043014" y="1121417"/>
            <a:ext cx="90571" cy="107255"/>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lgn="ctr">
              <a:defRPr/>
            </a:pPr>
            <a:r>
              <a:rPr lang="en-US" sz="901">
                <a:latin typeface="Arial" panose="020B0604020202020204" pitchFamily="34" charset="0"/>
                <a:cs typeface="Arial" panose="020B0604020202020204" pitchFamily="34" charset="0"/>
              </a:rPr>
              <a:t>P</a:t>
            </a:r>
          </a:p>
        </p:txBody>
      </p:sp>
      <p:sp>
        <p:nvSpPr>
          <p:cNvPr id="30730" name="Oval 10"/>
          <p:cNvSpPr>
            <a:spLocks noChangeArrowheads="1"/>
          </p:cNvSpPr>
          <p:nvPr/>
        </p:nvSpPr>
        <p:spPr bwMode="auto">
          <a:xfrm>
            <a:off x="3406491" y="1121417"/>
            <a:ext cx="90571" cy="107255"/>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lgn="ctr">
              <a:defRPr/>
            </a:pPr>
            <a:r>
              <a:rPr lang="en-US" sz="901">
                <a:latin typeface="Arial" panose="020B0604020202020204" pitchFamily="34" charset="0"/>
                <a:cs typeface="Arial" panose="020B0604020202020204" pitchFamily="34" charset="0"/>
              </a:rPr>
              <a:t>P</a:t>
            </a:r>
          </a:p>
        </p:txBody>
      </p:sp>
      <p:sp>
        <p:nvSpPr>
          <p:cNvPr id="30731" name="Oval 11"/>
          <p:cNvSpPr>
            <a:spLocks noChangeArrowheads="1"/>
          </p:cNvSpPr>
          <p:nvPr/>
        </p:nvSpPr>
        <p:spPr bwMode="auto">
          <a:xfrm>
            <a:off x="1684446" y="1012969"/>
            <a:ext cx="3714614" cy="3448859"/>
          </a:xfrm>
          <a:prstGeom prst="ellipse">
            <a:avLst/>
          </a:prstGeom>
          <a:noFill/>
          <a:ln w="19050">
            <a:solidFill>
              <a:srgbClr val="FF000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802">
              <a:latin typeface="Arial" panose="020B0604020202020204" pitchFamily="34" charset="0"/>
              <a:cs typeface="Arial" panose="020B0604020202020204" pitchFamily="34" charset="0"/>
            </a:endParaRPr>
          </a:p>
        </p:txBody>
      </p:sp>
      <p:grpSp>
        <p:nvGrpSpPr>
          <p:cNvPr id="27659" name="Group 12"/>
          <p:cNvGrpSpPr>
            <a:grpSpLocks/>
          </p:cNvGrpSpPr>
          <p:nvPr/>
        </p:nvGrpSpPr>
        <p:grpSpPr bwMode="auto">
          <a:xfrm>
            <a:off x="3088301" y="850894"/>
            <a:ext cx="363476" cy="431405"/>
            <a:chOff x="2016" y="432"/>
            <a:chExt cx="384" cy="384"/>
          </a:xfrm>
        </p:grpSpPr>
        <p:sp>
          <p:nvSpPr>
            <p:cNvPr id="30832" name="Oval 13"/>
            <p:cNvSpPr>
              <a:spLocks noChangeArrowheads="1"/>
            </p:cNvSpPr>
            <p:nvPr/>
          </p:nvSpPr>
          <p:spPr bwMode="auto">
            <a:xfrm>
              <a:off x="2064" y="432"/>
              <a:ext cx="193" cy="336"/>
            </a:xfrm>
            <a:prstGeom prst="ellipse">
              <a:avLst/>
            </a:prstGeom>
            <a:solidFill>
              <a:srgbClr val="FFFF00"/>
            </a:solidFill>
            <a:ln w="9525">
              <a:solidFill>
                <a:schemeClr val="tx1"/>
              </a:solidFill>
              <a:round/>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802">
                <a:latin typeface="Arial" panose="020B0604020202020204" pitchFamily="34" charset="0"/>
                <a:cs typeface="Arial" panose="020B0604020202020204" pitchFamily="34" charset="0"/>
              </a:endParaRPr>
            </a:p>
          </p:txBody>
        </p:sp>
        <p:sp>
          <p:nvSpPr>
            <p:cNvPr id="30833" name="Oval 14"/>
            <p:cNvSpPr>
              <a:spLocks noChangeArrowheads="1"/>
            </p:cNvSpPr>
            <p:nvPr/>
          </p:nvSpPr>
          <p:spPr bwMode="auto">
            <a:xfrm>
              <a:off x="2160" y="432"/>
              <a:ext cx="193" cy="336"/>
            </a:xfrm>
            <a:prstGeom prst="ellipse">
              <a:avLst/>
            </a:prstGeom>
            <a:solidFill>
              <a:srgbClr val="FFFF00"/>
            </a:solidFill>
            <a:ln w="9525">
              <a:solidFill>
                <a:schemeClr val="tx1"/>
              </a:solidFill>
              <a:round/>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802">
                <a:latin typeface="Arial" panose="020B0604020202020204" pitchFamily="34" charset="0"/>
                <a:cs typeface="Arial" panose="020B0604020202020204" pitchFamily="34" charset="0"/>
              </a:endParaRPr>
            </a:p>
          </p:txBody>
        </p:sp>
        <p:sp>
          <p:nvSpPr>
            <p:cNvPr id="30834" name="Oval 15"/>
            <p:cNvSpPr>
              <a:spLocks noChangeArrowheads="1"/>
            </p:cNvSpPr>
            <p:nvPr/>
          </p:nvSpPr>
          <p:spPr bwMode="auto">
            <a:xfrm>
              <a:off x="2016" y="721"/>
              <a:ext cx="240" cy="95"/>
            </a:xfrm>
            <a:prstGeom prst="ellipse">
              <a:avLst/>
            </a:prstGeom>
            <a:solidFill>
              <a:srgbClr val="FFFF00"/>
            </a:solidFill>
            <a:ln w="9525">
              <a:solidFill>
                <a:schemeClr val="tx1"/>
              </a:solidFill>
              <a:round/>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802">
                <a:latin typeface="Arial" panose="020B0604020202020204" pitchFamily="34" charset="0"/>
                <a:cs typeface="Arial" panose="020B0604020202020204" pitchFamily="34" charset="0"/>
              </a:endParaRPr>
            </a:p>
          </p:txBody>
        </p:sp>
        <p:sp>
          <p:nvSpPr>
            <p:cNvPr id="30835" name="Oval 16"/>
            <p:cNvSpPr>
              <a:spLocks noChangeArrowheads="1"/>
            </p:cNvSpPr>
            <p:nvPr/>
          </p:nvSpPr>
          <p:spPr bwMode="auto">
            <a:xfrm>
              <a:off x="2160" y="721"/>
              <a:ext cx="240" cy="95"/>
            </a:xfrm>
            <a:prstGeom prst="ellipse">
              <a:avLst/>
            </a:prstGeom>
            <a:solidFill>
              <a:srgbClr val="FFFF00"/>
            </a:solidFill>
            <a:ln w="9525">
              <a:solidFill>
                <a:schemeClr val="tx1"/>
              </a:solidFill>
              <a:round/>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802">
                <a:latin typeface="Arial" panose="020B0604020202020204" pitchFamily="34" charset="0"/>
                <a:cs typeface="Arial" panose="020B0604020202020204" pitchFamily="34" charset="0"/>
              </a:endParaRPr>
            </a:p>
          </p:txBody>
        </p:sp>
      </p:grpSp>
      <p:sp>
        <p:nvSpPr>
          <p:cNvPr id="30733" name="Oval 17"/>
          <p:cNvSpPr>
            <a:spLocks noChangeArrowheads="1"/>
          </p:cNvSpPr>
          <p:nvPr/>
        </p:nvSpPr>
        <p:spPr bwMode="auto">
          <a:xfrm>
            <a:off x="3088300" y="1282299"/>
            <a:ext cx="90571" cy="108448"/>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lgn="ctr">
              <a:defRPr/>
            </a:pPr>
            <a:r>
              <a:rPr lang="en-US" sz="901">
                <a:latin typeface="Arial" panose="020B0604020202020204" pitchFamily="34" charset="0"/>
                <a:cs typeface="Arial" panose="020B0604020202020204" pitchFamily="34" charset="0"/>
              </a:rPr>
              <a:t>P</a:t>
            </a:r>
          </a:p>
        </p:txBody>
      </p:sp>
      <p:sp>
        <p:nvSpPr>
          <p:cNvPr id="30734" name="Oval 18"/>
          <p:cNvSpPr>
            <a:spLocks noChangeArrowheads="1"/>
          </p:cNvSpPr>
          <p:nvPr/>
        </p:nvSpPr>
        <p:spPr bwMode="auto">
          <a:xfrm>
            <a:off x="3361205" y="1282299"/>
            <a:ext cx="90571" cy="108448"/>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lgn="ctr">
              <a:defRPr/>
            </a:pPr>
            <a:r>
              <a:rPr lang="en-US" sz="901">
                <a:latin typeface="Arial" panose="020B0604020202020204" pitchFamily="34" charset="0"/>
                <a:cs typeface="Arial" panose="020B0604020202020204" pitchFamily="34" charset="0"/>
              </a:rPr>
              <a:t>P</a:t>
            </a:r>
          </a:p>
        </p:txBody>
      </p:sp>
      <p:sp>
        <p:nvSpPr>
          <p:cNvPr id="30735" name="Oval 19"/>
          <p:cNvSpPr>
            <a:spLocks noChangeArrowheads="1"/>
          </p:cNvSpPr>
          <p:nvPr/>
        </p:nvSpPr>
        <p:spPr bwMode="auto">
          <a:xfrm>
            <a:off x="3315920" y="1660078"/>
            <a:ext cx="498142" cy="215702"/>
          </a:xfrm>
          <a:prstGeom prst="ellipse">
            <a:avLst/>
          </a:prstGeom>
          <a:solidFill>
            <a:srgbClr val="FF99CC"/>
          </a:solidFill>
          <a:ln w="9525">
            <a:solidFill>
              <a:schemeClr val="tx1"/>
            </a:solidFill>
            <a:round/>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lgn="ctr">
              <a:defRPr/>
            </a:pPr>
            <a:r>
              <a:rPr lang="en-US" sz="1051">
                <a:latin typeface="Arial" panose="020B0604020202020204" pitchFamily="34" charset="0"/>
                <a:cs typeface="Arial" panose="020B0604020202020204" pitchFamily="34" charset="0"/>
              </a:rPr>
              <a:t>PI3-K</a:t>
            </a:r>
          </a:p>
        </p:txBody>
      </p:sp>
      <p:sp>
        <p:nvSpPr>
          <p:cNvPr id="30736" name="Oval 20"/>
          <p:cNvSpPr>
            <a:spLocks noChangeArrowheads="1"/>
          </p:cNvSpPr>
          <p:nvPr/>
        </p:nvSpPr>
        <p:spPr bwMode="auto">
          <a:xfrm>
            <a:off x="3043014" y="2090290"/>
            <a:ext cx="408762" cy="215703"/>
          </a:xfrm>
          <a:prstGeom prst="ellipse">
            <a:avLst/>
          </a:prstGeom>
          <a:solidFill>
            <a:srgbClr val="33CCCC"/>
          </a:solidFill>
          <a:ln w="9525">
            <a:solidFill>
              <a:schemeClr val="tx1"/>
            </a:solidFill>
            <a:round/>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lgn="ctr">
              <a:defRPr/>
            </a:pPr>
            <a:r>
              <a:rPr lang="en-US" sz="1201">
                <a:latin typeface="Arial" panose="020B0604020202020204" pitchFamily="34" charset="0"/>
                <a:cs typeface="Arial" panose="020B0604020202020204" pitchFamily="34" charset="0"/>
              </a:rPr>
              <a:t>Akt</a:t>
            </a:r>
          </a:p>
        </p:txBody>
      </p:sp>
      <p:sp>
        <p:nvSpPr>
          <p:cNvPr id="30737" name="Oval 21"/>
          <p:cNvSpPr>
            <a:spLocks noChangeArrowheads="1"/>
          </p:cNvSpPr>
          <p:nvPr/>
        </p:nvSpPr>
        <p:spPr bwMode="auto">
          <a:xfrm rot="1800000">
            <a:off x="4629204" y="1228671"/>
            <a:ext cx="135857" cy="376586"/>
          </a:xfrm>
          <a:prstGeom prst="ellipse">
            <a:avLst/>
          </a:prstGeom>
          <a:solidFill>
            <a:srgbClr val="FF0000"/>
          </a:solidFill>
          <a:ln w="9525">
            <a:solidFill>
              <a:schemeClr val="tx1"/>
            </a:solidFill>
            <a:round/>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802">
              <a:latin typeface="Arial" panose="020B0604020202020204" pitchFamily="34" charset="0"/>
              <a:cs typeface="Arial" panose="020B0604020202020204" pitchFamily="34" charset="0"/>
            </a:endParaRPr>
          </a:p>
        </p:txBody>
      </p:sp>
      <p:sp>
        <p:nvSpPr>
          <p:cNvPr id="30738" name="Oval 22"/>
          <p:cNvSpPr>
            <a:spLocks noChangeArrowheads="1"/>
          </p:cNvSpPr>
          <p:nvPr/>
        </p:nvSpPr>
        <p:spPr bwMode="auto">
          <a:xfrm rot="1800000">
            <a:off x="4583918" y="1175043"/>
            <a:ext cx="135857" cy="376586"/>
          </a:xfrm>
          <a:prstGeom prst="ellipse">
            <a:avLst/>
          </a:prstGeom>
          <a:solidFill>
            <a:srgbClr val="FF0000"/>
          </a:solidFill>
          <a:ln w="9525">
            <a:solidFill>
              <a:schemeClr val="tx1"/>
            </a:solidFill>
            <a:round/>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802">
              <a:latin typeface="Arial" panose="020B0604020202020204" pitchFamily="34" charset="0"/>
              <a:cs typeface="Arial" panose="020B0604020202020204" pitchFamily="34" charset="0"/>
            </a:endParaRPr>
          </a:p>
        </p:txBody>
      </p:sp>
      <p:sp>
        <p:nvSpPr>
          <p:cNvPr id="30739" name="Oval 23"/>
          <p:cNvSpPr>
            <a:spLocks noChangeArrowheads="1"/>
          </p:cNvSpPr>
          <p:nvPr/>
        </p:nvSpPr>
        <p:spPr bwMode="auto">
          <a:xfrm>
            <a:off x="4402775" y="1444375"/>
            <a:ext cx="90571" cy="107255"/>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lgn="ctr">
              <a:defRPr/>
            </a:pPr>
            <a:r>
              <a:rPr lang="en-US" sz="901">
                <a:latin typeface="Arial" panose="020B0604020202020204" pitchFamily="34" charset="0"/>
                <a:cs typeface="Arial" panose="020B0604020202020204" pitchFamily="34" charset="0"/>
              </a:rPr>
              <a:t>P</a:t>
            </a:r>
          </a:p>
        </p:txBody>
      </p:sp>
      <p:sp>
        <p:nvSpPr>
          <p:cNvPr id="30740" name="Oval 24"/>
          <p:cNvSpPr>
            <a:spLocks noChangeArrowheads="1"/>
          </p:cNvSpPr>
          <p:nvPr/>
        </p:nvSpPr>
        <p:spPr bwMode="auto">
          <a:xfrm>
            <a:off x="4493346" y="1551630"/>
            <a:ext cx="90571" cy="108448"/>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lgn="ctr">
              <a:defRPr/>
            </a:pPr>
            <a:r>
              <a:rPr lang="en-US" sz="901">
                <a:latin typeface="Arial" panose="020B0604020202020204" pitchFamily="34" charset="0"/>
                <a:cs typeface="Arial" panose="020B0604020202020204" pitchFamily="34" charset="0"/>
              </a:rPr>
              <a:t>P</a:t>
            </a:r>
          </a:p>
        </p:txBody>
      </p:sp>
      <p:sp>
        <p:nvSpPr>
          <p:cNvPr id="30741" name="Oval 25"/>
          <p:cNvSpPr>
            <a:spLocks noChangeArrowheads="1"/>
          </p:cNvSpPr>
          <p:nvPr/>
        </p:nvSpPr>
        <p:spPr bwMode="auto">
          <a:xfrm>
            <a:off x="4719774" y="1660078"/>
            <a:ext cx="271714" cy="107255"/>
          </a:xfrm>
          <a:prstGeom prst="ellipse">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lgn="ctr">
              <a:defRPr/>
            </a:pPr>
            <a:r>
              <a:rPr lang="en-US" sz="751">
                <a:latin typeface="Arial" panose="020B0604020202020204" pitchFamily="34" charset="0"/>
                <a:cs typeface="Arial" panose="020B0604020202020204" pitchFamily="34" charset="0"/>
              </a:rPr>
              <a:t>RAS</a:t>
            </a:r>
          </a:p>
        </p:txBody>
      </p:sp>
      <p:sp>
        <p:nvSpPr>
          <p:cNvPr id="30742" name="Oval 26"/>
          <p:cNvSpPr>
            <a:spLocks noChangeArrowheads="1"/>
          </p:cNvSpPr>
          <p:nvPr/>
        </p:nvSpPr>
        <p:spPr bwMode="auto">
          <a:xfrm>
            <a:off x="4810345" y="1767332"/>
            <a:ext cx="271714" cy="108447"/>
          </a:xfrm>
          <a:prstGeom prst="ellipse">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lgn="ctr">
              <a:defRPr/>
            </a:pPr>
            <a:r>
              <a:rPr lang="en-US" sz="751">
                <a:latin typeface="Arial" panose="020B0604020202020204" pitchFamily="34" charset="0"/>
                <a:cs typeface="Arial" panose="020B0604020202020204" pitchFamily="34" charset="0"/>
              </a:rPr>
              <a:t>RAF</a:t>
            </a:r>
          </a:p>
        </p:txBody>
      </p:sp>
      <p:sp>
        <p:nvSpPr>
          <p:cNvPr id="30743" name="Rectangle 27"/>
          <p:cNvSpPr>
            <a:spLocks noChangeArrowheads="1"/>
          </p:cNvSpPr>
          <p:nvPr/>
        </p:nvSpPr>
        <p:spPr bwMode="auto">
          <a:xfrm>
            <a:off x="4719774" y="2090290"/>
            <a:ext cx="271714" cy="16207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lgn="ctr">
              <a:defRPr/>
            </a:pPr>
            <a:r>
              <a:rPr lang="en-US" sz="1051">
                <a:latin typeface="Arial" panose="020B0604020202020204" pitchFamily="34" charset="0"/>
                <a:cs typeface="Arial" panose="020B0604020202020204" pitchFamily="34" charset="0"/>
              </a:rPr>
              <a:t>MEK</a:t>
            </a:r>
          </a:p>
        </p:txBody>
      </p:sp>
      <p:sp>
        <p:nvSpPr>
          <p:cNvPr id="30744" name="Rectangle 28"/>
          <p:cNvSpPr>
            <a:spLocks noChangeArrowheads="1"/>
          </p:cNvSpPr>
          <p:nvPr/>
        </p:nvSpPr>
        <p:spPr bwMode="auto">
          <a:xfrm>
            <a:off x="4402775" y="2360812"/>
            <a:ext cx="452856" cy="160883"/>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lgn="ctr">
              <a:defRPr/>
            </a:pPr>
            <a:r>
              <a:rPr lang="en-US" sz="901">
                <a:latin typeface="Arial" panose="020B0604020202020204" pitchFamily="34" charset="0"/>
                <a:cs typeface="Arial" panose="020B0604020202020204" pitchFamily="34" charset="0"/>
              </a:rPr>
              <a:t>MAPK</a:t>
            </a:r>
          </a:p>
        </p:txBody>
      </p:sp>
      <p:sp>
        <p:nvSpPr>
          <p:cNvPr id="30745" name="Rectangle 29"/>
          <p:cNvSpPr>
            <a:spLocks noChangeArrowheads="1"/>
          </p:cNvSpPr>
          <p:nvPr/>
        </p:nvSpPr>
        <p:spPr bwMode="auto">
          <a:xfrm>
            <a:off x="3723491" y="2360812"/>
            <a:ext cx="498142" cy="160883"/>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lgn="ctr">
              <a:defRPr/>
            </a:pPr>
            <a:r>
              <a:rPr lang="en-US" sz="901">
                <a:latin typeface="Arial" panose="020B0604020202020204" pitchFamily="34" charset="0"/>
                <a:cs typeface="Arial" panose="020B0604020202020204" pitchFamily="34" charset="0"/>
              </a:rPr>
              <a:t>p90</a:t>
            </a:r>
            <a:r>
              <a:rPr lang="en-US" sz="901" baseline="30000">
                <a:latin typeface="Arial" panose="020B0604020202020204" pitchFamily="34" charset="0"/>
                <a:cs typeface="Arial" panose="020B0604020202020204" pitchFamily="34" charset="0"/>
              </a:rPr>
              <a:t>RSK</a:t>
            </a:r>
          </a:p>
        </p:txBody>
      </p:sp>
      <p:sp>
        <p:nvSpPr>
          <p:cNvPr id="30746" name="Oval 30"/>
          <p:cNvSpPr>
            <a:spLocks noChangeArrowheads="1"/>
          </p:cNvSpPr>
          <p:nvPr/>
        </p:nvSpPr>
        <p:spPr bwMode="auto">
          <a:xfrm>
            <a:off x="2227873" y="2844653"/>
            <a:ext cx="362285" cy="162075"/>
          </a:xfrm>
          <a:prstGeom prst="ellipse">
            <a:avLst/>
          </a:prstGeom>
          <a:solidFill>
            <a:srgbClr val="FF6600"/>
          </a:solidFill>
          <a:ln w="9525">
            <a:solidFill>
              <a:schemeClr val="tx1"/>
            </a:solidFill>
            <a:round/>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lgn="ctr">
              <a:defRPr/>
            </a:pPr>
            <a:r>
              <a:rPr lang="en-US" sz="901">
                <a:latin typeface="Arial" panose="020B0604020202020204" pitchFamily="34" charset="0"/>
                <a:cs typeface="Arial" panose="020B0604020202020204" pitchFamily="34" charset="0"/>
              </a:rPr>
              <a:t>ER</a:t>
            </a:r>
          </a:p>
        </p:txBody>
      </p:sp>
      <p:grpSp>
        <p:nvGrpSpPr>
          <p:cNvPr id="27674" name="Group 31"/>
          <p:cNvGrpSpPr>
            <a:grpSpLocks/>
          </p:cNvGrpSpPr>
          <p:nvPr/>
        </p:nvGrpSpPr>
        <p:grpSpPr bwMode="auto">
          <a:xfrm>
            <a:off x="3088300" y="3168803"/>
            <a:ext cx="1857903" cy="322958"/>
            <a:chOff x="2016" y="2496"/>
            <a:chExt cx="1968" cy="288"/>
          </a:xfrm>
        </p:grpSpPr>
        <p:sp>
          <p:nvSpPr>
            <p:cNvPr id="30796" name="Oval 32"/>
            <p:cNvSpPr>
              <a:spLocks noChangeArrowheads="1"/>
            </p:cNvSpPr>
            <p:nvPr/>
          </p:nvSpPr>
          <p:spPr bwMode="auto">
            <a:xfrm>
              <a:off x="2400" y="2544"/>
              <a:ext cx="96" cy="97"/>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lgn="ctr">
                <a:defRPr/>
              </a:pPr>
              <a:r>
                <a:rPr lang="en-US" sz="901">
                  <a:latin typeface="Arial" panose="020B0604020202020204" pitchFamily="34" charset="0"/>
                  <a:cs typeface="Arial" panose="020B0604020202020204" pitchFamily="34" charset="0"/>
                </a:rPr>
                <a:t>P</a:t>
              </a:r>
            </a:p>
          </p:txBody>
        </p:sp>
        <p:sp>
          <p:nvSpPr>
            <p:cNvPr id="30797" name="Oval 33"/>
            <p:cNvSpPr>
              <a:spLocks noChangeArrowheads="1"/>
            </p:cNvSpPr>
            <p:nvPr/>
          </p:nvSpPr>
          <p:spPr bwMode="auto">
            <a:xfrm>
              <a:off x="2448" y="2641"/>
              <a:ext cx="384" cy="96"/>
            </a:xfrm>
            <a:prstGeom prst="ellipse">
              <a:avLst/>
            </a:prstGeom>
            <a:solidFill>
              <a:srgbClr val="00CC00"/>
            </a:solidFill>
            <a:ln w="9525">
              <a:solidFill>
                <a:schemeClr val="tx1"/>
              </a:solidFill>
              <a:round/>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lgn="ctr">
                <a:defRPr/>
              </a:pPr>
              <a:r>
                <a:rPr lang="en-US" sz="751">
                  <a:latin typeface="Arial" panose="020B0604020202020204" pitchFamily="34" charset="0"/>
                  <a:cs typeface="Arial" panose="020B0604020202020204" pitchFamily="34" charset="0"/>
                </a:rPr>
                <a:t>p160</a:t>
              </a:r>
            </a:p>
          </p:txBody>
        </p:sp>
        <p:sp>
          <p:nvSpPr>
            <p:cNvPr id="30798" name="Oval 34"/>
            <p:cNvSpPr>
              <a:spLocks noChangeArrowheads="1"/>
            </p:cNvSpPr>
            <p:nvPr/>
          </p:nvSpPr>
          <p:spPr bwMode="auto">
            <a:xfrm>
              <a:off x="2736" y="2592"/>
              <a:ext cx="337" cy="145"/>
            </a:xfrm>
            <a:prstGeom prst="ellipse">
              <a:avLst/>
            </a:prstGeom>
            <a:solidFill>
              <a:srgbClr val="99FF99"/>
            </a:solidFill>
            <a:ln w="9525">
              <a:solidFill>
                <a:schemeClr val="tx1"/>
              </a:solidFill>
              <a:round/>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802">
                <a:latin typeface="Arial" panose="020B0604020202020204" pitchFamily="34" charset="0"/>
                <a:cs typeface="Arial" panose="020B0604020202020204" pitchFamily="34" charset="0"/>
              </a:endParaRPr>
            </a:p>
          </p:txBody>
        </p:sp>
        <p:sp>
          <p:nvSpPr>
            <p:cNvPr id="30799" name="Oval 35"/>
            <p:cNvSpPr>
              <a:spLocks noChangeArrowheads="1"/>
            </p:cNvSpPr>
            <p:nvPr/>
          </p:nvSpPr>
          <p:spPr bwMode="auto">
            <a:xfrm>
              <a:off x="3025" y="2544"/>
              <a:ext cx="384" cy="192"/>
            </a:xfrm>
            <a:prstGeom prst="ellipse">
              <a:avLst/>
            </a:prstGeom>
            <a:solidFill>
              <a:srgbClr val="99CC00"/>
            </a:solidFill>
            <a:ln w="9525">
              <a:solidFill>
                <a:schemeClr val="tx1"/>
              </a:solidFill>
              <a:round/>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lgn="ctr">
                <a:defRPr/>
              </a:pPr>
              <a:r>
                <a:rPr lang="en-US" sz="375">
                  <a:latin typeface="Arial" panose="020B0604020202020204" pitchFamily="34" charset="0"/>
                  <a:cs typeface="Arial" panose="020B0604020202020204" pitchFamily="34" charset="0"/>
                </a:rPr>
                <a:t>Basal</a:t>
              </a:r>
            </a:p>
            <a:p>
              <a:pPr algn="ctr">
                <a:defRPr/>
              </a:pPr>
              <a:r>
                <a:rPr lang="en-US" sz="375">
                  <a:latin typeface="Arial" panose="020B0604020202020204" pitchFamily="34" charset="0"/>
                  <a:cs typeface="Arial" panose="020B0604020202020204" pitchFamily="34" charset="0"/>
                </a:rPr>
                <a:t>Transcription</a:t>
              </a:r>
            </a:p>
            <a:p>
              <a:pPr algn="ctr">
                <a:defRPr/>
              </a:pPr>
              <a:r>
                <a:rPr lang="en-US" sz="375">
                  <a:latin typeface="Arial" panose="020B0604020202020204" pitchFamily="34" charset="0"/>
                  <a:cs typeface="Arial" panose="020B0604020202020204" pitchFamily="34" charset="0"/>
                </a:rPr>
                <a:t>Machinery</a:t>
              </a:r>
            </a:p>
          </p:txBody>
        </p:sp>
        <p:sp>
          <p:nvSpPr>
            <p:cNvPr id="30800" name="Rectangle 36"/>
            <p:cNvSpPr>
              <a:spLocks noChangeArrowheads="1"/>
            </p:cNvSpPr>
            <p:nvPr/>
          </p:nvSpPr>
          <p:spPr bwMode="auto">
            <a:xfrm>
              <a:off x="2784" y="2641"/>
              <a:ext cx="241" cy="96"/>
            </a:xfrm>
            <a:prstGeom prst="rect">
              <a:avLst/>
            </a:prstGeom>
            <a:solidFill>
              <a:srgbClr val="00FF00"/>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lgn="ctr">
                <a:defRPr/>
              </a:pPr>
              <a:r>
                <a:rPr lang="en-US" sz="676">
                  <a:latin typeface="Arial" panose="020B0604020202020204" pitchFamily="34" charset="0"/>
                  <a:cs typeface="Arial" panose="020B0604020202020204" pitchFamily="34" charset="0"/>
                </a:rPr>
                <a:t>CBP</a:t>
              </a:r>
            </a:p>
          </p:txBody>
        </p:sp>
        <p:grpSp>
          <p:nvGrpSpPr>
            <p:cNvPr id="27728" name="Group 37"/>
            <p:cNvGrpSpPr>
              <a:grpSpLocks/>
            </p:cNvGrpSpPr>
            <p:nvPr/>
          </p:nvGrpSpPr>
          <p:grpSpPr bwMode="auto">
            <a:xfrm>
              <a:off x="2016" y="2736"/>
              <a:ext cx="528" cy="48"/>
              <a:chOff x="3648" y="3936"/>
              <a:chExt cx="528" cy="48"/>
            </a:xfrm>
          </p:grpSpPr>
          <p:sp>
            <p:nvSpPr>
              <p:cNvPr id="30827" name="AutoShape 38"/>
              <p:cNvSpPr>
                <a:spLocks noChangeArrowheads="1"/>
              </p:cNvSpPr>
              <p:nvPr/>
            </p:nvSpPr>
            <p:spPr bwMode="auto">
              <a:xfrm>
                <a:off x="3648" y="3936"/>
                <a:ext cx="144" cy="48"/>
              </a:xfrm>
              <a:prstGeom prst="triangle">
                <a:avLst>
                  <a:gd name="adj" fmla="val 50000"/>
                </a:avLst>
              </a:prstGeom>
              <a:solidFill>
                <a:srgbClr val="008000"/>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802">
                  <a:latin typeface="Arial" panose="020B0604020202020204" pitchFamily="34" charset="0"/>
                  <a:cs typeface="Arial" panose="020B0604020202020204" pitchFamily="34" charset="0"/>
                </a:endParaRPr>
              </a:p>
            </p:txBody>
          </p:sp>
          <p:sp>
            <p:nvSpPr>
              <p:cNvPr id="30828" name="AutoShape 39"/>
              <p:cNvSpPr>
                <a:spLocks noChangeArrowheads="1"/>
              </p:cNvSpPr>
              <p:nvPr/>
            </p:nvSpPr>
            <p:spPr bwMode="auto">
              <a:xfrm>
                <a:off x="3744" y="3936"/>
                <a:ext cx="144" cy="48"/>
              </a:xfrm>
              <a:prstGeom prst="triangle">
                <a:avLst>
                  <a:gd name="adj" fmla="val 50000"/>
                </a:avLst>
              </a:prstGeom>
              <a:solidFill>
                <a:srgbClr val="008000"/>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802">
                  <a:latin typeface="Arial" panose="020B0604020202020204" pitchFamily="34" charset="0"/>
                  <a:cs typeface="Arial" panose="020B0604020202020204" pitchFamily="34" charset="0"/>
                </a:endParaRPr>
              </a:p>
            </p:txBody>
          </p:sp>
          <p:sp>
            <p:nvSpPr>
              <p:cNvPr id="30829" name="AutoShape 40"/>
              <p:cNvSpPr>
                <a:spLocks noChangeArrowheads="1"/>
              </p:cNvSpPr>
              <p:nvPr/>
            </p:nvSpPr>
            <p:spPr bwMode="auto">
              <a:xfrm>
                <a:off x="3840" y="3936"/>
                <a:ext cx="144" cy="48"/>
              </a:xfrm>
              <a:prstGeom prst="triangle">
                <a:avLst>
                  <a:gd name="adj" fmla="val 50000"/>
                </a:avLst>
              </a:prstGeom>
              <a:solidFill>
                <a:srgbClr val="008000"/>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802">
                  <a:latin typeface="Arial" panose="020B0604020202020204" pitchFamily="34" charset="0"/>
                  <a:cs typeface="Arial" panose="020B0604020202020204" pitchFamily="34" charset="0"/>
                </a:endParaRPr>
              </a:p>
            </p:txBody>
          </p:sp>
          <p:sp>
            <p:nvSpPr>
              <p:cNvPr id="30830" name="AutoShape 41"/>
              <p:cNvSpPr>
                <a:spLocks noChangeArrowheads="1"/>
              </p:cNvSpPr>
              <p:nvPr/>
            </p:nvSpPr>
            <p:spPr bwMode="auto">
              <a:xfrm>
                <a:off x="3936" y="3936"/>
                <a:ext cx="144" cy="48"/>
              </a:xfrm>
              <a:prstGeom prst="triangle">
                <a:avLst>
                  <a:gd name="adj" fmla="val 50000"/>
                </a:avLst>
              </a:prstGeom>
              <a:solidFill>
                <a:srgbClr val="008000"/>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802">
                  <a:latin typeface="Arial" panose="020B0604020202020204" pitchFamily="34" charset="0"/>
                  <a:cs typeface="Arial" panose="020B0604020202020204" pitchFamily="34" charset="0"/>
                </a:endParaRPr>
              </a:p>
            </p:txBody>
          </p:sp>
          <p:sp>
            <p:nvSpPr>
              <p:cNvPr id="30831" name="AutoShape 42"/>
              <p:cNvSpPr>
                <a:spLocks noChangeArrowheads="1"/>
              </p:cNvSpPr>
              <p:nvPr/>
            </p:nvSpPr>
            <p:spPr bwMode="auto">
              <a:xfrm>
                <a:off x="4032" y="3936"/>
                <a:ext cx="144" cy="48"/>
              </a:xfrm>
              <a:prstGeom prst="triangle">
                <a:avLst>
                  <a:gd name="adj" fmla="val 50000"/>
                </a:avLst>
              </a:prstGeom>
              <a:solidFill>
                <a:srgbClr val="008000"/>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802">
                  <a:latin typeface="Arial" panose="020B0604020202020204" pitchFamily="34" charset="0"/>
                  <a:cs typeface="Arial" panose="020B0604020202020204" pitchFamily="34" charset="0"/>
                </a:endParaRPr>
              </a:p>
            </p:txBody>
          </p:sp>
        </p:grpSp>
        <p:grpSp>
          <p:nvGrpSpPr>
            <p:cNvPr id="27729" name="Group 43"/>
            <p:cNvGrpSpPr>
              <a:grpSpLocks/>
            </p:cNvGrpSpPr>
            <p:nvPr/>
          </p:nvGrpSpPr>
          <p:grpSpPr bwMode="auto">
            <a:xfrm>
              <a:off x="2496" y="2736"/>
              <a:ext cx="528" cy="48"/>
              <a:chOff x="3648" y="3936"/>
              <a:chExt cx="528" cy="48"/>
            </a:xfrm>
          </p:grpSpPr>
          <p:sp>
            <p:nvSpPr>
              <p:cNvPr id="30822" name="AutoShape 44"/>
              <p:cNvSpPr>
                <a:spLocks noChangeArrowheads="1"/>
              </p:cNvSpPr>
              <p:nvPr/>
            </p:nvSpPr>
            <p:spPr bwMode="auto">
              <a:xfrm>
                <a:off x="3648" y="3936"/>
                <a:ext cx="144" cy="48"/>
              </a:xfrm>
              <a:prstGeom prst="triangle">
                <a:avLst>
                  <a:gd name="adj" fmla="val 50000"/>
                </a:avLst>
              </a:prstGeom>
              <a:solidFill>
                <a:srgbClr val="008000"/>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802">
                  <a:latin typeface="Arial" panose="020B0604020202020204" pitchFamily="34" charset="0"/>
                  <a:cs typeface="Arial" panose="020B0604020202020204" pitchFamily="34" charset="0"/>
                </a:endParaRPr>
              </a:p>
            </p:txBody>
          </p:sp>
          <p:sp>
            <p:nvSpPr>
              <p:cNvPr id="30823" name="AutoShape 45"/>
              <p:cNvSpPr>
                <a:spLocks noChangeArrowheads="1"/>
              </p:cNvSpPr>
              <p:nvPr/>
            </p:nvSpPr>
            <p:spPr bwMode="auto">
              <a:xfrm>
                <a:off x="3744" y="3936"/>
                <a:ext cx="144" cy="48"/>
              </a:xfrm>
              <a:prstGeom prst="triangle">
                <a:avLst>
                  <a:gd name="adj" fmla="val 50000"/>
                </a:avLst>
              </a:prstGeom>
              <a:solidFill>
                <a:srgbClr val="008000"/>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802">
                  <a:latin typeface="Arial" panose="020B0604020202020204" pitchFamily="34" charset="0"/>
                  <a:cs typeface="Arial" panose="020B0604020202020204" pitchFamily="34" charset="0"/>
                </a:endParaRPr>
              </a:p>
            </p:txBody>
          </p:sp>
          <p:sp>
            <p:nvSpPr>
              <p:cNvPr id="30824" name="AutoShape 46"/>
              <p:cNvSpPr>
                <a:spLocks noChangeArrowheads="1"/>
              </p:cNvSpPr>
              <p:nvPr/>
            </p:nvSpPr>
            <p:spPr bwMode="auto">
              <a:xfrm>
                <a:off x="3840" y="3936"/>
                <a:ext cx="145" cy="48"/>
              </a:xfrm>
              <a:prstGeom prst="triangle">
                <a:avLst>
                  <a:gd name="adj" fmla="val 50000"/>
                </a:avLst>
              </a:prstGeom>
              <a:solidFill>
                <a:srgbClr val="008000"/>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802">
                  <a:latin typeface="Arial" panose="020B0604020202020204" pitchFamily="34" charset="0"/>
                  <a:cs typeface="Arial" panose="020B0604020202020204" pitchFamily="34" charset="0"/>
                </a:endParaRPr>
              </a:p>
            </p:txBody>
          </p:sp>
          <p:sp>
            <p:nvSpPr>
              <p:cNvPr id="30825" name="AutoShape 47"/>
              <p:cNvSpPr>
                <a:spLocks noChangeArrowheads="1"/>
              </p:cNvSpPr>
              <p:nvPr/>
            </p:nvSpPr>
            <p:spPr bwMode="auto">
              <a:xfrm>
                <a:off x="3937" y="3936"/>
                <a:ext cx="144" cy="48"/>
              </a:xfrm>
              <a:prstGeom prst="triangle">
                <a:avLst>
                  <a:gd name="adj" fmla="val 50000"/>
                </a:avLst>
              </a:prstGeom>
              <a:solidFill>
                <a:srgbClr val="008000"/>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802">
                  <a:latin typeface="Arial" panose="020B0604020202020204" pitchFamily="34" charset="0"/>
                  <a:cs typeface="Arial" panose="020B0604020202020204" pitchFamily="34" charset="0"/>
                </a:endParaRPr>
              </a:p>
            </p:txBody>
          </p:sp>
          <p:sp>
            <p:nvSpPr>
              <p:cNvPr id="30826" name="AutoShape 48"/>
              <p:cNvSpPr>
                <a:spLocks noChangeArrowheads="1"/>
              </p:cNvSpPr>
              <p:nvPr/>
            </p:nvSpPr>
            <p:spPr bwMode="auto">
              <a:xfrm>
                <a:off x="4033" y="3936"/>
                <a:ext cx="144" cy="48"/>
              </a:xfrm>
              <a:prstGeom prst="triangle">
                <a:avLst>
                  <a:gd name="adj" fmla="val 50000"/>
                </a:avLst>
              </a:prstGeom>
              <a:solidFill>
                <a:srgbClr val="008000"/>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802">
                  <a:latin typeface="Arial" panose="020B0604020202020204" pitchFamily="34" charset="0"/>
                  <a:cs typeface="Arial" panose="020B0604020202020204" pitchFamily="34" charset="0"/>
                </a:endParaRPr>
              </a:p>
            </p:txBody>
          </p:sp>
        </p:grpSp>
        <p:grpSp>
          <p:nvGrpSpPr>
            <p:cNvPr id="27730" name="Group 49"/>
            <p:cNvGrpSpPr>
              <a:grpSpLocks/>
            </p:cNvGrpSpPr>
            <p:nvPr/>
          </p:nvGrpSpPr>
          <p:grpSpPr bwMode="auto">
            <a:xfrm>
              <a:off x="2976" y="2736"/>
              <a:ext cx="528" cy="48"/>
              <a:chOff x="3648" y="3936"/>
              <a:chExt cx="528" cy="48"/>
            </a:xfrm>
          </p:grpSpPr>
          <p:sp>
            <p:nvSpPr>
              <p:cNvPr id="30817" name="AutoShape 50"/>
              <p:cNvSpPr>
                <a:spLocks noChangeArrowheads="1"/>
              </p:cNvSpPr>
              <p:nvPr/>
            </p:nvSpPr>
            <p:spPr bwMode="auto">
              <a:xfrm>
                <a:off x="3647" y="3936"/>
                <a:ext cx="144" cy="48"/>
              </a:xfrm>
              <a:prstGeom prst="triangle">
                <a:avLst>
                  <a:gd name="adj" fmla="val 50000"/>
                </a:avLst>
              </a:prstGeom>
              <a:solidFill>
                <a:srgbClr val="008000"/>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802">
                  <a:latin typeface="Arial" panose="020B0604020202020204" pitchFamily="34" charset="0"/>
                  <a:cs typeface="Arial" panose="020B0604020202020204" pitchFamily="34" charset="0"/>
                </a:endParaRPr>
              </a:p>
            </p:txBody>
          </p:sp>
          <p:sp>
            <p:nvSpPr>
              <p:cNvPr id="30818" name="AutoShape 51"/>
              <p:cNvSpPr>
                <a:spLocks noChangeArrowheads="1"/>
              </p:cNvSpPr>
              <p:nvPr/>
            </p:nvSpPr>
            <p:spPr bwMode="auto">
              <a:xfrm>
                <a:off x="3743" y="3936"/>
                <a:ext cx="144" cy="48"/>
              </a:xfrm>
              <a:prstGeom prst="triangle">
                <a:avLst>
                  <a:gd name="adj" fmla="val 50000"/>
                </a:avLst>
              </a:prstGeom>
              <a:solidFill>
                <a:srgbClr val="008000"/>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802">
                  <a:latin typeface="Arial" panose="020B0604020202020204" pitchFamily="34" charset="0"/>
                  <a:cs typeface="Arial" panose="020B0604020202020204" pitchFamily="34" charset="0"/>
                </a:endParaRPr>
              </a:p>
            </p:txBody>
          </p:sp>
          <p:sp>
            <p:nvSpPr>
              <p:cNvPr id="30819" name="AutoShape 52"/>
              <p:cNvSpPr>
                <a:spLocks noChangeArrowheads="1"/>
              </p:cNvSpPr>
              <p:nvPr/>
            </p:nvSpPr>
            <p:spPr bwMode="auto">
              <a:xfrm>
                <a:off x="3839" y="3936"/>
                <a:ext cx="145" cy="48"/>
              </a:xfrm>
              <a:prstGeom prst="triangle">
                <a:avLst>
                  <a:gd name="adj" fmla="val 50000"/>
                </a:avLst>
              </a:prstGeom>
              <a:solidFill>
                <a:srgbClr val="008000"/>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802">
                  <a:latin typeface="Arial" panose="020B0604020202020204" pitchFamily="34" charset="0"/>
                  <a:cs typeface="Arial" panose="020B0604020202020204" pitchFamily="34" charset="0"/>
                </a:endParaRPr>
              </a:p>
            </p:txBody>
          </p:sp>
          <p:sp>
            <p:nvSpPr>
              <p:cNvPr id="30820" name="AutoShape 53"/>
              <p:cNvSpPr>
                <a:spLocks noChangeArrowheads="1"/>
              </p:cNvSpPr>
              <p:nvPr/>
            </p:nvSpPr>
            <p:spPr bwMode="auto">
              <a:xfrm>
                <a:off x="3936" y="3936"/>
                <a:ext cx="144" cy="48"/>
              </a:xfrm>
              <a:prstGeom prst="triangle">
                <a:avLst>
                  <a:gd name="adj" fmla="val 50000"/>
                </a:avLst>
              </a:prstGeom>
              <a:solidFill>
                <a:srgbClr val="008000"/>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802">
                  <a:latin typeface="Arial" panose="020B0604020202020204" pitchFamily="34" charset="0"/>
                  <a:cs typeface="Arial" panose="020B0604020202020204" pitchFamily="34" charset="0"/>
                </a:endParaRPr>
              </a:p>
            </p:txBody>
          </p:sp>
          <p:sp>
            <p:nvSpPr>
              <p:cNvPr id="30821" name="AutoShape 54"/>
              <p:cNvSpPr>
                <a:spLocks noChangeArrowheads="1"/>
              </p:cNvSpPr>
              <p:nvPr/>
            </p:nvSpPr>
            <p:spPr bwMode="auto">
              <a:xfrm>
                <a:off x="4032" y="3936"/>
                <a:ext cx="144" cy="48"/>
              </a:xfrm>
              <a:prstGeom prst="triangle">
                <a:avLst>
                  <a:gd name="adj" fmla="val 50000"/>
                </a:avLst>
              </a:prstGeom>
              <a:solidFill>
                <a:srgbClr val="008000"/>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802">
                  <a:latin typeface="Arial" panose="020B0604020202020204" pitchFamily="34" charset="0"/>
                  <a:cs typeface="Arial" panose="020B0604020202020204" pitchFamily="34" charset="0"/>
                </a:endParaRPr>
              </a:p>
            </p:txBody>
          </p:sp>
        </p:grpSp>
        <p:sp>
          <p:nvSpPr>
            <p:cNvPr id="30804" name="Oval 55"/>
            <p:cNvSpPr>
              <a:spLocks noChangeArrowheads="1"/>
            </p:cNvSpPr>
            <p:nvPr/>
          </p:nvSpPr>
          <p:spPr bwMode="auto">
            <a:xfrm>
              <a:off x="2160" y="2592"/>
              <a:ext cx="192" cy="145"/>
            </a:xfrm>
            <a:prstGeom prst="ellipse">
              <a:avLst/>
            </a:prstGeom>
            <a:solidFill>
              <a:srgbClr val="FF6600"/>
            </a:solidFill>
            <a:ln w="9525">
              <a:solidFill>
                <a:schemeClr val="tx1"/>
              </a:solidFill>
              <a:round/>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lgn="ctr">
                <a:defRPr/>
              </a:pPr>
              <a:r>
                <a:rPr lang="en-US" sz="751">
                  <a:latin typeface="Arial" panose="020B0604020202020204" pitchFamily="34" charset="0"/>
                  <a:cs typeface="Arial" panose="020B0604020202020204" pitchFamily="34" charset="0"/>
                </a:rPr>
                <a:t>ER</a:t>
              </a:r>
            </a:p>
          </p:txBody>
        </p:sp>
        <p:sp>
          <p:nvSpPr>
            <p:cNvPr id="30805" name="Oval 56"/>
            <p:cNvSpPr>
              <a:spLocks noChangeArrowheads="1"/>
            </p:cNvSpPr>
            <p:nvPr/>
          </p:nvSpPr>
          <p:spPr bwMode="auto">
            <a:xfrm>
              <a:off x="2304" y="2592"/>
              <a:ext cx="192" cy="145"/>
            </a:xfrm>
            <a:prstGeom prst="ellipse">
              <a:avLst/>
            </a:prstGeom>
            <a:solidFill>
              <a:srgbClr val="FF6600"/>
            </a:solidFill>
            <a:ln w="9525">
              <a:solidFill>
                <a:schemeClr val="tx1"/>
              </a:solidFill>
              <a:round/>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lgn="ctr">
                <a:defRPr/>
              </a:pPr>
              <a:r>
                <a:rPr lang="en-US" sz="751">
                  <a:latin typeface="Arial" panose="020B0604020202020204" pitchFamily="34" charset="0"/>
                  <a:cs typeface="Arial" panose="020B0604020202020204" pitchFamily="34" charset="0"/>
                </a:rPr>
                <a:t>ER</a:t>
              </a:r>
            </a:p>
          </p:txBody>
        </p:sp>
        <p:sp>
          <p:nvSpPr>
            <p:cNvPr id="30806" name="Oval 57"/>
            <p:cNvSpPr>
              <a:spLocks noChangeArrowheads="1"/>
            </p:cNvSpPr>
            <p:nvPr/>
          </p:nvSpPr>
          <p:spPr bwMode="auto">
            <a:xfrm>
              <a:off x="2112" y="2544"/>
              <a:ext cx="96" cy="97"/>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lgn="ctr">
                <a:defRPr/>
              </a:pPr>
              <a:r>
                <a:rPr lang="en-US" sz="901">
                  <a:latin typeface="Arial" panose="020B0604020202020204" pitchFamily="34" charset="0"/>
                  <a:cs typeface="Arial" panose="020B0604020202020204" pitchFamily="34" charset="0"/>
                </a:rPr>
                <a:t>P</a:t>
              </a:r>
            </a:p>
          </p:txBody>
        </p:sp>
        <p:sp>
          <p:nvSpPr>
            <p:cNvPr id="30807" name="Oval 58"/>
            <p:cNvSpPr>
              <a:spLocks noChangeArrowheads="1"/>
            </p:cNvSpPr>
            <p:nvPr/>
          </p:nvSpPr>
          <p:spPr bwMode="auto">
            <a:xfrm>
              <a:off x="2160" y="2496"/>
              <a:ext cx="96" cy="96"/>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lgn="ctr">
                <a:defRPr/>
              </a:pPr>
              <a:r>
                <a:rPr lang="en-US" sz="901">
                  <a:latin typeface="Arial" panose="020B0604020202020204" pitchFamily="34" charset="0"/>
                  <a:cs typeface="Arial" panose="020B0604020202020204" pitchFamily="34" charset="0"/>
                </a:rPr>
                <a:t>P</a:t>
              </a:r>
            </a:p>
          </p:txBody>
        </p:sp>
        <p:sp>
          <p:nvSpPr>
            <p:cNvPr id="30808" name="Oval 59"/>
            <p:cNvSpPr>
              <a:spLocks noChangeArrowheads="1"/>
            </p:cNvSpPr>
            <p:nvPr/>
          </p:nvSpPr>
          <p:spPr bwMode="auto">
            <a:xfrm>
              <a:off x="2256" y="2544"/>
              <a:ext cx="96" cy="97"/>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lgn="ctr">
                <a:defRPr/>
              </a:pPr>
              <a:r>
                <a:rPr lang="en-US" sz="901">
                  <a:latin typeface="Arial" panose="020B0604020202020204" pitchFamily="34" charset="0"/>
                  <a:cs typeface="Arial" panose="020B0604020202020204" pitchFamily="34" charset="0"/>
                </a:rPr>
                <a:t>P</a:t>
              </a:r>
            </a:p>
          </p:txBody>
        </p:sp>
        <p:grpSp>
          <p:nvGrpSpPr>
            <p:cNvPr id="27736" name="Group 60"/>
            <p:cNvGrpSpPr>
              <a:grpSpLocks/>
            </p:cNvGrpSpPr>
            <p:nvPr/>
          </p:nvGrpSpPr>
          <p:grpSpPr bwMode="auto">
            <a:xfrm>
              <a:off x="3456" y="2736"/>
              <a:ext cx="528" cy="48"/>
              <a:chOff x="3648" y="3936"/>
              <a:chExt cx="528" cy="48"/>
            </a:xfrm>
          </p:grpSpPr>
          <p:sp>
            <p:nvSpPr>
              <p:cNvPr id="30812" name="AutoShape 61"/>
              <p:cNvSpPr>
                <a:spLocks noChangeArrowheads="1"/>
              </p:cNvSpPr>
              <p:nvPr/>
            </p:nvSpPr>
            <p:spPr bwMode="auto">
              <a:xfrm>
                <a:off x="3648" y="3936"/>
                <a:ext cx="144" cy="48"/>
              </a:xfrm>
              <a:prstGeom prst="triangle">
                <a:avLst>
                  <a:gd name="adj" fmla="val 50000"/>
                </a:avLst>
              </a:prstGeom>
              <a:solidFill>
                <a:srgbClr val="008000"/>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802">
                  <a:latin typeface="Arial" panose="020B0604020202020204" pitchFamily="34" charset="0"/>
                  <a:cs typeface="Arial" panose="020B0604020202020204" pitchFamily="34" charset="0"/>
                </a:endParaRPr>
              </a:p>
            </p:txBody>
          </p:sp>
          <p:sp>
            <p:nvSpPr>
              <p:cNvPr id="30813" name="AutoShape 62"/>
              <p:cNvSpPr>
                <a:spLocks noChangeArrowheads="1"/>
              </p:cNvSpPr>
              <p:nvPr/>
            </p:nvSpPr>
            <p:spPr bwMode="auto">
              <a:xfrm>
                <a:off x="3744" y="3936"/>
                <a:ext cx="144" cy="48"/>
              </a:xfrm>
              <a:prstGeom prst="triangle">
                <a:avLst>
                  <a:gd name="adj" fmla="val 50000"/>
                </a:avLst>
              </a:prstGeom>
              <a:solidFill>
                <a:srgbClr val="008000"/>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802">
                  <a:latin typeface="Arial" panose="020B0604020202020204" pitchFamily="34" charset="0"/>
                  <a:cs typeface="Arial" panose="020B0604020202020204" pitchFamily="34" charset="0"/>
                </a:endParaRPr>
              </a:p>
            </p:txBody>
          </p:sp>
          <p:sp>
            <p:nvSpPr>
              <p:cNvPr id="30814" name="AutoShape 63"/>
              <p:cNvSpPr>
                <a:spLocks noChangeArrowheads="1"/>
              </p:cNvSpPr>
              <p:nvPr/>
            </p:nvSpPr>
            <p:spPr bwMode="auto">
              <a:xfrm>
                <a:off x="3840" y="3936"/>
                <a:ext cx="144" cy="48"/>
              </a:xfrm>
              <a:prstGeom prst="triangle">
                <a:avLst>
                  <a:gd name="adj" fmla="val 50000"/>
                </a:avLst>
              </a:prstGeom>
              <a:solidFill>
                <a:srgbClr val="008000"/>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802">
                  <a:latin typeface="Arial" panose="020B0604020202020204" pitchFamily="34" charset="0"/>
                  <a:cs typeface="Arial" panose="020B0604020202020204" pitchFamily="34" charset="0"/>
                </a:endParaRPr>
              </a:p>
            </p:txBody>
          </p:sp>
          <p:sp>
            <p:nvSpPr>
              <p:cNvPr id="30815" name="AutoShape 64"/>
              <p:cNvSpPr>
                <a:spLocks noChangeArrowheads="1"/>
              </p:cNvSpPr>
              <p:nvPr/>
            </p:nvSpPr>
            <p:spPr bwMode="auto">
              <a:xfrm>
                <a:off x="3936" y="3936"/>
                <a:ext cx="144" cy="48"/>
              </a:xfrm>
              <a:prstGeom prst="triangle">
                <a:avLst>
                  <a:gd name="adj" fmla="val 50000"/>
                </a:avLst>
              </a:prstGeom>
              <a:solidFill>
                <a:srgbClr val="008000"/>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802">
                  <a:latin typeface="Arial" panose="020B0604020202020204" pitchFamily="34" charset="0"/>
                  <a:cs typeface="Arial" panose="020B0604020202020204" pitchFamily="34" charset="0"/>
                </a:endParaRPr>
              </a:p>
            </p:txBody>
          </p:sp>
          <p:sp>
            <p:nvSpPr>
              <p:cNvPr id="30816" name="AutoShape 65"/>
              <p:cNvSpPr>
                <a:spLocks noChangeArrowheads="1"/>
              </p:cNvSpPr>
              <p:nvPr/>
            </p:nvSpPr>
            <p:spPr bwMode="auto">
              <a:xfrm>
                <a:off x="4032" y="3936"/>
                <a:ext cx="144" cy="48"/>
              </a:xfrm>
              <a:prstGeom prst="triangle">
                <a:avLst>
                  <a:gd name="adj" fmla="val 50000"/>
                </a:avLst>
              </a:prstGeom>
              <a:solidFill>
                <a:srgbClr val="008000"/>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802">
                  <a:latin typeface="Arial" panose="020B0604020202020204" pitchFamily="34" charset="0"/>
                  <a:cs typeface="Arial" panose="020B0604020202020204" pitchFamily="34" charset="0"/>
                </a:endParaRPr>
              </a:p>
            </p:txBody>
          </p:sp>
        </p:grpSp>
        <p:sp>
          <p:nvSpPr>
            <p:cNvPr id="30810" name="Line 66"/>
            <p:cNvSpPr>
              <a:spLocks noChangeShapeType="1"/>
            </p:cNvSpPr>
            <p:nvPr/>
          </p:nvSpPr>
          <p:spPr bwMode="auto">
            <a:xfrm flipV="1">
              <a:off x="3552" y="2592"/>
              <a:ext cx="0" cy="145"/>
            </a:xfrm>
            <a:prstGeom prst="line">
              <a:avLst/>
            </a:prstGeom>
            <a:noFill/>
            <a:ln w="381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802">
                <a:latin typeface="Arial" panose="020B0604020202020204" pitchFamily="34" charset="0"/>
                <a:cs typeface="Arial" panose="020B0604020202020204" pitchFamily="34" charset="0"/>
              </a:endParaRPr>
            </a:p>
          </p:txBody>
        </p:sp>
        <p:sp>
          <p:nvSpPr>
            <p:cNvPr id="30811" name="Line 67"/>
            <p:cNvSpPr>
              <a:spLocks noChangeShapeType="1"/>
            </p:cNvSpPr>
            <p:nvPr/>
          </p:nvSpPr>
          <p:spPr bwMode="auto">
            <a:xfrm>
              <a:off x="3552" y="2592"/>
              <a:ext cx="144" cy="0"/>
            </a:xfrm>
            <a:prstGeom prst="line">
              <a:avLst/>
            </a:prstGeom>
            <a:noFill/>
            <a:ln w="381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802">
                <a:latin typeface="Arial" panose="020B0604020202020204" pitchFamily="34" charset="0"/>
                <a:cs typeface="Arial" panose="020B0604020202020204" pitchFamily="34" charset="0"/>
              </a:endParaRPr>
            </a:p>
          </p:txBody>
        </p:sp>
      </p:grpSp>
      <p:sp>
        <p:nvSpPr>
          <p:cNvPr id="30748" name="Rectangle 68"/>
          <p:cNvSpPr>
            <a:spLocks noChangeArrowheads="1"/>
          </p:cNvSpPr>
          <p:nvPr/>
        </p:nvSpPr>
        <p:spPr bwMode="auto">
          <a:xfrm>
            <a:off x="3269444" y="3545389"/>
            <a:ext cx="363476" cy="162075"/>
          </a:xfrm>
          <a:prstGeom prst="rect">
            <a:avLst/>
          </a:prstGeom>
          <a:solidFill>
            <a:srgbClr val="CC99FF"/>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lgn="ctr">
              <a:defRPr/>
            </a:pPr>
            <a:r>
              <a:rPr lang="en-US" sz="1051">
                <a:latin typeface="Arial" panose="020B0604020202020204" pitchFamily="34" charset="0"/>
                <a:cs typeface="Arial" panose="020B0604020202020204" pitchFamily="34" charset="0"/>
              </a:rPr>
              <a:t>ERE</a:t>
            </a:r>
          </a:p>
        </p:txBody>
      </p:sp>
      <p:sp>
        <p:nvSpPr>
          <p:cNvPr id="30749" name="Oval 69"/>
          <p:cNvSpPr>
            <a:spLocks noChangeArrowheads="1"/>
          </p:cNvSpPr>
          <p:nvPr/>
        </p:nvSpPr>
        <p:spPr bwMode="auto">
          <a:xfrm>
            <a:off x="3133586" y="743639"/>
            <a:ext cx="182334" cy="107255"/>
          </a:xfrm>
          <a:prstGeom prst="ellipse">
            <a:avLst/>
          </a:prstGeom>
          <a:noFill/>
          <a:ln w="2857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802">
              <a:latin typeface="Arial" panose="020B0604020202020204" pitchFamily="34" charset="0"/>
              <a:cs typeface="Arial" panose="020B0604020202020204" pitchFamily="34" charset="0"/>
            </a:endParaRPr>
          </a:p>
        </p:txBody>
      </p:sp>
      <p:sp>
        <p:nvSpPr>
          <p:cNvPr id="30750" name="Line 70"/>
          <p:cNvSpPr>
            <a:spLocks noChangeShapeType="1"/>
          </p:cNvSpPr>
          <p:nvPr/>
        </p:nvSpPr>
        <p:spPr bwMode="auto">
          <a:xfrm>
            <a:off x="2544873" y="3006728"/>
            <a:ext cx="407571" cy="162075"/>
          </a:xfrm>
          <a:prstGeom prst="line">
            <a:avLst/>
          </a:prstGeom>
          <a:noFill/>
          <a:ln w="76200">
            <a:solidFill>
              <a:srgbClr val="FF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802">
              <a:latin typeface="Arial" panose="020B0604020202020204" pitchFamily="34" charset="0"/>
              <a:cs typeface="Arial" panose="020B0604020202020204" pitchFamily="34" charset="0"/>
            </a:endParaRPr>
          </a:p>
        </p:txBody>
      </p:sp>
      <p:sp>
        <p:nvSpPr>
          <p:cNvPr id="30751" name="Line 71"/>
          <p:cNvSpPr>
            <a:spLocks noChangeShapeType="1"/>
          </p:cNvSpPr>
          <p:nvPr/>
        </p:nvSpPr>
        <p:spPr bwMode="auto">
          <a:xfrm flipV="1">
            <a:off x="2499587" y="1444375"/>
            <a:ext cx="679285" cy="1346652"/>
          </a:xfrm>
          <a:prstGeom prst="line">
            <a:avLst/>
          </a:prstGeom>
          <a:noFill/>
          <a:ln w="28575">
            <a:solidFill>
              <a:srgbClr val="FF7C8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802">
              <a:latin typeface="Arial" panose="020B0604020202020204" pitchFamily="34" charset="0"/>
              <a:cs typeface="Arial" panose="020B0604020202020204" pitchFamily="34" charset="0"/>
            </a:endParaRPr>
          </a:p>
        </p:txBody>
      </p:sp>
      <p:sp>
        <p:nvSpPr>
          <p:cNvPr id="30752" name="Line 72"/>
          <p:cNvSpPr>
            <a:spLocks noChangeShapeType="1"/>
          </p:cNvSpPr>
          <p:nvPr/>
        </p:nvSpPr>
        <p:spPr bwMode="auto">
          <a:xfrm flipV="1">
            <a:off x="3088301" y="1444374"/>
            <a:ext cx="1178618" cy="160884"/>
          </a:xfrm>
          <a:prstGeom prst="line">
            <a:avLst/>
          </a:prstGeom>
          <a:noFill/>
          <a:ln w="38100">
            <a:solidFill>
              <a:srgbClr val="FF7C8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802">
              <a:latin typeface="Arial" panose="020B0604020202020204" pitchFamily="34" charset="0"/>
              <a:cs typeface="Arial" panose="020B0604020202020204" pitchFamily="34" charset="0"/>
            </a:endParaRPr>
          </a:p>
        </p:txBody>
      </p:sp>
      <p:sp>
        <p:nvSpPr>
          <p:cNvPr id="30753" name="Line 73"/>
          <p:cNvSpPr>
            <a:spLocks noChangeShapeType="1"/>
          </p:cNvSpPr>
          <p:nvPr/>
        </p:nvSpPr>
        <p:spPr bwMode="auto">
          <a:xfrm flipH="1">
            <a:off x="3859347" y="1605257"/>
            <a:ext cx="543428" cy="162075"/>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802">
              <a:latin typeface="Arial" panose="020B0604020202020204" pitchFamily="34" charset="0"/>
              <a:cs typeface="Arial" panose="020B0604020202020204" pitchFamily="34" charset="0"/>
            </a:endParaRPr>
          </a:p>
        </p:txBody>
      </p:sp>
      <p:sp>
        <p:nvSpPr>
          <p:cNvPr id="30754" name="Line 74"/>
          <p:cNvSpPr>
            <a:spLocks noChangeShapeType="1"/>
          </p:cNvSpPr>
          <p:nvPr/>
        </p:nvSpPr>
        <p:spPr bwMode="auto">
          <a:xfrm flipH="1">
            <a:off x="3361205" y="1875779"/>
            <a:ext cx="90571" cy="214511"/>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802">
              <a:latin typeface="Arial" panose="020B0604020202020204" pitchFamily="34" charset="0"/>
              <a:cs typeface="Arial" panose="020B0604020202020204" pitchFamily="34" charset="0"/>
            </a:endParaRPr>
          </a:p>
        </p:txBody>
      </p:sp>
      <p:sp>
        <p:nvSpPr>
          <p:cNvPr id="30755" name="Line 75"/>
          <p:cNvSpPr>
            <a:spLocks noChangeShapeType="1"/>
          </p:cNvSpPr>
          <p:nvPr/>
        </p:nvSpPr>
        <p:spPr bwMode="auto">
          <a:xfrm flipH="1">
            <a:off x="4900918" y="1875779"/>
            <a:ext cx="45286" cy="214511"/>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802">
              <a:latin typeface="Arial" panose="020B0604020202020204" pitchFamily="34" charset="0"/>
              <a:cs typeface="Arial" panose="020B0604020202020204" pitchFamily="34" charset="0"/>
            </a:endParaRPr>
          </a:p>
        </p:txBody>
      </p:sp>
      <p:sp>
        <p:nvSpPr>
          <p:cNvPr id="30756" name="Line 76"/>
          <p:cNvSpPr>
            <a:spLocks noChangeShapeType="1"/>
          </p:cNvSpPr>
          <p:nvPr/>
        </p:nvSpPr>
        <p:spPr bwMode="auto">
          <a:xfrm flipH="1">
            <a:off x="4629204" y="2252366"/>
            <a:ext cx="226428" cy="108448"/>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802">
              <a:latin typeface="Arial" panose="020B0604020202020204" pitchFamily="34" charset="0"/>
              <a:cs typeface="Arial" panose="020B0604020202020204" pitchFamily="34" charset="0"/>
            </a:endParaRPr>
          </a:p>
        </p:txBody>
      </p:sp>
      <p:sp>
        <p:nvSpPr>
          <p:cNvPr id="30757" name="Line 77"/>
          <p:cNvSpPr>
            <a:spLocks noChangeShapeType="1"/>
          </p:cNvSpPr>
          <p:nvPr/>
        </p:nvSpPr>
        <p:spPr bwMode="auto">
          <a:xfrm>
            <a:off x="3315920" y="2360813"/>
            <a:ext cx="45286" cy="807991"/>
          </a:xfrm>
          <a:prstGeom prst="line">
            <a:avLst/>
          </a:prstGeom>
          <a:noFill/>
          <a:ln w="38100">
            <a:solidFill>
              <a:srgbClr val="FF7C8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802">
              <a:latin typeface="Arial" panose="020B0604020202020204" pitchFamily="34" charset="0"/>
              <a:cs typeface="Arial" panose="020B0604020202020204" pitchFamily="34" charset="0"/>
            </a:endParaRPr>
          </a:p>
        </p:txBody>
      </p:sp>
      <p:sp>
        <p:nvSpPr>
          <p:cNvPr id="30758" name="Line 78"/>
          <p:cNvSpPr>
            <a:spLocks noChangeShapeType="1"/>
          </p:cNvSpPr>
          <p:nvPr/>
        </p:nvSpPr>
        <p:spPr bwMode="auto">
          <a:xfrm flipH="1">
            <a:off x="3451777" y="2575324"/>
            <a:ext cx="498142" cy="539852"/>
          </a:xfrm>
          <a:prstGeom prst="line">
            <a:avLst/>
          </a:prstGeom>
          <a:noFill/>
          <a:ln w="38100">
            <a:solidFill>
              <a:srgbClr val="FF7C8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802">
              <a:latin typeface="Arial" panose="020B0604020202020204" pitchFamily="34" charset="0"/>
              <a:cs typeface="Arial" panose="020B0604020202020204" pitchFamily="34" charset="0"/>
            </a:endParaRPr>
          </a:p>
        </p:txBody>
      </p:sp>
      <p:sp>
        <p:nvSpPr>
          <p:cNvPr id="30759" name="Line 79"/>
          <p:cNvSpPr>
            <a:spLocks noChangeShapeType="1"/>
          </p:cNvSpPr>
          <p:nvPr/>
        </p:nvSpPr>
        <p:spPr bwMode="auto">
          <a:xfrm flipH="1">
            <a:off x="3587634" y="2575324"/>
            <a:ext cx="1041570" cy="539852"/>
          </a:xfrm>
          <a:prstGeom prst="line">
            <a:avLst/>
          </a:prstGeom>
          <a:noFill/>
          <a:ln w="38100">
            <a:solidFill>
              <a:srgbClr val="FF7C8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802">
              <a:latin typeface="Arial" panose="020B0604020202020204" pitchFamily="34" charset="0"/>
              <a:cs typeface="Arial" panose="020B0604020202020204" pitchFamily="34" charset="0"/>
            </a:endParaRPr>
          </a:p>
        </p:txBody>
      </p:sp>
      <p:sp>
        <p:nvSpPr>
          <p:cNvPr id="30760" name="Line 80"/>
          <p:cNvSpPr>
            <a:spLocks noChangeShapeType="1"/>
          </p:cNvSpPr>
          <p:nvPr/>
        </p:nvSpPr>
        <p:spPr bwMode="auto">
          <a:xfrm>
            <a:off x="4855631" y="2575323"/>
            <a:ext cx="724570" cy="862811"/>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802">
              <a:latin typeface="Arial" panose="020B0604020202020204" pitchFamily="34" charset="0"/>
              <a:cs typeface="Arial" panose="020B0604020202020204" pitchFamily="34" charset="0"/>
            </a:endParaRPr>
          </a:p>
        </p:txBody>
      </p:sp>
      <p:sp>
        <p:nvSpPr>
          <p:cNvPr id="30761" name="Text Box 81"/>
          <p:cNvSpPr txBox="1">
            <a:spLocks noChangeArrowheads="1"/>
          </p:cNvSpPr>
          <p:nvPr/>
        </p:nvSpPr>
        <p:spPr bwMode="auto">
          <a:xfrm>
            <a:off x="5302175" y="3508446"/>
            <a:ext cx="679994" cy="4619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lvl1pPr eaLnBrk="0" hangingPunct="0">
              <a:defRPr sz="2400">
                <a:solidFill>
                  <a:schemeClr val="tx1"/>
                </a:solidFill>
                <a:latin typeface="Arial" charset="0"/>
                <a:ea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defRPr/>
            </a:pPr>
            <a:r>
              <a:rPr lang="en-US" sz="1201">
                <a:latin typeface="Arial" panose="020B0604020202020204" pitchFamily="34" charset="0"/>
                <a:cs typeface="Arial" panose="020B0604020202020204" pitchFamily="34" charset="0"/>
              </a:rPr>
              <a:t>Cell</a:t>
            </a:r>
          </a:p>
          <a:p>
            <a:pPr algn="ctr" eaLnBrk="1" hangingPunct="1">
              <a:defRPr/>
            </a:pPr>
            <a:r>
              <a:rPr lang="en-US" sz="1201">
                <a:latin typeface="Arial" panose="020B0604020202020204" pitchFamily="34" charset="0"/>
                <a:cs typeface="Arial" panose="020B0604020202020204" pitchFamily="34" charset="0"/>
              </a:rPr>
              <a:t>Growth</a:t>
            </a:r>
          </a:p>
        </p:txBody>
      </p:sp>
      <p:sp>
        <p:nvSpPr>
          <p:cNvPr id="30762" name="Text Box 82"/>
          <p:cNvSpPr txBox="1">
            <a:spLocks noChangeArrowheads="1"/>
          </p:cNvSpPr>
          <p:nvPr/>
        </p:nvSpPr>
        <p:spPr bwMode="auto">
          <a:xfrm>
            <a:off x="1559529" y="3883140"/>
            <a:ext cx="830677" cy="4157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lvl1pPr eaLnBrk="0" hangingPunct="0">
              <a:defRPr sz="2400">
                <a:solidFill>
                  <a:schemeClr val="tx1"/>
                </a:solidFill>
                <a:latin typeface="Arial" charset="0"/>
                <a:ea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defRPr/>
            </a:pPr>
            <a:r>
              <a:rPr lang="en-US" sz="1051" dirty="0">
                <a:latin typeface="Arial" panose="020B0604020202020204" pitchFamily="34" charset="0"/>
                <a:cs typeface="Arial" panose="020B0604020202020204" pitchFamily="34" charset="0"/>
              </a:rPr>
              <a:t>Plasma</a:t>
            </a:r>
          </a:p>
          <a:p>
            <a:pPr eaLnBrk="1" hangingPunct="1">
              <a:defRPr/>
            </a:pPr>
            <a:r>
              <a:rPr lang="en-US" sz="1051" dirty="0">
                <a:latin typeface="Arial" panose="020B0604020202020204" pitchFamily="34" charset="0"/>
                <a:cs typeface="Arial" panose="020B0604020202020204" pitchFamily="34" charset="0"/>
              </a:rPr>
              <a:t>Membrane</a:t>
            </a:r>
          </a:p>
        </p:txBody>
      </p:sp>
      <p:sp>
        <p:nvSpPr>
          <p:cNvPr id="30763" name="Text Box 83"/>
          <p:cNvSpPr txBox="1">
            <a:spLocks noChangeArrowheads="1"/>
          </p:cNvSpPr>
          <p:nvPr/>
        </p:nvSpPr>
        <p:spPr bwMode="auto">
          <a:xfrm>
            <a:off x="1996116" y="3293935"/>
            <a:ext cx="822661" cy="2540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lvl1pPr eaLnBrk="0" hangingPunct="0">
              <a:defRPr sz="2400">
                <a:solidFill>
                  <a:schemeClr val="tx1"/>
                </a:solidFill>
                <a:latin typeface="Arial" charset="0"/>
                <a:ea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defRPr/>
            </a:pPr>
            <a:r>
              <a:rPr lang="en-US" sz="1051">
                <a:latin typeface="Arial" panose="020B0604020202020204" pitchFamily="34" charset="0"/>
                <a:cs typeface="Arial" panose="020B0604020202020204" pitchFamily="34" charset="0"/>
              </a:rPr>
              <a:t>Cytoplasm</a:t>
            </a:r>
          </a:p>
        </p:txBody>
      </p:sp>
      <p:sp>
        <p:nvSpPr>
          <p:cNvPr id="30764" name="Text Box 84"/>
          <p:cNvSpPr txBox="1">
            <a:spLocks noChangeArrowheads="1"/>
          </p:cNvSpPr>
          <p:nvPr/>
        </p:nvSpPr>
        <p:spPr bwMode="auto">
          <a:xfrm>
            <a:off x="3632920" y="3778968"/>
            <a:ext cx="673582" cy="2540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lvl1pPr eaLnBrk="0" hangingPunct="0">
              <a:defRPr sz="2400">
                <a:solidFill>
                  <a:schemeClr val="tx1"/>
                </a:solidFill>
                <a:latin typeface="Arial" charset="0"/>
                <a:ea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defRPr/>
            </a:pPr>
            <a:r>
              <a:rPr lang="en-US" sz="1051">
                <a:latin typeface="Arial" panose="020B0604020202020204" pitchFamily="34" charset="0"/>
                <a:cs typeface="Arial" panose="020B0604020202020204" pitchFamily="34" charset="0"/>
              </a:rPr>
              <a:t>Nucleus</a:t>
            </a:r>
          </a:p>
        </p:txBody>
      </p:sp>
      <p:sp>
        <p:nvSpPr>
          <p:cNvPr id="30765" name="Oval 85"/>
          <p:cNvSpPr>
            <a:spLocks noChangeArrowheads="1"/>
          </p:cNvSpPr>
          <p:nvPr/>
        </p:nvSpPr>
        <p:spPr bwMode="auto">
          <a:xfrm>
            <a:off x="2182588" y="3006728"/>
            <a:ext cx="135857" cy="162075"/>
          </a:xfrm>
          <a:prstGeom prst="ellipse">
            <a:avLst/>
          </a:prstGeom>
          <a:solidFill>
            <a:srgbClr val="FFFF00"/>
          </a:solidFill>
          <a:ln w="9525">
            <a:solidFill>
              <a:schemeClr val="tx1"/>
            </a:solidFill>
            <a:round/>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lgn="ctr">
              <a:defRPr/>
            </a:pPr>
            <a:r>
              <a:rPr lang="en-US" sz="676">
                <a:latin typeface="Arial" panose="020B0604020202020204" pitchFamily="34" charset="0"/>
                <a:cs typeface="Arial" panose="020B0604020202020204" pitchFamily="34" charset="0"/>
              </a:rPr>
              <a:t>E2</a:t>
            </a:r>
          </a:p>
        </p:txBody>
      </p:sp>
      <p:grpSp>
        <p:nvGrpSpPr>
          <p:cNvPr id="27693" name="Group 86"/>
          <p:cNvGrpSpPr>
            <a:grpSpLocks/>
          </p:cNvGrpSpPr>
          <p:nvPr/>
        </p:nvGrpSpPr>
        <p:grpSpPr bwMode="auto">
          <a:xfrm>
            <a:off x="1593875" y="2575324"/>
            <a:ext cx="860427" cy="539852"/>
            <a:chOff x="432" y="2256"/>
            <a:chExt cx="912" cy="480"/>
          </a:xfrm>
        </p:grpSpPr>
        <p:sp>
          <p:nvSpPr>
            <p:cNvPr id="30793" name="AutoShape 87"/>
            <p:cNvSpPr>
              <a:spLocks noChangeArrowheads="1"/>
            </p:cNvSpPr>
            <p:nvPr/>
          </p:nvSpPr>
          <p:spPr bwMode="auto">
            <a:xfrm>
              <a:off x="816" y="2256"/>
              <a:ext cx="528" cy="241"/>
            </a:xfrm>
            <a:prstGeom prst="irregularSeal1">
              <a:avLst/>
            </a:prstGeom>
            <a:solidFill>
              <a:srgbClr val="00FF00"/>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lgn="ctr">
                <a:defRPr/>
              </a:pPr>
              <a:r>
                <a:rPr lang="en-US" sz="901">
                  <a:latin typeface="Arial" panose="020B0604020202020204" pitchFamily="34" charset="0"/>
                  <a:cs typeface="Arial" panose="020B0604020202020204" pitchFamily="34" charset="0"/>
                </a:rPr>
                <a:t>SERD</a:t>
              </a:r>
            </a:p>
          </p:txBody>
        </p:sp>
        <p:sp>
          <p:nvSpPr>
            <p:cNvPr id="30794" name="AutoShape 88"/>
            <p:cNvSpPr>
              <a:spLocks noChangeArrowheads="1"/>
            </p:cNvSpPr>
            <p:nvPr/>
          </p:nvSpPr>
          <p:spPr bwMode="auto">
            <a:xfrm>
              <a:off x="432" y="2497"/>
              <a:ext cx="384" cy="239"/>
            </a:xfrm>
            <a:prstGeom prst="irregularSeal1">
              <a:avLst/>
            </a:prstGeom>
            <a:solidFill>
              <a:srgbClr val="993300"/>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lgn="ctr">
                <a:defRPr/>
              </a:pPr>
              <a:r>
                <a:rPr lang="en-US" sz="901">
                  <a:latin typeface="Arial" panose="020B0604020202020204" pitchFamily="34" charset="0"/>
                  <a:cs typeface="Arial" panose="020B0604020202020204" pitchFamily="34" charset="0"/>
                </a:rPr>
                <a:t>AI</a:t>
              </a:r>
            </a:p>
          </p:txBody>
        </p:sp>
        <p:sp>
          <p:nvSpPr>
            <p:cNvPr id="30795" name="Oval 89"/>
            <p:cNvSpPr>
              <a:spLocks noChangeArrowheads="1"/>
            </p:cNvSpPr>
            <p:nvPr/>
          </p:nvSpPr>
          <p:spPr bwMode="auto">
            <a:xfrm>
              <a:off x="912" y="2497"/>
              <a:ext cx="144" cy="143"/>
            </a:xfrm>
            <a:prstGeom prst="ellipse">
              <a:avLst/>
            </a:prstGeom>
            <a:solidFill>
              <a:srgbClr val="00FFFF"/>
            </a:solidFill>
            <a:ln w="9525">
              <a:solidFill>
                <a:schemeClr val="tx1"/>
              </a:solidFill>
              <a:round/>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lgn="ctr">
                <a:defRPr/>
              </a:pPr>
              <a:r>
                <a:rPr lang="en-US" sz="676">
                  <a:latin typeface="Arial" panose="020B0604020202020204" pitchFamily="34" charset="0"/>
                  <a:cs typeface="Arial" panose="020B0604020202020204" pitchFamily="34" charset="0"/>
                </a:rPr>
                <a:t>T</a:t>
              </a:r>
            </a:p>
          </p:txBody>
        </p:sp>
      </p:grpSp>
      <p:sp>
        <p:nvSpPr>
          <p:cNvPr id="30767" name="Text Box 90"/>
          <p:cNvSpPr txBox="1">
            <a:spLocks noChangeArrowheads="1"/>
          </p:cNvSpPr>
          <p:nvPr/>
        </p:nvSpPr>
        <p:spPr bwMode="auto">
          <a:xfrm>
            <a:off x="3352222" y="761514"/>
            <a:ext cx="580608" cy="2540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lvl1pPr eaLnBrk="0" hangingPunct="0">
              <a:defRPr sz="2400">
                <a:solidFill>
                  <a:schemeClr val="tx1"/>
                </a:solidFill>
                <a:latin typeface="Arial" charset="0"/>
                <a:ea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defRPr/>
            </a:pPr>
            <a:r>
              <a:rPr lang="en-US" sz="1051">
                <a:latin typeface="Arial" panose="020B0604020202020204" pitchFamily="34" charset="0"/>
                <a:cs typeface="Arial" panose="020B0604020202020204" pitchFamily="34" charset="0"/>
              </a:rPr>
              <a:t>IGF1R</a:t>
            </a:r>
          </a:p>
        </p:txBody>
      </p:sp>
      <p:sp>
        <p:nvSpPr>
          <p:cNvPr id="30768" name="Text Box 91"/>
          <p:cNvSpPr txBox="1">
            <a:spLocks noChangeArrowheads="1"/>
          </p:cNvSpPr>
          <p:nvPr/>
        </p:nvSpPr>
        <p:spPr bwMode="auto">
          <a:xfrm>
            <a:off x="4161350" y="869961"/>
            <a:ext cx="955711" cy="2540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lvl1pPr eaLnBrk="0" hangingPunct="0">
              <a:defRPr sz="2400">
                <a:solidFill>
                  <a:schemeClr val="tx1"/>
                </a:solidFill>
                <a:latin typeface="Arial" charset="0"/>
                <a:ea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defRPr/>
            </a:pPr>
            <a:r>
              <a:rPr lang="en-US" sz="1051">
                <a:latin typeface="Arial" panose="020B0604020202020204" pitchFamily="34" charset="0"/>
                <a:cs typeface="Arial" panose="020B0604020202020204" pitchFamily="34" charset="0"/>
              </a:rPr>
              <a:t>EGFR/HER2</a:t>
            </a:r>
          </a:p>
        </p:txBody>
      </p:sp>
      <p:sp>
        <p:nvSpPr>
          <p:cNvPr id="30788" name="Text Box 93"/>
          <p:cNvSpPr txBox="1">
            <a:spLocks noChangeArrowheads="1"/>
          </p:cNvSpPr>
          <p:nvPr/>
        </p:nvSpPr>
        <p:spPr bwMode="auto">
          <a:xfrm>
            <a:off x="5926940" y="2974552"/>
            <a:ext cx="2593980" cy="5542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lvl1pPr eaLnBrk="0" hangingPunct="0">
              <a:defRPr sz="2400">
                <a:solidFill>
                  <a:schemeClr val="tx1"/>
                </a:solidFill>
                <a:latin typeface="Arial" charset="0"/>
                <a:ea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defRPr/>
            </a:pPr>
            <a:r>
              <a:rPr lang="en-US" sz="1501" dirty="0">
                <a:latin typeface="Arial" panose="020B0604020202020204" pitchFamily="34" charset="0"/>
                <a:cs typeface="Arial" panose="020B0604020202020204" pitchFamily="34" charset="0"/>
              </a:rPr>
              <a:t>Increased signaling</a:t>
            </a:r>
          </a:p>
          <a:p>
            <a:pPr eaLnBrk="1" hangingPunct="1">
              <a:defRPr/>
            </a:pPr>
            <a:r>
              <a:rPr lang="en-US" sz="1501" dirty="0">
                <a:latin typeface="Arial" panose="020B0604020202020204" pitchFamily="34" charset="0"/>
                <a:cs typeface="Arial" panose="020B0604020202020204" pitchFamily="34" charset="0"/>
              </a:rPr>
              <a:t>through PI3 Kinase pathway</a:t>
            </a:r>
          </a:p>
        </p:txBody>
      </p:sp>
      <p:cxnSp>
        <p:nvCxnSpPr>
          <p:cNvPr id="30789" name="AutoShape 94"/>
          <p:cNvCxnSpPr>
            <a:cxnSpLocks noChangeShapeType="1"/>
            <a:stCxn id="30788" idx="0"/>
          </p:cNvCxnSpPr>
          <p:nvPr/>
        </p:nvCxnSpPr>
        <p:spPr bwMode="auto">
          <a:xfrm rot="16200000" flipV="1">
            <a:off x="5243806" y="994428"/>
            <a:ext cx="526743" cy="3433506"/>
          </a:xfrm>
          <a:prstGeom prst="curvedConnector2">
            <a:avLst/>
          </a:prstGeom>
          <a:noFill/>
          <a:ln w="9525">
            <a:solidFill>
              <a:srgbClr val="FF0000"/>
            </a:solidFill>
            <a:prstDash val="lgDash"/>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nvGrpSpPr>
          <p:cNvPr id="27717" name="Group 95"/>
          <p:cNvGrpSpPr>
            <a:grpSpLocks/>
          </p:cNvGrpSpPr>
          <p:nvPr/>
        </p:nvGrpSpPr>
        <p:grpSpPr bwMode="auto">
          <a:xfrm>
            <a:off x="3042012" y="2860145"/>
            <a:ext cx="687626" cy="287207"/>
            <a:chOff x="1407" y="1920"/>
            <a:chExt cx="577" cy="241"/>
          </a:xfrm>
        </p:grpSpPr>
        <p:sp>
          <p:nvSpPr>
            <p:cNvPr id="30791" name="AutoShape 96"/>
            <p:cNvSpPr>
              <a:spLocks noChangeArrowheads="1"/>
            </p:cNvSpPr>
            <p:nvPr/>
          </p:nvSpPr>
          <p:spPr bwMode="auto">
            <a:xfrm>
              <a:off x="1407" y="1935"/>
              <a:ext cx="304" cy="226"/>
            </a:xfrm>
            <a:prstGeom prst="irregularSeal1">
              <a:avLst/>
            </a:prstGeom>
            <a:solidFill>
              <a:srgbClr val="FF6600"/>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lgn="ctr">
                <a:defRPr/>
              </a:pPr>
              <a:r>
                <a:rPr lang="en-US" sz="901">
                  <a:latin typeface="Arial" panose="020B0604020202020204" pitchFamily="34" charset="0"/>
                  <a:cs typeface="Arial" panose="020B0604020202020204" pitchFamily="34" charset="0"/>
                </a:rPr>
                <a:t>CCI</a:t>
              </a:r>
            </a:p>
          </p:txBody>
        </p:sp>
        <p:sp>
          <p:nvSpPr>
            <p:cNvPr id="30792" name="AutoShape 97"/>
            <p:cNvSpPr>
              <a:spLocks noChangeArrowheads="1"/>
            </p:cNvSpPr>
            <p:nvPr/>
          </p:nvSpPr>
          <p:spPr bwMode="auto">
            <a:xfrm>
              <a:off x="1680" y="1920"/>
              <a:ext cx="304" cy="226"/>
            </a:xfrm>
            <a:prstGeom prst="irregularSeal1">
              <a:avLst/>
            </a:prstGeom>
            <a:solidFill>
              <a:srgbClr val="FF6600"/>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lgn="ctr">
                <a:defRPr/>
              </a:pPr>
              <a:r>
                <a:rPr lang="en-US" sz="901" dirty="0">
                  <a:latin typeface="Arial" panose="020B0604020202020204" pitchFamily="34" charset="0"/>
                  <a:cs typeface="Arial" panose="020B0604020202020204" pitchFamily="34" charset="0"/>
                </a:rPr>
                <a:t>RAD</a:t>
              </a:r>
            </a:p>
          </p:txBody>
        </p:sp>
      </p:grpSp>
      <p:sp>
        <p:nvSpPr>
          <p:cNvPr id="30770" name="AutoShape 98"/>
          <p:cNvSpPr>
            <a:spLocks noChangeArrowheads="1"/>
          </p:cNvSpPr>
          <p:nvPr/>
        </p:nvSpPr>
        <p:spPr bwMode="auto">
          <a:xfrm>
            <a:off x="4855632" y="1012968"/>
            <a:ext cx="498142" cy="377778"/>
          </a:xfrm>
          <a:prstGeom prst="irregularSeal2">
            <a:avLst/>
          </a:prstGeom>
          <a:solidFill>
            <a:srgbClr val="00FFFF"/>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lgn="ctr">
              <a:defRPr/>
            </a:pPr>
            <a:r>
              <a:rPr lang="en-US" sz="751">
                <a:latin typeface="Arial" panose="020B0604020202020204" pitchFamily="34" charset="0"/>
                <a:cs typeface="Arial" panose="020B0604020202020204" pitchFamily="34" charset="0"/>
              </a:rPr>
              <a:t>MoAb</a:t>
            </a:r>
          </a:p>
        </p:txBody>
      </p:sp>
      <p:sp>
        <p:nvSpPr>
          <p:cNvPr id="30771" name="AutoShape 99"/>
          <p:cNvSpPr>
            <a:spLocks noChangeArrowheads="1"/>
          </p:cNvSpPr>
          <p:nvPr/>
        </p:nvSpPr>
        <p:spPr bwMode="auto">
          <a:xfrm>
            <a:off x="4357489" y="1660078"/>
            <a:ext cx="362285" cy="269330"/>
          </a:xfrm>
          <a:prstGeom prst="irregularSeal1">
            <a:avLst/>
          </a:prstGeom>
          <a:solidFill>
            <a:srgbClr val="FF00FF"/>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lgn="ctr">
              <a:defRPr/>
            </a:pPr>
            <a:r>
              <a:rPr lang="en-US" sz="751">
                <a:latin typeface="Arial" panose="020B0604020202020204" pitchFamily="34" charset="0"/>
                <a:cs typeface="Arial" panose="020B0604020202020204" pitchFamily="34" charset="0"/>
              </a:rPr>
              <a:t>TKI</a:t>
            </a:r>
          </a:p>
        </p:txBody>
      </p:sp>
      <p:grpSp>
        <p:nvGrpSpPr>
          <p:cNvPr id="27699" name="Group 100"/>
          <p:cNvGrpSpPr>
            <a:grpSpLocks/>
          </p:cNvGrpSpPr>
          <p:nvPr/>
        </p:nvGrpSpPr>
        <p:grpSpPr bwMode="auto">
          <a:xfrm>
            <a:off x="3642453" y="761515"/>
            <a:ext cx="4448720" cy="881878"/>
            <a:chOff x="2100" y="639"/>
            <a:chExt cx="3733" cy="740"/>
          </a:xfrm>
        </p:grpSpPr>
        <p:sp>
          <p:nvSpPr>
            <p:cNvPr id="30785" name="Text Box 101"/>
            <p:cNvSpPr txBox="1">
              <a:spLocks noChangeArrowheads="1"/>
            </p:cNvSpPr>
            <p:nvPr/>
          </p:nvSpPr>
          <p:spPr bwMode="auto">
            <a:xfrm>
              <a:off x="4026" y="720"/>
              <a:ext cx="1807" cy="6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lvl1pPr eaLnBrk="0" hangingPunct="0">
                <a:defRPr sz="2400">
                  <a:solidFill>
                    <a:schemeClr val="tx1"/>
                  </a:solidFill>
                  <a:latin typeface="Arial" charset="0"/>
                  <a:ea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defRPr/>
              </a:pPr>
              <a:r>
                <a:rPr lang="en-US" sz="1501" dirty="0">
                  <a:latin typeface="Arial" panose="020B0604020202020204" pitchFamily="34" charset="0"/>
                  <a:cs typeface="Arial" panose="020B0604020202020204" pitchFamily="34" charset="0"/>
                </a:rPr>
                <a:t>Increased upstream </a:t>
              </a:r>
            </a:p>
            <a:p>
              <a:pPr eaLnBrk="1" hangingPunct="1">
                <a:defRPr/>
              </a:pPr>
              <a:r>
                <a:rPr lang="en-US" sz="1501" dirty="0">
                  <a:latin typeface="Arial" panose="020B0604020202020204" pitchFamily="34" charset="0"/>
                  <a:cs typeface="Arial" panose="020B0604020202020204" pitchFamily="34" charset="0"/>
                </a:rPr>
                <a:t>signaling through</a:t>
              </a:r>
            </a:p>
            <a:p>
              <a:pPr eaLnBrk="1" hangingPunct="1">
                <a:defRPr/>
              </a:pPr>
              <a:r>
                <a:rPr lang="en-US" sz="1501" dirty="0">
                  <a:latin typeface="Arial" panose="020B0604020202020204" pitchFamily="34" charset="0"/>
                  <a:cs typeface="Arial" panose="020B0604020202020204" pitchFamily="34" charset="0"/>
                </a:rPr>
                <a:t>growth factor receptors</a:t>
              </a:r>
            </a:p>
          </p:txBody>
        </p:sp>
        <p:cxnSp>
          <p:nvCxnSpPr>
            <p:cNvPr id="30786" name="AutoShape 102"/>
            <p:cNvCxnSpPr>
              <a:cxnSpLocks noChangeShapeType="1"/>
              <a:stCxn id="30785" idx="0"/>
              <a:endCxn id="30767" idx="0"/>
            </p:cNvCxnSpPr>
            <p:nvPr/>
          </p:nvCxnSpPr>
          <p:spPr bwMode="auto">
            <a:xfrm rot="16200000" flipV="1">
              <a:off x="3474" y="-735"/>
              <a:ext cx="81" cy="2829"/>
            </a:xfrm>
            <a:prstGeom prst="curvedConnector3">
              <a:avLst>
                <a:gd name="adj1" fmla="val 336815"/>
              </a:avLst>
            </a:prstGeom>
            <a:noFill/>
            <a:ln w="9525">
              <a:solidFill>
                <a:srgbClr val="FF0000"/>
              </a:solidFill>
              <a:prstDash val="lgDash"/>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30787" name="AutoShape 103"/>
            <p:cNvCxnSpPr>
              <a:cxnSpLocks noChangeShapeType="1"/>
              <a:stCxn id="30785" idx="2"/>
              <a:endCxn id="30738" idx="6"/>
            </p:cNvCxnSpPr>
            <p:nvPr/>
          </p:nvCxnSpPr>
          <p:spPr bwMode="auto">
            <a:xfrm rot="5400000" flipH="1">
              <a:off x="3860" y="309"/>
              <a:ext cx="207" cy="1933"/>
            </a:xfrm>
            <a:prstGeom prst="curvedConnector4">
              <a:avLst>
                <a:gd name="adj1" fmla="val -92892"/>
                <a:gd name="adj2" fmla="val 73171"/>
              </a:avLst>
            </a:prstGeom>
            <a:noFill/>
            <a:ln w="9525">
              <a:solidFill>
                <a:srgbClr val="FF0000"/>
              </a:solidFill>
              <a:prstDash val="lgDash"/>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grpSp>
        <p:nvGrpSpPr>
          <p:cNvPr id="27700" name="Group 104"/>
          <p:cNvGrpSpPr>
            <a:grpSpLocks/>
          </p:cNvGrpSpPr>
          <p:nvPr/>
        </p:nvGrpSpPr>
        <p:grpSpPr bwMode="auto">
          <a:xfrm>
            <a:off x="2569898" y="858044"/>
            <a:ext cx="591097" cy="629232"/>
            <a:chOff x="1200" y="720"/>
            <a:chExt cx="496" cy="528"/>
          </a:xfrm>
        </p:grpSpPr>
        <p:sp>
          <p:nvSpPr>
            <p:cNvPr id="30783" name="AutoShape 105"/>
            <p:cNvSpPr>
              <a:spLocks noChangeArrowheads="1"/>
            </p:cNvSpPr>
            <p:nvPr/>
          </p:nvSpPr>
          <p:spPr bwMode="auto">
            <a:xfrm>
              <a:off x="1200" y="720"/>
              <a:ext cx="448" cy="288"/>
            </a:xfrm>
            <a:prstGeom prst="irregularSeal1">
              <a:avLst/>
            </a:prstGeom>
            <a:solidFill>
              <a:srgbClr val="008080"/>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lgn="ctr">
                <a:defRPr/>
              </a:pPr>
              <a:r>
                <a:rPr lang="en-US" sz="901">
                  <a:latin typeface="Arial" panose="020B0604020202020204" pitchFamily="34" charset="0"/>
                  <a:cs typeface="Arial" panose="020B0604020202020204" pitchFamily="34" charset="0"/>
                </a:rPr>
                <a:t>TKI</a:t>
              </a:r>
            </a:p>
          </p:txBody>
        </p:sp>
        <p:sp>
          <p:nvSpPr>
            <p:cNvPr id="30784" name="AutoShape 106"/>
            <p:cNvSpPr>
              <a:spLocks noChangeArrowheads="1"/>
            </p:cNvSpPr>
            <p:nvPr/>
          </p:nvSpPr>
          <p:spPr bwMode="auto">
            <a:xfrm>
              <a:off x="1248" y="960"/>
              <a:ext cx="448" cy="288"/>
            </a:xfrm>
            <a:prstGeom prst="irregularSeal1">
              <a:avLst/>
            </a:prstGeom>
            <a:solidFill>
              <a:srgbClr val="008080"/>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lgn="ctr">
                <a:defRPr/>
              </a:pPr>
              <a:r>
                <a:rPr lang="en-US" sz="901">
                  <a:latin typeface="Arial" panose="020B0604020202020204" pitchFamily="34" charset="0"/>
                  <a:cs typeface="Arial" panose="020B0604020202020204" pitchFamily="34" charset="0"/>
                </a:rPr>
                <a:t>AB</a:t>
              </a:r>
            </a:p>
          </p:txBody>
        </p:sp>
      </p:grpSp>
      <p:grpSp>
        <p:nvGrpSpPr>
          <p:cNvPr id="27701" name="Group 107"/>
          <p:cNvGrpSpPr>
            <a:grpSpLocks/>
          </p:cNvGrpSpPr>
          <p:nvPr/>
        </p:nvGrpSpPr>
        <p:grpSpPr bwMode="auto">
          <a:xfrm>
            <a:off x="2169478" y="1144059"/>
            <a:ext cx="363477" cy="431405"/>
            <a:chOff x="2016" y="432"/>
            <a:chExt cx="384" cy="384"/>
          </a:xfrm>
        </p:grpSpPr>
        <p:sp>
          <p:nvSpPr>
            <p:cNvPr id="30779" name="Oval 108"/>
            <p:cNvSpPr>
              <a:spLocks noChangeArrowheads="1"/>
            </p:cNvSpPr>
            <p:nvPr/>
          </p:nvSpPr>
          <p:spPr bwMode="auto">
            <a:xfrm>
              <a:off x="2064" y="432"/>
              <a:ext cx="193" cy="336"/>
            </a:xfrm>
            <a:prstGeom prst="ellipse">
              <a:avLst/>
            </a:prstGeom>
            <a:solidFill>
              <a:srgbClr val="3366FF"/>
            </a:solidFill>
            <a:ln w="9525">
              <a:solidFill>
                <a:schemeClr val="tx1"/>
              </a:solidFill>
              <a:round/>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802">
                <a:latin typeface="Arial" panose="020B0604020202020204" pitchFamily="34" charset="0"/>
                <a:cs typeface="Arial" panose="020B0604020202020204" pitchFamily="34" charset="0"/>
              </a:endParaRPr>
            </a:p>
          </p:txBody>
        </p:sp>
        <p:sp>
          <p:nvSpPr>
            <p:cNvPr id="30780" name="Oval 109"/>
            <p:cNvSpPr>
              <a:spLocks noChangeArrowheads="1"/>
            </p:cNvSpPr>
            <p:nvPr/>
          </p:nvSpPr>
          <p:spPr bwMode="auto">
            <a:xfrm>
              <a:off x="2160" y="432"/>
              <a:ext cx="193" cy="336"/>
            </a:xfrm>
            <a:prstGeom prst="ellipse">
              <a:avLst/>
            </a:prstGeom>
            <a:solidFill>
              <a:srgbClr val="3366FF"/>
            </a:solidFill>
            <a:ln w="9525">
              <a:solidFill>
                <a:schemeClr val="tx1"/>
              </a:solidFill>
              <a:round/>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802">
                <a:latin typeface="Arial" panose="020B0604020202020204" pitchFamily="34" charset="0"/>
                <a:cs typeface="Arial" panose="020B0604020202020204" pitchFamily="34" charset="0"/>
              </a:endParaRPr>
            </a:p>
          </p:txBody>
        </p:sp>
        <p:sp>
          <p:nvSpPr>
            <p:cNvPr id="30781" name="Oval 110"/>
            <p:cNvSpPr>
              <a:spLocks noChangeArrowheads="1"/>
            </p:cNvSpPr>
            <p:nvPr/>
          </p:nvSpPr>
          <p:spPr bwMode="auto">
            <a:xfrm>
              <a:off x="2016" y="721"/>
              <a:ext cx="240" cy="95"/>
            </a:xfrm>
            <a:prstGeom prst="ellipse">
              <a:avLst/>
            </a:prstGeom>
            <a:solidFill>
              <a:srgbClr val="3366FF"/>
            </a:solidFill>
            <a:ln w="9525">
              <a:solidFill>
                <a:schemeClr val="tx1"/>
              </a:solidFill>
              <a:round/>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802">
                <a:latin typeface="Arial" panose="020B0604020202020204" pitchFamily="34" charset="0"/>
                <a:cs typeface="Arial" panose="020B0604020202020204" pitchFamily="34" charset="0"/>
              </a:endParaRPr>
            </a:p>
          </p:txBody>
        </p:sp>
        <p:sp>
          <p:nvSpPr>
            <p:cNvPr id="30782" name="Oval 111"/>
            <p:cNvSpPr>
              <a:spLocks noChangeArrowheads="1"/>
            </p:cNvSpPr>
            <p:nvPr/>
          </p:nvSpPr>
          <p:spPr bwMode="auto">
            <a:xfrm>
              <a:off x="2160" y="721"/>
              <a:ext cx="240" cy="95"/>
            </a:xfrm>
            <a:prstGeom prst="ellipse">
              <a:avLst/>
            </a:prstGeom>
            <a:solidFill>
              <a:srgbClr val="3366FF"/>
            </a:solidFill>
            <a:ln w="9525">
              <a:solidFill>
                <a:schemeClr val="tx1"/>
              </a:solidFill>
              <a:round/>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802">
                <a:latin typeface="Arial" panose="020B0604020202020204" pitchFamily="34" charset="0"/>
                <a:cs typeface="Arial" panose="020B0604020202020204" pitchFamily="34" charset="0"/>
              </a:endParaRPr>
            </a:p>
          </p:txBody>
        </p:sp>
      </p:grpSp>
      <p:sp>
        <p:nvSpPr>
          <p:cNvPr id="30775" name="Text Box 112"/>
          <p:cNvSpPr txBox="1">
            <a:spLocks noChangeArrowheads="1"/>
          </p:cNvSpPr>
          <p:nvPr/>
        </p:nvSpPr>
        <p:spPr bwMode="auto">
          <a:xfrm>
            <a:off x="1672414" y="1029652"/>
            <a:ext cx="647934" cy="2540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lvl1pPr eaLnBrk="0" hangingPunct="0">
              <a:defRPr sz="2400">
                <a:solidFill>
                  <a:schemeClr val="tx1"/>
                </a:solidFill>
                <a:latin typeface="Arial" charset="0"/>
                <a:ea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defRPr/>
            </a:pPr>
            <a:r>
              <a:rPr lang="en-US" sz="1051">
                <a:latin typeface="Arial" panose="020B0604020202020204" pitchFamily="34" charset="0"/>
                <a:cs typeface="Arial" panose="020B0604020202020204" pitchFamily="34" charset="0"/>
              </a:rPr>
              <a:t>VEGFR</a:t>
            </a:r>
          </a:p>
        </p:txBody>
      </p:sp>
      <p:sp>
        <p:nvSpPr>
          <p:cNvPr id="30776" name="AutoShape 113"/>
          <p:cNvSpPr>
            <a:spLocks noChangeArrowheads="1"/>
          </p:cNvSpPr>
          <p:nvPr/>
        </p:nvSpPr>
        <p:spPr bwMode="auto">
          <a:xfrm>
            <a:off x="1940667" y="686435"/>
            <a:ext cx="498142" cy="377778"/>
          </a:xfrm>
          <a:prstGeom prst="irregularSeal2">
            <a:avLst/>
          </a:prstGeom>
          <a:solidFill>
            <a:srgbClr val="FF0000"/>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lgn="ctr">
              <a:defRPr/>
            </a:pPr>
            <a:r>
              <a:rPr lang="en-US" sz="751">
                <a:latin typeface="Arial" panose="020B0604020202020204" pitchFamily="34" charset="0"/>
                <a:cs typeface="Arial" panose="020B0604020202020204" pitchFamily="34" charset="0"/>
              </a:rPr>
              <a:t>MoAb</a:t>
            </a:r>
          </a:p>
        </p:txBody>
      </p:sp>
      <p:sp>
        <p:nvSpPr>
          <p:cNvPr id="30777" name="AutoShape 114"/>
          <p:cNvSpPr>
            <a:spLocks noChangeArrowheads="1"/>
          </p:cNvSpPr>
          <p:nvPr/>
        </p:nvSpPr>
        <p:spPr bwMode="auto">
          <a:xfrm>
            <a:off x="1940666" y="1487277"/>
            <a:ext cx="362285" cy="269330"/>
          </a:xfrm>
          <a:prstGeom prst="irregularSeal1">
            <a:avLst/>
          </a:prstGeom>
          <a:solidFill>
            <a:srgbClr val="FF00FF"/>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lgn="ctr">
              <a:defRPr/>
            </a:pPr>
            <a:r>
              <a:rPr lang="en-US" sz="751">
                <a:latin typeface="Arial" panose="020B0604020202020204" pitchFamily="34" charset="0"/>
                <a:cs typeface="Arial" panose="020B0604020202020204" pitchFamily="34" charset="0"/>
              </a:rPr>
              <a:t>TKI</a:t>
            </a:r>
          </a:p>
        </p:txBody>
      </p:sp>
    </p:spTree>
    <p:extLst>
      <p:ext uri="{BB962C8B-B14F-4D97-AF65-F5344CB8AC3E}">
        <p14:creationId xmlns:p14="http://schemas.microsoft.com/office/powerpoint/2010/main" val="409398323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A4B42C8-752A-9EFB-7574-80DB12BBA6AE}"/>
              </a:ext>
            </a:extLst>
          </p:cNvPr>
          <p:cNvSpPr/>
          <p:nvPr/>
        </p:nvSpPr>
        <p:spPr>
          <a:xfrm>
            <a:off x="6364706" y="4586741"/>
            <a:ext cx="2719827" cy="445143"/>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81279BC-39A3-0314-AC0F-CF58FDA3B36C}"/>
              </a:ext>
            </a:extLst>
          </p:cNvPr>
          <p:cNvSpPr>
            <a:spLocks noGrp="1"/>
          </p:cNvSpPr>
          <p:nvPr>
            <p:ph type="title"/>
          </p:nvPr>
        </p:nvSpPr>
        <p:spPr>
          <a:xfrm>
            <a:off x="82999" y="68309"/>
            <a:ext cx="8978001" cy="449651"/>
          </a:xfrm>
        </p:spPr>
        <p:txBody>
          <a:bodyPr>
            <a:noAutofit/>
          </a:bodyPr>
          <a:lstStyle/>
          <a:p>
            <a:pPr algn="ctr"/>
            <a:r>
              <a:rPr lang="en-US" sz="3200" b="1" dirty="0">
                <a:solidFill>
                  <a:srgbClr val="000000"/>
                </a:solidFill>
                <a:latin typeface="+mn-lt"/>
                <a:cs typeface="Calibri" panose="020F0502020204030204" pitchFamily="34" charset="0"/>
              </a:rPr>
              <a:t>Genomic Landscape of Endocrine-Resistant</a:t>
            </a:r>
            <a:br>
              <a:rPr lang="en-US" sz="3200" b="1" dirty="0">
                <a:solidFill>
                  <a:srgbClr val="000000"/>
                </a:solidFill>
                <a:latin typeface="+mn-lt"/>
                <a:cs typeface="Calibri" panose="020F0502020204030204" pitchFamily="34" charset="0"/>
              </a:rPr>
            </a:br>
            <a:r>
              <a:rPr lang="en-US" sz="3200" b="1" dirty="0">
                <a:solidFill>
                  <a:srgbClr val="000000"/>
                </a:solidFill>
                <a:latin typeface="+mn-lt"/>
                <a:cs typeface="Calibri" panose="020F0502020204030204" pitchFamily="34" charset="0"/>
              </a:rPr>
              <a:t> Advanced Breast Cancers</a:t>
            </a:r>
          </a:p>
        </p:txBody>
      </p:sp>
      <p:sp>
        <p:nvSpPr>
          <p:cNvPr id="6" name="TextBox 5">
            <a:extLst>
              <a:ext uri="{FF2B5EF4-FFF2-40B4-BE49-F238E27FC236}">
                <a16:creationId xmlns:a16="http://schemas.microsoft.com/office/drawing/2014/main" id="{A7D31188-18BC-EDA2-78A8-B28AEA49D6DC}"/>
              </a:ext>
            </a:extLst>
          </p:cNvPr>
          <p:cNvSpPr txBox="1"/>
          <p:nvPr/>
        </p:nvSpPr>
        <p:spPr>
          <a:xfrm>
            <a:off x="3731256" y="4810682"/>
            <a:ext cx="2540148" cy="307777"/>
          </a:xfrm>
          <a:prstGeom prst="rect">
            <a:avLst/>
          </a:prstGeom>
          <a:noFill/>
        </p:spPr>
        <p:txBody>
          <a:bodyPr wrap="square" rtlCol="0">
            <a:spAutoFit/>
          </a:bodyPr>
          <a:lstStyle/>
          <a:p>
            <a:r>
              <a:rPr lang="en-US" sz="1400" dirty="0" err="1"/>
              <a:t>Razavi</a:t>
            </a:r>
            <a:r>
              <a:rPr lang="en-US" sz="1400" dirty="0"/>
              <a:t> et al Cancer Cell 2018</a:t>
            </a:r>
          </a:p>
        </p:txBody>
      </p:sp>
      <p:pic>
        <p:nvPicPr>
          <p:cNvPr id="8" name="Picture 7">
            <a:extLst>
              <a:ext uri="{FF2B5EF4-FFF2-40B4-BE49-F238E27FC236}">
                <a16:creationId xmlns:a16="http://schemas.microsoft.com/office/drawing/2014/main" id="{22522599-1FF0-CCBD-0678-F27577C1F111}"/>
              </a:ext>
            </a:extLst>
          </p:cNvPr>
          <p:cNvPicPr>
            <a:picLocks noChangeAspect="1"/>
          </p:cNvPicPr>
          <p:nvPr/>
        </p:nvPicPr>
        <p:blipFill rotWithShape="1">
          <a:blip r:embed="rId2"/>
          <a:srcRect l="5997" t="49041" b="46077"/>
          <a:stretch/>
        </p:blipFill>
        <p:spPr>
          <a:xfrm>
            <a:off x="0" y="4071806"/>
            <a:ext cx="4539293" cy="198298"/>
          </a:xfrm>
          <a:prstGeom prst="rect">
            <a:avLst/>
          </a:prstGeom>
        </p:spPr>
      </p:pic>
      <p:pic>
        <p:nvPicPr>
          <p:cNvPr id="11" name="Picture 10">
            <a:extLst>
              <a:ext uri="{FF2B5EF4-FFF2-40B4-BE49-F238E27FC236}">
                <a16:creationId xmlns:a16="http://schemas.microsoft.com/office/drawing/2014/main" id="{951AC3E8-3575-CE20-4FC3-AE630698B098}"/>
              </a:ext>
            </a:extLst>
          </p:cNvPr>
          <p:cNvPicPr>
            <a:picLocks noChangeAspect="1"/>
          </p:cNvPicPr>
          <p:nvPr/>
        </p:nvPicPr>
        <p:blipFill>
          <a:blip r:embed="rId3"/>
          <a:stretch>
            <a:fillRect/>
          </a:stretch>
        </p:blipFill>
        <p:spPr>
          <a:xfrm>
            <a:off x="3702575" y="1430608"/>
            <a:ext cx="5358425" cy="2844869"/>
          </a:xfrm>
          <a:prstGeom prst="rect">
            <a:avLst/>
          </a:prstGeom>
        </p:spPr>
      </p:pic>
      <p:pic>
        <p:nvPicPr>
          <p:cNvPr id="13" name="Picture 12">
            <a:extLst>
              <a:ext uri="{FF2B5EF4-FFF2-40B4-BE49-F238E27FC236}">
                <a16:creationId xmlns:a16="http://schemas.microsoft.com/office/drawing/2014/main" id="{A1F0BCC2-C052-C02E-755E-EBB6E89F3BC5}"/>
              </a:ext>
            </a:extLst>
          </p:cNvPr>
          <p:cNvPicPr>
            <a:picLocks noChangeAspect="1"/>
          </p:cNvPicPr>
          <p:nvPr/>
        </p:nvPicPr>
        <p:blipFill rotWithShape="1">
          <a:blip r:embed="rId4"/>
          <a:srcRect r="51220" b="9428"/>
          <a:stretch/>
        </p:blipFill>
        <p:spPr>
          <a:xfrm>
            <a:off x="150656" y="1053165"/>
            <a:ext cx="3539837" cy="3041932"/>
          </a:xfrm>
          <a:prstGeom prst="rect">
            <a:avLst/>
          </a:prstGeom>
        </p:spPr>
      </p:pic>
      <p:sp>
        <p:nvSpPr>
          <p:cNvPr id="12" name="Arrow: Right 11">
            <a:extLst>
              <a:ext uri="{FF2B5EF4-FFF2-40B4-BE49-F238E27FC236}">
                <a16:creationId xmlns:a16="http://schemas.microsoft.com/office/drawing/2014/main" id="{4CF0D10D-E874-7C1C-8378-55DA18BDC6ED}"/>
              </a:ext>
            </a:extLst>
          </p:cNvPr>
          <p:cNvSpPr/>
          <p:nvPr/>
        </p:nvSpPr>
        <p:spPr>
          <a:xfrm rot="16200000">
            <a:off x="4202020" y="4305135"/>
            <a:ext cx="198297" cy="206483"/>
          </a:xfrm>
          <a:prstGeom prst="rightArrow">
            <a:avLst>
              <a:gd name="adj1" fmla="val 50000"/>
              <a:gd name="adj2" fmla="val 57623"/>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5" name="Arrow: Right 14">
            <a:extLst>
              <a:ext uri="{FF2B5EF4-FFF2-40B4-BE49-F238E27FC236}">
                <a16:creationId xmlns:a16="http://schemas.microsoft.com/office/drawing/2014/main" id="{BC1B3562-641F-D932-1049-F33513C0EDCC}"/>
              </a:ext>
            </a:extLst>
          </p:cNvPr>
          <p:cNvSpPr/>
          <p:nvPr/>
        </p:nvSpPr>
        <p:spPr>
          <a:xfrm rot="16200000">
            <a:off x="4649299" y="4310711"/>
            <a:ext cx="198297" cy="206483"/>
          </a:xfrm>
          <a:prstGeom prst="rightArrow">
            <a:avLst>
              <a:gd name="adj1" fmla="val 50000"/>
              <a:gd name="adj2" fmla="val 57623"/>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6" name="Arrow: Right 15">
            <a:extLst>
              <a:ext uri="{FF2B5EF4-FFF2-40B4-BE49-F238E27FC236}">
                <a16:creationId xmlns:a16="http://schemas.microsoft.com/office/drawing/2014/main" id="{5D3B6F0A-E719-AB60-9FD3-C552278A62E0}"/>
              </a:ext>
            </a:extLst>
          </p:cNvPr>
          <p:cNvSpPr/>
          <p:nvPr/>
        </p:nvSpPr>
        <p:spPr>
          <a:xfrm rot="16200000">
            <a:off x="7142647" y="4289862"/>
            <a:ext cx="198297" cy="206483"/>
          </a:xfrm>
          <a:prstGeom prst="rightArrow">
            <a:avLst>
              <a:gd name="adj1" fmla="val 50000"/>
              <a:gd name="adj2" fmla="val 57623"/>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68777269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b="1" dirty="0">
                <a:solidFill>
                  <a:schemeClr val="tx1"/>
                </a:solidFill>
              </a:rPr>
              <a:t>ESR1 Gain of Function Mutations</a:t>
            </a:r>
            <a:br>
              <a:rPr lang="en-US" sz="3200" b="1" dirty="0">
                <a:solidFill>
                  <a:schemeClr val="tx1"/>
                </a:solidFill>
              </a:rPr>
            </a:br>
            <a:endParaRPr lang="en-US" sz="3200" b="1" kern="1200" dirty="0">
              <a:solidFill>
                <a:schemeClr val="tx1"/>
              </a:solidFill>
              <a:latin typeface="Arial" charset="0"/>
              <a:ea typeface="+mn-ea"/>
              <a:cs typeface="+mn-cs"/>
            </a:endParaRPr>
          </a:p>
        </p:txBody>
      </p:sp>
      <p:sp>
        <p:nvSpPr>
          <p:cNvPr id="5" name="TextBox 4">
            <a:extLst>
              <a:ext uri="{FF2B5EF4-FFF2-40B4-BE49-F238E27FC236}">
                <a16:creationId xmlns:a16="http://schemas.microsoft.com/office/drawing/2014/main" id="{858FDE83-760B-34ED-8C73-B0E7533EE1AB}"/>
              </a:ext>
            </a:extLst>
          </p:cNvPr>
          <p:cNvSpPr txBox="1"/>
          <p:nvPr/>
        </p:nvSpPr>
        <p:spPr>
          <a:xfrm>
            <a:off x="2809702" y="1751395"/>
            <a:ext cx="1205345" cy="742423"/>
          </a:xfrm>
          <a:prstGeom prst="rect">
            <a:avLst/>
          </a:prstGeom>
          <a:solidFill>
            <a:schemeClr val="bg1"/>
          </a:solidFill>
        </p:spPr>
        <p:txBody>
          <a:bodyPr wrap="square" rtlCol="0">
            <a:spAutoFit/>
          </a:bodyPr>
          <a:lstStyle/>
          <a:p>
            <a:endParaRPr lang="en-US" dirty="0"/>
          </a:p>
        </p:txBody>
      </p:sp>
      <p:sp>
        <p:nvSpPr>
          <p:cNvPr id="63" name="Content Placeholder 74">
            <a:extLst>
              <a:ext uri="{FF2B5EF4-FFF2-40B4-BE49-F238E27FC236}">
                <a16:creationId xmlns:a16="http://schemas.microsoft.com/office/drawing/2014/main" id="{F1D56435-C2A3-2EE6-04CD-EAB399B8D1B7}"/>
              </a:ext>
            </a:extLst>
          </p:cNvPr>
          <p:cNvSpPr txBox="1">
            <a:spLocks/>
          </p:cNvSpPr>
          <p:nvPr/>
        </p:nvSpPr>
        <p:spPr>
          <a:xfrm>
            <a:off x="176982" y="962831"/>
            <a:ext cx="3571054" cy="3072289"/>
          </a:xfrm>
          <a:prstGeom prst="rect">
            <a:avLst/>
          </a:prstGeom>
        </p:spPr>
        <p:txBody>
          <a:bodyPr>
            <a:normAutofit fontScale="92500" lnSpcReduction="20000"/>
          </a:bodyPr>
          <a:lstStyle>
            <a:lvl1pPr marL="342900" indent="-342900" algn="l" rtl="0" eaLnBrk="1" fontAlgn="base" hangingPunct="1">
              <a:spcBef>
                <a:spcPct val="20000"/>
              </a:spcBef>
              <a:spcAft>
                <a:spcPct val="0"/>
              </a:spcAft>
              <a:buChar char="•"/>
              <a:defRPr sz="2400">
                <a:solidFill>
                  <a:schemeClr val="tx1"/>
                </a:solidFill>
                <a:latin typeface="+mn-lt"/>
                <a:ea typeface="+mn-ea"/>
                <a:cs typeface="+mn-cs"/>
              </a:defRPr>
            </a:lvl1pPr>
            <a:lvl2pPr marL="742950" indent="-285750" algn="l" rtl="0" eaLnBrk="1" fontAlgn="base" hangingPunct="1">
              <a:spcBef>
                <a:spcPct val="20000"/>
              </a:spcBef>
              <a:spcAft>
                <a:spcPct val="0"/>
              </a:spcAft>
              <a:buChar char="–"/>
              <a:defRPr sz="2000">
                <a:solidFill>
                  <a:schemeClr val="tx1"/>
                </a:solidFill>
                <a:latin typeface="+mn-lt"/>
                <a:ea typeface="+mn-ea"/>
              </a:defRPr>
            </a:lvl2pPr>
            <a:lvl3pPr marL="1143000" indent="-228600" algn="l" rtl="0" eaLnBrk="1" fontAlgn="base" hangingPunct="1">
              <a:spcBef>
                <a:spcPct val="20000"/>
              </a:spcBef>
              <a:spcAft>
                <a:spcPct val="0"/>
              </a:spcAft>
              <a:buChar char="•"/>
              <a:defRPr>
                <a:solidFill>
                  <a:schemeClr val="tx1"/>
                </a:solidFill>
                <a:latin typeface="+mn-lt"/>
                <a:ea typeface="+mn-ea"/>
              </a:defRPr>
            </a:lvl3pPr>
            <a:lvl4pPr marL="1600200" indent="-228600" algn="l" rtl="0" eaLnBrk="1" fontAlgn="base" hangingPunct="1">
              <a:spcBef>
                <a:spcPct val="20000"/>
              </a:spcBef>
              <a:spcAft>
                <a:spcPct val="0"/>
              </a:spcAft>
              <a:defRPr sz="2000">
                <a:solidFill>
                  <a:schemeClr val="tx1"/>
                </a:solidFill>
                <a:latin typeface="+mn-lt"/>
                <a:ea typeface="+mn-ea"/>
              </a:defRPr>
            </a:lvl4pPr>
            <a:lvl5pPr marL="2057400" indent="-228600" algn="l" rtl="0" eaLnBrk="1" fontAlgn="base" hangingPunct="1">
              <a:spcBef>
                <a:spcPct val="20000"/>
              </a:spcBef>
              <a:spcAft>
                <a:spcPct val="0"/>
              </a:spcAft>
              <a:buChar char="»"/>
              <a:defRPr sz="2000">
                <a:solidFill>
                  <a:schemeClr val="tx1"/>
                </a:solidFill>
                <a:latin typeface="+mn-lt"/>
                <a:ea typeface="+mn-ea"/>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r>
              <a:rPr lang="en-US" sz="2000" kern="0" dirty="0"/>
              <a:t>30-40% of metastatic ER+ breast cancer after prior endocrine therapy</a:t>
            </a:r>
          </a:p>
          <a:p>
            <a:endParaRPr lang="en-US" sz="2000" kern="0" dirty="0"/>
          </a:p>
          <a:p>
            <a:r>
              <a:rPr lang="en-US" sz="2000" kern="0" dirty="0"/>
              <a:t>Resistance to aromatase inhibitors and standard dose tamoxifen</a:t>
            </a:r>
          </a:p>
          <a:p>
            <a:endParaRPr lang="en-US" sz="2000" kern="0" dirty="0"/>
          </a:p>
          <a:p>
            <a:r>
              <a:rPr lang="en-US" sz="2000" kern="0" dirty="0"/>
              <a:t>High concordance between tumor &amp; </a:t>
            </a:r>
            <a:r>
              <a:rPr lang="en-US" sz="2000" kern="0" dirty="0" err="1"/>
              <a:t>ctDNA</a:t>
            </a:r>
            <a:r>
              <a:rPr lang="en-US" sz="2000" kern="0" dirty="0"/>
              <a:t>; high </a:t>
            </a:r>
            <a:r>
              <a:rPr lang="en-US" sz="2000" kern="0"/>
              <a:t>detection in ctDNA</a:t>
            </a:r>
            <a:endParaRPr lang="en-US" sz="2000" kern="0" dirty="0"/>
          </a:p>
          <a:p>
            <a:endParaRPr lang="en-US" kern="0" dirty="0"/>
          </a:p>
          <a:p>
            <a:pPr lvl="1"/>
            <a:endParaRPr lang="en-US" kern="0" dirty="0"/>
          </a:p>
          <a:p>
            <a:endParaRPr lang="en-US" kern="0" dirty="0"/>
          </a:p>
        </p:txBody>
      </p:sp>
      <p:sp>
        <p:nvSpPr>
          <p:cNvPr id="64" name="Rectangle 63">
            <a:extLst>
              <a:ext uri="{FF2B5EF4-FFF2-40B4-BE49-F238E27FC236}">
                <a16:creationId xmlns:a16="http://schemas.microsoft.com/office/drawing/2014/main" id="{927AAC51-BDCC-4D36-1B30-C2C3BDC07E1C}"/>
              </a:ext>
            </a:extLst>
          </p:cNvPr>
          <p:cNvSpPr/>
          <p:nvPr/>
        </p:nvSpPr>
        <p:spPr>
          <a:xfrm>
            <a:off x="3387379" y="4436457"/>
            <a:ext cx="3313138" cy="830960"/>
          </a:xfrm>
          <a:prstGeom prst="rect">
            <a:avLst/>
          </a:prstGeom>
        </p:spPr>
        <p:txBody>
          <a:bodyPr wrap="square" lIns="91400" tIns="45702" rIns="91400" bIns="45702">
            <a:spAutoFit/>
          </a:bodyPr>
          <a:lstStyle/>
          <a:p>
            <a:r>
              <a:rPr lang="en-US" sz="1200" dirty="0" err="1"/>
              <a:t>Fribbens</a:t>
            </a:r>
            <a:r>
              <a:rPr lang="en-US" sz="1200" dirty="0"/>
              <a:t>  C et al J Clin Oncol 2016</a:t>
            </a:r>
          </a:p>
          <a:p>
            <a:r>
              <a:rPr lang="en-US" sz="1200" dirty="0"/>
              <a:t>Ma C et al Nature Reviews 2015</a:t>
            </a:r>
          </a:p>
          <a:p>
            <a:r>
              <a:rPr lang="en-US" sz="1200" dirty="0"/>
              <a:t>Takeshita et al </a:t>
            </a:r>
            <a:r>
              <a:rPr lang="en-US" sz="1200" dirty="0" err="1"/>
              <a:t>Transl</a:t>
            </a:r>
            <a:r>
              <a:rPr lang="en-US" sz="1200" dirty="0"/>
              <a:t> Oncology 2017</a:t>
            </a:r>
          </a:p>
          <a:p>
            <a:r>
              <a:rPr lang="en-US" sz="1200" dirty="0"/>
              <a:t>Davis et al </a:t>
            </a:r>
            <a:r>
              <a:rPr lang="en-US" sz="1200" dirty="0" err="1"/>
              <a:t>eBioMedicine</a:t>
            </a:r>
            <a:r>
              <a:rPr lang="en-US" sz="1200" dirty="0"/>
              <a:t> 2020</a:t>
            </a:r>
          </a:p>
        </p:txBody>
      </p:sp>
      <p:pic>
        <p:nvPicPr>
          <p:cNvPr id="7" name="Picture 6">
            <a:extLst>
              <a:ext uri="{FF2B5EF4-FFF2-40B4-BE49-F238E27FC236}">
                <a16:creationId xmlns:a16="http://schemas.microsoft.com/office/drawing/2014/main" id="{C76F56C3-03E3-4DEE-0824-847A1DA37180}"/>
              </a:ext>
            </a:extLst>
          </p:cNvPr>
          <p:cNvPicPr>
            <a:picLocks noChangeAspect="1"/>
          </p:cNvPicPr>
          <p:nvPr/>
        </p:nvPicPr>
        <p:blipFill>
          <a:blip r:embed="rId2"/>
          <a:stretch>
            <a:fillRect/>
          </a:stretch>
        </p:blipFill>
        <p:spPr>
          <a:xfrm>
            <a:off x="3959381" y="845343"/>
            <a:ext cx="5105400" cy="3189777"/>
          </a:xfrm>
          <a:prstGeom prst="rect">
            <a:avLst/>
          </a:prstGeom>
        </p:spPr>
      </p:pic>
    </p:spTree>
    <p:extLst>
      <p:ext uri="{BB962C8B-B14F-4D97-AF65-F5344CB8AC3E}">
        <p14:creationId xmlns:p14="http://schemas.microsoft.com/office/powerpoint/2010/main" val="2944427986"/>
      </p:ext>
    </p:extLst>
  </p:cSld>
  <p:clrMapOvr>
    <a:masterClrMapping/>
  </p:clrMapOvr>
  <p:transition spd="med"/>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73BB96-06F6-84B7-61A6-F008D7A1CE5F}"/>
              </a:ext>
            </a:extLst>
          </p:cNvPr>
          <p:cNvSpPr>
            <a:spLocks noGrp="1"/>
          </p:cNvSpPr>
          <p:nvPr>
            <p:ph type="title"/>
          </p:nvPr>
        </p:nvSpPr>
        <p:spPr>
          <a:xfrm>
            <a:off x="-186431" y="1459114"/>
            <a:ext cx="9144000" cy="1006507"/>
          </a:xfrm>
        </p:spPr>
        <p:txBody>
          <a:bodyPr/>
          <a:lstStyle/>
          <a:p>
            <a:r>
              <a:rPr lang="en-US" b="1" dirty="0"/>
              <a:t>Oral SERDs</a:t>
            </a:r>
          </a:p>
        </p:txBody>
      </p:sp>
    </p:spTree>
    <p:extLst>
      <p:ext uri="{BB962C8B-B14F-4D97-AF65-F5344CB8AC3E}">
        <p14:creationId xmlns:p14="http://schemas.microsoft.com/office/powerpoint/2010/main" val="175821751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b="1" dirty="0">
                <a:solidFill>
                  <a:schemeClr val="tx1"/>
                </a:solidFill>
              </a:rPr>
              <a:t>EMERALD Phase 3 with </a:t>
            </a:r>
            <a:r>
              <a:rPr lang="en-US" sz="3200" b="1" dirty="0" err="1">
                <a:solidFill>
                  <a:schemeClr val="tx1"/>
                </a:solidFill>
              </a:rPr>
              <a:t>Elacestrant</a:t>
            </a:r>
            <a:br>
              <a:rPr lang="en-US" sz="3200" b="1" dirty="0">
                <a:solidFill>
                  <a:schemeClr val="tx1"/>
                </a:solidFill>
              </a:rPr>
            </a:br>
            <a:endParaRPr lang="en-US" sz="3200" b="1" kern="1200" dirty="0">
              <a:solidFill>
                <a:schemeClr val="tx1"/>
              </a:solidFill>
              <a:latin typeface="Arial" charset="0"/>
              <a:ea typeface="+mn-ea"/>
              <a:cs typeface="+mn-cs"/>
            </a:endParaRPr>
          </a:p>
        </p:txBody>
      </p:sp>
      <p:sp>
        <p:nvSpPr>
          <p:cNvPr id="5" name="TextBox 4">
            <a:extLst>
              <a:ext uri="{FF2B5EF4-FFF2-40B4-BE49-F238E27FC236}">
                <a16:creationId xmlns:a16="http://schemas.microsoft.com/office/drawing/2014/main" id="{858FDE83-760B-34ED-8C73-B0E7533EE1AB}"/>
              </a:ext>
            </a:extLst>
          </p:cNvPr>
          <p:cNvSpPr txBox="1"/>
          <p:nvPr/>
        </p:nvSpPr>
        <p:spPr>
          <a:xfrm>
            <a:off x="2809702" y="1751395"/>
            <a:ext cx="1205345" cy="742423"/>
          </a:xfrm>
          <a:prstGeom prst="rect">
            <a:avLst/>
          </a:prstGeom>
          <a:solidFill>
            <a:schemeClr val="bg1"/>
          </a:solidFill>
        </p:spPr>
        <p:txBody>
          <a:bodyPr wrap="square" rtlCol="0">
            <a:spAutoFit/>
          </a:bodyPr>
          <a:lstStyle/>
          <a:p>
            <a:endParaRPr lang="en-US" dirty="0"/>
          </a:p>
        </p:txBody>
      </p:sp>
      <p:pic>
        <p:nvPicPr>
          <p:cNvPr id="6" name="Picture 5">
            <a:extLst>
              <a:ext uri="{FF2B5EF4-FFF2-40B4-BE49-F238E27FC236}">
                <a16:creationId xmlns:a16="http://schemas.microsoft.com/office/drawing/2014/main" id="{CE8840F5-F305-997D-EDFE-4DA6E1F63215}"/>
              </a:ext>
            </a:extLst>
          </p:cNvPr>
          <p:cNvPicPr>
            <a:picLocks noChangeAspect="1"/>
          </p:cNvPicPr>
          <p:nvPr/>
        </p:nvPicPr>
        <p:blipFill>
          <a:blip r:embed="rId2"/>
          <a:stretch>
            <a:fillRect/>
          </a:stretch>
        </p:blipFill>
        <p:spPr>
          <a:xfrm>
            <a:off x="736847" y="665219"/>
            <a:ext cx="8068564" cy="3657198"/>
          </a:xfrm>
          <a:prstGeom prst="rect">
            <a:avLst/>
          </a:prstGeom>
        </p:spPr>
      </p:pic>
      <p:sp>
        <p:nvSpPr>
          <p:cNvPr id="7" name="TextBox 6">
            <a:extLst>
              <a:ext uri="{FF2B5EF4-FFF2-40B4-BE49-F238E27FC236}">
                <a16:creationId xmlns:a16="http://schemas.microsoft.com/office/drawing/2014/main" id="{43696C99-B6DA-DBE1-9D6D-E7CF6BFC6A70}"/>
              </a:ext>
            </a:extLst>
          </p:cNvPr>
          <p:cNvSpPr txBox="1"/>
          <p:nvPr/>
        </p:nvSpPr>
        <p:spPr>
          <a:xfrm>
            <a:off x="3630098" y="4598562"/>
            <a:ext cx="2566728" cy="523220"/>
          </a:xfrm>
          <a:prstGeom prst="rect">
            <a:avLst/>
          </a:prstGeom>
          <a:noFill/>
        </p:spPr>
        <p:txBody>
          <a:bodyPr wrap="none" rtlCol="0">
            <a:spAutoFit/>
          </a:bodyPr>
          <a:lstStyle/>
          <a:p>
            <a:r>
              <a:rPr lang="en-US" sz="1400" dirty="0" err="1">
                <a:latin typeface="+mn-lt"/>
              </a:rPr>
              <a:t>Bidard</a:t>
            </a:r>
            <a:r>
              <a:rPr lang="en-US" sz="1400" dirty="0">
                <a:latin typeface="+mn-lt"/>
              </a:rPr>
              <a:t> et al JCO 2022</a:t>
            </a:r>
          </a:p>
          <a:p>
            <a:r>
              <a:rPr lang="en-US" sz="1400" dirty="0" err="1">
                <a:latin typeface="+mn-lt"/>
              </a:rPr>
              <a:t>Kaklamani</a:t>
            </a:r>
            <a:r>
              <a:rPr lang="en-US" sz="1400" dirty="0">
                <a:latin typeface="+mn-lt"/>
              </a:rPr>
              <a:t> et al SABCS 2022</a:t>
            </a:r>
          </a:p>
        </p:txBody>
      </p:sp>
    </p:spTree>
    <p:extLst>
      <p:ext uri="{BB962C8B-B14F-4D97-AF65-F5344CB8AC3E}">
        <p14:creationId xmlns:p14="http://schemas.microsoft.com/office/powerpoint/2010/main" val="2355515701"/>
      </p:ext>
    </p:extLst>
  </p:cSld>
  <p:clrMapOvr>
    <a:masterClrMapping/>
  </p:clrMapOvr>
  <p:transition spd="med"/>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2F0474-DE6F-C48B-7AC1-EE98397E7DAF}"/>
              </a:ext>
            </a:extLst>
          </p:cNvPr>
          <p:cNvSpPr>
            <a:spLocks noGrp="1"/>
          </p:cNvSpPr>
          <p:nvPr>
            <p:ph type="title"/>
          </p:nvPr>
        </p:nvSpPr>
        <p:spPr/>
        <p:txBody>
          <a:bodyPr/>
          <a:lstStyle/>
          <a:p>
            <a:r>
              <a:rPr lang="en-US" sz="3200" b="1" dirty="0">
                <a:solidFill>
                  <a:schemeClr val="tx1"/>
                </a:solidFill>
              </a:rPr>
              <a:t>Baseline Characteristics</a:t>
            </a:r>
          </a:p>
        </p:txBody>
      </p:sp>
      <p:pic>
        <p:nvPicPr>
          <p:cNvPr id="4" name="Picture 3">
            <a:extLst>
              <a:ext uri="{FF2B5EF4-FFF2-40B4-BE49-F238E27FC236}">
                <a16:creationId xmlns:a16="http://schemas.microsoft.com/office/drawing/2014/main" id="{9B447643-0187-1E7A-1B6D-D5C32C6CA714}"/>
              </a:ext>
            </a:extLst>
          </p:cNvPr>
          <p:cNvPicPr>
            <a:picLocks noChangeAspect="1"/>
          </p:cNvPicPr>
          <p:nvPr/>
        </p:nvPicPr>
        <p:blipFill rotWithShape="1">
          <a:blip r:embed="rId2"/>
          <a:srcRect t="9448"/>
          <a:stretch/>
        </p:blipFill>
        <p:spPr>
          <a:xfrm>
            <a:off x="761086" y="723955"/>
            <a:ext cx="7493565" cy="3605369"/>
          </a:xfrm>
          <a:prstGeom prst="rect">
            <a:avLst/>
          </a:prstGeom>
        </p:spPr>
      </p:pic>
      <p:sp>
        <p:nvSpPr>
          <p:cNvPr id="5" name="Rectangle 4">
            <a:extLst>
              <a:ext uri="{FF2B5EF4-FFF2-40B4-BE49-F238E27FC236}">
                <a16:creationId xmlns:a16="http://schemas.microsoft.com/office/drawing/2014/main" id="{805BA8BD-74D7-7057-C899-1A09927C3667}"/>
              </a:ext>
            </a:extLst>
          </p:cNvPr>
          <p:cNvSpPr/>
          <p:nvPr/>
        </p:nvSpPr>
        <p:spPr bwMode="auto">
          <a:xfrm>
            <a:off x="761084" y="3154680"/>
            <a:ext cx="7493565" cy="566927"/>
          </a:xfrm>
          <a:prstGeom prst="rect">
            <a:avLst/>
          </a:prstGeom>
          <a:noFill/>
          <a:ln w="1905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
        <p:nvSpPr>
          <p:cNvPr id="6" name="Rectangle 5">
            <a:extLst>
              <a:ext uri="{FF2B5EF4-FFF2-40B4-BE49-F238E27FC236}">
                <a16:creationId xmlns:a16="http://schemas.microsoft.com/office/drawing/2014/main" id="{0C2E7E66-3142-4951-9FEA-EEFD17D922FD}"/>
              </a:ext>
            </a:extLst>
          </p:cNvPr>
          <p:cNvSpPr/>
          <p:nvPr/>
        </p:nvSpPr>
        <p:spPr bwMode="auto">
          <a:xfrm>
            <a:off x="761082" y="3813048"/>
            <a:ext cx="7493565" cy="127901"/>
          </a:xfrm>
          <a:prstGeom prst="rect">
            <a:avLst/>
          </a:prstGeom>
          <a:noFill/>
          <a:ln w="1905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Tree>
    <p:extLst>
      <p:ext uri="{BB962C8B-B14F-4D97-AF65-F5344CB8AC3E}">
        <p14:creationId xmlns:p14="http://schemas.microsoft.com/office/powerpoint/2010/main" val="141101116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AB221E-D2A7-1B46-9D15-5B2B9804791A}"/>
              </a:ext>
            </a:extLst>
          </p:cNvPr>
          <p:cNvSpPr>
            <a:spLocks noGrp="1"/>
          </p:cNvSpPr>
          <p:nvPr>
            <p:ph type="title"/>
          </p:nvPr>
        </p:nvSpPr>
        <p:spPr>
          <a:xfrm>
            <a:off x="343662" y="94125"/>
            <a:ext cx="8460419" cy="473880"/>
          </a:xfrm>
        </p:spPr>
        <p:txBody>
          <a:bodyPr>
            <a:noAutofit/>
          </a:bodyPr>
          <a:lstStyle/>
          <a:p>
            <a:r>
              <a:rPr lang="en-US" sz="3200" b="1" dirty="0">
                <a:solidFill>
                  <a:schemeClr val="tx1"/>
                </a:solidFill>
              </a:rPr>
              <a:t>EMERALD:  Primary Endpoint: PFS by IRC</a:t>
            </a:r>
          </a:p>
        </p:txBody>
      </p:sp>
      <p:sp>
        <p:nvSpPr>
          <p:cNvPr id="8" name="TextBox 7">
            <a:extLst>
              <a:ext uri="{FF2B5EF4-FFF2-40B4-BE49-F238E27FC236}">
                <a16:creationId xmlns:a16="http://schemas.microsoft.com/office/drawing/2014/main" id="{3D382B11-6C5E-4A10-BC5E-C094C7794401}"/>
              </a:ext>
            </a:extLst>
          </p:cNvPr>
          <p:cNvSpPr txBox="1"/>
          <p:nvPr/>
        </p:nvSpPr>
        <p:spPr>
          <a:xfrm>
            <a:off x="1611157" y="925776"/>
            <a:ext cx="4183981" cy="305468"/>
          </a:xfrm>
          <a:prstGeom prst="rect">
            <a:avLst/>
          </a:prstGeom>
          <a:noFill/>
        </p:spPr>
        <p:txBody>
          <a:bodyPr wrap="square" rtlCol="0">
            <a:spAutoFit/>
          </a:bodyPr>
          <a:lstStyle/>
          <a:p>
            <a:pPr algn="ctr"/>
            <a:r>
              <a:rPr lang="en-US" sz="1385" b="1" dirty="0"/>
              <a:t>All Patients (ITT)</a:t>
            </a:r>
          </a:p>
        </p:txBody>
      </p:sp>
      <p:grpSp>
        <p:nvGrpSpPr>
          <p:cNvPr id="3" name="Group 2">
            <a:extLst>
              <a:ext uri="{FF2B5EF4-FFF2-40B4-BE49-F238E27FC236}">
                <a16:creationId xmlns:a16="http://schemas.microsoft.com/office/drawing/2014/main" id="{5AA032F4-62FC-4C41-826E-A3FE80EEF31A}"/>
              </a:ext>
            </a:extLst>
          </p:cNvPr>
          <p:cNvGrpSpPr/>
          <p:nvPr/>
        </p:nvGrpSpPr>
        <p:grpSpPr>
          <a:xfrm>
            <a:off x="1837973" y="1332766"/>
            <a:ext cx="3767786" cy="1320003"/>
            <a:chOff x="1272820" y="1952819"/>
            <a:chExt cx="6619651" cy="2319124"/>
          </a:xfrm>
        </p:grpSpPr>
        <p:sp>
          <p:nvSpPr>
            <p:cNvPr id="66" name="Oval 65">
              <a:extLst>
                <a:ext uri="{FF2B5EF4-FFF2-40B4-BE49-F238E27FC236}">
                  <a16:creationId xmlns:a16="http://schemas.microsoft.com/office/drawing/2014/main" id="{E26485C9-36B6-874B-A517-39BEA97B3E30}"/>
                </a:ext>
              </a:extLst>
            </p:cNvPr>
            <p:cNvSpPr/>
            <p:nvPr/>
          </p:nvSpPr>
          <p:spPr>
            <a:xfrm>
              <a:off x="1272820" y="1952819"/>
              <a:ext cx="67540" cy="67540"/>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2"/>
            </a:p>
          </p:txBody>
        </p:sp>
        <p:sp>
          <p:nvSpPr>
            <p:cNvPr id="67" name="Oval 66">
              <a:extLst>
                <a:ext uri="{FF2B5EF4-FFF2-40B4-BE49-F238E27FC236}">
                  <a16:creationId xmlns:a16="http://schemas.microsoft.com/office/drawing/2014/main" id="{81139603-D83B-9C4B-81A3-55F32127C0AC}"/>
                </a:ext>
              </a:extLst>
            </p:cNvPr>
            <p:cNvSpPr/>
            <p:nvPr/>
          </p:nvSpPr>
          <p:spPr>
            <a:xfrm>
              <a:off x="1394406" y="1975335"/>
              <a:ext cx="67540" cy="67540"/>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2"/>
            </a:p>
          </p:txBody>
        </p:sp>
        <p:sp>
          <p:nvSpPr>
            <p:cNvPr id="68" name="Oval 67">
              <a:extLst>
                <a:ext uri="{FF2B5EF4-FFF2-40B4-BE49-F238E27FC236}">
                  <a16:creationId xmlns:a16="http://schemas.microsoft.com/office/drawing/2014/main" id="{5843F002-018A-104C-98D9-EAD977002A02}"/>
                </a:ext>
              </a:extLst>
            </p:cNvPr>
            <p:cNvSpPr/>
            <p:nvPr/>
          </p:nvSpPr>
          <p:spPr>
            <a:xfrm>
              <a:off x="1430431" y="1979838"/>
              <a:ext cx="67540" cy="67540"/>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2"/>
            </a:p>
          </p:txBody>
        </p:sp>
        <p:sp>
          <p:nvSpPr>
            <p:cNvPr id="69" name="Oval 68">
              <a:extLst>
                <a:ext uri="{FF2B5EF4-FFF2-40B4-BE49-F238E27FC236}">
                  <a16:creationId xmlns:a16="http://schemas.microsoft.com/office/drawing/2014/main" id="{1F083D73-A725-A44F-A6DA-DED415C4B078}"/>
                </a:ext>
              </a:extLst>
            </p:cNvPr>
            <p:cNvSpPr/>
            <p:nvPr/>
          </p:nvSpPr>
          <p:spPr>
            <a:xfrm>
              <a:off x="1493475" y="2146455"/>
              <a:ext cx="67540" cy="67540"/>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2"/>
            </a:p>
          </p:txBody>
        </p:sp>
        <p:sp>
          <p:nvSpPr>
            <p:cNvPr id="70" name="Oval 69">
              <a:extLst>
                <a:ext uri="{FF2B5EF4-FFF2-40B4-BE49-F238E27FC236}">
                  <a16:creationId xmlns:a16="http://schemas.microsoft.com/office/drawing/2014/main" id="{DF1A5B23-4C4D-1547-B6BD-6369FC392F54}"/>
                </a:ext>
              </a:extLst>
            </p:cNvPr>
            <p:cNvSpPr/>
            <p:nvPr/>
          </p:nvSpPr>
          <p:spPr>
            <a:xfrm>
              <a:off x="1502482" y="2268041"/>
              <a:ext cx="67540" cy="67540"/>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2"/>
            </a:p>
          </p:txBody>
        </p:sp>
        <p:sp>
          <p:nvSpPr>
            <p:cNvPr id="71" name="Oval 70">
              <a:extLst>
                <a:ext uri="{FF2B5EF4-FFF2-40B4-BE49-F238E27FC236}">
                  <a16:creationId xmlns:a16="http://schemas.microsoft.com/office/drawing/2014/main" id="{16EC99BB-742F-2040-AE0F-0DA911DA48E7}"/>
                </a:ext>
              </a:extLst>
            </p:cNvPr>
            <p:cNvSpPr/>
            <p:nvPr/>
          </p:nvSpPr>
          <p:spPr>
            <a:xfrm>
              <a:off x="1515991" y="2344595"/>
              <a:ext cx="67540" cy="67540"/>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2"/>
            </a:p>
          </p:txBody>
        </p:sp>
        <p:sp>
          <p:nvSpPr>
            <p:cNvPr id="72" name="Oval 71">
              <a:extLst>
                <a:ext uri="{FF2B5EF4-FFF2-40B4-BE49-F238E27FC236}">
                  <a16:creationId xmlns:a16="http://schemas.microsoft.com/office/drawing/2014/main" id="{6B6C27A9-022C-1D47-93E2-5F59AFCD66FA}"/>
                </a:ext>
              </a:extLst>
            </p:cNvPr>
            <p:cNvSpPr/>
            <p:nvPr/>
          </p:nvSpPr>
          <p:spPr>
            <a:xfrm>
              <a:off x="1520494" y="2398633"/>
              <a:ext cx="67540" cy="67540"/>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2"/>
            </a:p>
          </p:txBody>
        </p:sp>
        <p:sp>
          <p:nvSpPr>
            <p:cNvPr id="73" name="Oval 72">
              <a:extLst>
                <a:ext uri="{FF2B5EF4-FFF2-40B4-BE49-F238E27FC236}">
                  <a16:creationId xmlns:a16="http://schemas.microsoft.com/office/drawing/2014/main" id="{6AD2A047-CAEF-2B4D-8977-AF8592E22D54}"/>
                </a:ext>
              </a:extLst>
            </p:cNvPr>
            <p:cNvSpPr/>
            <p:nvPr/>
          </p:nvSpPr>
          <p:spPr>
            <a:xfrm>
              <a:off x="1529501" y="2538231"/>
              <a:ext cx="67540" cy="67540"/>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2"/>
            </a:p>
          </p:txBody>
        </p:sp>
        <p:sp>
          <p:nvSpPr>
            <p:cNvPr id="74" name="Oval 73">
              <a:extLst>
                <a:ext uri="{FF2B5EF4-FFF2-40B4-BE49-F238E27FC236}">
                  <a16:creationId xmlns:a16="http://schemas.microsoft.com/office/drawing/2014/main" id="{EFB3A5CB-DE09-EB40-A34E-2D8A1A86B9CC}"/>
                </a:ext>
              </a:extLst>
            </p:cNvPr>
            <p:cNvSpPr/>
            <p:nvPr/>
          </p:nvSpPr>
          <p:spPr>
            <a:xfrm>
              <a:off x="1538507" y="2893981"/>
              <a:ext cx="67540" cy="67540"/>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2"/>
            </a:p>
          </p:txBody>
        </p:sp>
        <p:sp>
          <p:nvSpPr>
            <p:cNvPr id="75" name="Oval 74">
              <a:extLst>
                <a:ext uri="{FF2B5EF4-FFF2-40B4-BE49-F238E27FC236}">
                  <a16:creationId xmlns:a16="http://schemas.microsoft.com/office/drawing/2014/main" id="{452ACF01-065C-0E49-89B6-E3EF559E5CB2}"/>
                </a:ext>
              </a:extLst>
            </p:cNvPr>
            <p:cNvSpPr/>
            <p:nvPr/>
          </p:nvSpPr>
          <p:spPr>
            <a:xfrm>
              <a:off x="1552016" y="3011063"/>
              <a:ext cx="67540" cy="67540"/>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2"/>
            </a:p>
          </p:txBody>
        </p:sp>
        <p:sp>
          <p:nvSpPr>
            <p:cNvPr id="76" name="Oval 75">
              <a:extLst>
                <a:ext uri="{FF2B5EF4-FFF2-40B4-BE49-F238E27FC236}">
                  <a16:creationId xmlns:a16="http://schemas.microsoft.com/office/drawing/2014/main" id="{C1686BE3-83DE-0946-9767-36C9641945AE}"/>
                </a:ext>
              </a:extLst>
            </p:cNvPr>
            <p:cNvSpPr/>
            <p:nvPr/>
          </p:nvSpPr>
          <p:spPr>
            <a:xfrm>
              <a:off x="1556520" y="3065101"/>
              <a:ext cx="67540" cy="67540"/>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2"/>
            </a:p>
          </p:txBody>
        </p:sp>
        <p:sp>
          <p:nvSpPr>
            <p:cNvPr id="77" name="Oval 76">
              <a:extLst>
                <a:ext uri="{FF2B5EF4-FFF2-40B4-BE49-F238E27FC236}">
                  <a16:creationId xmlns:a16="http://schemas.microsoft.com/office/drawing/2014/main" id="{07018673-9166-6C49-B20D-217ECAF8D255}"/>
                </a:ext>
              </a:extLst>
            </p:cNvPr>
            <p:cNvSpPr/>
            <p:nvPr/>
          </p:nvSpPr>
          <p:spPr>
            <a:xfrm>
              <a:off x="1579035" y="3096623"/>
              <a:ext cx="67540" cy="67540"/>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2"/>
            </a:p>
          </p:txBody>
        </p:sp>
        <p:sp>
          <p:nvSpPr>
            <p:cNvPr id="78" name="Oval 77">
              <a:extLst>
                <a:ext uri="{FF2B5EF4-FFF2-40B4-BE49-F238E27FC236}">
                  <a16:creationId xmlns:a16="http://schemas.microsoft.com/office/drawing/2014/main" id="{EE510D60-AC3E-2D46-8C96-9B5F51443B14}"/>
                </a:ext>
              </a:extLst>
            </p:cNvPr>
            <p:cNvSpPr/>
            <p:nvPr/>
          </p:nvSpPr>
          <p:spPr>
            <a:xfrm>
              <a:off x="1601551" y="3110133"/>
              <a:ext cx="67540" cy="67540"/>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2"/>
            </a:p>
          </p:txBody>
        </p:sp>
        <p:sp>
          <p:nvSpPr>
            <p:cNvPr id="79" name="Oval 78">
              <a:extLst>
                <a:ext uri="{FF2B5EF4-FFF2-40B4-BE49-F238E27FC236}">
                  <a16:creationId xmlns:a16="http://schemas.microsoft.com/office/drawing/2014/main" id="{FC90A61A-2980-434E-8C93-60BB3C34E3FF}"/>
                </a:ext>
              </a:extLst>
            </p:cNvPr>
            <p:cNvSpPr/>
            <p:nvPr/>
          </p:nvSpPr>
          <p:spPr>
            <a:xfrm>
              <a:off x="1619564" y="3155165"/>
              <a:ext cx="67540" cy="67540"/>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2"/>
            </a:p>
          </p:txBody>
        </p:sp>
        <p:sp>
          <p:nvSpPr>
            <p:cNvPr id="80" name="Oval 79">
              <a:extLst>
                <a:ext uri="{FF2B5EF4-FFF2-40B4-BE49-F238E27FC236}">
                  <a16:creationId xmlns:a16="http://schemas.microsoft.com/office/drawing/2014/main" id="{E8CA7809-EA0A-4C4C-9350-F100F32D80C1}"/>
                </a:ext>
              </a:extLst>
            </p:cNvPr>
            <p:cNvSpPr/>
            <p:nvPr/>
          </p:nvSpPr>
          <p:spPr>
            <a:xfrm>
              <a:off x="1493475" y="2177977"/>
              <a:ext cx="67540" cy="67540"/>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2"/>
            </a:p>
          </p:txBody>
        </p:sp>
        <p:sp>
          <p:nvSpPr>
            <p:cNvPr id="81" name="Oval 80">
              <a:extLst>
                <a:ext uri="{FF2B5EF4-FFF2-40B4-BE49-F238E27FC236}">
                  <a16:creationId xmlns:a16="http://schemas.microsoft.com/office/drawing/2014/main" id="{77079999-53BF-DB4E-B0E8-3C5CF4B5CB8F}"/>
                </a:ext>
              </a:extLst>
            </p:cNvPr>
            <p:cNvSpPr/>
            <p:nvPr/>
          </p:nvSpPr>
          <p:spPr>
            <a:xfrm>
              <a:off x="1795188" y="3222712"/>
              <a:ext cx="67540" cy="67540"/>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2"/>
            </a:p>
          </p:txBody>
        </p:sp>
        <p:sp>
          <p:nvSpPr>
            <p:cNvPr id="82" name="Oval 81">
              <a:extLst>
                <a:ext uri="{FF2B5EF4-FFF2-40B4-BE49-F238E27FC236}">
                  <a16:creationId xmlns:a16="http://schemas.microsoft.com/office/drawing/2014/main" id="{1A794E6B-F120-7446-96BA-300583CE3B32}"/>
                </a:ext>
              </a:extLst>
            </p:cNvPr>
            <p:cNvSpPr/>
            <p:nvPr/>
          </p:nvSpPr>
          <p:spPr>
            <a:xfrm>
              <a:off x="1826710" y="3236222"/>
              <a:ext cx="67540" cy="67540"/>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2"/>
            </a:p>
          </p:txBody>
        </p:sp>
        <p:sp>
          <p:nvSpPr>
            <p:cNvPr id="83" name="Oval 82">
              <a:extLst>
                <a:ext uri="{FF2B5EF4-FFF2-40B4-BE49-F238E27FC236}">
                  <a16:creationId xmlns:a16="http://schemas.microsoft.com/office/drawing/2014/main" id="{BE9B84EA-1FAF-1A44-983B-7A530DF39642}"/>
                </a:ext>
              </a:extLst>
            </p:cNvPr>
            <p:cNvSpPr/>
            <p:nvPr/>
          </p:nvSpPr>
          <p:spPr>
            <a:xfrm>
              <a:off x="1871741" y="3245228"/>
              <a:ext cx="67540" cy="67540"/>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2"/>
            </a:p>
          </p:txBody>
        </p:sp>
        <p:sp>
          <p:nvSpPr>
            <p:cNvPr id="84" name="Oval 83">
              <a:extLst>
                <a:ext uri="{FF2B5EF4-FFF2-40B4-BE49-F238E27FC236}">
                  <a16:creationId xmlns:a16="http://schemas.microsoft.com/office/drawing/2014/main" id="{024CCA78-5E09-BA49-AB28-E41ED19CB339}"/>
                </a:ext>
              </a:extLst>
            </p:cNvPr>
            <p:cNvSpPr/>
            <p:nvPr/>
          </p:nvSpPr>
          <p:spPr>
            <a:xfrm>
              <a:off x="1988824" y="3267744"/>
              <a:ext cx="67540" cy="67540"/>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2"/>
            </a:p>
          </p:txBody>
        </p:sp>
        <p:sp>
          <p:nvSpPr>
            <p:cNvPr id="85" name="Oval 84">
              <a:extLst>
                <a:ext uri="{FF2B5EF4-FFF2-40B4-BE49-F238E27FC236}">
                  <a16:creationId xmlns:a16="http://schemas.microsoft.com/office/drawing/2014/main" id="{F33D84C5-1E56-2745-8F1F-5EAA4F5134AB}"/>
                </a:ext>
              </a:extLst>
            </p:cNvPr>
            <p:cNvSpPr/>
            <p:nvPr/>
          </p:nvSpPr>
          <p:spPr>
            <a:xfrm>
              <a:off x="2006837" y="3290260"/>
              <a:ext cx="67540" cy="67540"/>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2"/>
            </a:p>
          </p:txBody>
        </p:sp>
        <p:sp>
          <p:nvSpPr>
            <p:cNvPr id="86" name="Oval 85">
              <a:extLst>
                <a:ext uri="{FF2B5EF4-FFF2-40B4-BE49-F238E27FC236}">
                  <a16:creationId xmlns:a16="http://schemas.microsoft.com/office/drawing/2014/main" id="{01678F02-3F1C-3B42-BBFC-21CD0747A7A1}"/>
                </a:ext>
              </a:extLst>
            </p:cNvPr>
            <p:cNvSpPr/>
            <p:nvPr/>
          </p:nvSpPr>
          <p:spPr>
            <a:xfrm>
              <a:off x="2033856" y="3317279"/>
              <a:ext cx="67540" cy="67540"/>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2"/>
            </a:p>
          </p:txBody>
        </p:sp>
        <p:sp>
          <p:nvSpPr>
            <p:cNvPr id="87" name="Oval 86">
              <a:extLst>
                <a:ext uri="{FF2B5EF4-FFF2-40B4-BE49-F238E27FC236}">
                  <a16:creationId xmlns:a16="http://schemas.microsoft.com/office/drawing/2014/main" id="{B12BADF8-3D55-F844-9044-5BF7D07827D4}"/>
                </a:ext>
              </a:extLst>
            </p:cNvPr>
            <p:cNvSpPr/>
            <p:nvPr/>
          </p:nvSpPr>
          <p:spPr>
            <a:xfrm>
              <a:off x="2060875" y="3362310"/>
              <a:ext cx="67540" cy="67540"/>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2"/>
            </a:p>
          </p:txBody>
        </p:sp>
        <p:sp>
          <p:nvSpPr>
            <p:cNvPr id="88" name="Oval 87">
              <a:extLst>
                <a:ext uri="{FF2B5EF4-FFF2-40B4-BE49-F238E27FC236}">
                  <a16:creationId xmlns:a16="http://schemas.microsoft.com/office/drawing/2014/main" id="{5C902B86-D426-AF41-AD92-B628207FF832}"/>
                </a:ext>
              </a:extLst>
            </p:cNvPr>
            <p:cNvSpPr/>
            <p:nvPr/>
          </p:nvSpPr>
          <p:spPr>
            <a:xfrm>
              <a:off x="2042862" y="3339794"/>
              <a:ext cx="67540" cy="67540"/>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2"/>
            </a:p>
          </p:txBody>
        </p:sp>
        <p:sp>
          <p:nvSpPr>
            <p:cNvPr id="89" name="Oval 88">
              <a:extLst>
                <a:ext uri="{FF2B5EF4-FFF2-40B4-BE49-F238E27FC236}">
                  <a16:creationId xmlns:a16="http://schemas.microsoft.com/office/drawing/2014/main" id="{34A3B3F0-5877-2047-8F94-CE0FCA3FDCB3}"/>
                </a:ext>
              </a:extLst>
            </p:cNvPr>
            <p:cNvSpPr/>
            <p:nvPr/>
          </p:nvSpPr>
          <p:spPr>
            <a:xfrm>
              <a:off x="2065378" y="3389329"/>
              <a:ext cx="67540" cy="67540"/>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2"/>
            </a:p>
          </p:txBody>
        </p:sp>
        <p:sp>
          <p:nvSpPr>
            <p:cNvPr id="90" name="Oval 89">
              <a:extLst>
                <a:ext uri="{FF2B5EF4-FFF2-40B4-BE49-F238E27FC236}">
                  <a16:creationId xmlns:a16="http://schemas.microsoft.com/office/drawing/2014/main" id="{1DC87E29-2AB3-1146-9225-6ADFD9BF3427}"/>
                </a:ext>
              </a:extLst>
            </p:cNvPr>
            <p:cNvSpPr/>
            <p:nvPr/>
          </p:nvSpPr>
          <p:spPr>
            <a:xfrm>
              <a:off x="2096900" y="3443367"/>
              <a:ext cx="67540" cy="67540"/>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2"/>
            </a:p>
          </p:txBody>
        </p:sp>
        <p:sp>
          <p:nvSpPr>
            <p:cNvPr id="91" name="Oval 90">
              <a:extLst>
                <a:ext uri="{FF2B5EF4-FFF2-40B4-BE49-F238E27FC236}">
                  <a16:creationId xmlns:a16="http://schemas.microsoft.com/office/drawing/2014/main" id="{E17C3915-E8C7-A74D-B590-7C06628B5922}"/>
                </a:ext>
              </a:extLst>
            </p:cNvPr>
            <p:cNvSpPr/>
            <p:nvPr/>
          </p:nvSpPr>
          <p:spPr>
            <a:xfrm>
              <a:off x="2150938" y="3443367"/>
              <a:ext cx="67540" cy="67540"/>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2"/>
            </a:p>
          </p:txBody>
        </p:sp>
        <p:sp>
          <p:nvSpPr>
            <p:cNvPr id="92" name="Oval 91">
              <a:extLst>
                <a:ext uri="{FF2B5EF4-FFF2-40B4-BE49-F238E27FC236}">
                  <a16:creationId xmlns:a16="http://schemas.microsoft.com/office/drawing/2014/main" id="{BBC4E93A-5AC1-4A4B-A603-7DE1EA5B4792}"/>
                </a:ext>
              </a:extLst>
            </p:cNvPr>
            <p:cNvSpPr/>
            <p:nvPr/>
          </p:nvSpPr>
          <p:spPr>
            <a:xfrm>
              <a:off x="2123919" y="3443367"/>
              <a:ext cx="67540" cy="67540"/>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2"/>
            </a:p>
          </p:txBody>
        </p:sp>
        <p:sp>
          <p:nvSpPr>
            <p:cNvPr id="93" name="Oval 92">
              <a:extLst>
                <a:ext uri="{FF2B5EF4-FFF2-40B4-BE49-F238E27FC236}">
                  <a16:creationId xmlns:a16="http://schemas.microsoft.com/office/drawing/2014/main" id="{AFAB16DF-E71A-5247-9F0A-E81F8F50F827}"/>
                </a:ext>
              </a:extLst>
            </p:cNvPr>
            <p:cNvSpPr/>
            <p:nvPr/>
          </p:nvSpPr>
          <p:spPr>
            <a:xfrm>
              <a:off x="2524701" y="3515418"/>
              <a:ext cx="67540" cy="67540"/>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2"/>
            </a:p>
          </p:txBody>
        </p:sp>
        <p:sp>
          <p:nvSpPr>
            <p:cNvPr id="94" name="Oval 93">
              <a:extLst>
                <a:ext uri="{FF2B5EF4-FFF2-40B4-BE49-F238E27FC236}">
                  <a16:creationId xmlns:a16="http://schemas.microsoft.com/office/drawing/2014/main" id="{7D637915-349E-CE44-ACF0-23A82A14F556}"/>
                </a:ext>
              </a:extLst>
            </p:cNvPr>
            <p:cNvSpPr/>
            <p:nvPr/>
          </p:nvSpPr>
          <p:spPr>
            <a:xfrm>
              <a:off x="2574236" y="3573959"/>
              <a:ext cx="67540" cy="67540"/>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2"/>
            </a:p>
          </p:txBody>
        </p:sp>
        <p:sp>
          <p:nvSpPr>
            <p:cNvPr id="95" name="Oval 94">
              <a:extLst>
                <a:ext uri="{FF2B5EF4-FFF2-40B4-BE49-F238E27FC236}">
                  <a16:creationId xmlns:a16="http://schemas.microsoft.com/office/drawing/2014/main" id="{F65790F3-AFF7-214B-A2EC-BD2B99FFE495}"/>
                </a:ext>
              </a:extLst>
            </p:cNvPr>
            <p:cNvSpPr/>
            <p:nvPr/>
          </p:nvSpPr>
          <p:spPr>
            <a:xfrm>
              <a:off x="2596752" y="3605481"/>
              <a:ext cx="67540" cy="67540"/>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2"/>
            </a:p>
          </p:txBody>
        </p:sp>
        <p:sp>
          <p:nvSpPr>
            <p:cNvPr id="96" name="Oval 95">
              <a:extLst>
                <a:ext uri="{FF2B5EF4-FFF2-40B4-BE49-F238E27FC236}">
                  <a16:creationId xmlns:a16="http://schemas.microsoft.com/office/drawing/2014/main" id="{FCEAA6AB-F905-A148-ADB7-66053EC2CB1E}"/>
                </a:ext>
              </a:extLst>
            </p:cNvPr>
            <p:cNvSpPr/>
            <p:nvPr/>
          </p:nvSpPr>
          <p:spPr>
            <a:xfrm>
              <a:off x="2718337" y="3641507"/>
              <a:ext cx="67540" cy="67540"/>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2"/>
            </a:p>
          </p:txBody>
        </p:sp>
        <p:sp>
          <p:nvSpPr>
            <p:cNvPr id="97" name="Oval 96">
              <a:extLst>
                <a:ext uri="{FF2B5EF4-FFF2-40B4-BE49-F238E27FC236}">
                  <a16:creationId xmlns:a16="http://schemas.microsoft.com/office/drawing/2014/main" id="{96BF1DBF-0C80-3047-83C1-0CDCE0E8C6C6}"/>
                </a:ext>
              </a:extLst>
            </p:cNvPr>
            <p:cNvSpPr/>
            <p:nvPr/>
          </p:nvSpPr>
          <p:spPr>
            <a:xfrm>
              <a:off x="3105610" y="3727067"/>
              <a:ext cx="67540" cy="67540"/>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2"/>
            </a:p>
          </p:txBody>
        </p:sp>
        <p:sp>
          <p:nvSpPr>
            <p:cNvPr id="98" name="Oval 97">
              <a:extLst>
                <a:ext uri="{FF2B5EF4-FFF2-40B4-BE49-F238E27FC236}">
                  <a16:creationId xmlns:a16="http://schemas.microsoft.com/office/drawing/2014/main" id="{92C5DF53-3605-FE40-AAF6-FC78381FEA71}"/>
                </a:ext>
              </a:extLst>
            </p:cNvPr>
            <p:cNvSpPr/>
            <p:nvPr/>
          </p:nvSpPr>
          <p:spPr>
            <a:xfrm>
              <a:off x="3132629" y="3727067"/>
              <a:ext cx="67540" cy="67540"/>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2"/>
            </a:p>
          </p:txBody>
        </p:sp>
        <p:sp>
          <p:nvSpPr>
            <p:cNvPr id="99" name="Oval 98">
              <a:extLst>
                <a:ext uri="{FF2B5EF4-FFF2-40B4-BE49-F238E27FC236}">
                  <a16:creationId xmlns:a16="http://schemas.microsoft.com/office/drawing/2014/main" id="{26B2012E-F346-7B4C-A2DD-5257EA234F01}"/>
                </a:ext>
              </a:extLst>
            </p:cNvPr>
            <p:cNvSpPr/>
            <p:nvPr/>
          </p:nvSpPr>
          <p:spPr>
            <a:xfrm>
              <a:off x="3596455" y="3794614"/>
              <a:ext cx="67540" cy="67540"/>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2"/>
            </a:p>
          </p:txBody>
        </p:sp>
        <p:sp>
          <p:nvSpPr>
            <p:cNvPr id="100" name="Oval 99">
              <a:extLst>
                <a:ext uri="{FF2B5EF4-FFF2-40B4-BE49-F238E27FC236}">
                  <a16:creationId xmlns:a16="http://schemas.microsoft.com/office/drawing/2014/main" id="{CBDDA6A9-4BF5-1C4D-AF9A-11DD61C3B40F}"/>
                </a:ext>
              </a:extLst>
            </p:cNvPr>
            <p:cNvSpPr/>
            <p:nvPr/>
          </p:nvSpPr>
          <p:spPr>
            <a:xfrm>
              <a:off x="3627977" y="3821633"/>
              <a:ext cx="67540" cy="67540"/>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2"/>
            </a:p>
          </p:txBody>
        </p:sp>
        <p:sp>
          <p:nvSpPr>
            <p:cNvPr id="101" name="Oval 100">
              <a:extLst>
                <a:ext uri="{FF2B5EF4-FFF2-40B4-BE49-F238E27FC236}">
                  <a16:creationId xmlns:a16="http://schemas.microsoft.com/office/drawing/2014/main" id="{A72BBFA7-5AF1-C548-B448-98AEE8403E9C}"/>
                </a:ext>
              </a:extLst>
            </p:cNvPr>
            <p:cNvSpPr/>
            <p:nvPr/>
          </p:nvSpPr>
          <p:spPr>
            <a:xfrm>
              <a:off x="3965715" y="3871168"/>
              <a:ext cx="67540" cy="67540"/>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2"/>
            </a:p>
          </p:txBody>
        </p:sp>
        <p:sp>
          <p:nvSpPr>
            <p:cNvPr id="102" name="Oval 101">
              <a:extLst>
                <a:ext uri="{FF2B5EF4-FFF2-40B4-BE49-F238E27FC236}">
                  <a16:creationId xmlns:a16="http://schemas.microsoft.com/office/drawing/2014/main" id="{77945D52-BE08-6649-AB89-90F6A7AECB37}"/>
                </a:ext>
              </a:extLst>
            </p:cNvPr>
            <p:cNvSpPr/>
            <p:nvPr/>
          </p:nvSpPr>
          <p:spPr>
            <a:xfrm>
              <a:off x="4154848" y="3920703"/>
              <a:ext cx="67540" cy="67540"/>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2"/>
            </a:p>
          </p:txBody>
        </p:sp>
        <p:sp>
          <p:nvSpPr>
            <p:cNvPr id="103" name="Oval 102">
              <a:extLst>
                <a:ext uri="{FF2B5EF4-FFF2-40B4-BE49-F238E27FC236}">
                  <a16:creationId xmlns:a16="http://schemas.microsoft.com/office/drawing/2014/main" id="{9245BD38-CF49-2F49-94F7-04F64D19761C}"/>
                </a:ext>
              </a:extLst>
            </p:cNvPr>
            <p:cNvSpPr/>
            <p:nvPr/>
          </p:nvSpPr>
          <p:spPr>
            <a:xfrm>
              <a:off x="4226899" y="3947722"/>
              <a:ext cx="67540" cy="67540"/>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2"/>
            </a:p>
          </p:txBody>
        </p:sp>
        <p:sp>
          <p:nvSpPr>
            <p:cNvPr id="104" name="Oval 103">
              <a:extLst>
                <a:ext uri="{FF2B5EF4-FFF2-40B4-BE49-F238E27FC236}">
                  <a16:creationId xmlns:a16="http://schemas.microsoft.com/office/drawing/2014/main" id="{28B962DC-2AC0-494F-8C15-FB83512F0694}"/>
                </a:ext>
              </a:extLst>
            </p:cNvPr>
            <p:cNvSpPr/>
            <p:nvPr/>
          </p:nvSpPr>
          <p:spPr>
            <a:xfrm>
              <a:off x="4411529" y="3952225"/>
              <a:ext cx="67540" cy="67540"/>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2"/>
            </a:p>
          </p:txBody>
        </p:sp>
        <p:sp>
          <p:nvSpPr>
            <p:cNvPr id="105" name="Oval 104">
              <a:extLst>
                <a:ext uri="{FF2B5EF4-FFF2-40B4-BE49-F238E27FC236}">
                  <a16:creationId xmlns:a16="http://schemas.microsoft.com/office/drawing/2014/main" id="{3C58F310-D802-364C-A40C-7B1C6A942711}"/>
                </a:ext>
              </a:extLst>
            </p:cNvPr>
            <p:cNvSpPr/>
            <p:nvPr/>
          </p:nvSpPr>
          <p:spPr>
            <a:xfrm>
              <a:off x="4609668" y="3979244"/>
              <a:ext cx="67540" cy="67540"/>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2"/>
            </a:p>
          </p:txBody>
        </p:sp>
        <p:sp>
          <p:nvSpPr>
            <p:cNvPr id="106" name="Oval 105">
              <a:extLst>
                <a:ext uri="{FF2B5EF4-FFF2-40B4-BE49-F238E27FC236}">
                  <a16:creationId xmlns:a16="http://schemas.microsoft.com/office/drawing/2014/main" id="{2C61CA7F-D54F-E54B-9C33-72D2E891F004}"/>
                </a:ext>
              </a:extLst>
            </p:cNvPr>
            <p:cNvSpPr/>
            <p:nvPr/>
          </p:nvSpPr>
          <p:spPr>
            <a:xfrm>
              <a:off x="4636687" y="3983747"/>
              <a:ext cx="67540" cy="67540"/>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2"/>
            </a:p>
          </p:txBody>
        </p:sp>
        <p:sp>
          <p:nvSpPr>
            <p:cNvPr id="107" name="Oval 106">
              <a:extLst>
                <a:ext uri="{FF2B5EF4-FFF2-40B4-BE49-F238E27FC236}">
                  <a16:creationId xmlns:a16="http://schemas.microsoft.com/office/drawing/2014/main" id="{E4FEF36E-991A-8E4A-B312-4A125413168F}"/>
                </a:ext>
              </a:extLst>
            </p:cNvPr>
            <p:cNvSpPr/>
            <p:nvPr/>
          </p:nvSpPr>
          <p:spPr>
            <a:xfrm>
              <a:off x="4681719" y="3979244"/>
              <a:ext cx="67540" cy="67540"/>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2"/>
            </a:p>
          </p:txBody>
        </p:sp>
        <p:sp>
          <p:nvSpPr>
            <p:cNvPr id="108" name="Oval 107">
              <a:extLst>
                <a:ext uri="{FF2B5EF4-FFF2-40B4-BE49-F238E27FC236}">
                  <a16:creationId xmlns:a16="http://schemas.microsoft.com/office/drawing/2014/main" id="{B91932DB-ECF7-EA46-9EF5-B916A8DBA9DD}"/>
                </a:ext>
              </a:extLst>
            </p:cNvPr>
            <p:cNvSpPr/>
            <p:nvPr/>
          </p:nvSpPr>
          <p:spPr>
            <a:xfrm>
              <a:off x="4740260" y="3983747"/>
              <a:ext cx="67540" cy="67540"/>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2"/>
            </a:p>
          </p:txBody>
        </p:sp>
        <p:sp>
          <p:nvSpPr>
            <p:cNvPr id="109" name="Oval 108">
              <a:extLst>
                <a:ext uri="{FF2B5EF4-FFF2-40B4-BE49-F238E27FC236}">
                  <a16:creationId xmlns:a16="http://schemas.microsoft.com/office/drawing/2014/main" id="{4F2D28E5-B26E-7F4D-8ACC-434ED766C2FB}"/>
                </a:ext>
              </a:extLst>
            </p:cNvPr>
            <p:cNvSpPr/>
            <p:nvPr/>
          </p:nvSpPr>
          <p:spPr>
            <a:xfrm>
              <a:off x="4794298" y="3979244"/>
              <a:ext cx="67540" cy="67540"/>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2"/>
            </a:p>
          </p:txBody>
        </p:sp>
        <p:sp>
          <p:nvSpPr>
            <p:cNvPr id="110" name="Oval 109">
              <a:extLst>
                <a:ext uri="{FF2B5EF4-FFF2-40B4-BE49-F238E27FC236}">
                  <a16:creationId xmlns:a16="http://schemas.microsoft.com/office/drawing/2014/main" id="{1914DABF-4294-AF41-9A0D-F932CB139048}"/>
                </a:ext>
              </a:extLst>
            </p:cNvPr>
            <p:cNvSpPr/>
            <p:nvPr/>
          </p:nvSpPr>
          <p:spPr>
            <a:xfrm>
              <a:off x="5208590" y="4028779"/>
              <a:ext cx="67540" cy="67540"/>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2"/>
            </a:p>
          </p:txBody>
        </p:sp>
        <p:sp>
          <p:nvSpPr>
            <p:cNvPr id="111" name="Oval 110">
              <a:extLst>
                <a:ext uri="{FF2B5EF4-FFF2-40B4-BE49-F238E27FC236}">
                  <a16:creationId xmlns:a16="http://schemas.microsoft.com/office/drawing/2014/main" id="{CF505CAA-0191-2B4C-A783-B49AEDBAB592}"/>
                </a:ext>
              </a:extLst>
            </p:cNvPr>
            <p:cNvSpPr/>
            <p:nvPr/>
          </p:nvSpPr>
          <p:spPr>
            <a:xfrm>
              <a:off x="5235609" y="4037785"/>
              <a:ext cx="67540" cy="67540"/>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2"/>
            </a:p>
          </p:txBody>
        </p:sp>
        <p:sp>
          <p:nvSpPr>
            <p:cNvPr id="112" name="Oval 111">
              <a:extLst>
                <a:ext uri="{FF2B5EF4-FFF2-40B4-BE49-F238E27FC236}">
                  <a16:creationId xmlns:a16="http://schemas.microsoft.com/office/drawing/2014/main" id="{5A137824-6FF0-D94A-B474-C624138147C6}"/>
                </a:ext>
              </a:extLst>
            </p:cNvPr>
            <p:cNvSpPr/>
            <p:nvPr/>
          </p:nvSpPr>
          <p:spPr>
            <a:xfrm>
              <a:off x="5726454" y="4091823"/>
              <a:ext cx="67540" cy="67540"/>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2"/>
            </a:p>
          </p:txBody>
        </p:sp>
        <p:sp>
          <p:nvSpPr>
            <p:cNvPr id="113" name="Oval 112">
              <a:extLst>
                <a:ext uri="{FF2B5EF4-FFF2-40B4-BE49-F238E27FC236}">
                  <a16:creationId xmlns:a16="http://schemas.microsoft.com/office/drawing/2014/main" id="{53B66A81-6960-5646-A06E-9B5C76E9DFBC}"/>
                </a:ext>
              </a:extLst>
            </p:cNvPr>
            <p:cNvSpPr/>
            <p:nvPr/>
          </p:nvSpPr>
          <p:spPr>
            <a:xfrm>
              <a:off x="6239815" y="4087320"/>
              <a:ext cx="67540" cy="67540"/>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2"/>
            </a:p>
          </p:txBody>
        </p:sp>
        <p:sp>
          <p:nvSpPr>
            <p:cNvPr id="114" name="Oval 113">
              <a:extLst>
                <a:ext uri="{FF2B5EF4-FFF2-40B4-BE49-F238E27FC236}">
                  <a16:creationId xmlns:a16="http://schemas.microsoft.com/office/drawing/2014/main" id="{681B1BE9-BBE7-5C4B-A8D1-837A036F3A6B}"/>
                </a:ext>
              </a:extLst>
            </p:cNvPr>
            <p:cNvSpPr/>
            <p:nvPr/>
          </p:nvSpPr>
          <p:spPr>
            <a:xfrm>
              <a:off x="6289350" y="4204403"/>
              <a:ext cx="67540" cy="67540"/>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2"/>
            </a:p>
          </p:txBody>
        </p:sp>
        <p:sp>
          <p:nvSpPr>
            <p:cNvPr id="115" name="Oval 114">
              <a:extLst>
                <a:ext uri="{FF2B5EF4-FFF2-40B4-BE49-F238E27FC236}">
                  <a16:creationId xmlns:a16="http://schemas.microsoft.com/office/drawing/2014/main" id="{8FC3D41B-F940-F043-B166-9DA4C4BEFC44}"/>
                </a:ext>
              </a:extLst>
            </p:cNvPr>
            <p:cNvSpPr/>
            <p:nvPr/>
          </p:nvSpPr>
          <p:spPr>
            <a:xfrm>
              <a:off x="7352098" y="4199899"/>
              <a:ext cx="67540" cy="67540"/>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2"/>
            </a:p>
          </p:txBody>
        </p:sp>
        <p:sp>
          <p:nvSpPr>
            <p:cNvPr id="116" name="Oval 115">
              <a:extLst>
                <a:ext uri="{FF2B5EF4-FFF2-40B4-BE49-F238E27FC236}">
                  <a16:creationId xmlns:a16="http://schemas.microsoft.com/office/drawing/2014/main" id="{49C3E65F-CE08-6740-9D6A-F4549A18DB23}"/>
                </a:ext>
              </a:extLst>
            </p:cNvPr>
            <p:cNvSpPr/>
            <p:nvPr/>
          </p:nvSpPr>
          <p:spPr>
            <a:xfrm>
              <a:off x="7824931" y="4204403"/>
              <a:ext cx="67540" cy="67540"/>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2"/>
            </a:p>
          </p:txBody>
        </p:sp>
      </p:grpSp>
      <p:sp>
        <p:nvSpPr>
          <p:cNvPr id="20" name="Freeform 19">
            <a:extLst>
              <a:ext uri="{FF2B5EF4-FFF2-40B4-BE49-F238E27FC236}">
                <a16:creationId xmlns:a16="http://schemas.microsoft.com/office/drawing/2014/main" id="{8B2A3389-9D34-E044-9213-7A876A2567E3}"/>
              </a:ext>
            </a:extLst>
          </p:cNvPr>
          <p:cNvSpPr/>
          <p:nvPr/>
        </p:nvSpPr>
        <p:spPr>
          <a:xfrm>
            <a:off x="1718298" y="1343162"/>
            <a:ext cx="3872878" cy="1296940"/>
          </a:xfrm>
          <a:custGeom>
            <a:avLst/>
            <a:gdLst>
              <a:gd name="connsiteX0" fmla="*/ 0 w 4206875"/>
              <a:gd name="connsiteY0" fmla="*/ 0 h 1606550"/>
              <a:gd name="connsiteX1" fmla="*/ 174625 w 4206875"/>
              <a:gd name="connsiteY1" fmla="*/ 0 h 1606550"/>
              <a:gd name="connsiteX2" fmla="*/ 206375 w 4206875"/>
              <a:gd name="connsiteY2" fmla="*/ 31750 h 1606550"/>
              <a:gd name="connsiteX3" fmla="*/ 269875 w 4206875"/>
              <a:gd name="connsiteY3" fmla="*/ 41275 h 1606550"/>
              <a:gd name="connsiteX4" fmla="*/ 295275 w 4206875"/>
              <a:gd name="connsiteY4" fmla="*/ 50800 h 1606550"/>
              <a:gd name="connsiteX5" fmla="*/ 307975 w 4206875"/>
              <a:gd name="connsiteY5" fmla="*/ 82550 h 1606550"/>
              <a:gd name="connsiteX6" fmla="*/ 314325 w 4206875"/>
              <a:gd name="connsiteY6" fmla="*/ 111125 h 1606550"/>
              <a:gd name="connsiteX7" fmla="*/ 317500 w 4206875"/>
              <a:gd name="connsiteY7" fmla="*/ 139700 h 1606550"/>
              <a:gd name="connsiteX8" fmla="*/ 320675 w 4206875"/>
              <a:gd name="connsiteY8" fmla="*/ 193675 h 1606550"/>
              <a:gd name="connsiteX9" fmla="*/ 333375 w 4206875"/>
              <a:gd name="connsiteY9" fmla="*/ 238125 h 1606550"/>
              <a:gd name="connsiteX10" fmla="*/ 339725 w 4206875"/>
              <a:gd name="connsiteY10" fmla="*/ 279400 h 1606550"/>
              <a:gd name="connsiteX11" fmla="*/ 349250 w 4206875"/>
              <a:gd name="connsiteY11" fmla="*/ 336550 h 1606550"/>
              <a:gd name="connsiteX12" fmla="*/ 352425 w 4206875"/>
              <a:gd name="connsiteY12" fmla="*/ 466725 h 1606550"/>
              <a:gd name="connsiteX13" fmla="*/ 352425 w 4206875"/>
              <a:gd name="connsiteY13" fmla="*/ 546100 h 1606550"/>
              <a:gd name="connsiteX14" fmla="*/ 355600 w 4206875"/>
              <a:gd name="connsiteY14" fmla="*/ 641350 h 1606550"/>
              <a:gd name="connsiteX15" fmla="*/ 361950 w 4206875"/>
              <a:gd name="connsiteY15" fmla="*/ 723900 h 1606550"/>
              <a:gd name="connsiteX16" fmla="*/ 371475 w 4206875"/>
              <a:gd name="connsiteY16" fmla="*/ 790575 h 1606550"/>
              <a:gd name="connsiteX17" fmla="*/ 403225 w 4206875"/>
              <a:gd name="connsiteY17" fmla="*/ 847725 h 1606550"/>
              <a:gd name="connsiteX18" fmla="*/ 447675 w 4206875"/>
              <a:gd name="connsiteY18" fmla="*/ 879475 h 1606550"/>
              <a:gd name="connsiteX19" fmla="*/ 447675 w 4206875"/>
              <a:gd name="connsiteY19" fmla="*/ 914400 h 1606550"/>
              <a:gd name="connsiteX20" fmla="*/ 565150 w 4206875"/>
              <a:gd name="connsiteY20" fmla="*/ 914400 h 1606550"/>
              <a:gd name="connsiteX21" fmla="*/ 571500 w 4206875"/>
              <a:gd name="connsiteY21" fmla="*/ 936625 h 1606550"/>
              <a:gd name="connsiteX22" fmla="*/ 666750 w 4206875"/>
              <a:gd name="connsiteY22" fmla="*/ 939800 h 1606550"/>
              <a:gd name="connsiteX23" fmla="*/ 704850 w 4206875"/>
              <a:gd name="connsiteY23" fmla="*/ 996950 h 1606550"/>
              <a:gd name="connsiteX24" fmla="*/ 733425 w 4206875"/>
              <a:gd name="connsiteY24" fmla="*/ 1041400 h 1606550"/>
              <a:gd name="connsiteX25" fmla="*/ 749300 w 4206875"/>
              <a:gd name="connsiteY25" fmla="*/ 1069975 h 1606550"/>
              <a:gd name="connsiteX26" fmla="*/ 977900 w 4206875"/>
              <a:gd name="connsiteY26" fmla="*/ 1076325 h 1606550"/>
              <a:gd name="connsiteX27" fmla="*/ 977900 w 4206875"/>
              <a:gd name="connsiteY27" fmla="*/ 1076325 h 1606550"/>
              <a:gd name="connsiteX28" fmla="*/ 1047750 w 4206875"/>
              <a:gd name="connsiteY28" fmla="*/ 1098550 h 1606550"/>
              <a:gd name="connsiteX29" fmla="*/ 1082675 w 4206875"/>
              <a:gd name="connsiteY29" fmla="*/ 1158875 h 1606550"/>
              <a:gd name="connsiteX30" fmla="*/ 1123950 w 4206875"/>
              <a:gd name="connsiteY30" fmla="*/ 1177925 h 1606550"/>
              <a:gd name="connsiteX31" fmla="*/ 1123950 w 4206875"/>
              <a:gd name="connsiteY31" fmla="*/ 1177925 h 1606550"/>
              <a:gd name="connsiteX32" fmla="*/ 1149350 w 4206875"/>
              <a:gd name="connsiteY32" fmla="*/ 1203325 h 1606550"/>
              <a:gd name="connsiteX33" fmla="*/ 1285875 w 4206875"/>
              <a:gd name="connsiteY33" fmla="*/ 1203325 h 1606550"/>
              <a:gd name="connsiteX34" fmla="*/ 1285875 w 4206875"/>
              <a:gd name="connsiteY34" fmla="*/ 1203325 h 1606550"/>
              <a:gd name="connsiteX35" fmla="*/ 1285875 w 4206875"/>
              <a:gd name="connsiteY35" fmla="*/ 1231900 h 1606550"/>
              <a:gd name="connsiteX36" fmla="*/ 1441450 w 4206875"/>
              <a:gd name="connsiteY36" fmla="*/ 1231900 h 1606550"/>
              <a:gd name="connsiteX37" fmla="*/ 1441450 w 4206875"/>
              <a:gd name="connsiteY37" fmla="*/ 1231900 h 1606550"/>
              <a:gd name="connsiteX38" fmla="*/ 1463675 w 4206875"/>
              <a:gd name="connsiteY38" fmla="*/ 1266825 h 1606550"/>
              <a:gd name="connsiteX39" fmla="*/ 1543050 w 4206875"/>
              <a:gd name="connsiteY39" fmla="*/ 1266825 h 1606550"/>
              <a:gd name="connsiteX40" fmla="*/ 1543050 w 4206875"/>
              <a:gd name="connsiteY40" fmla="*/ 1266825 h 1606550"/>
              <a:gd name="connsiteX41" fmla="*/ 1543050 w 4206875"/>
              <a:gd name="connsiteY41" fmla="*/ 1266825 h 1606550"/>
              <a:gd name="connsiteX42" fmla="*/ 1543050 w 4206875"/>
              <a:gd name="connsiteY42" fmla="*/ 1266825 h 1606550"/>
              <a:gd name="connsiteX43" fmla="*/ 1714500 w 4206875"/>
              <a:gd name="connsiteY43" fmla="*/ 1266825 h 1606550"/>
              <a:gd name="connsiteX44" fmla="*/ 1714500 w 4206875"/>
              <a:gd name="connsiteY44" fmla="*/ 1311275 h 1606550"/>
              <a:gd name="connsiteX45" fmla="*/ 1816100 w 4206875"/>
              <a:gd name="connsiteY45" fmla="*/ 1311275 h 1606550"/>
              <a:gd name="connsiteX46" fmla="*/ 1835150 w 4206875"/>
              <a:gd name="connsiteY46" fmla="*/ 1330325 h 1606550"/>
              <a:gd name="connsiteX47" fmla="*/ 1873250 w 4206875"/>
              <a:gd name="connsiteY47" fmla="*/ 1330325 h 1606550"/>
              <a:gd name="connsiteX48" fmla="*/ 1873250 w 4206875"/>
              <a:gd name="connsiteY48" fmla="*/ 1358900 h 1606550"/>
              <a:gd name="connsiteX49" fmla="*/ 2041525 w 4206875"/>
              <a:gd name="connsiteY49" fmla="*/ 1358900 h 1606550"/>
              <a:gd name="connsiteX50" fmla="*/ 2041525 w 4206875"/>
              <a:gd name="connsiteY50" fmla="*/ 1358900 h 1606550"/>
              <a:gd name="connsiteX51" fmla="*/ 2159000 w 4206875"/>
              <a:gd name="connsiteY51" fmla="*/ 1358900 h 1606550"/>
              <a:gd name="connsiteX52" fmla="*/ 2159000 w 4206875"/>
              <a:gd name="connsiteY52" fmla="*/ 1403350 h 1606550"/>
              <a:gd name="connsiteX53" fmla="*/ 2206625 w 4206875"/>
              <a:gd name="connsiteY53" fmla="*/ 1403350 h 1606550"/>
              <a:gd name="connsiteX54" fmla="*/ 2225675 w 4206875"/>
              <a:gd name="connsiteY54" fmla="*/ 1422400 h 1606550"/>
              <a:gd name="connsiteX55" fmla="*/ 2581275 w 4206875"/>
              <a:gd name="connsiteY55" fmla="*/ 1422400 h 1606550"/>
              <a:gd name="connsiteX56" fmla="*/ 2581275 w 4206875"/>
              <a:gd name="connsiteY56" fmla="*/ 1454150 h 1606550"/>
              <a:gd name="connsiteX57" fmla="*/ 2936875 w 4206875"/>
              <a:gd name="connsiteY57" fmla="*/ 1454150 h 1606550"/>
              <a:gd name="connsiteX58" fmla="*/ 2952750 w 4206875"/>
              <a:gd name="connsiteY58" fmla="*/ 1470025 h 1606550"/>
              <a:gd name="connsiteX59" fmla="*/ 3067050 w 4206875"/>
              <a:gd name="connsiteY59" fmla="*/ 1470025 h 1606550"/>
              <a:gd name="connsiteX60" fmla="*/ 3067050 w 4206875"/>
              <a:gd name="connsiteY60" fmla="*/ 1527175 h 1606550"/>
              <a:gd name="connsiteX61" fmla="*/ 3683000 w 4206875"/>
              <a:gd name="connsiteY61" fmla="*/ 1527175 h 1606550"/>
              <a:gd name="connsiteX62" fmla="*/ 3683000 w 4206875"/>
              <a:gd name="connsiteY62" fmla="*/ 1606550 h 1606550"/>
              <a:gd name="connsiteX63" fmla="*/ 3717925 w 4206875"/>
              <a:gd name="connsiteY63" fmla="*/ 1606550 h 1606550"/>
              <a:gd name="connsiteX64" fmla="*/ 4206875 w 4206875"/>
              <a:gd name="connsiteY64" fmla="*/ 1606550 h 1606550"/>
              <a:gd name="connsiteX0" fmla="*/ 0 w 4797425"/>
              <a:gd name="connsiteY0" fmla="*/ 0 h 1606550"/>
              <a:gd name="connsiteX1" fmla="*/ 174625 w 4797425"/>
              <a:gd name="connsiteY1" fmla="*/ 0 h 1606550"/>
              <a:gd name="connsiteX2" fmla="*/ 206375 w 4797425"/>
              <a:gd name="connsiteY2" fmla="*/ 31750 h 1606550"/>
              <a:gd name="connsiteX3" fmla="*/ 269875 w 4797425"/>
              <a:gd name="connsiteY3" fmla="*/ 41275 h 1606550"/>
              <a:gd name="connsiteX4" fmla="*/ 295275 w 4797425"/>
              <a:gd name="connsiteY4" fmla="*/ 50800 h 1606550"/>
              <a:gd name="connsiteX5" fmla="*/ 307975 w 4797425"/>
              <a:gd name="connsiteY5" fmla="*/ 82550 h 1606550"/>
              <a:gd name="connsiteX6" fmla="*/ 314325 w 4797425"/>
              <a:gd name="connsiteY6" fmla="*/ 111125 h 1606550"/>
              <a:gd name="connsiteX7" fmla="*/ 317500 w 4797425"/>
              <a:gd name="connsiteY7" fmla="*/ 139700 h 1606550"/>
              <a:gd name="connsiteX8" fmla="*/ 320675 w 4797425"/>
              <a:gd name="connsiteY8" fmla="*/ 193675 h 1606550"/>
              <a:gd name="connsiteX9" fmla="*/ 333375 w 4797425"/>
              <a:gd name="connsiteY9" fmla="*/ 238125 h 1606550"/>
              <a:gd name="connsiteX10" fmla="*/ 339725 w 4797425"/>
              <a:gd name="connsiteY10" fmla="*/ 279400 h 1606550"/>
              <a:gd name="connsiteX11" fmla="*/ 349250 w 4797425"/>
              <a:gd name="connsiteY11" fmla="*/ 336550 h 1606550"/>
              <a:gd name="connsiteX12" fmla="*/ 352425 w 4797425"/>
              <a:gd name="connsiteY12" fmla="*/ 466725 h 1606550"/>
              <a:gd name="connsiteX13" fmla="*/ 352425 w 4797425"/>
              <a:gd name="connsiteY13" fmla="*/ 546100 h 1606550"/>
              <a:gd name="connsiteX14" fmla="*/ 355600 w 4797425"/>
              <a:gd name="connsiteY14" fmla="*/ 641350 h 1606550"/>
              <a:gd name="connsiteX15" fmla="*/ 361950 w 4797425"/>
              <a:gd name="connsiteY15" fmla="*/ 723900 h 1606550"/>
              <a:gd name="connsiteX16" fmla="*/ 371475 w 4797425"/>
              <a:gd name="connsiteY16" fmla="*/ 790575 h 1606550"/>
              <a:gd name="connsiteX17" fmla="*/ 403225 w 4797425"/>
              <a:gd name="connsiteY17" fmla="*/ 847725 h 1606550"/>
              <a:gd name="connsiteX18" fmla="*/ 447675 w 4797425"/>
              <a:gd name="connsiteY18" fmla="*/ 879475 h 1606550"/>
              <a:gd name="connsiteX19" fmla="*/ 447675 w 4797425"/>
              <a:gd name="connsiteY19" fmla="*/ 914400 h 1606550"/>
              <a:gd name="connsiteX20" fmla="*/ 565150 w 4797425"/>
              <a:gd name="connsiteY20" fmla="*/ 914400 h 1606550"/>
              <a:gd name="connsiteX21" fmla="*/ 571500 w 4797425"/>
              <a:gd name="connsiteY21" fmla="*/ 936625 h 1606550"/>
              <a:gd name="connsiteX22" fmla="*/ 666750 w 4797425"/>
              <a:gd name="connsiteY22" fmla="*/ 939800 h 1606550"/>
              <a:gd name="connsiteX23" fmla="*/ 704850 w 4797425"/>
              <a:gd name="connsiteY23" fmla="*/ 996950 h 1606550"/>
              <a:gd name="connsiteX24" fmla="*/ 733425 w 4797425"/>
              <a:gd name="connsiteY24" fmla="*/ 1041400 h 1606550"/>
              <a:gd name="connsiteX25" fmla="*/ 749300 w 4797425"/>
              <a:gd name="connsiteY25" fmla="*/ 1069975 h 1606550"/>
              <a:gd name="connsiteX26" fmla="*/ 977900 w 4797425"/>
              <a:gd name="connsiteY26" fmla="*/ 1076325 h 1606550"/>
              <a:gd name="connsiteX27" fmla="*/ 977900 w 4797425"/>
              <a:gd name="connsiteY27" fmla="*/ 1076325 h 1606550"/>
              <a:gd name="connsiteX28" fmla="*/ 1047750 w 4797425"/>
              <a:gd name="connsiteY28" fmla="*/ 1098550 h 1606550"/>
              <a:gd name="connsiteX29" fmla="*/ 1082675 w 4797425"/>
              <a:gd name="connsiteY29" fmla="*/ 1158875 h 1606550"/>
              <a:gd name="connsiteX30" fmla="*/ 1123950 w 4797425"/>
              <a:gd name="connsiteY30" fmla="*/ 1177925 h 1606550"/>
              <a:gd name="connsiteX31" fmla="*/ 1123950 w 4797425"/>
              <a:gd name="connsiteY31" fmla="*/ 1177925 h 1606550"/>
              <a:gd name="connsiteX32" fmla="*/ 1149350 w 4797425"/>
              <a:gd name="connsiteY32" fmla="*/ 1203325 h 1606550"/>
              <a:gd name="connsiteX33" fmla="*/ 1285875 w 4797425"/>
              <a:gd name="connsiteY33" fmla="*/ 1203325 h 1606550"/>
              <a:gd name="connsiteX34" fmla="*/ 1285875 w 4797425"/>
              <a:gd name="connsiteY34" fmla="*/ 1203325 h 1606550"/>
              <a:gd name="connsiteX35" fmla="*/ 1285875 w 4797425"/>
              <a:gd name="connsiteY35" fmla="*/ 1231900 h 1606550"/>
              <a:gd name="connsiteX36" fmla="*/ 1441450 w 4797425"/>
              <a:gd name="connsiteY36" fmla="*/ 1231900 h 1606550"/>
              <a:gd name="connsiteX37" fmla="*/ 1441450 w 4797425"/>
              <a:gd name="connsiteY37" fmla="*/ 1231900 h 1606550"/>
              <a:gd name="connsiteX38" fmla="*/ 1463675 w 4797425"/>
              <a:gd name="connsiteY38" fmla="*/ 1266825 h 1606550"/>
              <a:gd name="connsiteX39" fmla="*/ 1543050 w 4797425"/>
              <a:gd name="connsiteY39" fmla="*/ 1266825 h 1606550"/>
              <a:gd name="connsiteX40" fmla="*/ 1543050 w 4797425"/>
              <a:gd name="connsiteY40" fmla="*/ 1266825 h 1606550"/>
              <a:gd name="connsiteX41" fmla="*/ 1543050 w 4797425"/>
              <a:gd name="connsiteY41" fmla="*/ 1266825 h 1606550"/>
              <a:gd name="connsiteX42" fmla="*/ 1543050 w 4797425"/>
              <a:gd name="connsiteY42" fmla="*/ 1266825 h 1606550"/>
              <a:gd name="connsiteX43" fmla="*/ 1714500 w 4797425"/>
              <a:gd name="connsiteY43" fmla="*/ 1266825 h 1606550"/>
              <a:gd name="connsiteX44" fmla="*/ 1714500 w 4797425"/>
              <a:gd name="connsiteY44" fmla="*/ 1311275 h 1606550"/>
              <a:gd name="connsiteX45" fmla="*/ 1816100 w 4797425"/>
              <a:gd name="connsiteY45" fmla="*/ 1311275 h 1606550"/>
              <a:gd name="connsiteX46" fmla="*/ 1835150 w 4797425"/>
              <a:gd name="connsiteY46" fmla="*/ 1330325 h 1606550"/>
              <a:gd name="connsiteX47" fmla="*/ 1873250 w 4797425"/>
              <a:gd name="connsiteY47" fmla="*/ 1330325 h 1606550"/>
              <a:gd name="connsiteX48" fmla="*/ 1873250 w 4797425"/>
              <a:gd name="connsiteY48" fmla="*/ 1358900 h 1606550"/>
              <a:gd name="connsiteX49" fmla="*/ 2041525 w 4797425"/>
              <a:gd name="connsiteY49" fmla="*/ 1358900 h 1606550"/>
              <a:gd name="connsiteX50" fmla="*/ 2041525 w 4797425"/>
              <a:gd name="connsiteY50" fmla="*/ 1358900 h 1606550"/>
              <a:gd name="connsiteX51" fmla="*/ 2159000 w 4797425"/>
              <a:gd name="connsiteY51" fmla="*/ 1358900 h 1606550"/>
              <a:gd name="connsiteX52" fmla="*/ 2159000 w 4797425"/>
              <a:gd name="connsiteY52" fmla="*/ 1403350 h 1606550"/>
              <a:gd name="connsiteX53" fmla="*/ 2206625 w 4797425"/>
              <a:gd name="connsiteY53" fmla="*/ 1403350 h 1606550"/>
              <a:gd name="connsiteX54" fmla="*/ 2225675 w 4797425"/>
              <a:gd name="connsiteY54" fmla="*/ 1422400 h 1606550"/>
              <a:gd name="connsiteX55" fmla="*/ 2581275 w 4797425"/>
              <a:gd name="connsiteY55" fmla="*/ 1422400 h 1606550"/>
              <a:gd name="connsiteX56" fmla="*/ 2581275 w 4797425"/>
              <a:gd name="connsiteY56" fmla="*/ 1454150 h 1606550"/>
              <a:gd name="connsiteX57" fmla="*/ 2936875 w 4797425"/>
              <a:gd name="connsiteY57" fmla="*/ 1454150 h 1606550"/>
              <a:gd name="connsiteX58" fmla="*/ 2952750 w 4797425"/>
              <a:gd name="connsiteY58" fmla="*/ 1470025 h 1606550"/>
              <a:gd name="connsiteX59" fmla="*/ 3067050 w 4797425"/>
              <a:gd name="connsiteY59" fmla="*/ 1470025 h 1606550"/>
              <a:gd name="connsiteX60" fmla="*/ 3067050 w 4797425"/>
              <a:gd name="connsiteY60" fmla="*/ 1527175 h 1606550"/>
              <a:gd name="connsiteX61" fmla="*/ 3683000 w 4797425"/>
              <a:gd name="connsiteY61" fmla="*/ 1527175 h 1606550"/>
              <a:gd name="connsiteX62" fmla="*/ 3683000 w 4797425"/>
              <a:gd name="connsiteY62" fmla="*/ 1606550 h 1606550"/>
              <a:gd name="connsiteX63" fmla="*/ 3717925 w 4797425"/>
              <a:gd name="connsiteY63" fmla="*/ 1606550 h 1606550"/>
              <a:gd name="connsiteX64" fmla="*/ 4797425 w 4797425"/>
              <a:gd name="connsiteY64" fmla="*/ 1600200 h 1606550"/>
              <a:gd name="connsiteX0" fmla="*/ 0 w 4797425"/>
              <a:gd name="connsiteY0" fmla="*/ 0 h 1606550"/>
              <a:gd name="connsiteX1" fmla="*/ 174625 w 4797425"/>
              <a:gd name="connsiteY1" fmla="*/ 0 h 1606550"/>
              <a:gd name="connsiteX2" fmla="*/ 206375 w 4797425"/>
              <a:gd name="connsiteY2" fmla="*/ 31750 h 1606550"/>
              <a:gd name="connsiteX3" fmla="*/ 269875 w 4797425"/>
              <a:gd name="connsiteY3" fmla="*/ 41275 h 1606550"/>
              <a:gd name="connsiteX4" fmla="*/ 295275 w 4797425"/>
              <a:gd name="connsiteY4" fmla="*/ 50800 h 1606550"/>
              <a:gd name="connsiteX5" fmla="*/ 307975 w 4797425"/>
              <a:gd name="connsiteY5" fmla="*/ 82550 h 1606550"/>
              <a:gd name="connsiteX6" fmla="*/ 314325 w 4797425"/>
              <a:gd name="connsiteY6" fmla="*/ 111125 h 1606550"/>
              <a:gd name="connsiteX7" fmla="*/ 317500 w 4797425"/>
              <a:gd name="connsiteY7" fmla="*/ 139700 h 1606550"/>
              <a:gd name="connsiteX8" fmla="*/ 320675 w 4797425"/>
              <a:gd name="connsiteY8" fmla="*/ 193675 h 1606550"/>
              <a:gd name="connsiteX9" fmla="*/ 333375 w 4797425"/>
              <a:gd name="connsiteY9" fmla="*/ 238125 h 1606550"/>
              <a:gd name="connsiteX10" fmla="*/ 339725 w 4797425"/>
              <a:gd name="connsiteY10" fmla="*/ 279400 h 1606550"/>
              <a:gd name="connsiteX11" fmla="*/ 349250 w 4797425"/>
              <a:gd name="connsiteY11" fmla="*/ 336550 h 1606550"/>
              <a:gd name="connsiteX12" fmla="*/ 352425 w 4797425"/>
              <a:gd name="connsiteY12" fmla="*/ 466725 h 1606550"/>
              <a:gd name="connsiteX13" fmla="*/ 352425 w 4797425"/>
              <a:gd name="connsiteY13" fmla="*/ 546100 h 1606550"/>
              <a:gd name="connsiteX14" fmla="*/ 355600 w 4797425"/>
              <a:gd name="connsiteY14" fmla="*/ 641350 h 1606550"/>
              <a:gd name="connsiteX15" fmla="*/ 361950 w 4797425"/>
              <a:gd name="connsiteY15" fmla="*/ 723900 h 1606550"/>
              <a:gd name="connsiteX16" fmla="*/ 371475 w 4797425"/>
              <a:gd name="connsiteY16" fmla="*/ 790575 h 1606550"/>
              <a:gd name="connsiteX17" fmla="*/ 403225 w 4797425"/>
              <a:gd name="connsiteY17" fmla="*/ 847725 h 1606550"/>
              <a:gd name="connsiteX18" fmla="*/ 447675 w 4797425"/>
              <a:gd name="connsiteY18" fmla="*/ 879475 h 1606550"/>
              <a:gd name="connsiteX19" fmla="*/ 447675 w 4797425"/>
              <a:gd name="connsiteY19" fmla="*/ 914400 h 1606550"/>
              <a:gd name="connsiteX20" fmla="*/ 565150 w 4797425"/>
              <a:gd name="connsiteY20" fmla="*/ 914400 h 1606550"/>
              <a:gd name="connsiteX21" fmla="*/ 571500 w 4797425"/>
              <a:gd name="connsiteY21" fmla="*/ 936625 h 1606550"/>
              <a:gd name="connsiteX22" fmla="*/ 666750 w 4797425"/>
              <a:gd name="connsiteY22" fmla="*/ 939800 h 1606550"/>
              <a:gd name="connsiteX23" fmla="*/ 704850 w 4797425"/>
              <a:gd name="connsiteY23" fmla="*/ 996950 h 1606550"/>
              <a:gd name="connsiteX24" fmla="*/ 733425 w 4797425"/>
              <a:gd name="connsiteY24" fmla="*/ 1041400 h 1606550"/>
              <a:gd name="connsiteX25" fmla="*/ 749300 w 4797425"/>
              <a:gd name="connsiteY25" fmla="*/ 1069975 h 1606550"/>
              <a:gd name="connsiteX26" fmla="*/ 977900 w 4797425"/>
              <a:gd name="connsiteY26" fmla="*/ 1076325 h 1606550"/>
              <a:gd name="connsiteX27" fmla="*/ 977900 w 4797425"/>
              <a:gd name="connsiteY27" fmla="*/ 1076325 h 1606550"/>
              <a:gd name="connsiteX28" fmla="*/ 987425 w 4797425"/>
              <a:gd name="connsiteY28" fmla="*/ 1085850 h 1606550"/>
              <a:gd name="connsiteX29" fmla="*/ 1047750 w 4797425"/>
              <a:gd name="connsiteY29" fmla="*/ 1098550 h 1606550"/>
              <a:gd name="connsiteX30" fmla="*/ 1082675 w 4797425"/>
              <a:gd name="connsiteY30" fmla="*/ 1158875 h 1606550"/>
              <a:gd name="connsiteX31" fmla="*/ 1123950 w 4797425"/>
              <a:gd name="connsiteY31" fmla="*/ 1177925 h 1606550"/>
              <a:gd name="connsiteX32" fmla="*/ 1123950 w 4797425"/>
              <a:gd name="connsiteY32" fmla="*/ 1177925 h 1606550"/>
              <a:gd name="connsiteX33" fmla="*/ 1149350 w 4797425"/>
              <a:gd name="connsiteY33" fmla="*/ 1203325 h 1606550"/>
              <a:gd name="connsiteX34" fmla="*/ 1285875 w 4797425"/>
              <a:gd name="connsiteY34" fmla="*/ 1203325 h 1606550"/>
              <a:gd name="connsiteX35" fmla="*/ 1285875 w 4797425"/>
              <a:gd name="connsiteY35" fmla="*/ 1203325 h 1606550"/>
              <a:gd name="connsiteX36" fmla="*/ 1285875 w 4797425"/>
              <a:gd name="connsiteY36" fmla="*/ 1231900 h 1606550"/>
              <a:gd name="connsiteX37" fmla="*/ 1441450 w 4797425"/>
              <a:gd name="connsiteY37" fmla="*/ 1231900 h 1606550"/>
              <a:gd name="connsiteX38" fmla="*/ 1441450 w 4797425"/>
              <a:gd name="connsiteY38" fmla="*/ 1231900 h 1606550"/>
              <a:gd name="connsiteX39" fmla="*/ 1463675 w 4797425"/>
              <a:gd name="connsiteY39" fmla="*/ 1266825 h 1606550"/>
              <a:gd name="connsiteX40" fmla="*/ 1543050 w 4797425"/>
              <a:gd name="connsiteY40" fmla="*/ 1266825 h 1606550"/>
              <a:gd name="connsiteX41" fmla="*/ 1543050 w 4797425"/>
              <a:gd name="connsiteY41" fmla="*/ 1266825 h 1606550"/>
              <a:gd name="connsiteX42" fmla="*/ 1543050 w 4797425"/>
              <a:gd name="connsiteY42" fmla="*/ 1266825 h 1606550"/>
              <a:gd name="connsiteX43" fmla="*/ 1543050 w 4797425"/>
              <a:gd name="connsiteY43" fmla="*/ 1266825 h 1606550"/>
              <a:gd name="connsiteX44" fmla="*/ 1714500 w 4797425"/>
              <a:gd name="connsiteY44" fmla="*/ 1266825 h 1606550"/>
              <a:gd name="connsiteX45" fmla="*/ 1714500 w 4797425"/>
              <a:gd name="connsiteY45" fmla="*/ 1311275 h 1606550"/>
              <a:gd name="connsiteX46" fmla="*/ 1816100 w 4797425"/>
              <a:gd name="connsiteY46" fmla="*/ 1311275 h 1606550"/>
              <a:gd name="connsiteX47" fmla="*/ 1835150 w 4797425"/>
              <a:gd name="connsiteY47" fmla="*/ 1330325 h 1606550"/>
              <a:gd name="connsiteX48" fmla="*/ 1873250 w 4797425"/>
              <a:gd name="connsiteY48" fmla="*/ 1330325 h 1606550"/>
              <a:gd name="connsiteX49" fmla="*/ 1873250 w 4797425"/>
              <a:gd name="connsiteY49" fmla="*/ 1358900 h 1606550"/>
              <a:gd name="connsiteX50" fmla="*/ 2041525 w 4797425"/>
              <a:gd name="connsiteY50" fmla="*/ 1358900 h 1606550"/>
              <a:gd name="connsiteX51" fmla="*/ 2041525 w 4797425"/>
              <a:gd name="connsiteY51" fmla="*/ 1358900 h 1606550"/>
              <a:gd name="connsiteX52" fmla="*/ 2159000 w 4797425"/>
              <a:gd name="connsiteY52" fmla="*/ 1358900 h 1606550"/>
              <a:gd name="connsiteX53" fmla="*/ 2159000 w 4797425"/>
              <a:gd name="connsiteY53" fmla="*/ 1403350 h 1606550"/>
              <a:gd name="connsiteX54" fmla="*/ 2206625 w 4797425"/>
              <a:gd name="connsiteY54" fmla="*/ 1403350 h 1606550"/>
              <a:gd name="connsiteX55" fmla="*/ 2225675 w 4797425"/>
              <a:gd name="connsiteY55" fmla="*/ 1422400 h 1606550"/>
              <a:gd name="connsiteX56" fmla="*/ 2581275 w 4797425"/>
              <a:gd name="connsiteY56" fmla="*/ 1422400 h 1606550"/>
              <a:gd name="connsiteX57" fmla="*/ 2581275 w 4797425"/>
              <a:gd name="connsiteY57" fmla="*/ 1454150 h 1606550"/>
              <a:gd name="connsiteX58" fmla="*/ 2936875 w 4797425"/>
              <a:gd name="connsiteY58" fmla="*/ 1454150 h 1606550"/>
              <a:gd name="connsiteX59" fmla="*/ 2952750 w 4797425"/>
              <a:gd name="connsiteY59" fmla="*/ 1470025 h 1606550"/>
              <a:gd name="connsiteX60" fmla="*/ 3067050 w 4797425"/>
              <a:gd name="connsiteY60" fmla="*/ 1470025 h 1606550"/>
              <a:gd name="connsiteX61" fmla="*/ 3067050 w 4797425"/>
              <a:gd name="connsiteY61" fmla="*/ 1527175 h 1606550"/>
              <a:gd name="connsiteX62" fmla="*/ 3683000 w 4797425"/>
              <a:gd name="connsiteY62" fmla="*/ 1527175 h 1606550"/>
              <a:gd name="connsiteX63" fmla="*/ 3683000 w 4797425"/>
              <a:gd name="connsiteY63" fmla="*/ 1606550 h 1606550"/>
              <a:gd name="connsiteX64" fmla="*/ 3717925 w 4797425"/>
              <a:gd name="connsiteY64" fmla="*/ 1606550 h 1606550"/>
              <a:gd name="connsiteX65" fmla="*/ 4797425 w 4797425"/>
              <a:gd name="connsiteY65" fmla="*/ 1600200 h 1606550"/>
              <a:gd name="connsiteX0" fmla="*/ 0 w 4797425"/>
              <a:gd name="connsiteY0" fmla="*/ 0 h 1606550"/>
              <a:gd name="connsiteX1" fmla="*/ 174625 w 4797425"/>
              <a:gd name="connsiteY1" fmla="*/ 0 h 1606550"/>
              <a:gd name="connsiteX2" fmla="*/ 206375 w 4797425"/>
              <a:gd name="connsiteY2" fmla="*/ 31750 h 1606550"/>
              <a:gd name="connsiteX3" fmla="*/ 269875 w 4797425"/>
              <a:gd name="connsiteY3" fmla="*/ 41275 h 1606550"/>
              <a:gd name="connsiteX4" fmla="*/ 295275 w 4797425"/>
              <a:gd name="connsiteY4" fmla="*/ 50800 h 1606550"/>
              <a:gd name="connsiteX5" fmla="*/ 307975 w 4797425"/>
              <a:gd name="connsiteY5" fmla="*/ 82550 h 1606550"/>
              <a:gd name="connsiteX6" fmla="*/ 314325 w 4797425"/>
              <a:gd name="connsiteY6" fmla="*/ 111125 h 1606550"/>
              <a:gd name="connsiteX7" fmla="*/ 317500 w 4797425"/>
              <a:gd name="connsiteY7" fmla="*/ 139700 h 1606550"/>
              <a:gd name="connsiteX8" fmla="*/ 320675 w 4797425"/>
              <a:gd name="connsiteY8" fmla="*/ 193675 h 1606550"/>
              <a:gd name="connsiteX9" fmla="*/ 333375 w 4797425"/>
              <a:gd name="connsiteY9" fmla="*/ 238125 h 1606550"/>
              <a:gd name="connsiteX10" fmla="*/ 339725 w 4797425"/>
              <a:gd name="connsiteY10" fmla="*/ 279400 h 1606550"/>
              <a:gd name="connsiteX11" fmla="*/ 349250 w 4797425"/>
              <a:gd name="connsiteY11" fmla="*/ 336550 h 1606550"/>
              <a:gd name="connsiteX12" fmla="*/ 352425 w 4797425"/>
              <a:gd name="connsiteY12" fmla="*/ 466725 h 1606550"/>
              <a:gd name="connsiteX13" fmla="*/ 352425 w 4797425"/>
              <a:gd name="connsiteY13" fmla="*/ 546100 h 1606550"/>
              <a:gd name="connsiteX14" fmla="*/ 355600 w 4797425"/>
              <a:gd name="connsiteY14" fmla="*/ 641350 h 1606550"/>
              <a:gd name="connsiteX15" fmla="*/ 361950 w 4797425"/>
              <a:gd name="connsiteY15" fmla="*/ 723900 h 1606550"/>
              <a:gd name="connsiteX16" fmla="*/ 371475 w 4797425"/>
              <a:gd name="connsiteY16" fmla="*/ 790575 h 1606550"/>
              <a:gd name="connsiteX17" fmla="*/ 403225 w 4797425"/>
              <a:gd name="connsiteY17" fmla="*/ 847725 h 1606550"/>
              <a:gd name="connsiteX18" fmla="*/ 447675 w 4797425"/>
              <a:gd name="connsiteY18" fmla="*/ 879475 h 1606550"/>
              <a:gd name="connsiteX19" fmla="*/ 447675 w 4797425"/>
              <a:gd name="connsiteY19" fmla="*/ 914400 h 1606550"/>
              <a:gd name="connsiteX20" fmla="*/ 565150 w 4797425"/>
              <a:gd name="connsiteY20" fmla="*/ 914400 h 1606550"/>
              <a:gd name="connsiteX21" fmla="*/ 571500 w 4797425"/>
              <a:gd name="connsiteY21" fmla="*/ 936625 h 1606550"/>
              <a:gd name="connsiteX22" fmla="*/ 666750 w 4797425"/>
              <a:gd name="connsiteY22" fmla="*/ 939800 h 1606550"/>
              <a:gd name="connsiteX23" fmla="*/ 704850 w 4797425"/>
              <a:gd name="connsiteY23" fmla="*/ 996950 h 1606550"/>
              <a:gd name="connsiteX24" fmla="*/ 733425 w 4797425"/>
              <a:gd name="connsiteY24" fmla="*/ 1041400 h 1606550"/>
              <a:gd name="connsiteX25" fmla="*/ 749300 w 4797425"/>
              <a:gd name="connsiteY25" fmla="*/ 1069975 h 1606550"/>
              <a:gd name="connsiteX26" fmla="*/ 977900 w 4797425"/>
              <a:gd name="connsiteY26" fmla="*/ 1076325 h 1606550"/>
              <a:gd name="connsiteX27" fmla="*/ 977900 w 4797425"/>
              <a:gd name="connsiteY27" fmla="*/ 1076325 h 1606550"/>
              <a:gd name="connsiteX28" fmla="*/ 987425 w 4797425"/>
              <a:gd name="connsiteY28" fmla="*/ 1085850 h 1606550"/>
              <a:gd name="connsiteX29" fmla="*/ 1047750 w 4797425"/>
              <a:gd name="connsiteY29" fmla="*/ 1098550 h 1606550"/>
              <a:gd name="connsiteX30" fmla="*/ 1082675 w 4797425"/>
              <a:gd name="connsiteY30" fmla="*/ 1158875 h 1606550"/>
              <a:gd name="connsiteX31" fmla="*/ 1123950 w 4797425"/>
              <a:gd name="connsiteY31" fmla="*/ 1177925 h 1606550"/>
              <a:gd name="connsiteX32" fmla="*/ 1123950 w 4797425"/>
              <a:gd name="connsiteY32" fmla="*/ 1177925 h 1606550"/>
              <a:gd name="connsiteX33" fmla="*/ 1149350 w 4797425"/>
              <a:gd name="connsiteY33" fmla="*/ 1203325 h 1606550"/>
              <a:gd name="connsiteX34" fmla="*/ 1285875 w 4797425"/>
              <a:gd name="connsiteY34" fmla="*/ 1203325 h 1606550"/>
              <a:gd name="connsiteX35" fmla="*/ 1285875 w 4797425"/>
              <a:gd name="connsiteY35" fmla="*/ 1203325 h 1606550"/>
              <a:gd name="connsiteX36" fmla="*/ 1285875 w 4797425"/>
              <a:gd name="connsiteY36" fmla="*/ 1231900 h 1606550"/>
              <a:gd name="connsiteX37" fmla="*/ 1441450 w 4797425"/>
              <a:gd name="connsiteY37" fmla="*/ 1231900 h 1606550"/>
              <a:gd name="connsiteX38" fmla="*/ 1441450 w 4797425"/>
              <a:gd name="connsiteY38" fmla="*/ 1231900 h 1606550"/>
              <a:gd name="connsiteX39" fmla="*/ 1463675 w 4797425"/>
              <a:gd name="connsiteY39" fmla="*/ 1266825 h 1606550"/>
              <a:gd name="connsiteX40" fmla="*/ 1543050 w 4797425"/>
              <a:gd name="connsiteY40" fmla="*/ 1266825 h 1606550"/>
              <a:gd name="connsiteX41" fmla="*/ 1543050 w 4797425"/>
              <a:gd name="connsiteY41" fmla="*/ 1266825 h 1606550"/>
              <a:gd name="connsiteX42" fmla="*/ 1543050 w 4797425"/>
              <a:gd name="connsiteY42" fmla="*/ 1266825 h 1606550"/>
              <a:gd name="connsiteX43" fmla="*/ 1543050 w 4797425"/>
              <a:gd name="connsiteY43" fmla="*/ 1266825 h 1606550"/>
              <a:gd name="connsiteX44" fmla="*/ 1549400 w 4797425"/>
              <a:gd name="connsiteY44" fmla="*/ 1279525 h 1606550"/>
              <a:gd name="connsiteX45" fmla="*/ 1714500 w 4797425"/>
              <a:gd name="connsiteY45" fmla="*/ 1266825 h 1606550"/>
              <a:gd name="connsiteX46" fmla="*/ 1714500 w 4797425"/>
              <a:gd name="connsiteY46" fmla="*/ 1311275 h 1606550"/>
              <a:gd name="connsiteX47" fmla="*/ 1816100 w 4797425"/>
              <a:gd name="connsiteY47" fmla="*/ 1311275 h 1606550"/>
              <a:gd name="connsiteX48" fmla="*/ 1835150 w 4797425"/>
              <a:gd name="connsiteY48" fmla="*/ 1330325 h 1606550"/>
              <a:gd name="connsiteX49" fmla="*/ 1873250 w 4797425"/>
              <a:gd name="connsiteY49" fmla="*/ 1330325 h 1606550"/>
              <a:gd name="connsiteX50" fmla="*/ 1873250 w 4797425"/>
              <a:gd name="connsiteY50" fmla="*/ 1358900 h 1606550"/>
              <a:gd name="connsiteX51" fmla="*/ 2041525 w 4797425"/>
              <a:gd name="connsiteY51" fmla="*/ 1358900 h 1606550"/>
              <a:gd name="connsiteX52" fmla="*/ 2041525 w 4797425"/>
              <a:gd name="connsiteY52" fmla="*/ 1358900 h 1606550"/>
              <a:gd name="connsiteX53" fmla="*/ 2159000 w 4797425"/>
              <a:gd name="connsiteY53" fmla="*/ 1358900 h 1606550"/>
              <a:gd name="connsiteX54" fmla="*/ 2159000 w 4797425"/>
              <a:gd name="connsiteY54" fmla="*/ 1403350 h 1606550"/>
              <a:gd name="connsiteX55" fmla="*/ 2206625 w 4797425"/>
              <a:gd name="connsiteY55" fmla="*/ 1403350 h 1606550"/>
              <a:gd name="connsiteX56" fmla="*/ 2225675 w 4797425"/>
              <a:gd name="connsiteY56" fmla="*/ 1422400 h 1606550"/>
              <a:gd name="connsiteX57" fmla="*/ 2581275 w 4797425"/>
              <a:gd name="connsiteY57" fmla="*/ 1422400 h 1606550"/>
              <a:gd name="connsiteX58" fmla="*/ 2581275 w 4797425"/>
              <a:gd name="connsiteY58" fmla="*/ 1454150 h 1606550"/>
              <a:gd name="connsiteX59" fmla="*/ 2936875 w 4797425"/>
              <a:gd name="connsiteY59" fmla="*/ 1454150 h 1606550"/>
              <a:gd name="connsiteX60" fmla="*/ 2952750 w 4797425"/>
              <a:gd name="connsiteY60" fmla="*/ 1470025 h 1606550"/>
              <a:gd name="connsiteX61" fmla="*/ 3067050 w 4797425"/>
              <a:gd name="connsiteY61" fmla="*/ 1470025 h 1606550"/>
              <a:gd name="connsiteX62" fmla="*/ 3067050 w 4797425"/>
              <a:gd name="connsiteY62" fmla="*/ 1527175 h 1606550"/>
              <a:gd name="connsiteX63" fmla="*/ 3683000 w 4797425"/>
              <a:gd name="connsiteY63" fmla="*/ 1527175 h 1606550"/>
              <a:gd name="connsiteX64" fmla="*/ 3683000 w 4797425"/>
              <a:gd name="connsiteY64" fmla="*/ 1606550 h 1606550"/>
              <a:gd name="connsiteX65" fmla="*/ 3717925 w 4797425"/>
              <a:gd name="connsiteY65" fmla="*/ 1606550 h 1606550"/>
              <a:gd name="connsiteX66" fmla="*/ 4797425 w 4797425"/>
              <a:gd name="connsiteY66" fmla="*/ 1600200 h 1606550"/>
              <a:gd name="connsiteX0" fmla="*/ 0 w 4797425"/>
              <a:gd name="connsiteY0" fmla="*/ 0 h 1606550"/>
              <a:gd name="connsiteX1" fmla="*/ 174625 w 4797425"/>
              <a:gd name="connsiteY1" fmla="*/ 0 h 1606550"/>
              <a:gd name="connsiteX2" fmla="*/ 206375 w 4797425"/>
              <a:gd name="connsiteY2" fmla="*/ 31750 h 1606550"/>
              <a:gd name="connsiteX3" fmla="*/ 269875 w 4797425"/>
              <a:gd name="connsiteY3" fmla="*/ 41275 h 1606550"/>
              <a:gd name="connsiteX4" fmla="*/ 295275 w 4797425"/>
              <a:gd name="connsiteY4" fmla="*/ 50800 h 1606550"/>
              <a:gd name="connsiteX5" fmla="*/ 307975 w 4797425"/>
              <a:gd name="connsiteY5" fmla="*/ 82550 h 1606550"/>
              <a:gd name="connsiteX6" fmla="*/ 314325 w 4797425"/>
              <a:gd name="connsiteY6" fmla="*/ 111125 h 1606550"/>
              <a:gd name="connsiteX7" fmla="*/ 317500 w 4797425"/>
              <a:gd name="connsiteY7" fmla="*/ 139700 h 1606550"/>
              <a:gd name="connsiteX8" fmla="*/ 320675 w 4797425"/>
              <a:gd name="connsiteY8" fmla="*/ 193675 h 1606550"/>
              <a:gd name="connsiteX9" fmla="*/ 333375 w 4797425"/>
              <a:gd name="connsiteY9" fmla="*/ 238125 h 1606550"/>
              <a:gd name="connsiteX10" fmla="*/ 339725 w 4797425"/>
              <a:gd name="connsiteY10" fmla="*/ 279400 h 1606550"/>
              <a:gd name="connsiteX11" fmla="*/ 349250 w 4797425"/>
              <a:gd name="connsiteY11" fmla="*/ 336550 h 1606550"/>
              <a:gd name="connsiteX12" fmla="*/ 352425 w 4797425"/>
              <a:gd name="connsiteY12" fmla="*/ 466725 h 1606550"/>
              <a:gd name="connsiteX13" fmla="*/ 352425 w 4797425"/>
              <a:gd name="connsiteY13" fmla="*/ 546100 h 1606550"/>
              <a:gd name="connsiteX14" fmla="*/ 355600 w 4797425"/>
              <a:gd name="connsiteY14" fmla="*/ 641350 h 1606550"/>
              <a:gd name="connsiteX15" fmla="*/ 361950 w 4797425"/>
              <a:gd name="connsiteY15" fmla="*/ 723900 h 1606550"/>
              <a:gd name="connsiteX16" fmla="*/ 371475 w 4797425"/>
              <a:gd name="connsiteY16" fmla="*/ 790575 h 1606550"/>
              <a:gd name="connsiteX17" fmla="*/ 403225 w 4797425"/>
              <a:gd name="connsiteY17" fmla="*/ 847725 h 1606550"/>
              <a:gd name="connsiteX18" fmla="*/ 447675 w 4797425"/>
              <a:gd name="connsiteY18" fmla="*/ 879475 h 1606550"/>
              <a:gd name="connsiteX19" fmla="*/ 447675 w 4797425"/>
              <a:gd name="connsiteY19" fmla="*/ 914400 h 1606550"/>
              <a:gd name="connsiteX20" fmla="*/ 565150 w 4797425"/>
              <a:gd name="connsiteY20" fmla="*/ 914400 h 1606550"/>
              <a:gd name="connsiteX21" fmla="*/ 571500 w 4797425"/>
              <a:gd name="connsiteY21" fmla="*/ 936625 h 1606550"/>
              <a:gd name="connsiteX22" fmla="*/ 666750 w 4797425"/>
              <a:gd name="connsiteY22" fmla="*/ 939800 h 1606550"/>
              <a:gd name="connsiteX23" fmla="*/ 704850 w 4797425"/>
              <a:gd name="connsiteY23" fmla="*/ 996950 h 1606550"/>
              <a:gd name="connsiteX24" fmla="*/ 733425 w 4797425"/>
              <a:gd name="connsiteY24" fmla="*/ 1041400 h 1606550"/>
              <a:gd name="connsiteX25" fmla="*/ 749300 w 4797425"/>
              <a:gd name="connsiteY25" fmla="*/ 1069975 h 1606550"/>
              <a:gd name="connsiteX26" fmla="*/ 977900 w 4797425"/>
              <a:gd name="connsiteY26" fmla="*/ 1076325 h 1606550"/>
              <a:gd name="connsiteX27" fmla="*/ 977900 w 4797425"/>
              <a:gd name="connsiteY27" fmla="*/ 1076325 h 1606550"/>
              <a:gd name="connsiteX28" fmla="*/ 987425 w 4797425"/>
              <a:gd name="connsiteY28" fmla="*/ 1085850 h 1606550"/>
              <a:gd name="connsiteX29" fmla="*/ 1047750 w 4797425"/>
              <a:gd name="connsiteY29" fmla="*/ 1098550 h 1606550"/>
              <a:gd name="connsiteX30" fmla="*/ 1082675 w 4797425"/>
              <a:gd name="connsiteY30" fmla="*/ 1158875 h 1606550"/>
              <a:gd name="connsiteX31" fmla="*/ 1123950 w 4797425"/>
              <a:gd name="connsiteY31" fmla="*/ 1177925 h 1606550"/>
              <a:gd name="connsiteX32" fmla="*/ 1123950 w 4797425"/>
              <a:gd name="connsiteY32" fmla="*/ 1177925 h 1606550"/>
              <a:gd name="connsiteX33" fmla="*/ 1149350 w 4797425"/>
              <a:gd name="connsiteY33" fmla="*/ 1203325 h 1606550"/>
              <a:gd name="connsiteX34" fmla="*/ 1285875 w 4797425"/>
              <a:gd name="connsiteY34" fmla="*/ 1203325 h 1606550"/>
              <a:gd name="connsiteX35" fmla="*/ 1285875 w 4797425"/>
              <a:gd name="connsiteY35" fmla="*/ 1203325 h 1606550"/>
              <a:gd name="connsiteX36" fmla="*/ 1285875 w 4797425"/>
              <a:gd name="connsiteY36" fmla="*/ 1231900 h 1606550"/>
              <a:gd name="connsiteX37" fmla="*/ 1441450 w 4797425"/>
              <a:gd name="connsiteY37" fmla="*/ 1231900 h 1606550"/>
              <a:gd name="connsiteX38" fmla="*/ 1441450 w 4797425"/>
              <a:gd name="connsiteY38" fmla="*/ 1231900 h 1606550"/>
              <a:gd name="connsiteX39" fmla="*/ 1463675 w 4797425"/>
              <a:gd name="connsiteY39" fmla="*/ 1266825 h 1606550"/>
              <a:gd name="connsiteX40" fmla="*/ 1543050 w 4797425"/>
              <a:gd name="connsiteY40" fmla="*/ 1266825 h 1606550"/>
              <a:gd name="connsiteX41" fmla="*/ 1543050 w 4797425"/>
              <a:gd name="connsiteY41" fmla="*/ 1266825 h 1606550"/>
              <a:gd name="connsiteX42" fmla="*/ 1543050 w 4797425"/>
              <a:gd name="connsiteY42" fmla="*/ 1266825 h 1606550"/>
              <a:gd name="connsiteX43" fmla="*/ 1543050 w 4797425"/>
              <a:gd name="connsiteY43" fmla="*/ 1266825 h 1606550"/>
              <a:gd name="connsiteX44" fmla="*/ 1549400 w 4797425"/>
              <a:gd name="connsiteY44" fmla="*/ 1279525 h 1606550"/>
              <a:gd name="connsiteX45" fmla="*/ 1711325 w 4797425"/>
              <a:gd name="connsiteY45" fmla="*/ 1279525 h 1606550"/>
              <a:gd name="connsiteX46" fmla="*/ 1714500 w 4797425"/>
              <a:gd name="connsiteY46" fmla="*/ 1311275 h 1606550"/>
              <a:gd name="connsiteX47" fmla="*/ 1816100 w 4797425"/>
              <a:gd name="connsiteY47" fmla="*/ 1311275 h 1606550"/>
              <a:gd name="connsiteX48" fmla="*/ 1835150 w 4797425"/>
              <a:gd name="connsiteY48" fmla="*/ 1330325 h 1606550"/>
              <a:gd name="connsiteX49" fmla="*/ 1873250 w 4797425"/>
              <a:gd name="connsiteY49" fmla="*/ 1330325 h 1606550"/>
              <a:gd name="connsiteX50" fmla="*/ 1873250 w 4797425"/>
              <a:gd name="connsiteY50" fmla="*/ 1358900 h 1606550"/>
              <a:gd name="connsiteX51" fmla="*/ 2041525 w 4797425"/>
              <a:gd name="connsiteY51" fmla="*/ 1358900 h 1606550"/>
              <a:gd name="connsiteX52" fmla="*/ 2041525 w 4797425"/>
              <a:gd name="connsiteY52" fmla="*/ 1358900 h 1606550"/>
              <a:gd name="connsiteX53" fmla="*/ 2159000 w 4797425"/>
              <a:gd name="connsiteY53" fmla="*/ 1358900 h 1606550"/>
              <a:gd name="connsiteX54" fmla="*/ 2159000 w 4797425"/>
              <a:gd name="connsiteY54" fmla="*/ 1403350 h 1606550"/>
              <a:gd name="connsiteX55" fmla="*/ 2206625 w 4797425"/>
              <a:gd name="connsiteY55" fmla="*/ 1403350 h 1606550"/>
              <a:gd name="connsiteX56" fmla="*/ 2225675 w 4797425"/>
              <a:gd name="connsiteY56" fmla="*/ 1422400 h 1606550"/>
              <a:gd name="connsiteX57" fmla="*/ 2581275 w 4797425"/>
              <a:gd name="connsiteY57" fmla="*/ 1422400 h 1606550"/>
              <a:gd name="connsiteX58" fmla="*/ 2581275 w 4797425"/>
              <a:gd name="connsiteY58" fmla="*/ 1454150 h 1606550"/>
              <a:gd name="connsiteX59" fmla="*/ 2936875 w 4797425"/>
              <a:gd name="connsiteY59" fmla="*/ 1454150 h 1606550"/>
              <a:gd name="connsiteX60" fmla="*/ 2952750 w 4797425"/>
              <a:gd name="connsiteY60" fmla="*/ 1470025 h 1606550"/>
              <a:gd name="connsiteX61" fmla="*/ 3067050 w 4797425"/>
              <a:gd name="connsiteY61" fmla="*/ 1470025 h 1606550"/>
              <a:gd name="connsiteX62" fmla="*/ 3067050 w 4797425"/>
              <a:gd name="connsiteY62" fmla="*/ 1527175 h 1606550"/>
              <a:gd name="connsiteX63" fmla="*/ 3683000 w 4797425"/>
              <a:gd name="connsiteY63" fmla="*/ 1527175 h 1606550"/>
              <a:gd name="connsiteX64" fmla="*/ 3683000 w 4797425"/>
              <a:gd name="connsiteY64" fmla="*/ 1606550 h 1606550"/>
              <a:gd name="connsiteX65" fmla="*/ 3717925 w 4797425"/>
              <a:gd name="connsiteY65" fmla="*/ 1606550 h 1606550"/>
              <a:gd name="connsiteX66" fmla="*/ 4797425 w 4797425"/>
              <a:gd name="connsiteY66" fmla="*/ 1600200 h 1606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4797425" h="1606550">
                <a:moveTo>
                  <a:pt x="0" y="0"/>
                </a:moveTo>
                <a:lnTo>
                  <a:pt x="174625" y="0"/>
                </a:lnTo>
                <a:lnTo>
                  <a:pt x="206375" y="31750"/>
                </a:lnTo>
                <a:lnTo>
                  <a:pt x="269875" y="41275"/>
                </a:lnTo>
                <a:lnTo>
                  <a:pt x="295275" y="50800"/>
                </a:lnTo>
                <a:lnTo>
                  <a:pt x="307975" y="82550"/>
                </a:lnTo>
                <a:lnTo>
                  <a:pt x="314325" y="111125"/>
                </a:lnTo>
                <a:lnTo>
                  <a:pt x="317500" y="139700"/>
                </a:lnTo>
                <a:lnTo>
                  <a:pt x="320675" y="193675"/>
                </a:lnTo>
                <a:lnTo>
                  <a:pt x="333375" y="238125"/>
                </a:lnTo>
                <a:lnTo>
                  <a:pt x="339725" y="279400"/>
                </a:lnTo>
                <a:lnTo>
                  <a:pt x="349250" y="336550"/>
                </a:lnTo>
                <a:cubicBezTo>
                  <a:pt x="350308" y="379942"/>
                  <a:pt x="351367" y="423333"/>
                  <a:pt x="352425" y="466725"/>
                </a:cubicBezTo>
                <a:lnTo>
                  <a:pt x="352425" y="546100"/>
                </a:lnTo>
                <a:lnTo>
                  <a:pt x="355600" y="641350"/>
                </a:lnTo>
                <a:lnTo>
                  <a:pt x="361950" y="723900"/>
                </a:lnTo>
                <a:lnTo>
                  <a:pt x="371475" y="790575"/>
                </a:lnTo>
                <a:lnTo>
                  <a:pt x="403225" y="847725"/>
                </a:lnTo>
                <a:lnTo>
                  <a:pt x="447675" y="879475"/>
                </a:lnTo>
                <a:lnTo>
                  <a:pt x="447675" y="914400"/>
                </a:lnTo>
                <a:lnTo>
                  <a:pt x="565150" y="914400"/>
                </a:lnTo>
                <a:lnTo>
                  <a:pt x="571500" y="936625"/>
                </a:lnTo>
                <a:lnTo>
                  <a:pt x="666750" y="939800"/>
                </a:lnTo>
                <a:lnTo>
                  <a:pt x="704850" y="996950"/>
                </a:lnTo>
                <a:lnTo>
                  <a:pt x="733425" y="1041400"/>
                </a:lnTo>
                <a:lnTo>
                  <a:pt x="749300" y="1069975"/>
                </a:lnTo>
                <a:lnTo>
                  <a:pt x="977900" y="1076325"/>
                </a:lnTo>
                <a:lnTo>
                  <a:pt x="977900" y="1076325"/>
                </a:lnTo>
                <a:cubicBezTo>
                  <a:pt x="988483" y="1077383"/>
                  <a:pt x="976842" y="1084792"/>
                  <a:pt x="987425" y="1085850"/>
                </a:cubicBezTo>
                <a:lnTo>
                  <a:pt x="1047750" y="1098550"/>
                </a:lnTo>
                <a:lnTo>
                  <a:pt x="1082675" y="1158875"/>
                </a:lnTo>
                <a:lnTo>
                  <a:pt x="1123950" y="1177925"/>
                </a:lnTo>
                <a:lnTo>
                  <a:pt x="1123950" y="1177925"/>
                </a:lnTo>
                <a:lnTo>
                  <a:pt x="1149350" y="1203325"/>
                </a:lnTo>
                <a:lnTo>
                  <a:pt x="1285875" y="1203325"/>
                </a:lnTo>
                <a:lnTo>
                  <a:pt x="1285875" y="1203325"/>
                </a:lnTo>
                <a:lnTo>
                  <a:pt x="1285875" y="1231900"/>
                </a:lnTo>
                <a:lnTo>
                  <a:pt x="1441450" y="1231900"/>
                </a:lnTo>
                <a:lnTo>
                  <a:pt x="1441450" y="1231900"/>
                </a:lnTo>
                <a:lnTo>
                  <a:pt x="1463675" y="1266825"/>
                </a:lnTo>
                <a:lnTo>
                  <a:pt x="1543050" y="1266825"/>
                </a:lnTo>
                <a:lnTo>
                  <a:pt x="1543050" y="1266825"/>
                </a:lnTo>
                <a:lnTo>
                  <a:pt x="1543050" y="1266825"/>
                </a:lnTo>
                <a:lnTo>
                  <a:pt x="1543050" y="1266825"/>
                </a:lnTo>
                <a:cubicBezTo>
                  <a:pt x="1554692" y="1266825"/>
                  <a:pt x="1537758" y="1279525"/>
                  <a:pt x="1549400" y="1279525"/>
                </a:cubicBezTo>
                <a:lnTo>
                  <a:pt x="1711325" y="1279525"/>
                </a:lnTo>
                <a:lnTo>
                  <a:pt x="1714500" y="1311275"/>
                </a:lnTo>
                <a:lnTo>
                  <a:pt x="1816100" y="1311275"/>
                </a:lnTo>
                <a:lnTo>
                  <a:pt x="1835150" y="1330325"/>
                </a:lnTo>
                <a:lnTo>
                  <a:pt x="1873250" y="1330325"/>
                </a:lnTo>
                <a:lnTo>
                  <a:pt x="1873250" y="1358900"/>
                </a:lnTo>
                <a:lnTo>
                  <a:pt x="2041525" y="1358900"/>
                </a:lnTo>
                <a:lnTo>
                  <a:pt x="2041525" y="1358900"/>
                </a:lnTo>
                <a:lnTo>
                  <a:pt x="2159000" y="1358900"/>
                </a:lnTo>
                <a:lnTo>
                  <a:pt x="2159000" y="1403350"/>
                </a:lnTo>
                <a:lnTo>
                  <a:pt x="2206625" y="1403350"/>
                </a:lnTo>
                <a:lnTo>
                  <a:pt x="2225675" y="1422400"/>
                </a:lnTo>
                <a:lnTo>
                  <a:pt x="2581275" y="1422400"/>
                </a:lnTo>
                <a:lnTo>
                  <a:pt x="2581275" y="1454150"/>
                </a:lnTo>
                <a:lnTo>
                  <a:pt x="2936875" y="1454150"/>
                </a:lnTo>
                <a:lnTo>
                  <a:pt x="2952750" y="1470025"/>
                </a:lnTo>
                <a:lnTo>
                  <a:pt x="3067050" y="1470025"/>
                </a:lnTo>
                <a:lnTo>
                  <a:pt x="3067050" y="1527175"/>
                </a:lnTo>
                <a:lnTo>
                  <a:pt x="3683000" y="1527175"/>
                </a:lnTo>
                <a:lnTo>
                  <a:pt x="3683000" y="1606550"/>
                </a:lnTo>
                <a:lnTo>
                  <a:pt x="3717925" y="1606550"/>
                </a:lnTo>
                <a:lnTo>
                  <a:pt x="4797425" y="1600200"/>
                </a:lnTo>
              </a:path>
            </a:pathLst>
          </a:cu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2" dirty="0"/>
          </a:p>
        </p:txBody>
      </p:sp>
      <p:grpSp>
        <p:nvGrpSpPr>
          <p:cNvPr id="21" name="Group 20">
            <a:extLst>
              <a:ext uri="{FF2B5EF4-FFF2-40B4-BE49-F238E27FC236}">
                <a16:creationId xmlns:a16="http://schemas.microsoft.com/office/drawing/2014/main" id="{22CD0B8E-317D-A140-B131-B043E4A46A94}"/>
              </a:ext>
            </a:extLst>
          </p:cNvPr>
          <p:cNvGrpSpPr/>
          <p:nvPr/>
        </p:nvGrpSpPr>
        <p:grpSpPr>
          <a:xfrm>
            <a:off x="1693609" y="1329940"/>
            <a:ext cx="2709216" cy="1368704"/>
            <a:chOff x="941386" y="2895322"/>
            <a:chExt cx="3355970" cy="1695445"/>
          </a:xfrm>
        </p:grpSpPr>
        <p:sp>
          <p:nvSpPr>
            <p:cNvPr id="23" name="Oval 22">
              <a:extLst>
                <a:ext uri="{FF2B5EF4-FFF2-40B4-BE49-F238E27FC236}">
                  <a16:creationId xmlns:a16="http://schemas.microsoft.com/office/drawing/2014/main" id="{D798243F-25FD-B64A-AAC1-969B7F951828}"/>
                </a:ext>
              </a:extLst>
            </p:cNvPr>
            <p:cNvSpPr/>
            <p:nvPr/>
          </p:nvSpPr>
          <p:spPr>
            <a:xfrm>
              <a:off x="941386" y="2895322"/>
              <a:ext cx="47620" cy="47620"/>
            </a:xfrm>
            <a:prstGeom prst="ellipse">
              <a:avLst/>
            </a:prstGeom>
            <a:noFill/>
            <a:ln>
              <a:solidFill>
                <a:srgbClr val="A7DB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2"/>
            </a:p>
          </p:txBody>
        </p:sp>
        <p:sp>
          <p:nvSpPr>
            <p:cNvPr id="24" name="Oval 23">
              <a:extLst>
                <a:ext uri="{FF2B5EF4-FFF2-40B4-BE49-F238E27FC236}">
                  <a16:creationId xmlns:a16="http://schemas.microsoft.com/office/drawing/2014/main" id="{3DEE7FF9-CC72-FC4E-B9A5-66023627CB8A}"/>
                </a:ext>
              </a:extLst>
            </p:cNvPr>
            <p:cNvSpPr/>
            <p:nvPr/>
          </p:nvSpPr>
          <p:spPr>
            <a:xfrm>
              <a:off x="1049336" y="2939772"/>
              <a:ext cx="47620" cy="47620"/>
            </a:xfrm>
            <a:prstGeom prst="ellipse">
              <a:avLst/>
            </a:prstGeom>
            <a:noFill/>
            <a:ln>
              <a:solidFill>
                <a:srgbClr val="A7DB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2"/>
            </a:p>
          </p:txBody>
        </p:sp>
        <p:sp>
          <p:nvSpPr>
            <p:cNvPr id="25" name="Oval 24">
              <a:extLst>
                <a:ext uri="{FF2B5EF4-FFF2-40B4-BE49-F238E27FC236}">
                  <a16:creationId xmlns:a16="http://schemas.microsoft.com/office/drawing/2014/main" id="{20F4F580-DDB6-6944-871D-CF6231BC6500}"/>
                </a:ext>
              </a:extLst>
            </p:cNvPr>
            <p:cNvSpPr/>
            <p:nvPr/>
          </p:nvSpPr>
          <p:spPr>
            <a:xfrm>
              <a:off x="1147761" y="2987397"/>
              <a:ext cx="47620" cy="47620"/>
            </a:xfrm>
            <a:prstGeom prst="ellipse">
              <a:avLst/>
            </a:prstGeom>
            <a:noFill/>
            <a:ln>
              <a:solidFill>
                <a:srgbClr val="A7DB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2"/>
            </a:p>
          </p:txBody>
        </p:sp>
        <p:sp>
          <p:nvSpPr>
            <p:cNvPr id="26" name="Oval 25">
              <a:extLst>
                <a:ext uri="{FF2B5EF4-FFF2-40B4-BE49-F238E27FC236}">
                  <a16:creationId xmlns:a16="http://schemas.microsoft.com/office/drawing/2014/main" id="{8363ABC0-B8BA-C144-9D7E-2966C9068933}"/>
                </a:ext>
              </a:extLst>
            </p:cNvPr>
            <p:cNvSpPr/>
            <p:nvPr/>
          </p:nvSpPr>
          <p:spPr>
            <a:xfrm>
              <a:off x="1192211" y="2996922"/>
              <a:ext cx="47620" cy="47620"/>
            </a:xfrm>
            <a:prstGeom prst="ellipse">
              <a:avLst/>
            </a:prstGeom>
            <a:noFill/>
            <a:ln>
              <a:solidFill>
                <a:srgbClr val="A7DB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2"/>
            </a:p>
          </p:txBody>
        </p:sp>
        <p:sp>
          <p:nvSpPr>
            <p:cNvPr id="27" name="Oval 26">
              <a:extLst>
                <a:ext uri="{FF2B5EF4-FFF2-40B4-BE49-F238E27FC236}">
                  <a16:creationId xmlns:a16="http://schemas.microsoft.com/office/drawing/2014/main" id="{011BCA6A-F326-0F45-B185-BAA7906E38A1}"/>
                </a:ext>
              </a:extLst>
            </p:cNvPr>
            <p:cNvSpPr/>
            <p:nvPr/>
          </p:nvSpPr>
          <p:spPr>
            <a:xfrm>
              <a:off x="1217611" y="3015972"/>
              <a:ext cx="47620" cy="47620"/>
            </a:xfrm>
            <a:prstGeom prst="ellipse">
              <a:avLst/>
            </a:prstGeom>
            <a:noFill/>
            <a:ln>
              <a:solidFill>
                <a:srgbClr val="A7DB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2"/>
            </a:p>
          </p:txBody>
        </p:sp>
        <p:sp>
          <p:nvSpPr>
            <p:cNvPr id="28" name="Oval 27">
              <a:extLst>
                <a:ext uri="{FF2B5EF4-FFF2-40B4-BE49-F238E27FC236}">
                  <a16:creationId xmlns:a16="http://schemas.microsoft.com/office/drawing/2014/main" id="{47018C4E-0304-3B45-8B56-F0503D4A7D71}"/>
                </a:ext>
              </a:extLst>
            </p:cNvPr>
            <p:cNvSpPr/>
            <p:nvPr/>
          </p:nvSpPr>
          <p:spPr>
            <a:xfrm>
              <a:off x="1262061" y="3035022"/>
              <a:ext cx="47620" cy="47620"/>
            </a:xfrm>
            <a:prstGeom prst="ellipse">
              <a:avLst/>
            </a:prstGeom>
            <a:noFill/>
            <a:ln>
              <a:solidFill>
                <a:srgbClr val="A7DB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2"/>
            </a:p>
          </p:txBody>
        </p:sp>
        <p:sp>
          <p:nvSpPr>
            <p:cNvPr id="29" name="Oval 28">
              <a:extLst>
                <a:ext uri="{FF2B5EF4-FFF2-40B4-BE49-F238E27FC236}">
                  <a16:creationId xmlns:a16="http://schemas.microsoft.com/office/drawing/2014/main" id="{9A6840DD-D9BD-9C44-AB4C-55A80DF86BF6}"/>
                </a:ext>
              </a:extLst>
            </p:cNvPr>
            <p:cNvSpPr/>
            <p:nvPr/>
          </p:nvSpPr>
          <p:spPr>
            <a:xfrm>
              <a:off x="1265236" y="3066772"/>
              <a:ext cx="47620" cy="47620"/>
            </a:xfrm>
            <a:prstGeom prst="ellipse">
              <a:avLst/>
            </a:prstGeom>
            <a:noFill/>
            <a:ln>
              <a:solidFill>
                <a:srgbClr val="A7DB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2"/>
            </a:p>
          </p:txBody>
        </p:sp>
        <p:sp>
          <p:nvSpPr>
            <p:cNvPr id="30" name="Oval 29">
              <a:extLst>
                <a:ext uri="{FF2B5EF4-FFF2-40B4-BE49-F238E27FC236}">
                  <a16:creationId xmlns:a16="http://schemas.microsoft.com/office/drawing/2014/main" id="{8464850A-38C3-2F47-B8C5-8F6B86E8D73B}"/>
                </a:ext>
              </a:extLst>
            </p:cNvPr>
            <p:cNvSpPr/>
            <p:nvPr/>
          </p:nvSpPr>
          <p:spPr>
            <a:xfrm>
              <a:off x="1169986" y="2990572"/>
              <a:ext cx="47620" cy="47620"/>
            </a:xfrm>
            <a:prstGeom prst="ellipse">
              <a:avLst/>
            </a:prstGeom>
            <a:noFill/>
            <a:ln>
              <a:solidFill>
                <a:srgbClr val="A7DB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2"/>
            </a:p>
          </p:txBody>
        </p:sp>
        <p:sp>
          <p:nvSpPr>
            <p:cNvPr id="31" name="Oval 30">
              <a:extLst>
                <a:ext uri="{FF2B5EF4-FFF2-40B4-BE49-F238E27FC236}">
                  <a16:creationId xmlns:a16="http://schemas.microsoft.com/office/drawing/2014/main" id="{EF5846D4-3A7D-434A-98C7-BA45BD916D14}"/>
                </a:ext>
              </a:extLst>
            </p:cNvPr>
            <p:cNvSpPr/>
            <p:nvPr/>
          </p:nvSpPr>
          <p:spPr>
            <a:xfrm>
              <a:off x="1271586" y="3171547"/>
              <a:ext cx="47620" cy="47620"/>
            </a:xfrm>
            <a:prstGeom prst="ellipse">
              <a:avLst/>
            </a:prstGeom>
            <a:noFill/>
            <a:ln>
              <a:solidFill>
                <a:srgbClr val="A7DB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2"/>
            </a:p>
          </p:txBody>
        </p:sp>
        <p:sp>
          <p:nvSpPr>
            <p:cNvPr id="32" name="Oval 31">
              <a:extLst>
                <a:ext uri="{FF2B5EF4-FFF2-40B4-BE49-F238E27FC236}">
                  <a16:creationId xmlns:a16="http://schemas.microsoft.com/office/drawing/2014/main" id="{9D566FDA-FD8A-4941-91B7-DDD00B67478C}"/>
                </a:ext>
              </a:extLst>
            </p:cNvPr>
            <p:cNvSpPr/>
            <p:nvPr/>
          </p:nvSpPr>
          <p:spPr>
            <a:xfrm>
              <a:off x="1271586" y="3193772"/>
              <a:ext cx="47620" cy="47620"/>
            </a:xfrm>
            <a:prstGeom prst="ellipse">
              <a:avLst/>
            </a:prstGeom>
            <a:noFill/>
            <a:ln>
              <a:solidFill>
                <a:srgbClr val="A7DB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2"/>
            </a:p>
          </p:txBody>
        </p:sp>
        <p:sp>
          <p:nvSpPr>
            <p:cNvPr id="33" name="Oval 32">
              <a:extLst>
                <a:ext uri="{FF2B5EF4-FFF2-40B4-BE49-F238E27FC236}">
                  <a16:creationId xmlns:a16="http://schemas.microsoft.com/office/drawing/2014/main" id="{9AD02968-BE57-024F-A14A-B46F454882C6}"/>
                </a:ext>
              </a:extLst>
            </p:cNvPr>
            <p:cNvSpPr/>
            <p:nvPr/>
          </p:nvSpPr>
          <p:spPr>
            <a:xfrm>
              <a:off x="1281111" y="3247747"/>
              <a:ext cx="47620" cy="47620"/>
            </a:xfrm>
            <a:prstGeom prst="ellipse">
              <a:avLst/>
            </a:prstGeom>
            <a:noFill/>
            <a:ln>
              <a:solidFill>
                <a:srgbClr val="A7DB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2"/>
            </a:p>
          </p:txBody>
        </p:sp>
        <p:sp>
          <p:nvSpPr>
            <p:cNvPr id="34" name="Oval 33">
              <a:extLst>
                <a:ext uri="{FF2B5EF4-FFF2-40B4-BE49-F238E27FC236}">
                  <a16:creationId xmlns:a16="http://schemas.microsoft.com/office/drawing/2014/main" id="{F83A192E-ACD6-3F4B-8147-C8FE9781C520}"/>
                </a:ext>
              </a:extLst>
            </p:cNvPr>
            <p:cNvSpPr/>
            <p:nvPr/>
          </p:nvSpPr>
          <p:spPr>
            <a:xfrm>
              <a:off x="1287461" y="3330297"/>
              <a:ext cx="47620" cy="47620"/>
            </a:xfrm>
            <a:prstGeom prst="ellipse">
              <a:avLst/>
            </a:prstGeom>
            <a:noFill/>
            <a:ln>
              <a:solidFill>
                <a:srgbClr val="A7DB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2"/>
            </a:p>
          </p:txBody>
        </p:sp>
        <p:sp>
          <p:nvSpPr>
            <p:cNvPr id="35" name="Oval 34">
              <a:extLst>
                <a:ext uri="{FF2B5EF4-FFF2-40B4-BE49-F238E27FC236}">
                  <a16:creationId xmlns:a16="http://schemas.microsoft.com/office/drawing/2014/main" id="{39EA52C7-71BD-B944-86BE-E38E72767012}"/>
                </a:ext>
              </a:extLst>
            </p:cNvPr>
            <p:cNvSpPr/>
            <p:nvPr/>
          </p:nvSpPr>
          <p:spPr>
            <a:xfrm>
              <a:off x="1296986" y="3409672"/>
              <a:ext cx="47620" cy="47620"/>
            </a:xfrm>
            <a:prstGeom prst="ellipse">
              <a:avLst/>
            </a:prstGeom>
            <a:noFill/>
            <a:ln>
              <a:solidFill>
                <a:srgbClr val="A7DB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2"/>
            </a:p>
          </p:txBody>
        </p:sp>
        <p:sp>
          <p:nvSpPr>
            <p:cNvPr id="36" name="Oval 35">
              <a:extLst>
                <a:ext uri="{FF2B5EF4-FFF2-40B4-BE49-F238E27FC236}">
                  <a16:creationId xmlns:a16="http://schemas.microsoft.com/office/drawing/2014/main" id="{D57F45CE-BCD9-0841-88D2-30A9CAD255A8}"/>
                </a:ext>
              </a:extLst>
            </p:cNvPr>
            <p:cNvSpPr/>
            <p:nvPr/>
          </p:nvSpPr>
          <p:spPr>
            <a:xfrm>
              <a:off x="1300161" y="3571597"/>
              <a:ext cx="47620" cy="47620"/>
            </a:xfrm>
            <a:prstGeom prst="ellipse">
              <a:avLst/>
            </a:prstGeom>
            <a:noFill/>
            <a:ln>
              <a:solidFill>
                <a:srgbClr val="A7DB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2"/>
            </a:p>
          </p:txBody>
        </p:sp>
        <p:sp>
          <p:nvSpPr>
            <p:cNvPr id="37" name="Oval 36">
              <a:extLst>
                <a:ext uri="{FF2B5EF4-FFF2-40B4-BE49-F238E27FC236}">
                  <a16:creationId xmlns:a16="http://schemas.microsoft.com/office/drawing/2014/main" id="{2EB35466-F341-C047-B19D-90494E2FFB9D}"/>
                </a:ext>
              </a:extLst>
            </p:cNvPr>
            <p:cNvSpPr/>
            <p:nvPr/>
          </p:nvSpPr>
          <p:spPr>
            <a:xfrm>
              <a:off x="1309686" y="3790672"/>
              <a:ext cx="47620" cy="47620"/>
            </a:xfrm>
            <a:prstGeom prst="ellipse">
              <a:avLst/>
            </a:prstGeom>
            <a:noFill/>
            <a:ln>
              <a:solidFill>
                <a:srgbClr val="A7DB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2"/>
            </a:p>
          </p:txBody>
        </p:sp>
        <p:sp>
          <p:nvSpPr>
            <p:cNvPr id="38" name="Oval 37">
              <a:extLst>
                <a:ext uri="{FF2B5EF4-FFF2-40B4-BE49-F238E27FC236}">
                  <a16:creationId xmlns:a16="http://schemas.microsoft.com/office/drawing/2014/main" id="{5285234D-1EE1-3042-84CC-270C91AC66D5}"/>
                </a:ext>
              </a:extLst>
            </p:cNvPr>
            <p:cNvSpPr/>
            <p:nvPr/>
          </p:nvSpPr>
          <p:spPr>
            <a:xfrm>
              <a:off x="1316036" y="3816072"/>
              <a:ext cx="47620" cy="47620"/>
            </a:xfrm>
            <a:prstGeom prst="ellipse">
              <a:avLst/>
            </a:prstGeom>
            <a:noFill/>
            <a:ln>
              <a:solidFill>
                <a:srgbClr val="A7DB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2"/>
            </a:p>
          </p:txBody>
        </p:sp>
        <p:sp>
          <p:nvSpPr>
            <p:cNvPr id="39" name="Oval 38">
              <a:extLst>
                <a:ext uri="{FF2B5EF4-FFF2-40B4-BE49-F238E27FC236}">
                  <a16:creationId xmlns:a16="http://schemas.microsoft.com/office/drawing/2014/main" id="{6F7E5BC1-98C9-CF44-A4FB-1C2F2D4E8178}"/>
                </a:ext>
              </a:extLst>
            </p:cNvPr>
            <p:cNvSpPr/>
            <p:nvPr/>
          </p:nvSpPr>
          <p:spPr>
            <a:xfrm>
              <a:off x="1328736" y="3854172"/>
              <a:ext cx="47620" cy="47620"/>
            </a:xfrm>
            <a:prstGeom prst="ellipse">
              <a:avLst/>
            </a:prstGeom>
            <a:noFill/>
            <a:ln>
              <a:solidFill>
                <a:srgbClr val="A7DB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2"/>
            </a:p>
          </p:txBody>
        </p:sp>
        <p:sp>
          <p:nvSpPr>
            <p:cNvPr id="40" name="Oval 39">
              <a:extLst>
                <a:ext uri="{FF2B5EF4-FFF2-40B4-BE49-F238E27FC236}">
                  <a16:creationId xmlns:a16="http://schemas.microsoft.com/office/drawing/2014/main" id="{7B65408B-D36E-A442-8D23-DF9A7DAD5FB9}"/>
                </a:ext>
              </a:extLst>
            </p:cNvPr>
            <p:cNvSpPr/>
            <p:nvPr/>
          </p:nvSpPr>
          <p:spPr>
            <a:xfrm>
              <a:off x="1335086" y="3882747"/>
              <a:ext cx="47620" cy="47620"/>
            </a:xfrm>
            <a:prstGeom prst="ellipse">
              <a:avLst/>
            </a:prstGeom>
            <a:noFill/>
            <a:ln>
              <a:solidFill>
                <a:srgbClr val="A7DB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2"/>
            </a:p>
          </p:txBody>
        </p:sp>
        <p:sp>
          <p:nvSpPr>
            <p:cNvPr id="41" name="Oval 40">
              <a:extLst>
                <a:ext uri="{FF2B5EF4-FFF2-40B4-BE49-F238E27FC236}">
                  <a16:creationId xmlns:a16="http://schemas.microsoft.com/office/drawing/2014/main" id="{C1A1C610-BD83-6942-B367-C0CC9389D3FC}"/>
                </a:ext>
              </a:extLst>
            </p:cNvPr>
            <p:cNvSpPr/>
            <p:nvPr/>
          </p:nvSpPr>
          <p:spPr>
            <a:xfrm>
              <a:off x="1357311" y="3962122"/>
              <a:ext cx="47620" cy="47620"/>
            </a:xfrm>
            <a:prstGeom prst="ellipse">
              <a:avLst/>
            </a:prstGeom>
            <a:noFill/>
            <a:ln>
              <a:solidFill>
                <a:srgbClr val="A7DB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2"/>
            </a:p>
          </p:txBody>
        </p:sp>
        <p:sp>
          <p:nvSpPr>
            <p:cNvPr id="42" name="Oval 41">
              <a:extLst>
                <a:ext uri="{FF2B5EF4-FFF2-40B4-BE49-F238E27FC236}">
                  <a16:creationId xmlns:a16="http://schemas.microsoft.com/office/drawing/2014/main" id="{5B975F59-E6B6-1D46-A6EE-1F33D626CD8D}"/>
                </a:ext>
              </a:extLst>
            </p:cNvPr>
            <p:cNvSpPr/>
            <p:nvPr/>
          </p:nvSpPr>
          <p:spPr>
            <a:xfrm>
              <a:off x="1573211" y="4000222"/>
              <a:ext cx="47620" cy="47620"/>
            </a:xfrm>
            <a:prstGeom prst="ellipse">
              <a:avLst/>
            </a:prstGeom>
            <a:noFill/>
            <a:ln>
              <a:solidFill>
                <a:srgbClr val="A7DB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2"/>
            </a:p>
          </p:txBody>
        </p:sp>
        <p:sp>
          <p:nvSpPr>
            <p:cNvPr id="43" name="Oval 42">
              <a:extLst>
                <a:ext uri="{FF2B5EF4-FFF2-40B4-BE49-F238E27FC236}">
                  <a16:creationId xmlns:a16="http://schemas.microsoft.com/office/drawing/2014/main" id="{E278FC59-897B-5A47-82D5-D5A32B6E504D}"/>
                </a:ext>
              </a:extLst>
            </p:cNvPr>
            <p:cNvSpPr/>
            <p:nvPr/>
          </p:nvSpPr>
          <p:spPr>
            <a:xfrm>
              <a:off x="1589086" y="4003397"/>
              <a:ext cx="47620" cy="47620"/>
            </a:xfrm>
            <a:prstGeom prst="ellipse">
              <a:avLst/>
            </a:prstGeom>
            <a:noFill/>
            <a:ln>
              <a:solidFill>
                <a:srgbClr val="A7DB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2"/>
            </a:p>
          </p:txBody>
        </p:sp>
        <p:sp>
          <p:nvSpPr>
            <p:cNvPr id="44" name="Oval 43">
              <a:extLst>
                <a:ext uri="{FF2B5EF4-FFF2-40B4-BE49-F238E27FC236}">
                  <a16:creationId xmlns:a16="http://schemas.microsoft.com/office/drawing/2014/main" id="{5F6B9CE7-2315-5849-8ECF-13D7AC835206}"/>
                </a:ext>
              </a:extLst>
            </p:cNvPr>
            <p:cNvSpPr/>
            <p:nvPr/>
          </p:nvSpPr>
          <p:spPr>
            <a:xfrm>
              <a:off x="1608136" y="4006572"/>
              <a:ext cx="47620" cy="47620"/>
            </a:xfrm>
            <a:prstGeom prst="ellipse">
              <a:avLst/>
            </a:prstGeom>
            <a:noFill/>
            <a:ln>
              <a:solidFill>
                <a:srgbClr val="A7DB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2"/>
            </a:p>
          </p:txBody>
        </p:sp>
        <p:sp>
          <p:nvSpPr>
            <p:cNvPr id="45" name="Oval 44">
              <a:extLst>
                <a:ext uri="{FF2B5EF4-FFF2-40B4-BE49-F238E27FC236}">
                  <a16:creationId xmlns:a16="http://schemas.microsoft.com/office/drawing/2014/main" id="{7DCCA9AA-D888-7543-8F3D-A72DC5AC711E}"/>
                </a:ext>
              </a:extLst>
            </p:cNvPr>
            <p:cNvSpPr/>
            <p:nvPr/>
          </p:nvSpPr>
          <p:spPr>
            <a:xfrm>
              <a:off x="1639886" y="4035147"/>
              <a:ext cx="47620" cy="47620"/>
            </a:xfrm>
            <a:prstGeom prst="ellipse">
              <a:avLst/>
            </a:prstGeom>
            <a:noFill/>
            <a:ln>
              <a:solidFill>
                <a:srgbClr val="A7DB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2"/>
            </a:p>
          </p:txBody>
        </p:sp>
        <p:sp>
          <p:nvSpPr>
            <p:cNvPr id="46" name="Oval 45">
              <a:extLst>
                <a:ext uri="{FF2B5EF4-FFF2-40B4-BE49-F238E27FC236}">
                  <a16:creationId xmlns:a16="http://schemas.microsoft.com/office/drawing/2014/main" id="{A2A62DF4-8BD6-804E-B2E4-F8FEC6140B13}"/>
                </a:ext>
              </a:extLst>
            </p:cNvPr>
            <p:cNvSpPr/>
            <p:nvPr/>
          </p:nvSpPr>
          <p:spPr>
            <a:xfrm>
              <a:off x="1646236" y="4054197"/>
              <a:ext cx="47620" cy="47620"/>
            </a:xfrm>
            <a:prstGeom prst="ellipse">
              <a:avLst/>
            </a:prstGeom>
            <a:noFill/>
            <a:ln>
              <a:solidFill>
                <a:srgbClr val="A7DB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2"/>
            </a:p>
          </p:txBody>
        </p:sp>
        <p:sp>
          <p:nvSpPr>
            <p:cNvPr id="47" name="Oval 46">
              <a:extLst>
                <a:ext uri="{FF2B5EF4-FFF2-40B4-BE49-F238E27FC236}">
                  <a16:creationId xmlns:a16="http://schemas.microsoft.com/office/drawing/2014/main" id="{775BA226-3918-7E4D-A71E-46E8389F2235}"/>
                </a:ext>
              </a:extLst>
            </p:cNvPr>
            <p:cNvSpPr/>
            <p:nvPr/>
          </p:nvSpPr>
          <p:spPr>
            <a:xfrm>
              <a:off x="1665286" y="4070072"/>
              <a:ext cx="47620" cy="47620"/>
            </a:xfrm>
            <a:prstGeom prst="ellipse">
              <a:avLst/>
            </a:prstGeom>
            <a:noFill/>
            <a:ln>
              <a:solidFill>
                <a:srgbClr val="A7DB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2"/>
            </a:p>
          </p:txBody>
        </p:sp>
        <p:sp>
          <p:nvSpPr>
            <p:cNvPr id="48" name="Oval 47">
              <a:extLst>
                <a:ext uri="{FF2B5EF4-FFF2-40B4-BE49-F238E27FC236}">
                  <a16:creationId xmlns:a16="http://schemas.microsoft.com/office/drawing/2014/main" id="{C846FE01-48AA-0C4A-8E70-08C6C241488F}"/>
                </a:ext>
              </a:extLst>
            </p:cNvPr>
            <p:cNvSpPr/>
            <p:nvPr/>
          </p:nvSpPr>
          <p:spPr>
            <a:xfrm>
              <a:off x="1681161" y="4158972"/>
              <a:ext cx="47620" cy="47620"/>
            </a:xfrm>
            <a:prstGeom prst="ellipse">
              <a:avLst/>
            </a:prstGeom>
            <a:noFill/>
            <a:ln>
              <a:solidFill>
                <a:srgbClr val="A7DB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2"/>
            </a:p>
          </p:txBody>
        </p:sp>
        <p:sp>
          <p:nvSpPr>
            <p:cNvPr id="49" name="Oval 48">
              <a:extLst>
                <a:ext uri="{FF2B5EF4-FFF2-40B4-BE49-F238E27FC236}">
                  <a16:creationId xmlns:a16="http://schemas.microsoft.com/office/drawing/2014/main" id="{72AABA51-D76D-ED4F-90BA-79B3ED9DF1A3}"/>
                </a:ext>
              </a:extLst>
            </p:cNvPr>
            <p:cNvSpPr/>
            <p:nvPr/>
          </p:nvSpPr>
          <p:spPr>
            <a:xfrm>
              <a:off x="1687511" y="4212947"/>
              <a:ext cx="47620" cy="47620"/>
            </a:xfrm>
            <a:prstGeom prst="ellipse">
              <a:avLst/>
            </a:prstGeom>
            <a:noFill/>
            <a:ln>
              <a:solidFill>
                <a:srgbClr val="A7DB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2"/>
            </a:p>
          </p:txBody>
        </p:sp>
        <p:sp>
          <p:nvSpPr>
            <p:cNvPr id="50" name="Oval 49">
              <a:extLst>
                <a:ext uri="{FF2B5EF4-FFF2-40B4-BE49-F238E27FC236}">
                  <a16:creationId xmlns:a16="http://schemas.microsoft.com/office/drawing/2014/main" id="{EDE80B87-F883-A14A-9A6F-4998F7E8DE13}"/>
                </a:ext>
              </a:extLst>
            </p:cNvPr>
            <p:cNvSpPr/>
            <p:nvPr/>
          </p:nvSpPr>
          <p:spPr>
            <a:xfrm>
              <a:off x="2017711" y="4238347"/>
              <a:ext cx="47620" cy="47620"/>
            </a:xfrm>
            <a:prstGeom prst="ellipse">
              <a:avLst/>
            </a:prstGeom>
            <a:noFill/>
            <a:ln>
              <a:solidFill>
                <a:srgbClr val="A7DB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2"/>
            </a:p>
          </p:txBody>
        </p:sp>
        <p:sp>
          <p:nvSpPr>
            <p:cNvPr id="51" name="Oval 50">
              <a:extLst>
                <a:ext uri="{FF2B5EF4-FFF2-40B4-BE49-F238E27FC236}">
                  <a16:creationId xmlns:a16="http://schemas.microsoft.com/office/drawing/2014/main" id="{47EEBB23-2BD8-0F46-8ED6-DB8C815122B6}"/>
                </a:ext>
              </a:extLst>
            </p:cNvPr>
            <p:cNvSpPr/>
            <p:nvPr/>
          </p:nvSpPr>
          <p:spPr>
            <a:xfrm>
              <a:off x="2049461" y="4320897"/>
              <a:ext cx="47620" cy="47620"/>
            </a:xfrm>
            <a:prstGeom prst="ellipse">
              <a:avLst/>
            </a:prstGeom>
            <a:noFill/>
            <a:ln>
              <a:solidFill>
                <a:srgbClr val="A7DB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2"/>
            </a:p>
          </p:txBody>
        </p:sp>
        <p:sp>
          <p:nvSpPr>
            <p:cNvPr id="52" name="Oval 51">
              <a:extLst>
                <a:ext uri="{FF2B5EF4-FFF2-40B4-BE49-F238E27FC236}">
                  <a16:creationId xmlns:a16="http://schemas.microsoft.com/office/drawing/2014/main" id="{6BA161FD-B43E-A644-8E40-DFB3AD57127C}"/>
                </a:ext>
              </a:extLst>
            </p:cNvPr>
            <p:cNvSpPr/>
            <p:nvPr/>
          </p:nvSpPr>
          <p:spPr>
            <a:xfrm>
              <a:off x="2093911" y="4349472"/>
              <a:ext cx="47620" cy="47620"/>
            </a:xfrm>
            <a:prstGeom prst="ellipse">
              <a:avLst/>
            </a:prstGeom>
            <a:noFill/>
            <a:ln>
              <a:solidFill>
                <a:srgbClr val="A7DB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2"/>
            </a:p>
          </p:txBody>
        </p:sp>
        <p:sp>
          <p:nvSpPr>
            <p:cNvPr id="53" name="Oval 52">
              <a:extLst>
                <a:ext uri="{FF2B5EF4-FFF2-40B4-BE49-F238E27FC236}">
                  <a16:creationId xmlns:a16="http://schemas.microsoft.com/office/drawing/2014/main" id="{9E8B3DFD-9546-6944-86A3-B5C44754E623}"/>
                </a:ext>
              </a:extLst>
            </p:cNvPr>
            <p:cNvSpPr/>
            <p:nvPr/>
          </p:nvSpPr>
          <p:spPr>
            <a:xfrm>
              <a:off x="2373311" y="4358997"/>
              <a:ext cx="47620" cy="47620"/>
            </a:xfrm>
            <a:prstGeom prst="ellipse">
              <a:avLst/>
            </a:prstGeom>
            <a:noFill/>
            <a:ln>
              <a:solidFill>
                <a:srgbClr val="A7DB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2"/>
            </a:p>
          </p:txBody>
        </p:sp>
        <p:sp>
          <p:nvSpPr>
            <p:cNvPr id="54" name="Oval 53">
              <a:extLst>
                <a:ext uri="{FF2B5EF4-FFF2-40B4-BE49-F238E27FC236}">
                  <a16:creationId xmlns:a16="http://schemas.microsoft.com/office/drawing/2014/main" id="{B4FD9E31-CBB2-2641-B9F6-77EE0B4640CC}"/>
                </a:ext>
              </a:extLst>
            </p:cNvPr>
            <p:cNvSpPr/>
            <p:nvPr/>
          </p:nvSpPr>
          <p:spPr>
            <a:xfrm>
              <a:off x="2386011" y="4352647"/>
              <a:ext cx="47620" cy="47620"/>
            </a:xfrm>
            <a:prstGeom prst="ellipse">
              <a:avLst/>
            </a:prstGeom>
            <a:noFill/>
            <a:ln>
              <a:solidFill>
                <a:srgbClr val="A7DB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2"/>
            </a:p>
          </p:txBody>
        </p:sp>
        <p:sp>
          <p:nvSpPr>
            <p:cNvPr id="55" name="Oval 54">
              <a:extLst>
                <a:ext uri="{FF2B5EF4-FFF2-40B4-BE49-F238E27FC236}">
                  <a16:creationId xmlns:a16="http://schemas.microsoft.com/office/drawing/2014/main" id="{9FF23234-7B34-184C-A1A4-F3204E80465A}"/>
                </a:ext>
              </a:extLst>
            </p:cNvPr>
            <p:cNvSpPr/>
            <p:nvPr/>
          </p:nvSpPr>
          <p:spPr>
            <a:xfrm>
              <a:off x="2417761" y="4374872"/>
              <a:ext cx="47620" cy="47620"/>
            </a:xfrm>
            <a:prstGeom prst="ellipse">
              <a:avLst/>
            </a:prstGeom>
            <a:noFill/>
            <a:ln>
              <a:solidFill>
                <a:srgbClr val="A7DB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2"/>
            </a:p>
          </p:txBody>
        </p:sp>
        <p:sp>
          <p:nvSpPr>
            <p:cNvPr id="56" name="Oval 55">
              <a:extLst>
                <a:ext uri="{FF2B5EF4-FFF2-40B4-BE49-F238E27FC236}">
                  <a16:creationId xmlns:a16="http://schemas.microsoft.com/office/drawing/2014/main" id="{F10DC633-8C2F-464E-8EC2-79B9E65D9BB8}"/>
                </a:ext>
              </a:extLst>
            </p:cNvPr>
            <p:cNvSpPr/>
            <p:nvPr/>
          </p:nvSpPr>
          <p:spPr>
            <a:xfrm>
              <a:off x="2643186" y="4447897"/>
              <a:ext cx="47620" cy="47620"/>
            </a:xfrm>
            <a:prstGeom prst="ellipse">
              <a:avLst/>
            </a:prstGeom>
            <a:noFill/>
            <a:ln>
              <a:solidFill>
                <a:srgbClr val="A7DB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2"/>
            </a:p>
          </p:txBody>
        </p:sp>
        <p:sp>
          <p:nvSpPr>
            <p:cNvPr id="57" name="Oval 56">
              <a:extLst>
                <a:ext uri="{FF2B5EF4-FFF2-40B4-BE49-F238E27FC236}">
                  <a16:creationId xmlns:a16="http://schemas.microsoft.com/office/drawing/2014/main" id="{FAA38446-F103-B34F-A34F-02A65FB8BC6F}"/>
                </a:ext>
              </a:extLst>
            </p:cNvPr>
            <p:cNvSpPr/>
            <p:nvPr/>
          </p:nvSpPr>
          <p:spPr>
            <a:xfrm>
              <a:off x="2747961" y="4482822"/>
              <a:ext cx="47620" cy="47620"/>
            </a:xfrm>
            <a:prstGeom prst="ellipse">
              <a:avLst/>
            </a:prstGeom>
            <a:noFill/>
            <a:ln>
              <a:solidFill>
                <a:srgbClr val="A7DB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2"/>
            </a:p>
          </p:txBody>
        </p:sp>
        <p:sp>
          <p:nvSpPr>
            <p:cNvPr id="58" name="Oval 57">
              <a:extLst>
                <a:ext uri="{FF2B5EF4-FFF2-40B4-BE49-F238E27FC236}">
                  <a16:creationId xmlns:a16="http://schemas.microsoft.com/office/drawing/2014/main" id="{F8A89784-5C61-7148-BFD1-E3ABAAB83404}"/>
                </a:ext>
              </a:extLst>
            </p:cNvPr>
            <p:cNvSpPr/>
            <p:nvPr/>
          </p:nvSpPr>
          <p:spPr>
            <a:xfrm>
              <a:off x="2760661" y="4476472"/>
              <a:ext cx="47620" cy="47620"/>
            </a:xfrm>
            <a:prstGeom prst="ellipse">
              <a:avLst/>
            </a:prstGeom>
            <a:noFill/>
            <a:ln>
              <a:solidFill>
                <a:srgbClr val="A7DB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2"/>
            </a:p>
          </p:txBody>
        </p:sp>
        <p:sp>
          <p:nvSpPr>
            <p:cNvPr id="59" name="Oval 58">
              <a:extLst>
                <a:ext uri="{FF2B5EF4-FFF2-40B4-BE49-F238E27FC236}">
                  <a16:creationId xmlns:a16="http://schemas.microsoft.com/office/drawing/2014/main" id="{31A4354F-C47F-2B40-9A22-4010228B7518}"/>
                </a:ext>
              </a:extLst>
            </p:cNvPr>
            <p:cNvSpPr/>
            <p:nvPr/>
          </p:nvSpPr>
          <p:spPr>
            <a:xfrm>
              <a:off x="2932111" y="4539972"/>
              <a:ext cx="47620" cy="47620"/>
            </a:xfrm>
            <a:prstGeom prst="ellipse">
              <a:avLst/>
            </a:prstGeom>
            <a:noFill/>
            <a:ln>
              <a:solidFill>
                <a:srgbClr val="A7DB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2"/>
            </a:p>
          </p:txBody>
        </p:sp>
        <p:sp>
          <p:nvSpPr>
            <p:cNvPr id="60" name="Oval 59">
              <a:extLst>
                <a:ext uri="{FF2B5EF4-FFF2-40B4-BE49-F238E27FC236}">
                  <a16:creationId xmlns:a16="http://schemas.microsoft.com/office/drawing/2014/main" id="{D0DD68BC-15F5-3942-8425-64506175E517}"/>
                </a:ext>
              </a:extLst>
            </p:cNvPr>
            <p:cNvSpPr/>
            <p:nvPr/>
          </p:nvSpPr>
          <p:spPr>
            <a:xfrm>
              <a:off x="3090861" y="4543147"/>
              <a:ext cx="47620" cy="47620"/>
            </a:xfrm>
            <a:prstGeom prst="ellipse">
              <a:avLst/>
            </a:prstGeom>
            <a:noFill/>
            <a:ln>
              <a:solidFill>
                <a:srgbClr val="A7DB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2"/>
            </a:p>
          </p:txBody>
        </p:sp>
        <p:sp>
          <p:nvSpPr>
            <p:cNvPr id="61" name="Oval 60">
              <a:extLst>
                <a:ext uri="{FF2B5EF4-FFF2-40B4-BE49-F238E27FC236}">
                  <a16:creationId xmlns:a16="http://schemas.microsoft.com/office/drawing/2014/main" id="{0A538D49-85E9-0842-8385-AEF9AF3EEBC0}"/>
                </a:ext>
              </a:extLst>
            </p:cNvPr>
            <p:cNvSpPr/>
            <p:nvPr/>
          </p:nvSpPr>
          <p:spPr>
            <a:xfrm>
              <a:off x="3122611" y="4539972"/>
              <a:ext cx="47620" cy="47620"/>
            </a:xfrm>
            <a:prstGeom prst="ellipse">
              <a:avLst/>
            </a:prstGeom>
            <a:noFill/>
            <a:ln>
              <a:solidFill>
                <a:srgbClr val="A7DB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2"/>
            </a:p>
          </p:txBody>
        </p:sp>
        <p:sp>
          <p:nvSpPr>
            <p:cNvPr id="62" name="Oval 61">
              <a:extLst>
                <a:ext uri="{FF2B5EF4-FFF2-40B4-BE49-F238E27FC236}">
                  <a16:creationId xmlns:a16="http://schemas.microsoft.com/office/drawing/2014/main" id="{E63EF192-4FD8-F54D-B9ED-0272F38F7F46}"/>
                </a:ext>
              </a:extLst>
            </p:cNvPr>
            <p:cNvSpPr/>
            <p:nvPr/>
          </p:nvSpPr>
          <p:spPr>
            <a:xfrm>
              <a:off x="3141661" y="4539972"/>
              <a:ext cx="47620" cy="47620"/>
            </a:xfrm>
            <a:prstGeom prst="ellipse">
              <a:avLst/>
            </a:prstGeom>
            <a:noFill/>
            <a:ln>
              <a:solidFill>
                <a:srgbClr val="A7DB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2"/>
            </a:p>
          </p:txBody>
        </p:sp>
        <p:sp>
          <p:nvSpPr>
            <p:cNvPr id="63" name="Oval 62">
              <a:extLst>
                <a:ext uri="{FF2B5EF4-FFF2-40B4-BE49-F238E27FC236}">
                  <a16:creationId xmlns:a16="http://schemas.microsoft.com/office/drawing/2014/main" id="{7C8C279C-C03A-DD46-A935-4605657C4C02}"/>
                </a:ext>
              </a:extLst>
            </p:cNvPr>
            <p:cNvSpPr/>
            <p:nvPr/>
          </p:nvSpPr>
          <p:spPr>
            <a:xfrm>
              <a:off x="3570286" y="4539972"/>
              <a:ext cx="47620" cy="47620"/>
            </a:xfrm>
            <a:prstGeom prst="ellipse">
              <a:avLst/>
            </a:prstGeom>
            <a:noFill/>
            <a:ln>
              <a:solidFill>
                <a:srgbClr val="A7DB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2"/>
            </a:p>
          </p:txBody>
        </p:sp>
        <p:sp>
          <p:nvSpPr>
            <p:cNvPr id="64" name="Oval 63">
              <a:extLst>
                <a:ext uri="{FF2B5EF4-FFF2-40B4-BE49-F238E27FC236}">
                  <a16:creationId xmlns:a16="http://schemas.microsoft.com/office/drawing/2014/main" id="{4547FE7C-14B3-6B48-A5B2-B9317A4B1E35}"/>
                </a:ext>
              </a:extLst>
            </p:cNvPr>
            <p:cNvSpPr/>
            <p:nvPr/>
          </p:nvSpPr>
          <p:spPr>
            <a:xfrm>
              <a:off x="3951286" y="4539972"/>
              <a:ext cx="47620" cy="47620"/>
            </a:xfrm>
            <a:prstGeom prst="ellipse">
              <a:avLst/>
            </a:prstGeom>
            <a:noFill/>
            <a:ln>
              <a:solidFill>
                <a:srgbClr val="A7DB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2"/>
            </a:p>
          </p:txBody>
        </p:sp>
        <p:sp>
          <p:nvSpPr>
            <p:cNvPr id="65" name="Oval 64">
              <a:extLst>
                <a:ext uri="{FF2B5EF4-FFF2-40B4-BE49-F238E27FC236}">
                  <a16:creationId xmlns:a16="http://schemas.microsoft.com/office/drawing/2014/main" id="{873BD394-229C-CB4C-87E8-767D6ED8F12D}"/>
                </a:ext>
              </a:extLst>
            </p:cNvPr>
            <p:cNvSpPr/>
            <p:nvPr/>
          </p:nvSpPr>
          <p:spPr>
            <a:xfrm>
              <a:off x="4249736" y="4539972"/>
              <a:ext cx="47620" cy="47620"/>
            </a:xfrm>
            <a:prstGeom prst="ellipse">
              <a:avLst/>
            </a:prstGeom>
            <a:noFill/>
            <a:ln>
              <a:solidFill>
                <a:srgbClr val="A7DB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2"/>
            </a:p>
          </p:txBody>
        </p:sp>
      </p:grpSp>
      <p:sp>
        <p:nvSpPr>
          <p:cNvPr id="22" name="Freeform 21">
            <a:extLst>
              <a:ext uri="{FF2B5EF4-FFF2-40B4-BE49-F238E27FC236}">
                <a16:creationId xmlns:a16="http://schemas.microsoft.com/office/drawing/2014/main" id="{DD57BA8D-09C1-374F-B102-004C1CDA4B1A}"/>
              </a:ext>
            </a:extLst>
          </p:cNvPr>
          <p:cNvSpPr/>
          <p:nvPr/>
        </p:nvSpPr>
        <p:spPr>
          <a:xfrm>
            <a:off x="1694909" y="1343161"/>
            <a:ext cx="2686153" cy="1332824"/>
          </a:xfrm>
          <a:custGeom>
            <a:avLst/>
            <a:gdLst>
              <a:gd name="connsiteX0" fmla="*/ 3327400 w 3327400"/>
              <a:gd name="connsiteY0" fmla="*/ 1651000 h 1651000"/>
              <a:gd name="connsiteX1" fmla="*/ 1860550 w 3327400"/>
              <a:gd name="connsiteY1" fmla="*/ 1651000 h 1651000"/>
              <a:gd name="connsiteX2" fmla="*/ 1860550 w 3327400"/>
              <a:gd name="connsiteY2" fmla="*/ 1651000 h 1651000"/>
              <a:gd name="connsiteX3" fmla="*/ 1860550 w 3327400"/>
              <a:gd name="connsiteY3" fmla="*/ 1590675 h 1651000"/>
              <a:gd name="connsiteX4" fmla="*/ 1809750 w 3327400"/>
              <a:gd name="connsiteY4" fmla="*/ 1590675 h 1651000"/>
              <a:gd name="connsiteX5" fmla="*/ 1809750 w 3327400"/>
              <a:gd name="connsiteY5" fmla="*/ 1552575 h 1651000"/>
              <a:gd name="connsiteX6" fmla="*/ 1584325 w 3327400"/>
              <a:gd name="connsiteY6" fmla="*/ 1552575 h 1651000"/>
              <a:gd name="connsiteX7" fmla="*/ 1584325 w 3327400"/>
              <a:gd name="connsiteY7" fmla="*/ 1524000 h 1651000"/>
              <a:gd name="connsiteX8" fmla="*/ 1511300 w 3327400"/>
              <a:gd name="connsiteY8" fmla="*/ 1524000 h 1651000"/>
              <a:gd name="connsiteX9" fmla="*/ 1511300 w 3327400"/>
              <a:gd name="connsiteY9" fmla="*/ 1485900 h 1651000"/>
              <a:gd name="connsiteX10" fmla="*/ 1454150 w 3327400"/>
              <a:gd name="connsiteY10" fmla="*/ 1485900 h 1651000"/>
              <a:gd name="connsiteX11" fmla="*/ 1454150 w 3327400"/>
              <a:gd name="connsiteY11" fmla="*/ 1454150 h 1651000"/>
              <a:gd name="connsiteX12" fmla="*/ 1168400 w 3327400"/>
              <a:gd name="connsiteY12" fmla="*/ 1454150 h 1651000"/>
              <a:gd name="connsiteX13" fmla="*/ 1120775 w 3327400"/>
              <a:gd name="connsiteY13" fmla="*/ 1419225 h 1651000"/>
              <a:gd name="connsiteX14" fmla="*/ 1120775 w 3327400"/>
              <a:gd name="connsiteY14" fmla="*/ 1387475 h 1651000"/>
              <a:gd name="connsiteX15" fmla="*/ 1120775 w 3327400"/>
              <a:gd name="connsiteY15" fmla="*/ 1387475 h 1651000"/>
              <a:gd name="connsiteX16" fmla="*/ 1092200 w 3327400"/>
              <a:gd name="connsiteY16" fmla="*/ 1346200 h 1651000"/>
              <a:gd name="connsiteX17" fmla="*/ 981075 w 3327400"/>
              <a:gd name="connsiteY17" fmla="*/ 1349375 h 1651000"/>
              <a:gd name="connsiteX18" fmla="*/ 981075 w 3327400"/>
              <a:gd name="connsiteY18" fmla="*/ 1349375 h 1651000"/>
              <a:gd name="connsiteX19" fmla="*/ 965200 w 3327400"/>
              <a:gd name="connsiteY19" fmla="*/ 1333500 h 1651000"/>
              <a:gd name="connsiteX20" fmla="*/ 812800 w 3327400"/>
              <a:gd name="connsiteY20" fmla="*/ 1336675 h 1651000"/>
              <a:gd name="connsiteX21" fmla="*/ 812800 w 3327400"/>
              <a:gd name="connsiteY21" fmla="*/ 1336675 h 1651000"/>
              <a:gd name="connsiteX22" fmla="*/ 765175 w 3327400"/>
              <a:gd name="connsiteY22" fmla="*/ 1314450 h 1651000"/>
              <a:gd name="connsiteX23" fmla="*/ 768350 w 3327400"/>
              <a:gd name="connsiteY23" fmla="*/ 1266825 h 1651000"/>
              <a:gd name="connsiteX24" fmla="*/ 768350 w 3327400"/>
              <a:gd name="connsiteY24" fmla="*/ 1266825 h 1651000"/>
              <a:gd name="connsiteX25" fmla="*/ 752475 w 3327400"/>
              <a:gd name="connsiteY25" fmla="*/ 1174750 h 1651000"/>
              <a:gd name="connsiteX26" fmla="*/ 704850 w 3327400"/>
              <a:gd name="connsiteY26" fmla="*/ 1133475 h 1651000"/>
              <a:gd name="connsiteX27" fmla="*/ 669925 w 3327400"/>
              <a:gd name="connsiteY27" fmla="*/ 1108075 h 1651000"/>
              <a:gd name="connsiteX28" fmla="*/ 501650 w 3327400"/>
              <a:gd name="connsiteY28" fmla="*/ 1114425 h 1651000"/>
              <a:gd name="connsiteX29" fmla="*/ 473075 w 3327400"/>
              <a:gd name="connsiteY29" fmla="*/ 1098550 h 1651000"/>
              <a:gd name="connsiteX30" fmla="*/ 438150 w 3327400"/>
              <a:gd name="connsiteY30" fmla="*/ 1085850 h 1651000"/>
              <a:gd name="connsiteX31" fmla="*/ 431800 w 3327400"/>
              <a:gd name="connsiteY31" fmla="*/ 1009650 h 1651000"/>
              <a:gd name="connsiteX32" fmla="*/ 384175 w 3327400"/>
              <a:gd name="connsiteY32" fmla="*/ 882650 h 1651000"/>
              <a:gd name="connsiteX33" fmla="*/ 384175 w 3327400"/>
              <a:gd name="connsiteY33" fmla="*/ 752475 h 1651000"/>
              <a:gd name="connsiteX34" fmla="*/ 387350 w 3327400"/>
              <a:gd name="connsiteY34" fmla="*/ 517525 h 1651000"/>
              <a:gd name="connsiteX35" fmla="*/ 381000 w 3327400"/>
              <a:gd name="connsiteY35" fmla="*/ 406400 h 1651000"/>
              <a:gd name="connsiteX36" fmla="*/ 355600 w 3327400"/>
              <a:gd name="connsiteY36" fmla="*/ 349250 h 1651000"/>
              <a:gd name="connsiteX37" fmla="*/ 346075 w 3327400"/>
              <a:gd name="connsiteY37" fmla="*/ 257175 h 1651000"/>
              <a:gd name="connsiteX38" fmla="*/ 339725 w 3327400"/>
              <a:gd name="connsiteY38" fmla="*/ 146050 h 1651000"/>
              <a:gd name="connsiteX39" fmla="*/ 257175 w 3327400"/>
              <a:gd name="connsiteY39" fmla="*/ 101600 h 1651000"/>
              <a:gd name="connsiteX40" fmla="*/ 171450 w 3327400"/>
              <a:gd name="connsiteY40" fmla="*/ 79375 h 1651000"/>
              <a:gd name="connsiteX41" fmla="*/ 171450 w 3327400"/>
              <a:gd name="connsiteY41" fmla="*/ 44450 h 1651000"/>
              <a:gd name="connsiteX42" fmla="*/ 114300 w 3327400"/>
              <a:gd name="connsiteY42" fmla="*/ 47625 h 1651000"/>
              <a:gd name="connsiteX43" fmla="*/ 95250 w 3327400"/>
              <a:gd name="connsiteY43" fmla="*/ 28575 h 1651000"/>
              <a:gd name="connsiteX44" fmla="*/ 34925 w 3327400"/>
              <a:gd name="connsiteY44" fmla="*/ 22225 h 1651000"/>
              <a:gd name="connsiteX45" fmla="*/ 34925 w 3327400"/>
              <a:gd name="connsiteY45" fmla="*/ 22225 h 1651000"/>
              <a:gd name="connsiteX46" fmla="*/ 0 w 3327400"/>
              <a:gd name="connsiteY46" fmla="*/ 0 h 1651000"/>
              <a:gd name="connsiteX0" fmla="*/ 3327400 w 3327400"/>
              <a:gd name="connsiteY0" fmla="*/ 1651000 h 1651000"/>
              <a:gd name="connsiteX1" fmla="*/ 1860550 w 3327400"/>
              <a:gd name="connsiteY1" fmla="*/ 1651000 h 1651000"/>
              <a:gd name="connsiteX2" fmla="*/ 1860550 w 3327400"/>
              <a:gd name="connsiteY2" fmla="*/ 1651000 h 1651000"/>
              <a:gd name="connsiteX3" fmla="*/ 1860550 w 3327400"/>
              <a:gd name="connsiteY3" fmla="*/ 1590675 h 1651000"/>
              <a:gd name="connsiteX4" fmla="*/ 1809750 w 3327400"/>
              <a:gd name="connsiteY4" fmla="*/ 1590675 h 1651000"/>
              <a:gd name="connsiteX5" fmla="*/ 1809750 w 3327400"/>
              <a:gd name="connsiteY5" fmla="*/ 1552575 h 1651000"/>
              <a:gd name="connsiteX6" fmla="*/ 1584325 w 3327400"/>
              <a:gd name="connsiteY6" fmla="*/ 1552575 h 1651000"/>
              <a:gd name="connsiteX7" fmla="*/ 1584325 w 3327400"/>
              <a:gd name="connsiteY7" fmla="*/ 1524000 h 1651000"/>
              <a:gd name="connsiteX8" fmla="*/ 1511300 w 3327400"/>
              <a:gd name="connsiteY8" fmla="*/ 1524000 h 1651000"/>
              <a:gd name="connsiteX9" fmla="*/ 1511300 w 3327400"/>
              <a:gd name="connsiteY9" fmla="*/ 1485900 h 1651000"/>
              <a:gd name="connsiteX10" fmla="*/ 1454150 w 3327400"/>
              <a:gd name="connsiteY10" fmla="*/ 1485900 h 1651000"/>
              <a:gd name="connsiteX11" fmla="*/ 1454150 w 3327400"/>
              <a:gd name="connsiteY11" fmla="*/ 1454150 h 1651000"/>
              <a:gd name="connsiteX12" fmla="*/ 1168400 w 3327400"/>
              <a:gd name="connsiteY12" fmla="*/ 1454150 h 1651000"/>
              <a:gd name="connsiteX13" fmla="*/ 1120775 w 3327400"/>
              <a:gd name="connsiteY13" fmla="*/ 1419225 h 1651000"/>
              <a:gd name="connsiteX14" fmla="*/ 1120775 w 3327400"/>
              <a:gd name="connsiteY14" fmla="*/ 1387475 h 1651000"/>
              <a:gd name="connsiteX15" fmla="*/ 1120775 w 3327400"/>
              <a:gd name="connsiteY15" fmla="*/ 1387475 h 1651000"/>
              <a:gd name="connsiteX16" fmla="*/ 1092200 w 3327400"/>
              <a:gd name="connsiteY16" fmla="*/ 1346200 h 1651000"/>
              <a:gd name="connsiteX17" fmla="*/ 981075 w 3327400"/>
              <a:gd name="connsiteY17" fmla="*/ 1349375 h 1651000"/>
              <a:gd name="connsiteX18" fmla="*/ 981075 w 3327400"/>
              <a:gd name="connsiteY18" fmla="*/ 1349375 h 1651000"/>
              <a:gd name="connsiteX19" fmla="*/ 965200 w 3327400"/>
              <a:gd name="connsiteY19" fmla="*/ 1333500 h 1651000"/>
              <a:gd name="connsiteX20" fmla="*/ 812800 w 3327400"/>
              <a:gd name="connsiteY20" fmla="*/ 1336675 h 1651000"/>
              <a:gd name="connsiteX21" fmla="*/ 812800 w 3327400"/>
              <a:gd name="connsiteY21" fmla="*/ 1336675 h 1651000"/>
              <a:gd name="connsiteX22" fmla="*/ 765175 w 3327400"/>
              <a:gd name="connsiteY22" fmla="*/ 1314450 h 1651000"/>
              <a:gd name="connsiteX23" fmla="*/ 768350 w 3327400"/>
              <a:gd name="connsiteY23" fmla="*/ 1266825 h 1651000"/>
              <a:gd name="connsiteX24" fmla="*/ 768350 w 3327400"/>
              <a:gd name="connsiteY24" fmla="*/ 1266825 h 1651000"/>
              <a:gd name="connsiteX25" fmla="*/ 752475 w 3327400"/>
              <a:gd name="connsiteY25" fmla="*/ 1174750 h 1651000"/>
              <a:gd name="connsiteX26" fmla="*/ 704850 w 3327400"/>
              <a:gd name="connsiteY26" fmla="*/ 1133475 h 1651000"/>
              <a:gd name="connsiteX27" fmla="*/ 666750 w 3327400"/>
              <a:gd name="connsiteY27" fmla="*/ 1117600 h 1651000"/>
              <a:gd name="connsiteX28" fmla="*/ 501650 w 3327400"/>
              <a:gd name="connsiteY28" fmla="*/ 1114425 h 1651000"/>
              <a:gd name="connsiteX29" fmla="*/ 473075 w 3327400"/>
              <a:gd name="connsiteY29" fmla="*/ 1098550 h 1651000"/>
              <a:gd name="connsiteX30" fmla="*/ 438150 w 3327400"/>
              <a:gd name="connsiteY30" fmla="*/ 1085850 h 1651000"/>
              <a:gd name="connsiteX31" fmla="*/ 431800 w 3327400"/>
              <a:gd name="connsiteY31" fmla="*/ 1009650 h 1651000"/>
              <a:gd name="connsiteX32" fmla="*/ 384175 w 3327400"/>
              <a:gd name="connsiteY32" fmla="*/ 882650 h 1651000"/>
              <a:gd name="connsiteX33" fmla="*/ 384175 w 3327400"/>
              <a:gd name="connsiteY33" fmla="*/ 752475 h 1651000"/>
              <a:gd name="connsiteX34" fmla="*/ 387350 w 3327400"/>
              <a:gd name="connsiteY34" fmla="*/ 517525 h 1651000"/>
              <a:gd name="connsiteX35" fmla="*/ 381000 w 3327400"/>
              <a:gd name="connsiteY35" fmla="*/ 406400 h 1651000"/>
              <a:gd name="connsiteX36" fmla="*/ 355600 w 3327400"/>
              <a:gd name="connsiteY36" fmla="*/ 349250 h 1651000"/>
              <a:gd name="connsiteX37" fmla="*/ 346075 w 3327400"/>
              <a:gd name="connsiteY37" fmla="*/ 257175 h 1651000"/>
              <a:gd name="connsiteX38" fmla="*/ 339725 w 3327400"/>
              <a:gd name="connsiteY38" fmla="*/ 146050 h 1651000"/>
              <a:gd name="connsiteX39" fmla="*/ 257175 w 3327400"/>
              <a:gd name="connsiteY39" fmla="*/ 101600 h 1651000"/>
              <a:gd name="connsiteX40" fmla="*/ 171450 w 3327400"/>
              <a:gd name="connsiteY40" fmla="*/ 79375 h 1651000"/>
              <a:gd name="connsiteX41" fmla="*/ 171450 w 3327400"/>
              <a:gd name="connsiteY41" fmla="*/ 44450 h 1651000"/>
              <a:gd name="connsiteX42" fmla="*/ 114300 w 3327400"/>
              <a:gd name="connsiteY42" fmla="*/ 47625 h 1651000"/>
              <a:gd name="connsiteX43" fmla="*/ 95250 w 3327400"/>
              <a:gd name="connsiteY43" fmla="*/ 28575 h 1651000"/>
              <a:gd name="connsiteX44" fmla="*/ 34925 w 3327400"/>
              <a:gd name="connsiteY44" fmla="*/ 22225 h 1651000"/>
              <a:gd name="connsiteX45" fmla="*/ 34925 w 3327400"/>
              <a:gd name="connsiteY45" fmla="*/ 22225 h 1651000"/>
              <a:gd name="connsiteX46" fmla="*/ 0 w 3327400"/>
              <a:gd name="connsiteY46" fmla="*/ 0 h 165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3327400" h="1651000">
                <a:moveTo>
                  <a:pt x="3327400" y="1651000"/>
                </a:moveTo>
                <a:lnTo>
                  <a:pt x="1860550" y="1651000"/>
                </a:lnTo>
                <a:lnTo>
                  <a:pt x="1860550" y="1651000"/>
                </a:lnTo>
                <a:lnTo>
                  <a:pt x="1860550" y="1590675"/>
                </a:lnTo>
                <a:lnTo>
                  <a:pt x="1809750" y="1590675"/>
                </a:lnTo>
                <a:lnTo>
                  <a:pt x="1809750" y="1552575"/>
                </a:lnTo>
                <a:lnTo>
                  <a:pt x="1584325" y="1552575"/>
                </a:lnTo>
                <a:lnTo>
                  <a:pt x="1584325" y="1524000"/>
                </a:lnTo>
                <a:lnTo>
                  <a:pt x="1511300" y="1524000"/>
                </a:lnTo>
                <a:lnTo>
                  <a:pt x="1511300" y="1485900"/>
                </a:lnTo>
                <a:lnTo>
                  <a:pt x="1454150" y="1485900"/>
                </a:lnTo>
                <a:lnTo>
                  <a:pt x="1454150" y="1454150"/>
                </a:lnTo>
                <a:lnTo>
                  <a:pt x="1168400" y="1454150"/>
                </a:lnTo>
                <a:lnTo>
                  <a:pt x="1120775" y="1419225"/>
                </a:lnTo>
                <a:lnTo>
                  <a:pt x="1120775" y="1387475"/>
                </a:lnTo>
                <a:lnTo>
                  <a:pt x="1120775" y="1387475"/>
                </a:lnTo>
                <a:lnTo>
                  <a:pt x="1092200" y="1346200"/>
                </a:lnTo>
                <a:lnTo>
                  <a:pt x="981075" y="1349375"/>
                </a:lnTo>
                <a:lnTo>
                  <a:pt x="981075" y="1349375"/>
                </a:lnTo>
                <a:lnTo>
                  <a:pt x="965200" y="1333500"/>
                </a:lnTo>
                <a:lnTo>
                  <a:pt x="812800" y="1336675"/>
                </a:lnTo>
                <a:lnTo>
                  <a:pt x="812800" y="1336675"/>
                </a:lnTo>
                <a:lnTo>
                  <a:pt x="765175" y="1314450"/>
                </a:lnTo>
                <a:lnTo>
                  <a:pt x="768350" y="1266825"/>
                </a:lnTo>
                <a:lnTo>
                  <a:pt x="768350" y="1266825"/>
                </a:lnTo>
                <a:lnTo>
                  <a:pt x="752475" y="1174750"/>
                </a:lnTo>
                <a:lnTo>
                  <a:pt x="704850" y="1133475"/>
                </a:lnTo>
                <a:lnTo>
                  <a:pt x="666750" y="1117600"/>
                </a:lnTo>
                <a:lnTo>
                  <a:pt x="501650" y="1114425"/>
                </a:lnTo>
                <a:lnTo>
                  <a:pt x="473075" y="1098550"/>
                </a:lnTo>
                <a:lnTo>
                  <a:pt x="438150" y="1085850"/>
                </a:lnTo>
                <a:lnTo>
                  <a:pt x="431800" y="1009650"/>
                </a:lnTo>
                <a:lnTo>
                  <a:pt x="384175" y="882650"/>
                </a:lnTo>
                <a:lnTo>
                  <a:pt x="384175" y="752475"/>
                </a:lnTo>
                <a:cubicBezTo>
                  <a:pt x="385233" y="674158"/>
                  <a:pt x="386292" y="595842"/>
                  <a:pt x="387350" y="517525"/>
                </a:cubicBezTo>
                <a:lnTo>
                  <a:pt x="381000" y="406400"/>
                </a:lnTo>
                <a:lnTo>
                  <a:pt x="355600" y="349250"/>
                </a:lnTo>
                <a:lnTo>
                  <a:pt x="346075" y="257175"/>
                </a:lnTo>
                <a:lnTo>
                  <a:pt x="339725" y="146050"/>
                </a:lnTo>
                <a:lnTo>
                  <a:pt x="257175" y="101600"/>
                </a:lnTo>
                <a:lnTo>
                  <a:pt x="171450" y="79375"/>
                </a:lnTo>
                <a:lnTo>
                  <a:pt x="171450" y="44450"/>
                </a:lnTo>
                <a:lnTo>
                  <a:pt x="114300" y="47625"/>
                </a:lnTo>
                <a:lnTo>
                  <a:pt x="95250" y="28575"/>
                </a:lnTo>
                <a:lnTo>
                  <a:pt x="34925" y="22225"/>
                </a:lnTo>
                <a:lnTo>
                  <a:pt x="34925" y="22225"/>
                </a:lnTo>
                <a:lnTo>
                  <a:pt x="0" y="0"/>
                </a:lnTo>
              </a:path>
            </a:pathLst>
          </a:custGeom>
          <a:noFill/>
          <a:ln w="19050">
            <a:solidFill>
              <a:srgbClr val="A7DBF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2"/>
          </a:p>
        </p:txBody>
      </p:sp>
      <p:grpSp>
        <p:nvGrpSpPr>
          <p:cNvPr id="202" name="Group 201">
            <a:extLst>
              <a:ext uri="{FF2B5EF4-FFF2-40B4-BE49-F238E27FC236}">
                <a16:creationId xmlns:a16="http://schemas.microsoft.com/office/drawing/2014/main" id="{BFFD949A-D4C4-C342-A032-7B42A93EFD05}"/>
              </a:ext>
            </a:extLst>
          </p:cNvPr>
          <p:cNvGrpSpPr/>
          <p:nvPr/>
        </p:nvGrpSpPr>
        <p:grpSpPr>
          <a:xfrm>
            <a:off x="1287376" y="3263902"/>
            <a:ext cx="4532013" cy="165506"/>
            <a:chOff x="561298" y="5272887"/>
            <a:chExt cx="5302027" cy="205015"/>
          </a:xfrm>
        </p:grpSpPr>
        <p:sp>
          <p:nvSpPr>
            <p:cNvPr id="203" name="TextBox 202">
              <a:extLst>
                <a:ext uri="{FF2B5EF4-FFF2-40B4-BE49-F238E27FC236}">
                  <a16:creationId xmlns:a16="http://schemas.microsoft.com/office/drawing/2014/main" id="{546DA9ED-348E-2A40-8C23-790BE2E6A378}"/>
                </a:ext>
              </a:extLst>
            </p:cNvPr>
            <p:cNvSpPr txBox="1"/>
            <p:nvPr/>
          </p:nvSpPr>
          <p:spPr>
            <a:xfrm>
              <a:off x="961471" y="5279971"/>
              <a:ext cx="129401" cy="197931"/>
            </a:xfrm>
            <a:prstGeom prst="rect">
              <a:avLst/>
            </a:prstGeom>
            <a:noFill/>
          </p:spPr>
          <p:txBody>
            <a:bodyPr wrap="none" lIns="0" tIns="0" rIns="0" bIns="0" rtlCol="0">
              <a:spAutoFit/>
            </a:bodyPr>
            <a:lstStyle/>
            <a:p>
              <a:pPr algn="ctr"/>
              <a:r>
                <a:rPr lang="en-US" sz="519" dirty="0"/>
                <a:t>239</a:t>
              </a:r>
            </a:p>
            <a:p>
              <a:pPr algn="ctr"/>
              <a:r>
                <a:rPr lang="en-US" sz="519" dirty="0"/>
                <a:t>238</a:t>
              </a:r>
            </a:p>
          </p:txBody>
        </p:sp>
        <p:sp>
          <p:nvSpPr>
            <p:cNvPr id="204" name="TextBox 203">
              <a:extLst>
                <a:ext uri="{FF2B5EF4-FFF2-40B4-BE49-F238E27FC236}">
                  <a16:creationId xmlns:a16="http://schemas.microsoft.com/office/drawing/2014/main" id="{748BCA0A-682C-7A4E-9DE3-CF58EA0A4EA9}"/>
                </a:ext>
              </a:extLst>
            </p:cNvPr>
            <p:cNvSpPr txBox="1"/>
            <p:nvPr/>
          </p:nvSpPr>
          <p:spPr>
            <a:xfrm>
              <a:off x="1160088" y="5279971"/>
              <a:ext cx="129401" cy="197931"/>
            </a:xfrm>
            <a:prstGeom prst="rect">
              <a:avLst/>
            </a:prstGeom>
            <a:noFill/>
          </p:spPr>
          <p:txBody>
            <a:bodyPr wrap="none" lIns="0" tIns="0" rIns="0" bIns="0" rtlCol="0">
              <a:spAutoFit/>
            </a:bodyPr>
            <a:lstStyle/>
            <a:p>
              <a:pPr algn="ctr"/>
              <a:r>
                <a:rPr lang="en-US" sz="519" dirty="0"/>
                <a:t>223</a:t>
              </a:r>
            </a:p>
            <a:p>
              <a:pPr algn="ctr"/>
              <a:r>
                <a:rPr lang="en-US" sz="519" dirty="0"/>
                <a:t>206</a:t>
              </a:r>
            </a:p>
          </p:txBody>
        </p:sp>
        <p:sp>
          <p:nvSpPr>
            <p:cNvPr id="205" name="TextBox 204">
              <a:extLst>
                <a:ext uri="{FF2B5EF4-FFF2-40B4-BE49-F238E27FC236}">
                  <a16:creationId xmlns:a16="http://schemas.microsoft.com/office/drawing/2014/main" id="{AB633D15-28FA-F44A-A389-FC2BEAC73977}"/>
                </a:ext>
              </a:extLst>
            </p:cNvPr>
            <p:cNvSpPr txBox="1"/>
            <p:nvPr/>
          </p:nvSpPr>
          <p:spPr>
            <a:xfrm>
              <a:off x="1362459" y="5279971"/>
              <a:ext cx="129401" cy="197931"/>
            </a:xfrm>
            <a:prstGeom prst="rect">
              <a:avLst/>
            </a:prstGeom>
            <a:noFill/>
          </p:spPr>
          <p:txBody>
            <a:bodyPr wrap="none" lIns="0" tIns="0" rIns="0" bIns="0" rtlCol="0">
              <a:spAutoFit/>
            </a:bodyPr>
            <a:lstStyle/>
            <a:p>
              <a:pPr algn="ctr"/>
              <a:r>
                <a:rPr lang="en-US" sz="519" dirty="0"/>
                <a:t>106</a:t>
              </a:r>
            </a:p>
            <a:p>
              <a:pPr algn="ctr"/>
              <a:r>
                <a:rPr lang="en-US" sz="519" dirty="0"/>
                <a:t>84</a:t>
              </a:r>
            </a:p>
          </p:txBody>
        </p:sp>
        <p:sp>
          <p:nvSpPr>
            <p:cNvPr id="206" name="TextBox 205">
              <a:extLst>
                <a:ext uri="{FF2B5EF4-FFF2-40B4-BE49-F238E27FC236}">
                  <a16:creationId xmlns:a16="http://schemas.microsoft.com/office/drawing/2014/main" id="{ABEF4F8D-BB45-2C44-ACBF-A764732521FE}"/>
                </a:ext>
              </a:extLst>
            </p:cNvPr>
            <p:cNvSpPr txBox="1"/>
            <p:nvPr/>
          </p:nvSpPr>
          <p:spPr>
            <a:xfrm>
              <a:off x="1582642" y="5279971"/>
              <a:ext cx="86266" cy="197931"/>
            </a:xfrm>
            <a:prstGeom prst="rect">
              <a:avLst/>
            </a:prstGeom>
            <a:noFill/>
          </p:spPr>
          <p:txBody>
            <a:bodyPr wrap="none" lIns="0" tIns="0" rIns="0" bIns="0" rtlCol="0">
              <a:spAutoFit/>
            </a:bodyPr>
            <a:lstStyle/>
            <a:p>
              <a:pPr algn="ctr"/>
              <a:r>
                <a:rPr lang="en-US" sz="519" dirty="0"/>
                <a:t>89</a:t>
              </a:r>
            </a:p>
            <a:p>
              <a:pPr algn="ctr"/>
              <a:r>
                <a:rPr lang="en-US" sz="519" dirty="0"/>
                <a:t>68</a:t>
              </a:r>
            </a:p>
          </p:txBody>
        </p:sp>
        <p:sp>
          <p:nvSpPr>
            <p:cNvPr id="207" name="TextBox 206">
              <a:extLst>
                <a:ext uri="{FF2B5EF4-FFF2-40B4-BE49-F238E27FC236}">
                  <a16:creationId xmlns:a16="http://schemas.microsoft.com/office/drawing/2014/main" id="{A16BFA71-0FF7-C64A-A390-6A6D0CCDC59C}"/>
                </a:ext>
              </a:extLst>
            </p:cNvPr>
            <p:cNvSpPr txBox="1"/>
            <p:nvPr/>
          </p:nvSpPr>
          <p:spPr>
            <a:xfrm>
              <a:off x="1788757" y="5279971"/>
              <a:ext cx="86266" cy="197931"/>
            </a:xfrm>
            <a:prstGeom prst="rect">
              <a:avLst/>
            </a:prstGeom>
            <a:noFill/>
          </p:spPr>
          <p:txBody>
            <a:bodyPr wrap="none" lIns="0" tIns="0" rIns="0" bIns="0" rtlCol="0">
              <a:spAutoFit/>
            </a:bodyPr>
            <a:lstStyle/>
            <a:p>
              <a:pPr algn="ctr"/>
              <a:r>
                <a:rPr lang="en-US" sz="519" dirty="0"/>
                <a:t>60</a:t>
              </a:r>
            </a:p>
            <a:p>
              <a:pPr algn="ctr"/>
              <a:r>
                <a:rPr lang="en-US" sz="519" dirty="0"/>
                <a:t>39</a:t>
              </a:r>
            </a:p>
          </p:txBody>
        </p:sp>
        <p:sp>
          <p:nvSpPr>
            <p:cNvPr id="208" name="TextBox 207">
              <a:extLst>
                <a:ext uri="{FF2B5EF4-FFF2-40B4-BE49-F238E27FC236}">
                  <a16:creationId xmlns:a16="http://schemas.microsoft.com/office/drawing/2014/main" id="{146B40D2-2F5E-4243-B812-12D440FA4494}"/>
                </a:ext>
              </a:extLst>
            </p:cNvPr>
            <p:cNvSpPr txBox="1"/>
            <p:nvPr/>
          </p:nvSpPr>
          <p:spPr>
            <a:xfrm>
              <a:off x="1987376" y="5279971"/>
              <a:ext cx="86266" cy="197931"/>
            </a:xfrm>
            <a:prstGeom prst="rect">
              <a:avLst/>
            </a:prstGeom>
            <a:noFill/>
          </p:spPr>
          <p:txBody>
            <a:bodyPr wrap="none" lIns="0" tIns="0" rIns="0" bIns="0" rtlCol="0">
              <a:spAutoFit/>
            </a:bodyPr>
            <a:lstStyle/>
            <a:p>
              <a:pPr algn="ctr"/>
              <a:r>
                <a:rPr lang="en-US" sz="519" dirty="0"/>
                <a:t>57</a:t>
              </a:r>
            </a:p>
            <a:p>
              <a:pPr algn="ctr"/>
              <a:r>
                <a:rPr lang="en-US" sz="519" dirty="0"/>
                <a:t>38</a:t>
              </a:r>
            </a:p>
          </p:txBody>
        </p:sp>
        <p:sp>
          <p:nvSpPr>
            <p:cNvPr id="209" name="TextBox 208">
              <a:extLst>
                <a:ext uri="{FF2B5EF4-FFF2-40B4-BE49-F238E27FC236}">
                  <a16:creationId xmlns:a16="http://schemas.microsoft.com/office/drawing/2014/main" id="{9539568E-8F90-6E49-A5BD-84C783B32E77}"/>
                </a:ext>
              </a:extLst>
            </p:cNvPr>
            <p:cNvSpPr txBox="1"/>
            <p:nvPr/>
          </p:nvSpPr>
          <p:spPr>
            <a:xfrm>
              <a:off x="2189743" y="5279971"/>
              <a:ext cx="86266" cy="197931"/>
            </a:xfrm>
            <a:prstGeom prst="rect">
              <a:avLst/>
            </a:prstGeom>
            <a:noFill/>
          </p:spPr>
          <p:txBody>
            <a:bodyPr wrap="none" lIns="0" tIns="0" rIns="0" bIns="0" rtlCol="0">
              <a:spAutoFit/>
            </a:bodyPr>
            <a:lstStyle/>
            <a:p>
              <a:pPr algn="ctr"/>
              <a:r>
                <a:rPr lang="en-US" sz="519" dirty="0"/>
                <a:t>42</a:t>
              </a:r>
            </a:p>
            <a:p>
              <a:pPr algn="ctr"/>
              <a:r>
                <a:rPr lang="en-US" sz="519" dirty="0"/>
                <a:t>25</a:t>
              </a:r>
            </a:p>
          </p:txBody>
        </p:sp>
        <p:sp>
          <p:nvSpPr>
            <p:cNvPr id="210" name="TextBox 209">
              <a:extLst>
                <a:ext uri="{FF2B5EF4-FFF2-40B4-BE49-F238E27FC236}">
                  <a16:creationId xmlns:a16="http://schemas.microsoft.com/office/drawing/2014/main" id="{5AC91B22-E075-974F-B5F1-43F197650825}"/>
                </a:ext>
              </a:extLst>
            </p:cNvPr>
            <p:cNvSpPr txBox="1"/>
            <p:nvPr/>
          </p:nvSpPr>
          <p:spPr>
            <a:xfrm>
              <a:off x="2388364" y="5279971"/>
              <a:ext cx="86266" cy="197931"/>
            </a:xfrm>
            <a:prstGeom prst="rect">
              <a:avLst/>
            </a:prstGeom>
            <a:noFill/>
          </p:spPr>
          <p:txBody>
            <a:bodyPr wrap="none" lIns="0" tIns="0" rIns="0" bIns="0" rtlCol="0">
              <a:spAutoFit/>
            </a:bodyPr>
            <a:lstStyle/>
            <a:p>
              <a:pPr algn="ctr"/>
              <a:r>
                <a:rPr lang="en-US" sz="519" dirty="0"/>
                <a:t>40</a:t>
              </a:r>
            </a:p>
            <a:p>
              <a:pPr algn="ctr"/>
              <a:r>
                <a:rPr lang="en-US" sz="519" dirty="0"/>
                <a:t>25</a:t>
              </a:r>
            </a:p>
          </p:txBody>
        </p:sp>
        <p:sp>
          <p:nvSpPr>
            <p:cNvPr id="211" name="TextBox 210">
              <a:extLst>
                <a:ext uri="{FF2B5EF4-FFF2-40B4-BE49-F238E27FC236}">
                  <a16:creationId xmlns:a16="http://schemas.microsoft.com/office/drawing/2014/main" id="{ACD08691-B4BB-C240-A99B-D510D913A94F}"/>
                </a:ext>
              </a:extLst>
            </p:cNvPr>
            <p:cNvSpPr txBox="1"/>
            <p:nvPr/>
          </p:nvSpPr>
          <p:spPr>
            <a:xfrm>
              <a:off x="2586982" y="5279971"/>
              <a:ext cx="86266" cy="197931"/>
            </a:xfrm>
            <a:prstGeom prst="rect">
              <a:avLst/>
            </a:prstGeom>
            <a:noFill/>
          </p:spPr>
          <p:txBody>
            <a:bodyPr wrap="none" lIns="0" tIns="0" rIns="0" bIns="0" rtlCol="0">
              <a:spAutoFit/>
            </a:bodyPr>
            <a:lstStyle/>
            <a:p>
              <a:pPr algn="ctr"/>
              <a:r>
                <a:rPr lang="en-US" sz="519" dirty="0"/>
                <a:t>34</a:t>
              </a:r>
            </a:p>
            <a:p>
              <a:pPr algn="ctr"/>
              <a:r>
                <a:rPr lang="en-US" sz="519" dirty="0"/>
                <a:t>16</a:t>
              </a:r>
            </a:p>
          </p:txBody>
        </p:sp>
        <p:sp>
          <p:nvSpPr>
            <p:cNvPr id="212" name="TextBox 211">
              <a:extLst>
                <a:ext uri="{FF2B5EF4-FFF2-40B4-BE49-F238E27FC236}">
                  <a16:creationId xmlns:a16="http://schemas.microsoft.com/office/drawing/2014/main" id="{ECD50ED9-FADB-364B-926F-BA191B609E5C}"/>
                </a:ext>
              </a:extLst>
            </p:cNvPr>
            <p:cNvSpPr txBox="1"/>
            <p:nvPr/>
          </p:nvSpPr>
          <p:spPr>
            <a:xfrm>
              <a:off x="2785602" y="5279971"/>
              <a:ext cx="86266" cy="197931"/>
            </a:xfrm>
            <a:prstGeom prst="rect">
              <a:avLst/>
            </a:prstGeom>
            <a:noFill/>
          </p:spPr>
          <p:txBody>
            <a:bodyPr wrap="none" lIns="0" tIns="0" rIns="0" bIns="0" rtlCol="0">
              <a:spAutoFit/>
            </a:bodyPr>
            <a:lstStyle/>
            <a:p>
              <a:pPr algn="ctr"/>
              <a:r>
                <a:rPr lang="en-US" sz="519" dirty="0"/>
                <a:t>33</a:t>
              </a:r>
            </a:p>
            <a:p>
              <a:pPr algn="ctr"/>
              <a:r>
                <a:rPr lang="en-US" sz="519" dirty="0"/>
                <a:t>15</a:t>
              </a:r>
            </a:p>
          </p:txBody>
        </p:sp>
        <p:sp>
          <p:nvSpPr>
            <p:cNvPr id="213" name="TextBox 212">
              <a:extLst>
                <a:ext uri="{FF2B5EF4-FFF2-40B4-BE49-F238E27FC236}">
                  <a16:creationId xmlns:a16="http://schemas.microsoft.com/office/drawing/2014/main" id="{13D04B6B-453E-774B-991E-46A8EFC9FB8F}"/>
                </a:ext>
              </a:extLst>
            </p:cNvPr>
            <p:cNvSpPr txBox="1"/>
            <p:nvPr/>
          </p:nvSpPr>
          <p:spPr>
            <a:xfrm>
              <a:off x="2987968" y="5279971"/>
              <a:ext cx="86266" cy="197931"/>
            </a:xfrm>
            <a:prstGeom prst="rect">
              <a:avLst/>
            </a:prstGeom>
            <a:noFill/>
          </p:spPr>
          <p:txBody>
            <a:bodyPr wrap="none" lIns="0" tIns="0" rIns="0" bIns="0" rtlCol="0">
              <a:spAutoFit/>
            </a:bodyPr>
            <a:lstStyle/>
            <a:p>
              <a:pPr algn="ctr"/>
              <a:r>
                <a:rPr lang="en-US" sz="519" dirty="0"/>
                <a:t>27</a:t>
              </a:r>
            </a:p>
            <a:p>
              <a:pPr algn="ctr"/>
              <a:r>
                <a:rPr lang="en-US" sz="519" dirty="0"/>
                <a:t>7</a:t>
              </a:r>
            </a:p>
          </p:txBody>
        </p:sp>
        <p:sp>
          <p:nvSpPr>
            <p:cNvPr id="214" name="TextBox 213">
              <a:extLst>
                <a:ext uri="{FF2B5EF4-FFF2-40B4-BE49-F238E27FC236}">
                  <a16:creationId xmlns:a16="http://schemas.microsoft.com/office/drawing/2014/main" id="{40E373FB-D21D-8445-8C5A-D0246402F63F}"/>
                </a:ext>
              </a:extLst>
            </p:cNvPr>
            <p:cNvSpPr txBox="1"/>
            <p:nvPr/>
          </p:nvSpPr>
          <p:spPr>
            <a:xfrm>
              <a:off x="3186588" y="5279971"/>
              <a:ext cx="86266" cy="197931"/>
            </a:xfrm>
            <a:prstGeom prst="rect">
              <a:avLst/>
            </a:prstGeom>
            <a:noFill/>
          </p:spPr>
          <p:txBody>
            <a:bodyPr wrap="none" lIns="0" tIns="0" rIns="0" bIns="0" rtlCol="0">
              <a:spAutoFit/>
            </a:bodyPr>
            <a:lstStyle/>
            <a:p>
              <a:pPr algn="ctr"/>
              <a:r>
                <a:rPr lang="en-US" sz="519" dirty="0"/>
                <a:t>24</a:t>
              </a:r>
            </a:p>
            <a:p>
              <a:pPr algn="ctr"/>
              <a:r>
                <a:rPr lang="en-US" sz="519" dirty="0"/>
                <a:t>4</a:t>
              </a:r>
            </a:p>
          </p:txBody>
        </p:sp>
        <p:sp>
          <p:nvSpPr>
            <p:cNvPr id="215" name="TextBox 214">
              <a:extLst>
                <a:ext uri="{FF2B5EF4-FFF2-40B4-BE49-F238E27FC236}">
                  <a16:creationId xmlns:a16="http://schemas.microsoft.com/office/drawing/2014/main" id="{2A304364-3F7A-384E-937F-F6712F43BC28}"/>
                </a:ext>
              </a:extLst>
            </p:cNvPr>
            <p:cNvSpPr txBox="1"/>
            <p:nvPr/>
          </p:nvSpPr>
          <p:spPr>
            <a:xfrm>
              <a:off x="3388956" y="5279971"/>
              <a:ext cx="86266" cy="197931"/>
            </a:xfrm>
            <a:prstGeom prst="rect">
              <a:avLst/>
            </a:prstGeom>
            <a:noFill/>
          </p:spPr>
          <p:txBody>
            <a:bodyPr wrap="none" lIns="0" tIns="0" rIns="0" bIns="0" rtlCol="0">
              <a:spAutoFit/>
            </a:bodyPr>
            <a:lstStyle/>
            <a:p>
              <a:pPr algn="ctr"/>
              <a:r>
                <a:rPr lang="en-US" sz="519" dirty="0"/>
                <a:t>19</a:t>
              </a:r>
            </a:p>
            <a:p>
              <a:pPr algn="ctr"/>
              <a:r>
                <a:rPr lang="en-US" sz="519" dirty="0"/>
                <a:t>3</a:t>
              </a:r>
            </a:p>
          </p:txBody>
        </p:sp>
        <p:sp>
          <p:nvSpPr>
            <p:cNvPr id="216" name="TextBox 215">
              <a:extLst>
                <a:ext uri="{FF2B5EF4-FFF2-40B4-BE49-F238E27FC236}">
                  <a16:creationId xmlns:a16="http://schemas.microsoft.com/office/drawing/2014/main" id="{DD193998-14B9-3F49-99DC-C34BBF4D85CA}"/>
                </a:ext>
              </a:extLst>
            </p:cNvPr>
            <p:cNvSpPr txBox="1"/>
            <p:nvPr/>
          </p:nvSpPr>
          <p:spPr>
            <a:xfrm>
              <a:off x="3587577" y="5279971"/>
              <a:ext cx="86266" cy="197931"/>
            </a:xfrm>
            <a:prstGeom prst="rect">
              <a:avLst/>
            </a:prstGeom>
            <a:noFill/>
          </p:spPr>
          <p:txBody>
            <a:bodyPr wrap="none" lIns="0" tIns="0" rIns="0" bIns="0" rtlCol="0">
              <a:spAutoFit/>
            </a:bodyPr>
            <a:lstStyle/>
            <a:p>
              <a:pPr algn="ctr"/>
              <a:r>
                <a:rPr lang="en-US" sz="519" dirty="0"/>
                <a:t>13</a:t>
              </a:r>
            </a:p>
            <a:p>
              <a:pPr algn="ctr"/>
              <a:r>
                <a:rPr lang="en-US" sz="519" dirty="0"/>
                <a:t>3</a:t>
              </a:r>
            </a:p>
          </p:txBody>
        </p:sp>
        <p:sp>
          <p:nvSpPr>
            <p:cNvPr id="217" name="TextBox 216">
              <a:extLst>
                <a:ext uri="{FF2B5EF4-FFF2-40B4-BE49-F238E27FC236}">
                  <a16:creationId xmlns:a16="http://schemas.microsoft.com/office/drawing/2014/main" id="{B4BD9099-ACFA-9043-9433-B4B3D1524F38}"/>
                </a:ext>
              </a:extLst>
            </p:cNvPr>
            <p:cNvSpPr txBox="1"/>
            <p:nvPr/>
          </p:nvSpPr>
          <p:spPr>
            <a:xfrm>
              <a:off x="3793691" y="5279971"/>
              <a:ext cx="86266" cy="197931"/>
            </a:xfrm>
            <a:prstGeom prst="rect">
              <a:avLst/>
            </a:prstGeom>
            <a:noFill/>
          </p:spPr>
          <p:txBody>
            <a:bodyPr wrap="none" lIns="0" tIns="0" rIns="0" bIns="0" rtlCol="0">
              <a:spAutoFit/>
            </a:bodyPr>
            <a:lstStyle/>
            <a:p>
              <a:pPr algn="ctr"/>
              <a:r>
                <a:rPr lang="en-US" sz="519" dirty="0"/>
                <a:t>11</a:t>
              </a:r>
            </a:p>
            <a:p>
              <a:pPr algn="ctr"/>
              <a:r>
                <a:rPr lang="en-US" sz="519" dirty="0"/>
                <a:t>2</a:t>
              </a:r>
            </a:p>
          </p:txBody>
        </p:sp>
        <p:sp>
          <p:nvSpPr>
            <p:cNvPr id="218" name="TextBox 217">
              <a:extLst>
                <a:ext uri="{FF2B5EF4-FFF2-40B4-BE49-F238E27FC236}">
                  <a16:creationId xmlns:a16="http://schemas.microsoft.com/office/drawing/2014/main" id="{26050F27-614E-DC47-B64C-10F8F51C1D42}"/>
                </a:ext>
              </a:extLst>
            </p:cNvPr>
            <p:cNvSpPr txBox="1"/>
            <p:nvPr/>
          </p:nvSpPr>
          <p:spPr>
            <a:xfrm>
              <a:off x="4013876" y="5279971"/>
              <a:ext cx="43134" cy="197931"/>
            </a:xfrm>
            <a:prstGeom prst="rect">
              <a:avLst/>
            </a:prstGeom>
            <a:noFill/>
          </p:spPr>
          <p:txBody>
            <a:bodyPr wrap="none" lIns="0" tIns="0" rIns="0" bIns="0" rtlCol="0">
              <a:spAutoFit/>
            </a:bodyPr>
            <a:lstStyle/>
            <a:p>
              <a:pPr algn="ctr"/>
              <a:r>
                <a:rPr lang="en-US" sz="519" dirty="0"/>
                <a:t>8</a:t>
              </a:r>
            </a:p>
            <a:p>
              <a:pPr algn="ctr"/>
              <a:r>
                <a:rPr lang="en-US" sz="519" dirty="0"/>
                <a:t>2</a:t>
              </a:r>
            </a:p>
          </p:txBody>
        </p:sp>
        <p:sp>
          <p:nvSpPr>
            <p:cNvPr id="219" name="TextBox 218">
              <a:extLst>
                <a:ext uri="{FF2B5EF4-FFF2-40B4-BE49-F238E27FC236}">
                  <a16:creationId xmlns:a16="http://schemas.microsoft.com/office/drawing/2014/main" id="{EDE3A5C2-993D-6446-B811-D7746E39C39F}"/>
                </a:ext>
              </a:extLst>
            </p:cNvPr>
            <p:cNvSpPr txBox="1"/>
            <p:nvPr/>
          </p:nvSpPr>
          <p:spPr>
            <a:xfrm>
              <a:off x="4216244" y="5279971"/>
              <a:ext cx="43134" cy="197931"/>
            </a:xfrm>
            <a:prstGeom prst="rect">
              <a:avLst/>
            </a:prstGeom>
            <a:noFill/>
          </p:spPr>
          <p:txBody>
            <a:bodyPr wrap="none" lIns="0" tIns="0" rIns="0" bIns="0" rtlCol="0">
              <a:spAutoFit/>
            </a:bodyPr>
            <a:lstStyle/>
            <a:p>
              <a:pPr algn="ctr"/>
              <a:r>
                <a:rPr lang="en-US" sz="519" dirty="0"/>
                <a:t>7</a:t>
              </a:r>
            </a:p>
            <a:p>
              <a:pPr algn="ctr"/>
              <a:r>
                <a:rPr lang="en-US" sz="519" dirty="0"/>
                <a:t>1</a:t>
              </a:r>
            </a:p>
          </p:txBody>
        </p:sp>
        <p:sp>
          <p:nvSpPr>
            <p:cNvPr id="220" name="TextBox 219">
              <a:extLst>
                <a:ext uri="{FF2B5EF4-FFF2-40B4-BE49-F238E27FC236}">
                  <a16:creationId xmlns:a16="http://schemas.microsoft.com/office/drawing/2014/main" id="{A00E23E0-F16D-574A-A5A7-13B8B6682C6C}"/>
                </a:ext>
              </a:extLst>
            </p:cNvPr>
            <p:cNvSpPr txBox="1"/>
            <p:nvPr/>
          </p:nvSpPr>
          <p:spPr>
            <a:xfrm>
              <a:off x="4414864" y="5279971"/>
              <a:ext cx="43134" cy="197931"/>
            </a:xfrm>
            <a:prstGeom prst="rect">
              <a:avLst/>
            </a:prstGeom>
            <a:noFill/>
          </p:spPr>
          <p:txBody>
            <a:bodyPr wrap="none" lIns="0" tIns="0" rIns="0" bIns="0" rtlCol="0">
              <a:spAutoFit/>
            </a:bodyPr>
            <a:lstStyle/>
            <a:p>
              <a:pPr algn="ctr"/>
              <a:r>
                <a:rPr lang="en-US" sz="519" dirty="0"/>
                <a:t>6</a:t>
              </a:r>
            </a:p>
            <a:p>
              <a:pPr algn="ctr"/>
              <a:r>
                <a:rPr lang="en-US" sz="519" dirty="0"/>
                <a:t>0</a:t>
              </a:r>
            </a:p>
          </p:txBody>
        </p:sp>
        <p:sp>
          <p:nvSpPr>
            <p:cNvPr id="221" name="TextBox 220">
              <a:extLst>
                <a:ext uri="{FF2B5EF4-FFF2-40B4-BE49-F238E27FC236}">
                  <a16:creationId xmlns:a16="http://schemas.microsoft.com/office/drawing/2014/main" id="{D4A6CCCA-73F8-5945-9A60-0964E86DD3FD}"/>
                </a:ext>
              </a:extLst>
            </p:cNvPr>
            <p:cNvSpPr txBox="1"/>
            <p:nvPr/>
          </p:nvSpPr>
          <p:spPr>
            <a:xfrm>
              <a:off x="4613483" y="5279971"/>
              <a:ext cx="43134" cy="98966"/>
            </a:xfrm>
            <a:prstGeom prst="rect">
              <a:avLst/>
            </a:prstGeom>
            <a:noFill/>
          </p:spPr>
          <p:txBody>
            <a:bodyPr wrap="none" lIns="0" tIns="0" rIns="0" bIns="0" rtlCol="0">
              <a:spAutoFit/>
            </a:bodyPr>
            <a:lstStyle/>
            <a:p>
              <a:pPr algn="ctr"/>
              <a:r>
                <a:rPr lang="en-US" sz="519" dirty="0"/>
                <a:t>6</a:t>
              </a:r>
            </a:p>
          </p:txBody>
        </p:sp>
        <p:sp>
          <p:nvSpPr>
            <p:cNvPr id="222" name="TextBox 221">
              <a:extLst>
                <a:ext uri="{FF2B5EF4-FFF2-40B4-BE49-F238E27FC236}">
                  <a16:creationId xmlns:a16="http://schemas.microsoft.com/office/drawing/2014/main" id="{3E2006BE-24F3-9442-BEFB-4B86E464E42D}"/>
                </a:ext>
              </a:extLst>
            </p:cNvPr>
            <p:cNvSpPr txBox="1"/>
            <p:nvPr/>
          </p:nvSpPr>
          <p:spPr>
            <a:xfrm>
              <a:off x="4812103" y="5279971"/>
              <a:ext cx="43134" cy="98966"/>
            </a:xfrm>
            <a:prstGeom prst="rect">
              <a:avLst/>
            </a:prstGeom>
            <a:noFill/>
          </p:spPr>
          <p:txBody>
            <a:bodyPr wrap="none" lIns="0" tIns="0" rIns="0" bIns="0" rtlCol="0">
              <a:spAutoFit/>
            </a:bodyPr>
            <a:lstStyle/>
            <a:p>
              <a:pPr algn="ctr"/>
              <a:r>
                <a:rPr lang="en-US" sz="519" dirty="0"/>
                <a:t>2</a:t>
              </a:r>
            </a:p>
          </p:txBody>
        </p:sp>
        <p:sp>
          <p:nvSpPr>
            <p:cNvPr id="223" name="TextBox 222">
              <a:extLst>
                <a:ext uri="{FF2B5EF4-FFF2-40B4-BE49-F238E27FC236}">
                  <a16:creationId xmlns:a16="http://schemas.microsoft.com/office/drawing/2014/main" id="{3FF2FE3F-1037-7845-A99C-A57D08346DA4}"/>
                </a:ext>
              </a:extLst>
            </p:cNvPr>
            <p:cNvSpPr txBox="1"/>
            <p:nvPr/>
          </p:nvSpPr>
          <p:spPr>
            <a:xfrm>
              <a:off x="5014471" y="5279971"/>
              <a:ext cx="43134" cy="98966"/>
            </a:xfrm>
            <a:prstGeom prst="rect">
              <a:avLst/>
            </a:prstGeom>
            <a:noFill/>
          </p:spPr>
          <p:txBody>
            <a:bodyPr wrap="none" lIns="0" tIns="0" rIns="0" bIns="0" rtlCol="0">
              <a:spAutoFit/>
            </a:bodyPr>
            <a:lstStyle/>
            <a:p>
              <a:pPr algn="ctr"/>
              <a:r>
                <a:rPr lang="en-US" sz="519" dirty="0"/>
                <a:t>2</a:t>
              </a:r>
            </a:p>
          </p:txBody>
        </p:sp>
        <p:sp>
          <p:nvSpPr>
            <p:cNvPr id="224" name="TextBox 223">
              <a:extLst>
                <a:ext uri="{FF2B5EF4-FFF2-40B4-BE49-F238E27FC236}">
                  <a16:creationId xmlns:a16="http://schemas.microsoft.com/office/drawing/2014/main" id="{CFEC9151-D6D1-204C-BA76-0D48939AD636}"/>
                </a:ext>
              </a:extLst>
            </p:cNvPr>
            <p:cNvSpPr txBox="1"/>
            <p:nvPr/>
          </p:nvSpPr>
          <p:spPr>
            <a:xfrm>
              <a:off x="5151302" y="5279971"/>
              <a:ext cx="166712" cy="98966"/>
            </a:xfrm>
            <a:prstGeom prst="rect">
              <a:avLst/>
            </a:prstGeom>
            <a:noFill/>
          </p:spPr>
          <p:txBody>
            <a:bodyPr wrap="square" lIns="0" tIns="0" rIns="0" bIns="0" rtlCol="0">
              <a:spAutoFit/>
            </a:bodyPr>
            <a:lstStyle/>
            <a:p>
              <a:pPr algn="ctr"/>
              <a:r>
                <a:rPr lang="en-US" sz="519" dirty="0"/>
                <a:t>2</a:t>
              </a:r>
            </a:p>
          </p:txBody>
        </p:sp>
        <p:sp>
          <p:nvSpPr>
            <p:cNvPr id="225" name="TextBox 224">
              <a:extLst>
                <a:ext uri="{FF2B5EF4-FFF2-40B4-BE49-F238E27FC236}">
                  <a16:creationId xmlns:a16="http://schemas.microsoft.com/office/drawing/2014/main" id="{E6295413-6968-2F43-AB4F-9FFDB4F1A8A7}"/>
                </a:ext>
              </a:extLst>
            </p:cNvPr>
            <p:cNvSpPr txBox="1"/>
            <p:nvPr/>
          </p:nvSpPr>
          <p:spPr>
            <a:xfrm>
              <a:off x="5419205" y="5279971"/>
              <a:ext cx="43134" cy="98966"/>
            </a:xfrm>
            <a:prstGeom prst="rect">
              <a:avLst/>
            </a:prstGeom>
            <a:noFill/>
          </p:spPr>
          <p:txBody>
            <a:bodyPr wrap="none" lIns="0" tIns="0" rIns="0" bIns="0" rtlCol="0">
              <a:spAutoFit/>
            </a:bodyPr>
            <a:lstStyle/>
            <a:p>
              <a:pPr algn="ctr"/>
              <a:r>
                <a:rPr lang="en-US" sz="519" dirty="0"/>
                <a:t>2</a:t>
              </a:r>
            </a:p>
          </p:txBody>
        </p:sp>
        <p:sp>
          <p:nvSpPr>
            <p:cNvPr id="226" name="TextBox 225">
              <a:extLst>
                <a:ext uri="{FF2B5EF4-FFF2-40B4-BE49-F238E27FC236}">
                  <a16:creationId xmlns:a16="http://schemas.microsoft.com/office/drawing/2014/main" id="{5E253519-AACE-B249-9E3D-08F3119CF55C}"/>
                </a:ext>
              </a:extLst>
            </p:cNvPr>
            <p:cNvSpPr txBox="1"/>
            <p:nvPr/>
          </p:nvSpPr>
          <p:spPr>
            <a:xfrm>
              <a:off x="5617824" y="5279971"/>
              <a:ext cx="43134" cy="98966"/>
            </a:xfrm>
            <a:prstGeom prst="rect">
              <a:avLst/>
            </a:prstGeom>
            <a:noFill/>
          </p:spPr>
          <p:txBody>
            <a:bodyPr wrap="none" lIns="0" tIns="0" rIns="0" bIns="0" rtlCol="0">
              <a:spAutoFit/>
            </a:bodyPr>
            <a:lstStyle/>
            <a:p>
              <a:pPr algn="ctr"/>
              <a:r>
                <a:rPr lang="en-US" sz="519" dirty="0"/>
                <a:t>1</a:t>
              </a:r>
            </a:p>
          </p:txBody>
        </p:sp>
        <p:sp>
          <p:nvSpPr>
            <p:cNvPr id="227" name="TextBox 226">
              <a:extLst>
                <a:ext uri="{FF2B5EF4-FFF2-40B4-BE49-F238E27FC236}">
                  <a16:creationId xmlns:a16="http://schemas.microsoft.com/office/drawing/2014/main" id="{C7502E7F-F97B-7343-9517-3E41762F109E}"/>
                </a:ext>
              </a:extLst>
            </p:cNvPr>
            <p:cNvSpPr txBox="1"/>
            <p:nvPr/>
          </p:nvSpPr>
          <p:spPr>
            <a:xfrm>
              <a:off x="5820191" y="5279971"/>
              <a:ext cx="43134" cy="98966"/>
            </a:xfrm>
            <a:prstGeom prst="rect">
              <a:avLst/>
            </a:prstGeom>
            <a:noFill/>
          </p:spPr>
          <p:txBody>
            <a:bodyPr wrap="none" lIns="0" tIns="0" rIns="0" bIns="0" rtlCol="0">
              <a:spAutoFit/>
            </a:bodyPr>
            <a:lstStyle/>
            <a:p>
              <a:pPr algn="ctr"/>
              <a:r>
                <a:rPr lang="en-US" sz="519" dirty="0"/>
                <a:t>0</a:t>
              </a:r>
            </a:p>
          </p:txBody>
        </p:sp>
        <p:sp>
          <p:nvSpPr>
            <p:cNvPr id="228" name="TextBox 227">
              <a:extLst>
                <a:ext uri="{FF2B5EF4-FFF2-40B4-BE49-F238E27FC236}">
                  <a16:creationId xmlns:a16="http://schemas.microsoft.com/office/drawing/2014/main" id="{E4E1DB44-517E-4642-9C25-0B2B16F1B204}"/>
                </a:ext>
              </a:extLst>
            </p:cNvPr>
            <p:cNvSpPr txBox="1"/>
            <p:nvPr/>
          </p:nvSpPr>
          <p:spPr>
            <a:xfrm>
              <a:off x="561298" y="5272887"/>
              <a:ext cx="348818" cy="197931"/>
            </a:xfrm>
            <a:prstGeom prst="rect">
              <a:avLst/>
            </a:prstGeom>
            <a:noFill/>
          </p:spPr>
          <p:txBody>
            <a:bodyPr wrap="none" lIns="0" tIns="0" rIns="0" bIns="0" rtlCol="0">
              <a:spAutoFit/>
            </a:bodyPr>
            <a:lstStyle/>
            <a:p>
              <a:pPr algn="r"/>
              <a:r>
                <a:rPr lang="en-US" sz="519" dirty="0" err="1"/>
                <a:t>Elcestrant</a:t>
              </a:r>
              <a:endParaRPr lang="en-US" sz="519" dirty="0"/>
            </a:p>
            <a:p>
              <a:pPr algn="r"/>
              <a:r>
                <a:rPr lang="en-US" sz="519" dirty="0"/>
                <a:t>SOC</a:t>
              </a:r>
            </a:p>
          </p:txBody>
        </p:sp>
      </p:grpSp>
      <p:graphicFrame>
        <p:nvGraphicFramePr>
          <p:cNvPr id="229" name="Table 123">
            <a:extLst>
              <a:ext uri="{FF2B5EF4-FFF2-40B4-BE49-F238E27FC236}">
                <a16:creationId xmlns:a16="http://schemas.microsoft.com/office/drawing/2014/main" id="{CBC9619A-1860-684D-95C0-768A1014573B}"/>
              </a:ext>
            </a:extLst>
          </p:cNvPr>
          <p:cNvGraphicFramePr>
            <a:graphicFrameLocks noGrp="1"/>
          </p:cNvGraphicFramePr>
          <p:nvPr/>
        </p:nvGraphicFramePr>
        <p:xfrm>
          <a:off x="3780455" y="1321680"/>
          <a:ext cx="1958712" cy="886590"/>
        </p:xfrm>
        <a:graphic>
          <a:graphicData uri="http://schemas.openxmlformats.org/drawingml/2006/table">
            <a:tbl>
              <a:tblPr firstRow="1" bandRow="1">
                <a:tableStyleId>{7DF18680-E054-41AD-8BC1-D1AEF772440D}</a:tableStyleId>
              </a:tblPr>
              <a:tblGrid>
                <a:gridCol w="840406">
                  <a:extLst>
                    <a:ext uri="{9D8B030D-6E8A-4147-A177-3AD203B41FA5}">
                      <a16:colId xmlns:a16="http://schemas.microsoft.com/office/drawing/2014/main" val="3370190440"/>
                    </a:ext>
                  </a:extLst>
                </a:gridCol>
                <a:gridCol w="569523">
                  <a:extLst>
                    <a:ext uri="{9D8B030D-6E8A-4147-A177-3AD203B41FA5}">
                      <a16:colId xmlns:a16="http://schemas.microsoft.com/office/drawing/2014/main" val="2280233735"/>
                    </a:ext>
                  </a:extLst>
                </a:gridCol>
                <a:gridCol w="548783">
                  <a:extLst>
                    <a:ext uri="{9D8B030D-6E8A-4147-A177-3AD203B41FA5}">
                      <a16:colId xmlns:a16="http://schemas.microsoft.com/office/drawing/2014/main" val="1138736743"/>
                    </a:ext>
                  </a:extLst>
                </a:gridCol>
              </a:tblGrid>
              <a:tr h="125265">
                <a:tc>
                  <a:txBody>
                    <a:bodyPr/>
                    <a:lstStyle/>
                    <a:p>
                      <a:pPr>
                        <a:lnSpc>
                          <a:spcPct val="80000"/>
                        </a:lnSpc>
                      </a:pPr>
                      <a:endParaRPr lang="en-US" sz="600" dirty="0">
                        <a:solidFill>
                          <a:schemeClr val="tx1"/>
                        </a:solidFill>
                      </a:endParaRPr>
                    </a:p>
                  </a:txBody>
                  <a:tcPr marL="26023" marR="26023" marT="26023" marB="26023">
                    <a:lnL w="6350" cap="flat" cmpd="sng" algn="ctr">
                      <a:solidFill>
                        <a:schemeClr val="accent2"/>
                      </a:solidFill>
                      <a:prstDash val="solid"/>
                      <a:round/>
                      <a:headEnd type="none" w="med" len="med"/>
                      <a:tailEnd type="none" w="med" len="med"/>
                    </a:lnL>
                    <a:lnR w="6350" cap="flat" cmpd="sng" algn="ctr">
                      <a:solidFill>
                        <a:schemeClr val="accent2"/>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solidFill>
                      <a:srgbClr val="F1F3F6"/>
                    </a:solidFill>
                  </a:tcPr>
                </a:tc>
                <a:tc>
                  <a:txBody>
                    <a:bodyPr/>
                    <a:lstStyle/>
                    <a:p>
                      <a:pPr algn="ctr">
                        <a:lnSpc>
                          <a:spcPct val="80000"/>
                        </a:lnSpc>
                      </a:pPr>
                      <a:r>
                        <a:rPr lang="en-US" sz="600" dirty="0">
                          <a:solidFill>
                            <a:schemeClr val="tx1"/>
                          </a:solidFill>
                        </a:rPr>
                        <a:t>Elacestrant</a:t>
                      </a:r>
                    </a:p>
                  </a:txBody>
                  <a:tcPr marL="26023" marR="26023" marT="26023" marB="26023">
                    <a:lnL w="6350" cap="flat" cmpd="sng" algn="ctr">
                      <a:solidFill>
                        <a:schemeClr val="accent2"/>
                      </a:solidFill>
                      <a:prstDash val="solid"/>
                      <a:round/>
                      <a:headEnd type="none" w="med" len="med"/>
                      <a:tailEnd type="none" w="med" len="med"/>
                    </a:lnL>
                    <a:lnR w="6350" cap="flat" cmpd="sng" algn="ctr">
                      <a:solidFill>
                        <a:schemeClr val="accent2"/>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solidFill>
                      <a:srgbClr val="F1F3F6"/>
                    </a:solidFill>
                  </a:tcPr>
                </a:tc>
                <a:tc>
                  <a:txBody>
                    <a:bodyPr/>
                    <a:lstStyle/>
                    <a:p>
                      <a:pPr algn="ctr">
                        <a:lnSpc>
                          <a:spcPct val="80000"/>
                        </a:lnSpc>
                      </a:pPr>
                      <a:r>
                        <a:rPr lang="en-US" sz="600" dirty="0">
                          <a:solidFill>
                            <a:schemeClr val="tx1"/>
                          </a:solidFill>
                        </a:rPr>
                        <a:t>SOC</a:t>
                      </a:r>
                    </a:p>
                  </a:txBody>
                  <a:tcPr marL="26023" marR="26023" marT="26023" marB="26023">
                    <a:lnL w="6350" cap="flat" cmpd="sng" algn="ctr">
                      <a:solidFill>
                        <a:schemeClr val="accent2"/>
                      </a:solidFill>
                      <a:prstDash val="solid"/>
                      <a:round/>
                      <a:headEnd type="none" w="med" len="med"/>
                      <a:tailEnd type="none" w="med" len="med"/>
                    </a:lnL>
                    <a:lnR w="6350" cap="flat" cmpd="sng" algn="ctr">
                      <a:solidFill>
                        <a:schemeClr val="accent2"/>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solidFill>
                      <a:srgbClr val="F1F3F6"/>
                    </a:solidFill>
                  </a:tcPr>
                </a:tc>
                <a:extLst>
                  <a:ext uri="{0D108BD9-81ED-4DB2-BD59-A6C34878D82A}">
                    <a16:rowId xmlns:a16="http://schemas.microsoft.com/office/drawing/2014/main" val="2226811187"/>
                  </a:ext>
                </a:extLst>
              </a:tr>
              <a:tr h="125265">
                <a:tc>
                  <a:txBody>
                    <a:bodyPr/>
                    <a:lstStyle/>
                    <a:p>
                      <a:pPr>
                        <a:lnSpc>
                          <a:spcPct val="80000"/>
                        </a:lnSpc>
                      </a:pPr>
                      <a:r>
                        <a:rPr lang="en-US" sz="600" dirty="0"/>
                        <a:t>N</a:t>
                      </a:r>
                    </a:p>
                  </a:txBody>
                  <a:tcPr marL="26023" marR="26023" marT="26023" marB="26023">
                    <a:lnL w="6350" cap="flat" cmpd="sng" algn="ctr">
                      <a:solidFill>
                        <a:schemeClr val="accent2"/>
                      </a:solidFill>
                      <a:prstDash val="solid"/>
                      <a:round/>
                      <a:headEnd type="none" w="med" len="med"/>
                      <a:tailEnd type="none" w="med" len="med"/>
                    </a:lnL>
                    <a:lnR w="6350" cap="flat" cmpd="sng" algn="ctr">
                      <a:solidFill>
                        <a:schemeClr val="accent2"/>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tcPr>
                </a:tc>
                <a:tc>
                  <a:txBody>
                    <a:bodyPr/>
                    <a:lstStyle/>
                    <a:p>
                      <a:pPr algn="ctr">
                        <a:lnSpc>
                          <a:spcPct val="80000"/>
                        </a:lnSpc>
                      </a:pPr>
                      <a:r>
                        <a:rPr lang="en-US" sz="600" dirty="0"/>
                        <a:t>239</a:t>
                      </a:r>
                    </a:p>
                  </a:txBody>
                  <a:tcPr marL="26023" marR="26023" marT="26023" marB="26023">
                    <a:lnL w="6350" cap="flat" cmpd="sng" algn="ctr">
                      <a:solidFill>
                        <a:schemeClr val="accent2"/>
                      </a:solidFill>
                      <a:prstDash val="solid"/>
                      <a:round/>
                      <a:headEnd type="none" w="med" len="med"/>
                      <a:tailEnd type="none" w="med" len="med"/>
                    </a:lnL>
                    <a:lnR w="6350" cap="flat" cmpd="sng" algn="ctr">
                      <a:solidFill>
                        <a:schemeClr val="accent2"/>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tcPr>
                </a:tc>
                <a:tc>
                  <a:txBody>
                    <a:bodyPr/>
                    <a:lstStyle/>
                    <a:p>
                      <a:pPr algn="ctr">
                        <a:lnSpc>
                          <a:spcPct val="80000"/>
                        </a:lnSpc>
                      </a:pPr>
                      <a:r>
                        <a:rPr lang="en-US" sz="600" dirty="0"/>
                        <a:t>238</a:t>
                      </a:r>
                    </a:p>
                  </a:txBody>
                  <a:tcPr marL="26023" marR="26023" marT="26023" marB="26023">
                    <a:lnL w="6350" cap="flat" cmpd="sng" algn="ctr">
                      <a:solidFill>
                        <a:schemeClr val="accent2"/>
                      </a:solidFill>
                      <a:prstDash val="solid"/>
                      <a:round/>
                      <a:headEnd type="none" w="med" len="med"/>
                      <a:tailEnd type="none" w="med" len="med"/>
                    </a:lnL>
                    <a:lnR w="6350" cap="flat" cmpd="sng" algn="ctr">
                      <a:solidFill>
                        <a:schemeClr val="accent2"/>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tcPr>
                </a:tc>
                <a:extLst>
                  <a:ext uri="{0D108BD9-81ED-4DB2-BD59-A6C34878D82A}">
                    <a16:rowId xmlns:a16="http://schemas.microsoft.com/office/drawing/2014/main" val="4065021080"/>
                  </a:ext>
                </a:extLst>
              </a:tr>
              <a:tr h="125265">
                <a:tc>
                  <a:txBody>
                    <a:bodyPr/>
                    <a:lstStyle/>
                    <a:p>
                      <a:pPr>
                        <a:lnSpc>
                          <a:spcPct val="80000"/>
                        </a:lnSpc>
                      </a:pPr>
                      <a:r>
                        <a:rPr lang="en-US" sz="600" dirty="0"/>
                        <a:t>Event (%)</a:t>
                      </a:r>
                    </a:p>
                  </a:txBody>
                  <a:tcPr marL="26023" marR="26023" marT="26023" marB="26023">
                    <a:lnL w="6350" cap="flat" cmpd="sng" algn="ctr">
                      <a:solidFill>
                        <a:schemeClr val="accent2"/>
                      </a:solidFill>
                      <a:prstDash val="solid"/>
                      <a:round/>
                      <a:headEnd type="none" w="med" len="med"/>
                      <a:tailEnd type="none" w="med" len="med"/>
                    </a:lnL>
                    <a:lnR w="6350" cap="flat" cmpd="sng" algn="ctr">
                      <a:solidFill>
                        <a:schemeClr val="accent2"/>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tcPr>
                </a:tc>
                <a:tc>
                  <a:txBody>
                    <a:bodyPr/>
                    <a:lstStyle/>
                    <a:p>
                      <a:pPr algn="ctr">
                        <a:lnSpc>
                          <a:spcPct val="80000"/>
                        </a:lnSpc>
                      </a:pPr>
                      <a:r>
                        <a:rPr lang="en-US" sz="600" dirty="0"/>
                        <a:t>144 (60.3)</a:t>
                      </a:r>
                    </a:p>
                  </a:txBody>
                  <a:tcPr marL="26023" marR="26023" marT="26023" marB="26023">
                    <a:lnL w="6350" cap="flat" cmpd="sng" algn="ctr">
                      <a:solidFill>
                        <a:schemeClr val="accent2"/>
                      </a:solidFill>
                      <a:prstDash val="solid"/>
                      <a:round/>
                      <a:headEnd type="none" w="med" len="med"/>
                      <a:tailEnd type="none" w="med" len="med"/>
                    </a:lnL>
                    <a:lnR w="6350" cap="flat" cmpd="sng" algn="ctr">
                      <a:solidFill>
                        <a:schemeClr val="accent2"/>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tcPr>
                </a:tc>
                <a:tc>
                  <a:txBody>
                    <a:bodyPr/>
                    <a:lstStyle/>
                    <a:p>
                      <a:pPr algn="ctr">
                        <a:lnSpc>
                          <a:spcPct val="80000"/>
                        </a:lnSpc>
                      </a:pPr>
                      <a:r>
                        <a:rPr lang="en-US" sz="600" dirty="0"/>
                        <a:t>156 (65.5)</a:t>
                      </a:r>
                    </a:p>
                  </a:txBody>
                  <a:tcPr marL="26023" marR="26023" marT="26023" marB="26023">
                    <a:lnL w="6350" cap="flat" cmpd="sng" algn="ctr">
                      <a:solidFill>
                        <a:schemeClr val="accent2"/>
                      </a:solidFill>
                      <a:prstDash val="solid"/>
                      <a:round/>
                      <a:headEnd type="none" w="med" len="med"/>
                      <a:tailEnd type="none" w="med" len="med"/>
                    </a:lnL>
                    <a:lnR w="6350" cap="flat" cmpd="sng" algn="ctr">
                      <a:solidFill>
                        <a:schemeClr val="accent2"/>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tcPr>
                </a:tc>
                <a:extLst>
                  <a:ext uri="{0D108BD9-81ED-4DB2-BD59-A6C34878D82A}">
                    <a16:rowId xmlns:a16="http://schemas.microsoft.com/office/drawing/2014/main" val="3627107004"/>
                  </a:ext>
                </a:extLst>
              </a:tr>
              <a:tr h="192765">
                <a:tc>
                  <a:txBody>
                    <a:bodyPr/>
                    <a:lstStyle/>
                    <a:p>
                      <a:pPr>
                        <a:lnSpc>
                          <a:spcPct val="80000"/>
                        </a:lnSpc>
                      </a:pPr>
                      <a:r>
                        <a:rPr lang="en-US" sz="600" dirty="0"/>
                        <a:t>Median PFS (months)</a:t>
                      </a:r>
                    </a:p>
                  </a:txBody>
                  <a:tcPr marL="26023" marR="26023" marT="26023" marB="26023">
                    <a:lnL w="6350" cap="flat" cmpd="sng" algn="ctr">
                      <a:solidFill>
                        <a:schemeClr val="accent2"/>
                      </a:solidFill>
                      <a:prstDash val="solid"/>
                      <a:round/>
                      <a:headEnd type="none" w="med" len="med"/>
                      <a:tailEnd type="none" w="med" len="med"/>
                    </a:lnL>
                    <a:lnR w="6350" cap="flat" cmpd="sng" algn="ctr">
                      <a:solidFill>
                        <a:schemeClr val="accent2"/>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tcPr>
                </a:tc>
                <a:tc>
                  <a:txBody>
                    <a:bodyPr/>
                    <a:lstStyle/>
                    <a:p>
                      <a:pPr algn="ctr">
                        <a:lnSpc>
                          <a:spcPct val="80000"/>
                        </a:lnSpc>
                      </a:pPr>
                      <a:r>
                        <a:rPr lang="en-US" sz="600" dirty="0"/>
                        <a:t>2.79</a:t>
                      </a:r>
                    </a:p>
                  </a:txBody>
                  <a:tcPr marL="26023" marR="26023" marT="26023" marB="26023">
                    <a:lnL w="6350" cap="flat" cmpd="sng" algn="ctr">
                      <a:solidFill>
                        <a:schemeClr val="accent2"/>
                      </a:solidFill>
                      <a:prstDash val="solid"/>
                      <a:round/>
                      <a:headEnd type="none" w="med" len="med"/>
                      <a:tailEnd type="none" w="med" len="med"/>
                    </a:lnL>
                    <a:lnR w="6350" cap="flat" cmpd="sng" algn="ctr">
                      <a:solidFill>
                        <a:schemeClr val="accent2"/>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tcPr>
                </a:tc>
                <a:tc>
                  <a:txBody>
                    <a:bodyPr/>
                    <a:lstStyle/>
                    <a:p>
                      <a:pPr algn="ctr">
                        <a:lnSpc>
                          <a:spcPct val="80000"/>
                        </a:lnSpc>
                      </a:pPr>
                      <a:r>
                        <a:rPr lang="en-US" sz="600" dirty="0"/>
                        <a:t>1.91</a:t>
                      </a:r>
                    </a:p>
                  </a:txBody>
                  <a:tcPr marL="26023" marR="26023" marT="26023" marB="26023">
                    <a:lnL w="6350" cap="flat" cmpd="sng" algn="ctr">
                      <a:solidFill>
                        <a:schemeClr val="accent2"/>
                      </a:solidFill>
                      <a:prstDash val="solid"/>
                      <a:round/>
                      <a:headEnd type="none" w="med" len="med"/>
                      <a:tailEnd type="none" w="med" len="med"/>
                    </a:lnL>
                    <a:lnR w="6350" cap="flat" cmpd="sng" algn="ctr">
                      <a:solidFill>
                        <a:schemeClr val="accent2"/>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tcPr>
                </a:tc>
                <a:extLst>
                  <a:ext uri="{0D108BD9-81ED-4DB2-BD59-A6C34878D82A}">
                    <a16:rowId xmlns:a16="http://schemas.microsoft.com/office/drawing/2014/main" val="2679174028"/>
                  </a:ext>
                </a:extLst>
              </a:tr>
              <a:tr h="125265">
                <a:tc>
                  <a:txBody>
                    <a:bodyPr/>
                    <a:lstStyle/>
                    <a:p>
                      <a:pPr>
                        <a:lnSpc>
                          <a:spcPct val="80000"/>
                        </a:lnSpc>
                      </a:pPr>
                      <a:r>
                        <a:rPr lang="en-US" sz="600" i="1" dirty="0"/>
                        <a:t>P</a:t>
                      </a:r>
                      <a:r>
                        <a:rPr lang="en-US" sz="600" dirty="0"/>
                        <a:t> value</a:t>
                      </a:r>
                    </a:p>
                  </a:txBody>
                  <a:tcPr marL="26023" marR="26023" marT="26023" marB="26023">
                    <a:lnL w="6350" cap="flat" cmpd="sng" algn="ctr">
                      <a:solidFill>
                        <a:schemeClr val="accent2"/>
                      </a:solidFill>
                      <a:prstDash val="solid"/>
                      <a:round/>
                      <a:headEnd type="none" w="med" len="med"/>
                      <a:tailEnd type="none" w="med" len="med"/>
                    </a:lnL>
                    <a:lnR w="6350" cap="flat" cmpd="sng" algn="ctr">
                      <a:solidFill>
                        <a:schemeClr val="accent2"/>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tcPr>
                </a:tc>
                <a:tc gridSpan="2">
                  <a:txBody>
                    <a:bodyPr/>
                    <a:lstStyle/>
                    <a:p>
                      <a:pPr algn="ctr">
                        <a:lnSpc>
                          <a:spcPct val="80000"/>
                        </a:lnSpc>
                      </a:pPr>
                      <a:r>
                        <a:rPr lang="en-US" sz="600" dirty="0"/>
                        <a:t>0.0018</a:t>
                      </a:r>
                    </a:p>
                  </a:txBody>
                  <a:tcPr marL="26023" marR="26023" marT="26023" marB="26023">
                    <a:lnL w="6350" cap="flat" cmpd="sng" algn="ctr">
                      <a:solidFill>
                        <a:schemeClr val="accent2"/>
                      </a:solidFill>
                      <a:prstDash val="solid"/>
                      <a:round/>
                      <a:headEnd type="none" w="med" len="med"/>
                      <a:tailEnd type="none" w="med" len="med"/>
                    </a:lnL>
                    <a:lnR w="6350" cap="flat" cmpd="sng" algn="ctr">
                      <a:solidFill>
                        <a:schemeClr val="accent2"/>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tcPr>
                </a:tc>
                <a:tc hMerge="1">
                  <a:txBody>
                    <a:bodyPr/>
                    <a:lstStyle/>
                    <a:p>
                      <a:pPr algn="ctr">
                        <a:lnSpc>
                          <a:spcPct val="80000"/>
                        </a:lnSpc>
                      </a:pPr>
                      <a:endParaRPr lang="en-US" sz="1000" dirty="0"/>
                    </a:p>
                  </a:txBody>
                  <a:tcPr marL="45720" marR="45720">
                    <a:lnL w="6350" cap="flat" cmpd="sng" algn="ctr">
                      <a:solidFill>
                        <a:schemeClr val="accent2"/>
                      </a:solidFill>
                      <a:prstDash val="solid"/>
                      <a:round/>
                      <a:headEnd type="none" w="med" len="med"/>
                      <a:tailEnd type="none" w="med" len="med"/>
                    </a:lnL>
                    <a:lnR w="6350" cap="flat" cmpd="sng" algn="ctr">
                      <a:solidFill>
                        <a:schemeClr val="accent2"/>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tcPr>
                </a:tc>
                <a:extLst>
                  <a:ext uri="{0D108BD9-81ED-4DB2-BD59-A6C34878D82A}">
                    <a16:rowId xmlns:a16="http://schemas.microsoft.com/office/drawing/2014/main" val="560578522"/>
                  </a:ext>
                </a:extLst>
              </a:tr>
              <a:tr h="192765">
                <a:tc>
                  <a:txBody>
                    <a:bodyPr/>
                    <a:lstStyle/>
                    <a:p>
                      <a:pPr>
                        <a:lnSpc>
                          <a:spcPct val="80000"/>
                        </a:lnSpc>
                      </a:pPr>
                      <a:r>
                        <a:rPr lang="en-US" sz="600" dirty="0"/>
                        <a:t>Hazard ratio (95% CI)</a:t>
                      </a:r>
                    </a:p>
                  </a:txBody>
                  <a:tcPr marL="26023" marR="26023" marT="26023" marB="26023">
                    <a:lnL w="6350" cap="flat" cmpd="sng" algn="ctr">
                      <a:solidFill>
                        <a:schemeClr val="accent2"/>
                      </a:solidFill>
                      <a:prstDash val="solid"/>
                      <a:round/>
                      <a:headEnd type="none" w="med" len="med"/>
                      <a:tailEnd type="none" w="med" len="med"/>
                    </a:lnL>
                    <a:lnR w="6350" cap="flat" cmpd="sng" algn="ctr">
                      <a:solidFill>
                        <a:schemeClr val="accent2"/>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tcPr>
                </a:tc>
                <a:tc gridSpan="2">
                  <a:txBody>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lang="en-US" sz="600" dirty="0"/>
                        <a:t>0.697 (0.552 </a:t>
                      </a:r>
                      <a:r>
                        <a:rPr lang="en-US" sz="600" dirty="0">
                          <a:ea typeface="Malgun Gothic" panose="020B0503020000020004" pitchFamily="34" charset="-127"/>
                          <a:cs typeface="Arial" panose="020B0604020202020204" pitchFamily="34" charset="0"/>
                        </a:rPr>
                        <a:t>–</a:t>
                      </a:r>
                      <a:r>
                        <a:rPr lang="en-US" sz="600" dirty="0"/>
                        <a:t> 0.880)</a:t>
                      </a:r>
                    </a:p>
                  </a:txBody>
                  <a:tcPr marL="26023" marR="26023" marT="26023" marB="26023">
                    <a:lnL w="6350" cap="flat" cmpd="sng" algn="ctr">
                      <a:solidFill>
                        <a:schemeClr val="accent2"/>
                      </a:solidFill>
                      <a:prstDash val="solid"/>
                      <a:round/>
                      <a:headEnd type="none" w="med" len="med"/>
                      <a:tailEnd type="none" w="med" len="med"/>
                    </a:lnL>
                    <a:lnR w="6350" cap="flat" cmpd="sng" algn="ctr">
                      <a:solidFill>
                        <a:schemeClr val="accent2"/>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tcPr>
                </a:tc>
                <a:tc hMerge="1">
                  <a:txBody>
                    <a:bodyPr/>
                    <a:lstStyle/>
                    <a:p>
                      <a:pPr algn="ctr">
                        <a:lnSpc>
                          <a:spcPct val="80000"/>
                        </a:lnSpc>
                      </a:pPr>
                      <a:endParaRPr lang="en-US" sz="1000" dirty="0"/>
                    </a:p>
                  </a:txBody>
                  <a:tcPr marL="45720" marR="45720">
                    <a:lnL w="6350" cap="flat" cmpd="sng" algn="ctr">
                      <a:solidFill>
                        <a:schemeClr val="accent2"/>
                      </a:solidFill>
                      <a:prstDash val="solid"/>
                      <a:round/>
                      <a:headEnd type="none" w="med" len="med"/>
                      <a:tailEnd type="none" w="med" len="med"/>
                    </a:lnL>
                    <a:lnR w="6350" cap="flat" cmpd="sng" algn="ctr">
                      <a:solidFill>
                        <a:schemeClr val="accent2"/>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tcPr>
                </a:tc>
                <a:extLst>
                  <a:ext uri="{0D108BD9-81ED-4DB2-BD59-A6C34878D82A}">
                    <a16:rowId xmlns:a16="http://schemas.microsoft.com/office/drawing/2014/main" val="1706451659"/>
                  </a:ext>
                </a:extLst>
              </a:tr>
            </a:tbl>
          </a:graphicData>
        </a:graphic>
      </p:graphicFrame>
      <p:cxnSp>
        <p:nvCxnSpPr>
          <p:cNvPr id="231" name="Straight Connector 230">
            <a:extLst>
              <a:ext uri="{FF2B5EF4-FFF2-40B4-BE49-F238E27FC236}">
                <a16:creationId xmlns:a16="http://schemas.microsoft.com/office/drawing/2014/main" id="{92BDEBF1-4419-BD4E-B41E-2868F2A15228}"/>
              </a:ext>
            </a:extLst>
          </p:cNvPr>
          <p:cNvCxnSpPr>
            <a:cxnSpLocks/>
          </p:cNvCxnSpPr>
          <p:nvPr/>
        </p:nvCxnSpPr>
        <p:spPr>
          <a:xfrm>
            <a:off x="1731010" y="2674821"/>
            <a:ext cx="208725"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232" name="Oval 231">
            <a:extLst>
              <a:ext uri="{FF2B5EF4-FFF2-40B4-BE49-F238E27FC236}">
                <a16:creationId xmlns:a16="http://schemas.microsoft.com/office/drawing/2014/main" id="{905645F2-C585-0044-878A-54AAF960061E}"/>
              </a:ext>
            </a:extLst>
          </p:cNvPr>
          <p:cNvSpPr/>
          <p:nvPr/>
        </p:nvSpPr>
        <p:spPr>
          <a:xfrm>
            <a:off x="1809026" y="2651548"/>
            <a:ext cx="50781" cy="50781"/>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2"/>
          </a:p>
        </p:txBody>
      </p:sp>
      <p:sp>
        <p:nvSpPr>
          <p:cNvPr id="233" name="TextBox 232">
            <a:extLst>
              <a:ext uri="{FF2B5EF4-FFF2-40B4-BE49-F238E27FC236}">
                <a16:creationId xmlns:a16="http://schemas.microsoft.com/office/drawing/2014/main" id="{C55632C0-9F38-0643-AF1E-48EB810FB8DA}"/>
              </a:ext>
            </a:extLst>
          </p:cNvPr>
          <p:cNvSpPr txBox="1"/>
          <p:nvPr/>
        </p:nvSpPr>
        <p:spPr>
          <a:xfrm>
            <a:off x="1903240" y="2632577"/>
            <a:ext cx="567463" cy="177613"/>
          </a:xfrm>
          <a:prstGeom prst="rect">
            <a:avLst/>
          </a:prstGeom>
          <a:noFill/>
        </p:spPr>
        <p:txBody>
          <a:bodyPr wrap="none" lIns="0" tIns="0" rIns="0" bIns="0" rtlCol="0">
            <a:spAutoFit/>
          </a:bodyPr>
          <a:lstStyle/>
          <a:p>
            <a:r>
              <a:rPr lang="en-US" sz="577" dirty="0"/>
              <a:t>Elacestrant</a:t>
            </a:r>
          </a:p>
          <a:p>
            <a:r>
              <a:rPr lang="en-US" sz="577" dirty="0"/>
              <a:t>Standard of Care</a:t>
            </a:r>
          </a:p>
        </p:txBody>
      </p:sp>
      <p:cxnSp>
        <p:nvCxnSpPr>
          <p:cNvPr id="234" name="Straight Connector 233">
            <a:extLst>
              <a:ext uri="{FF2B5EF4-FFF2-40B4-BE49-F238E27FC236}">
                <a16:creationId xmlns:a16="http://schemas.microsoft.com/office/drawing/2014/main" id="{A09D652C-28A0-5649-858A-B2A7687D74C3}"/>
              </a:ext>
            </a:extLst>
          </p:cNvPr>
          <p:cNvCxnSpPr>
            <a:cxnSpLocks/>
          </p:cNvCxnSpPr>
          <p:nvPr/>
        </p:nvCxnSpPr>
        <p:spPr>
          <a:xfrm>
            <a:off x="1731010" y="2768139"/>
            <a:ext cx="208725" cy="0"/>
          </a:xfrm>
          <a:prstGeom prst="line">
            <a:avLst/>
          </a:prstGeom>
          <a:ln w="19050">
            <a:solidFill>
              <a:srgbClr val="A7DBFB"/>
            </a:solidFill>
            <a:prstDash val="sysDash"/>
          </a:ln>
        </p:spPr>
        <p:style>
          <a:lnRef idx="1">
            <a:schemeClr val="accent1"/>
          </a:lnRef>
          <a:fillRef idx="0">
            <a:schemeClr val="accent1"/>
          </a:fillRef>
          <a:effectRef idx="0">
            <a:schemeClr val="accent1"/>
          </a:effectRef>
          <a:fontRef idx="minor">
            <a:schemeClr val="tx1"/>
          </a:fontRef>
        </p:style>
      </p:cxnSp>
      <p:sp>
        <p:nvSpPr>
          <p:cNvPr id="235" name="Oval 234">
            <a:extLst>
              <a:ext uri="{FF2B5EF4-FFF2-40B4-BE49-F238E27FC236}">
                <a16:creationId xmlns:a16="http://schemas.microsoft.com/office/drawing/2014/main" id="{4C3390A7-F817-774F-865F-A01DDE57EB3A}"/>
              </a:ext>
            </a:extLst>
          </p:cNvPr>
          <p:cNvSpPr/>
          <p:nvPr/>
        </p:nvSpPr>
        <p:spPr>
          <a:xfrm>
            <a:off x="1805145" y="2746630"/>
            <a:ext cx="50781" cy="50781"/>
          </a:xfrm>
          <a:prstGeom prst="ellipse">
            <a:avLst/>
          </a:prstGeom>
          <a:noFill/>
          <a:ln>
            <a:solidFill>
              <a:srgbClr val="A7DB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2"/>
          </a:p>
        </p:txBody>
      </p:sp>
      <p:grpSp>
        <p:nvGrpSpPr>
          <p:cNvPr id="236" name="Group 235">
            <a:extLst>
              <a:ext uri="{FF2B5EF4-FFF2-40B4-BE49-F238E27FC236}">
                <a16:creationId xmlns:a16="http://schemas.microsoft.com/office/drawing/2014/main" id="{FE20A9E0-92BB-D243-BC5C-AC07CD858B29}"/>
              </a:ext>
            </a:extLst>
          </p:cNvPr>
          <p:cNvGrpSpPr/>
          <p:nvPr/>
        </p:nvGrpSpPr>
        <p:grpSpPr>
          <a:xfrm>
            <a:off x="1675539" y="2865045"/>
            <a:ext cx="4153853" cy="168153"/>
            <a:chOff x="924283" y="4788361"/>
            <a:chExt cx="5128240" cy="207598"/>
          </a:xfrm>
        </p:grpSpPr>
        <p:sp>
          <p:nvSpPr>
            <p:cNvPr id="237" name="TextBox 236">
              <a:extLst>
                <a:ext uri="{FF2B5EF4-FFF2-40B4-BE49-F238E27FC236}">
                  <a16:creationId xmlns:a16="http://schemas.microsoft.com/office/drawing/2014/main" id="{51D0D6C3-459F-1C40-981A-53A0414B5757}"/>
                </a:ext>
              </a:extLst>
            </p:cNvPr>
            <p:cNvSpPr txBox="1"/>
            <p:nvPr/>
          </p:nvSpPr>
          <p:spPr>
            <a:xfrm>
              <a:off x="924283" y="4864313"/>
              <a:ext cx="61351" cy="131646"/>
            </a:xfrm>
            <a:prstGeom prst="rect">
              <a:avLst/>
            </a:prstGeom>
            <a:noFill/>
          </p:spPr>
          <p:txBody>
            <a:bodyPr wrap="none" lIns="0" tIns="0" rIns="0" bIns="0" rtlCol="0">
              <a:spAutoFit/>
            </a:bodyPr>
            <a:lstStyle/>
            <a:p>
              <a:pPr algn="ctr"/>
              <a:r>
                <a:rPr lang="en-US" sz="693" dirty="0"/>
                <a:t>0</a:t>
              </a:r>
            </a:p>
          </p:txBody>
        </p:sp>
        <p:cxnSp>
          <p:nvCxnSpPr>
            <p:cNvPr id="238" name="Straight Connector 237">
              <a:extLst>
                <a:ext uri="{FF2B5EF4-FFF2-40B4-BE49-F238E27FC236}">
                  <a16:creationId xmlns:a16="http://schemas.microsoft.com/office/drawing/2014/main" id="{88DAE93C-8BE3-B74F-A530-98797AC00FE1}"/>
                </a:ext>
              </a:extLst>
            </p:cNvPr>
            <p:cNvCxnSpPr>
              <a:cxnSpLocks/>
            </p:cNvCxnSpPr>
            <p:nvPr/>
          </p:nvCxnSpPr>
          <p:spPr>
            <a:xfrm rot="16200000">
              <a:off x="924478" y="4818841"/>
              <a:ext cx="6096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39" name="TextBox 238">
              <a:extLst>
                <a:ext uri="{FF2B5EF4-FFF2-40B4-BE49-F238E27FC236}">
                  <a16:creationId xmlns:a16="http://schemas.microsoft.com/office/drawing/2014/main" id="{CFED69C4-9E37-554F-B52E-6E22ED506217}"/>
                </a:ext>
              </a:extLst>
            </p:cNvPr>
            <p:cNvSpPr txBox="1"/>
            <p:nvPr/>
          </p:nvSpPr>
          <p:spPr>
            <a:xfrm>
              <a:off x="1122901" y="4864313"/>
              <a:ext cx="61351" cy="131646"/>
            </a:xfrm>
            <a:prstGeom prst="rect">
              <a:avLst/>
            </a:prstGeom>
            <a:noFill/>
          </p:spPr>
          <p:txBody>
            <a:bodyPr wrap="none" lIns="0" tIns="0" rIns="0" bIns="0" rtlCol="0">
              <a:spAutoFit/>
            </a:bodyPr>
            <a:lstStyle/>
            <a:p>
              <a:pPr algn="ctr"/>
              <a:r>
                <a:rPr lang="en-US" sz="693" dirty="0"/>
                <a:t>1</a:t>
              </a:r>
            </a:p>
          </p:txBody>
        </p:sp>
        <p:cxnSp>
          <p:nvCxnSpPr>
            <p:cNvPr id="240" name="Straight Connector 239">
              <a:extLst>
                <a:ext uri="{FF2B5EF4-FFF2-40B4-BE49-F238E27FC236}">
                  <a16:creationId xmlns:a16="http://schemas.microsoft.com/office/drawing/2014/main" id="{A9B72A5D-C291-8F41-8A0E-4045E63E0A7F}"/>
                </a:ext>
              </a:extLst>
            </p:cNvPr>
            <p:cNvCxnSpPr>
              <a:cxnSpLocks/>
            </p:cNvCxnSpPr>
            <p:nvPr/>
          </p:nvCxnSpPr>
          <p:spPr>
            <a:xfrm rot="16200000">
              <a:off x="1123097" y="4818841"/>
              <a:ext cx="6096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41" name="TextBox 240">
              <a:extLst>
                <a:ext uri="{FF2B5EF4-FFF2-40B4-BE49-F238E27FC236}">
                  <a16:creationId xmlns:a16="http://schemas.microsoft.com/office/drawing/2014/main" id="{E0D65BEC-223F-2C4E-A992-4D6B7290366D}"/>
                </a:ext>
              </a:extLst>
            </p:cNvPr>
            <p:cNvSpPr txBox="1"/>
            <p:nvPr/>
          </p:nvSpPr>
          <p:spPr>
            <a:xfrm>
              <a:off x="1325269" y="4864313"/>
              <a:ext cx="61351" cy="131646"/>
            </a:xfrm>
            <a:prstGeom prst="rect">
              <a:avLst/>
            </a:prstGeom>
            <a:noFill/>
          </p:spPr>
          <p:txBody>
            <a:bodyPr wrap="none" lIns="0" tIns="0" rIns="0" bIns="0" rtlCol="0">
              <a:spAutoFit/>
            </a:bodyPr>
            <a:lstStyle/>
            <a:p>
              <a:pPr algn="ctr"/>
              <a:r>
                <a:rPr lang="en-US" sz="693" dirty="0"/>
                <a:t>2</a:t>
              </a:r>
            </a:p>
          </p:txBody>
        </p:sp>
        <p:cxnSp>
          <p:nvCxnSpPr>
            <p:cNvPr id="242" name="Straight Connector 241">
              <a:extLst>
                <a:ext uri="{FF2B5EF4-FFF2-40B4-BE49-F238E27FC236}">
                  <a16:creationId xmlns:a16="http://schemas.microsoft.com/office/drawing/2014/main" id="{63A887E5-92EF-754B-9A09-9DD9ACFB0D6B}"/>
                </a:ext>
              </a:extLst>
            </p:cNvPr>
            <p:cNvCxnSpPr>
              <a:cxnSpLocks/>
            </p:cNvCxnSpPr>
            <p:nvPr/>
          </p:nvCxnSpPr>
          <p:spPr>
            <a:xfrm rot="16200000">
              <a:off x="1325464" y="4818841"/>
              <a:ext cx="6096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43" name="TextBox 242">
              <a:extLst>
                <a:ext uri="{FF2B5EF4-FFF2-40B4-BE49-F238E27FC236}">
                  <a16:creationId xmlns:a16="http://schemas.microsoft.com/office/drawing/2014/main" id="{4A4D1708-83F8-0646-AA00-666A1B225CCC}"/>
                </a:ext>
              </a:extLst>
            </p:cNvPr>
            <p:cNvSpPr txBox="1"/>
            <p:nvPr/>
          </p:nvSpPr>
          <p:spPr>
            <a:xfrm>
              <a:off x="1523889" y="4864313"/>
              <a:ext cx="61351" cy="131646"/>
            </a:xfrm>
            <a:prstGeom prst="rect">
              <a:avLst/>
            </a:prstGeom>
            <a:noFill/>
          </p:spPr>
          <p:txBody>
            <a:bodyPr wrap="none" lIns="0" tIns="0" rIns="0" bIns="0" rtlCol="0">
              <a:spAutoFit/>
            </a:bodyPr>
            <a:lstStyle/>
            <a:p>
              <a:pPr algn="ctr"/>
              <a:r>
                <a:rPr lang="en-US" sz="693" dirty="0"/>
                <a:t>3</a:t>
              </a:r>
            </a:p>
          </p:txBody>
        </p:sp>
        <p:cxnSp>
          <p:nvCxnSpPr>
            <p:cNvPr id="244" name="Straight Connector 243">
              <a:extLst>
                <a:ext uri="{FF2B5EF4-FFF2-40B4-BE49-F238E27FC236}">
                  <a16:creationId xmlns:a16="http://schemas.microsoft.com/office/drawing/2014/main" id="{2E41BFF7-42CD-2149-A633-FB94285BDAE6}"/>
                </a:ext>
              </a:extLst>
            </p:cNvPr>
            <p:cNvCxnSpPr>
              <a:cxnSpLocks/>
            </p:cNvCxnSpPr>
            <p:nvPr/>
          </p:nvCxnSpPr>
          <p:spPr>
            <a:xfrm rot="16200000">
              <a:off x="1524084" y="4818841"/>
              <a:ext cx="6096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45" name="TextBox 244">
              <a:extLst>
                <a:ext uri="{FF2B5EF4-FFF2-40B4-BE49-F238E27FC236}">
                  <a16:creationId xmlns:a16="http://schemas.microsoft.com/office/drawing/2014/main" id="{5EA43B8A-CE3B-4D45-ACED-71FEC979A0BE}"/>
                </a:ext>
              </a:extLst>
            </p:cNvPr>
            <p:cNvSpPr txBox="1"/>
            <p:nvPr/>
          </p:nvSpPr>
          <p:spPr>
            <a:xfrm>
              <a:off x="1730003" y="4864313"/>
              <a:ext cx="61351" cy="131646"/>
            </a:xfrm>
            <a:prstGeom prst="rect">
              <a:avLst/>
            </a:prstGeom>
            <a:noFill/>
          </p:spPr>
          <p:txBody>
            <a:bodyPr wrap="none" lIns="0" tIns="0" rIns="0" bIns="0" rtlCol="0">
              <a:spAutoFit/>
            </a:bodyPr>
            <a:lstStyle/>
            <a:p>
              <a:pPr algn="ctr"/>
              <a:r>
                <a:rPr lang="en-US" sz="693" dirty="0"/>
                <a:t>4</a:t>
              </a:r>
            </a:p>
          </p:txBody>
        </p:sp>
        <p:cxnSp>
          <p:nvCxnSpPr>
            <p:cNvPr id="246" name="Straight Connector 245">
              <a:extLst>
                <a:ext uri="{FF2B5EF4-FFF2-40B4-BE49-F238E27FC236}">
                  <a16:creationId xmlns:a16="http://schemas.microsoft.com/office/drawing/2014/main" id="{132D2D65-A66A-8545-85C9-DE4128373542}"/>
                </a:ext>
              </a:extLst>
            </p:cNvPr>
            <p:cNvCxnSpPr>
              <a:cxnSpLocks/>
            </p:cNvCxnSpPr>
            <p:nvPr/>
          </p:nvCxnSpPr>
          <p:spPr>
            <a:xfrm rot="16200000">
              <a:off x="1730199" y="4818841"/>
              <a:ext cx="6096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47" name="TextBox 246">
              <a:extLst>
                <a:ext uri="{FF2B5EF4-FFF2-40B4-BE49-F238E27FC236}">
                  <a16:creationId xmlns:a16="http://schemas.microsoft.com/office/drawing/2014/main" id="{50DBFA52-ABE0-494B-85E0-F9A5968A765E}"/>
                </a:ext>
              </a:extLst>
            </p:cNvPr>
            <p:cNvSpPr txBox="1"/>
            <p:nvPr/>
          </p:nvSpPr>
          <p:spPr>
            <a:xfrm>
              <a:off x="1928622" y="4864313"/>
              <a:ext cx="61351" cy="131646"/>
            </a:xfrm>
            <a:prstGeom prst="rect">
              <a:avLst/>
            </a:prstGeom>
            <a:noFill/>
          </p:spPr>
          <p:txBody>
            <a:bodyPr wrap="none" lIns="0" tIns="0" rIns="0" bIns="0" rtlCol="0">
              <a:spAutoFit/>
            </a:bodyPr>
            <a:lstStyle/>
            <a:p>
              <a:pPr algn="ctr"/>
              <a:r>
                <a:rPr lang="en-US" sz="693" dirty="0"/>
                <a:t>5</a:t>
              </a:r>
            </a:p>
          </p:txBody>
        </p:sp>
        <p:cxnSp>
          <p:nvCxnSpPr>
            <p:cNvPr id="248" name="Straight Connector 247">
              <a:extLst>
                <a:ext uri="{FF2B5EF4-FFF2-40B4-BE49-F238E27FC236}">
                  <a16:creationId xmlns:a16="http://schemas.microsoft.com/office/drawing/2014/main" id="{B97AF01A-5405-6744-94CC-930D9C6E776A}"/>
                </a:ext>
              </a:extLst>
            </p:cNvPr>
            <p:cNvCxnSpPr>
              <a:cxnSpLocks/>
            </p:cNvCxnSpPr>
            <p:nvPr/>
          </p:nvCxnSpPr>
          <p:spPr>
            <a:xfrm rot="16200000">
              <a:off x="1928818" y="4818841"/>
              <a:ext cx="6096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49" name="TextBox 248">
              <a:extLst>
                <a:ext uri="{FF2B5EF4-FFF2-40B4-BE49-F238E27FC236}">
                  <a16:creationId xmlns:a16="http://schemas.microsoft.com/office/drawing/2014/main" id="{F9CF06FD-307F-B547-BCE4-7CB44B3C229C}"/>
                </a:ext>
              </a:extLst>
            </p:cNvPr>
            <p:cNvSpPr txBox="1"/>
            <p:nvPr/>
          </p:nvSpPr>
          <p:spPr>
            <a:xfrm>
              <a:off x="2130990" y="4864313"/>
              <a:ext cx="61351" cy="131646"/>
            </a:xfrm>
            <a:prstGeom prst="rect">
              <a:avLst/>
            </a:prstGeom>
            <a:noFill/>
          </p:spPr>
          <p:txBody>
            <a:bodyPr wrap="none" lIns="0" tIns="0" rIns="0" bIns="0" rtlCol="0">
              <a:spAutoFit/>
            </a:bodyPr>
            <a:lstStyle/>
            <a:p>
              <a:pPr algn="ctr"/>
              <a:r>
                <a:rPr lang="en-US" sz="693" dirty="0"/>
                <a:t>6</a:t>
              </a:r>
            </a:p>
          </p:txBody>
        </p:sp>
        <p:cxnSp>
          <p:nvCxnSpPr>
            <p:cNvPr id="250" name="Straight Connector 249">
              <a:extLst>
                <a:ext uri="{FF2B5EF4-FFF2-40B4-BE49-F238E27FC236}">
                  <a16:creationId xmlns:a16="http://schemas.microsoft.com/office/drawing/2014/main" id="{9C997860-69D4-A349-A999-0E48DD8CA122}"/>
                </a:ext>
              </a:extLst>
            </p:cNvPr>
            <p:cNvCxnSpPr>
              <a:cxnSpLocks/>
            </p:cNvCxnSpPr>
            <p:nvPr/>
          </p:nvCxnSpPr>
          <p:spPr>
            <a:xfrm rot="16200000">
              <a:off x="2131185" y="4818841"/>
              <a:ext cx="6096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51" name="TextBox 250">
              <a:extLst>
                <a:ext uri="{FF2B5EF4-FFF2-40B4-BE49-F238E27FC236}">
                  <a16:creationId xmlns:a16="http://schemas.microsoft.com/office/drawing/2014/main" id="{F885B009-EAFC-5D46-BC66-4348912976B4}"/>
                </a:ext>
              </a:extLst>
            </p:cNvPr>
            <p:cNvSpPr txBox="1"/>
            <p:nvPr/>
          </p:nvSpPr>
          <p:spPr>
            <a:xfrm>
              <a:off x="2329610" y="4864313"/>
              <a:ext cx="61351" cy="131646"/>
            </a:xfrm>
            <a:prstGeom prst="rect">
              <a:avLst/>
            </a:prstGeom>
            <a:noFill/>
          </p:spPr>
          <p:txBody>
            <a:bodyPr wrap="none" lIns="0" tIns="0" rIns="0" bIns="0" rtlCol="0">
              <a:spAutoFit/>
            </a:bodyPr>
            <a:lstStyle/>
            <a:p>
              <a:pPr algn="ctr"/>
              <a:r>
                <a:rPr lang="en-US" sz="693" dirty="0"/>
                <a:t>7</a:t>
              </a:r>
            </a:p>
          </p:txBody>
        </p:sp>
        <p:cxnSp>
          <p:nvCxnSpPr>
            <p:cNvPr id="252" name="Straight Connector 251">
              <a:extLst>
                <a:ext uri="{FF2B5EF4-FFF2-40B4-BE49-F238E27FC236}">
                  <a16:creationId xmlns:a16="http://schemas.microsoft.com/office/drawing/2014/main" id="{7C63A6C2-639C-014F-A56C-CA205039DB9A}"/>
                </a:ext>
              </a:extLst>
            </p:cNvPr>
            <p:cNvCxnSpPr>
              <a:cxnSpLocks/>
            </p:cNvCxnSpPr>
            <p:nvPr/>
          </p:nvCxnSpPr>
          <p:spPr>
            <a:xfrm rot="16200000">
              <a:off x="2329805" y="4818841"/>
              <a:ext cx="6096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53" name="TextBox 252">
              <a:extLst>
                <a:ext uri="{FF2B5EF4-FFF2-40B4-BE49-F238E27FC236}">
                  <a16:creationId xmlns:a16="http://schemas.microsoft.com/office/drawing/2014/main" id="{F44B325D-E3B2-8B4D-8C23-B57BA5C471BB}"/>
                </a:ext>
              </a:extLst>
            </p:cNvPr>
            <p:cNvSpPr txBox="1"/>
            <p:nvPr/>
          </p:nvSpPr>
          <p:spPr>
            <a:xfrm>
              <a:off x="2528230" y="4864313"/>
              <a:ext cx="61351" cy="131646"/>
            </a:xfrm>
            <a:prstGeom prst="rect">
              <a:avLst/>
            </a:prstGeom>
            <a:noFill/>
          </p:spPr>
          <p:txBody>
            <a:bodyPr wrap="none" lIns="0" tIns="0" rIns="0" bIns="0" rtlCol="0">
              <a:spAutoFit/>
            </a:bodyPr>
            <a:lstStyle/>
            <a:p>
              <a:pPr algn="ctr"/>
              <a:r>
                <a:rPr lang="en-US" sz="693" dirty="0"/>
                <a:t>8</a:t>
              </a:r>
            </a:p>
          </p:txBody>
        </p:sp>
        <p:cxnSp>
          <p:nvCxnSpPr>
            <p:cNvPr id="254" name="Straight Connector 253">
              <a:extLst>
                <a:ext uri="{FF2B5EF4-FFF2-40B4-BE49-F238E27FC236}">
                  <a16:creationId xmlns:a16="http://schemas.microsoft.com/office/drawing/2014/main" id="{28AD59BC-2C08-184D-B7DD-EE6FBD982BB1}"/>
                </a:ext>
              </a:extLst>
            </p:cNvPr>
            <p:cNvCxnSpPr>
              <a:cxnSpLocks/>
            </p:cNvCxnSpPr>
            <p:nvPr/>
          </p:nvCxnSpPr>
          <p:spPr>
            <a:xfrm rot="16200000">
              <a:off x="2528425" y="4818841"/>
              <a:ext cx="6096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55" name="TextBox 254">
              <a:extLst>
                <a:ext uri="{FF2B5EF4-FFF2-40B4-BE49-F238E27FC236}">
                  <a16:creationId xmlns:a16="http://schemas.microsoft.com/office/drawing/2014/main" id="{4760CF05-2D6C-9E4C-9A3A-25EA982E62F4}"/>
                </a:ext>
              </a:extLst>
            </p:cNvPr>
            <p:cNvSpPr txBox="1"/>
            <p:nvPr/>
          </p:nvSpPr>
          <p:spPr>
            <a:xfrm>
              <a:off x="2726848" y="4864313"/>
              <a:ext cx="61351" cy="131646"/>
            </a:xfrm>
            <a:prstGeom prst="rect">
              <a:avLst/>
            </a:prstGeom>
            <a:noFill/>
          </p:spPr>
          <p:txBody>
            <a:bodyPr wrap="none" lIns="0" tIns="0" rIns="0" bIns="0" rtlCol="0">
              <a:spAutoFit/>
            </a:bodyPr>
            <a:lstStyle/>
            <a:p>
              <a:pPr algn="ctr"/>
              <a:r>
                <a:rPr lang="en-US" sz="693" dirty="0"/>
                <a:t>9</a:t>
              </a:r>
            </a:p>
          </p:txBody>
        </p:sp>
        <p:cxnSp>
          <p:nvCxnSpPr>
            <p:cNvPr id="256" name="Straight Connector 255">
              <a:extLst>
                <a:ext uri="{FF2B5EF4-FFF2-40B4-BE49-F238E27FC236}">
                  <a16:creationId xmlns:a16="http://schemas.microsoft.com/office/drawing/2014/main" id="{B9D9956B-1A6B-1A42-8BBE-1AED87119AA1}"/>
                </a:ext>
              </a:extLst>
            </p:cNvPr>
            <p:cNvCxnSpPr>
              <a:cxnSpLocks/>
            </p:cNvCxnSpPr>
            <p:nvPr/>
          </p:nvCxnSpPr>
          <p:spPr>
            <a:xfrm rot="16200000">
              <a:off x="2727044" y="4818841"/>
              <a:ext cx="6096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57" name="TextBox 256">
              <a:extLst>
                <a:ext uri="{FF2B5EF4-FFF2-40B4-BE49-F238E27FC236}">
                  <a16:creationId xmlns:a16="http://schemas.microsoft.com/office/drawing/2014/main" id="{669556F9-3034-4C45-89E2-E0243CF9C135}"/>
                </a:ext>
              </a:extLst>
            </p:cNvPr>
            <p:cNvSpPr txBox="1"/>
            <p:nvPr/>
          </p:nvSpPr>
          <p:spPr>
            <a:xfrm>
              <a:off x="2898543" y="4864313"/>
              <a:ext cx="122699" cy="131646"/>
            </a:xfrm>
            <a:prstGeom prst="rect">
              <a:avLst/>
            </a:prstGeom>
            <a:noFill/>
          </p:spPr>
          <p:txBody>
            <a:bodyPr wrap="none" lIns="0" tIns="0" rIns="0" bIns="0" rtlCol="0">
              <a:spAutoFit/>
            </a:bodyPr>
            <a:lstStyle/>
            <a:p>
              <a:pPr algn="ctr"/>
              <a:r>
                <a:rPr lang="en-US" sz="693" dirty="0"/>
                <a:t>10</a:t>
              </a:r>
            </a:p>
          </p:txBody>
        </p:sp>
        <p:cxnSp>
          <p:nvCxnSpPr>
            <p:cNvPr id="258" name="Straight Connector 257">
              <a:extLst>
                <a:ext uri="{FF2B5EF4-FFF2-40B4-BE49-F238E27FC236}">
                  <a16:creationId xmlns:a16="http://schemas.microsoft.com/office/drawing/2014/main" id="{10EE3D8E-205A-1040-902B-5797B49C8CBA}"/>
                </a:ext>
              </a:extLst>
            </p:cNvPr>
            <p:cNvCxnSpPr>
              <a:cxnSpLocks/>
            </p:cNvCxnSpPr>
            <p:nvPr/>
          </p:nvCxnSpPr>
          <p:spPr>
            <a:xfrm rot="16200000">
              <a:off x="2929411" y="4818841"/>
              <a:ext cx="6096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59" name="TextBox 258">
              <a:extLst>
                <a:ext uri="{FF2B5EF4-FFF2-40B4-BE49-F238E27FC236}">
                  <a16:creationId xmlns:a16="http://schemas.microsoft.com/office/drawing/2014/main" id="{8F543A8F-B46E-6B4B-BE97-145D5006EE3E}"/>
                </a:ext>
              </a:extLst>
            </p:cNvPr>
            <p:cNvSpPr txBox="1"/>
            <p:nvPr/>
          </p:nvSpPr>
          <p:spPr>
            <a:xfrm>
              <a:off x="3097162" y="4864313"/>
              <a:ext cx="122699" cy="131646"/>
            </a:xfrm>
            <a:prstGeom prst="rect">
              <a:avLst/>
            </a:prstGeom>
            <a:noFill/>
          </p:spPr>
          <p:txBody>
            <a:bodyPr wrap="none" lIns="0" tIns="0" rIns="0" bIns="0" rtlCol="0">
              <a:spAutoFit/>
            </a:bodyPr>
            <a:lstStyle/>
            <a:p>
              <a:pPr algn="ctr"/>
              <a:r>
                <a:rPr lang="en-US" sz="693" dirty="0"/>
                <a:t>11</a:t>
              </a:r>
            </a:p>
          </p:txBody>
        </p:sp>
        <p:cxnSp>
          <p:nvCxnSpPr>
            <p:cNvPr id="260" name="Straight Connector 259">
              <a:extLst>
                <a:ext uri="{FF2B5EF4-FFF2-40B4-BE49-F238E27FC236}">
                  <a16:creationId xmlns:a16="http://schemas.microsoft.com/office/drawing/2014/main" id="{7C780B9D-67E5-F44E-874A-84F61EB95F5D}"/>
                </a:ext>
              </a:extLst>
            </p:cNvPr>
            <p:cNvCxnSpPr>
              <a:cxnSpLocks/>
            </p:cNvCxnSpPr>
            <p:nvPr/>
          </p:nvCxnSpPr>
          <p:spPr>
            <a:xfrm rot="16200000">
              <a:off x="3128031" y="4818841"/>
              <a:ext cx="6096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1" name="Straight Connector 260">
              <a:extLst>
                <a:ext uri="{FF2B5EF4-FFF2-40B4-BE49-F238E27FC236}">
                  <a16:creationId xmlns:a16="http://schemas.microsoft.com/office/drawing/2014/main" id="{62994C9A-7F51-9E49-9C59-EA67ABD462CD}"/>
                </a:ext>
              </a:extLst>
            </p:cNvPr>
            <p:cNvCxnSpPr>
              <a:cxnSpLocks/>
            </p:cNvCxnSpPr>
            <p:nvPr/>
          </p:nvCxnSpPr>
          <p:spPr>
            <a:xfrm rot="16200000">
              <a:off x="3128031" y="4818841"/>
              <a:ext cx="6096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62" name="TextBox 261">
              <a:extLst>
                <a:ext uri="{FF2B5EF4-FFF2-40B4-BE49-F238E27FC236}">
                  <a16:creationId xmlns:a16="http://schemas.microsoft.com/office/drawing/2014/main" id="{0C188EFD-1B57-EB4D-99F9-10031B626CFA}"/>
                </a:ext>
              </a:extLst>
            </p:cNvPr>
            <p:cNvSpPr txBox="1"/>
            <p:nvPr/>
          </p:nvSpPr>
          <p:spPr>
            <a:xfrm>
              <a:off x="3299529" y="4864313"/>
              <a:ext cx="122699" cy="131646"/>
            </a:xfrm>
            <a:prstGeom prst="rect">
              <a:avLst/>
            </a:prstGeom>
            <a:noFill/>
          </p:spPr>
          <p:txBody>
            <a:bodyPr wrap="none" lIns="0" tIns="0" rIns="0" bIns="0" rtlCol="0">
              <a:spAutoFit/>
            </a:bodyPr>
            <a:lstStyle/>
            <a:p>
              <a:pPr algn="ctr"/>
              <a:r>
                <a:rPr lang="en-US" sz="693" dirty="0"/>
                <a:t>12</a:t>
              </a:r>
            </a:p>
          </p:txBody>
        </p:sp>
        <p:cxnSp>
          <p:nvCxnSpPr>
            <p:cNvPr id="263" name="Straight Connector 262">
              <a:extLst>
                <a:ext uri="{FF2B5EF4-FFF2-40B4-BE49-F238E27FC236}">
                  <a16:creationId xmlns:a16="http://schemas.microsoft.com/office/drawing/2014/main" id="{0DB304C5-D314-8C42-9CE0-955877A2F423}"/>
                </a:ext>
              </a:extLst>
            </p:cNvPr>
            <p:cNvCxnSpPr>
              <a:cxnSpLocks/>
            </p:cNvCxnSpPr>
            <p:nvPr/>
          </p:nvCxnSpPr>
          <p:spPr>
            <a:xfrm rot="16200000">
              <a:off x="3330398" y="4818841"/>
              <a:ext cx="6096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64" name="TextBox 263">
              <a:extLst>
                <a:ext uri="{FF2B5EF4-FFF2-40B4-BE49-F238E27FC236}">
                  <a16:creationId xmlns:a16="http://schemas.microsoft.com/office/drawing/2014/main" id="{76A2AAE1-F22E-9648-AF91-385EFFCD63C3}"/>
                </a:ext>
              </a:extLst>
            </p:cNvPr>
            <p:cNvSpPr txBox="1"/>
            <p:nvPr/>
          </p:nvSpPr>
          <p:spPr>
            <a:xfrm>
              <a:off x="3498149" y="4864313"/>
              <a:ext cx="122699" cy="131646"/>
            </a:xfrm>
            <a:prstGeom prst="rect">
              <a:avLst/>
            </a:prstGeom>
            <a:noFill/>
          </p:spPr>
          <p:txBody>
            <a:bodyPr wrap="none" lIns="0" tIns="0" rIns="0" bIns="0" rtlCol="0">
              <a:spAutoFit/>
            </a:bodyPr>
            <a:lstStyle/>
            <a:p>
              <a:pPr algn="ctr"/>
              <a:r>
                <a:rPr lang="en-US" sz="693" dirty="0"/>
                <a:t>13</a:t>
              </a:r>
            </a:p>
          </p:txBody>
        </p:sp>
        <p:cxnSp>
          <p:nvCxnSpPr>
            <p:cNvPr id="265" name="Straight Connector 264">
              <a:extLst>
                <a:ext uri="{FF2B5EF4-FFF2-40B4-BE49-F238E27FC236}">
                  <a16:creationId xmlns:a16="http://schemas.microsoft.com/office/drawing/2014/main" id="{DB3F7C7F-A15C-0B4A-B66C-22BBD67F8F2C}"/>
                </a:ext>
              </a:extLst>
            </p:cNvPr>
            <p:cNvCxnSpPr>
              <a:cxnSpLocks/>
            </p:cNvCxnSpPr>
            <p:nvPr/>
          </p:nvCxnSpPr>
          <p:spPr>
            <a:xfrm rot="16200000">
              <a:off x="3529018" y="4818841"/>
              <a:ext cx="6096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66" name="TextBox 265">
              <a:extLst>
                <a:ext uri="{FF2B5EF4-FFF2-40B4-BE49-F238E27FC236}">
                  <a16:creationId xmlns:a16="http://schemas.microsoft.com/office/drawing/2014/main" id="{D930C56D-9835-2B44-9AAA-FEEB1FEB10EE}"/>
                </a:ext>
              </a:extLst>
            </p:cNvPr>
            <p:cNvSpPr txBox="1"/>
            <p:nvPr/>
          </p:nvSpPr>
          <p:spPr>
            <a:xfrm>
              <a:off x="3704263" y="4864313"/>
              <a:ext cx="122699" cy="131646"/>
            </a:xfrm>
            <a:prstGeom prst="rect">
              <a:avLst/>
            </a:prstGeom>
            <a:noFill/>
          </p:spPr>
          <p:txBody>
            <a:bodyPr wrap="none" lIns="0" tIns="0" rIns="0" bIns="0" rtlCol="0">
              <a:spAutoFit/>
            </a:bodyPr>
            <a:lstStyle/>
            <a:p>
              <a:pPr algn="ctr"/>
              <a:r>
                <a:rPr lang="en-US" sz="693" dirty="0"/>
                <a:t>14</a:t>
              </a:r>
            </a:p>
          </p:txBody>
        </p:sp>
        <p:cxnSp>
          <p:nvCxnSpPr>
            <p:cNvPr id="267" name="Straight Connector 266">
              <a:extLst>
                <a:ext uri="{FF2B5EF4-FFF2-40B4-BE49-F238E27FC236}">
                  <a16:creationId xmlns:a16="http://schemas.microsoft.com/office/drawing/2014/main" id="{3F30A71A-4C07-EA4D-A4DD-A5BA7B8F7F51}"/>
                </a:ext>
              </a:extLst>
            </p:cNvPr>
            <p:cNvCxnSpPr>
              <a:cxnSpLocks/>
            </p:cNvCxnSpPr>
            <p:nvPr/>
          </p:nvCxnSpPr>
          <p:spPr>
            <a:xfrm rot="16200000">
              <a:off x="3735133" y="4818841"/>
              <a:ext cx="6096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68" name="TextBox 267">
              <a:extLst>
                <a:ext uri="{FF2B5EF4-FFF2-40B4-BE49-F238E27FC236}">
                  <a16:creationId xmlns:a16="http://schemas.microsoft.com/office/drawing/2014/main" id="{50A2E553-12B2-6242-A7EA-504B5F2695FC}"/>
                </a:ext>
              </a:extLst>
            </p:cNvPr>
            <p:cNvSpPr txBox="1"/>
            <p:nvPr/>
          </p:nvSpPr>
          <p:spPr>
            <a:xfrm>
              <a:off x="3902882" y="4864313"/>
              <a:ext cx="122699" cy="131646"/>
            </a:xfrm>
            <a:prstGeom prst="rect">
              <a:avLst/>
            </a:prstGeom>
            <a:noFill/>
          </p:spPr>
          <p:txBody>
            <a:bodyPr wrap="none" lIns="0" tIns="0" rIns="0" bIns="0" rtlCol="0">
              <a:spAutoFit/>
            </a:bodyPr>
            <a:lstStyle/>
            <a:p>
              <a:pPr algn="ctr"/>
              <a:r>
                <a:rPr lang="en-US" sz="693" dirty="0"/>
                <a:t>15</a:t>
              </a:r>
            </a:p>
          </p:txBody>
        </p:sp>
        <p:cxnSp>
          <p:nvCxnSpPr>
            <p:cNvPr id="269" name="Straight Connector 268">
              <a:extLst>
                <a:ext uri="{FF2B5EF4-FFF2-40B4-BE49-F238E27FC236}">
                  <a16:creationId xmlns:a16="http://schemas.microsoft.com/office/drawing/2014/main" id="{4817B6B9-7E14-FF44-9295-4264BC0B01A3}"/>
                </a:ext>
              </a:extLst>
            </p:cNvPr>
            <p:cNvCxnSpPr>
              <a:cxnSpLocks/>
            </p:cNvCxnSpPr>
            <p:nvPr/>
          </p:nvCxnSpPr>
          <p:spPr>
            <a:xfrm rot="16200000">
              <a:off x="3933752" y="4818841"/>
              <a:ext cx="6096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70" name="TextBox 269">
              <a:extLst>
                <a:ext uri="{FF2B5EF4-FFF2-40B4-BE49-F238E27FC236}">
                  <a16:creationId xmlns:a16="http://schemas.microsoft.com/office/drawing/2014/main" id="{47F0316F-4350-654C-B4F4-AC7E2F45F634}"/>
                </a:ext>
              </a:extLst>
            </p:cNvPr>
            <p:cNvSpPr txBox="1"/>
            <p:nvPr/>
          </p:nvSpPr>
          <p:spPr>
            <a:xfrm>
              <a:off x="4105249" y="4864313"/>
              <a:ext cx="122699" cy="131646"/>
            </a:xfrm>
            <a:prstGeom prst="rect">
              <a:avLst/>
            </a:prstGeom>
            <a:noFill/>
          </p:spPr>
          <p:txBody>
            <a:bodyPr wrap="none" lIns="0" tIns="0" rIns="0" bIns="0" rtlCol="0">
              <a:spAutoFit/>
            </a:bodyPr>
            <a:lstStyle/>
            <a:p>
              <a:pPr algn="ctr"/>
              <a:r>
                <a:rPr lang="en-US" sz="693" dirty="0"/>
                <a:t>16</a:t>
              </a:r>
            </a:p>
          </p:txBody>
        </p:sp>
        <p:cxnSp>
          <p:nvCxnSpPr>
            <p:cNvPr id="271" name="Straight Connector 270">
              <a:extLst>
                <a:ext uri="{FF2B5EF4-FFF2-40B4-BE49-F238E27FC236}">
                  <a16:creationId xmlns:a16="http://schemas.microsoft.com/office/drawing/2014/main" id="{56DD1E54-14BE-D648-8227-5EB46F6F5DDD}"/>
                </a:ext>
              </a:extLst>
            </p:cNvPr>
            <p:cNvCxnSpPr>
              <a:cxnSpLocks/>
            </p:cNvCxnSpPr>
            <p:nvPr/>
          </p:nvCxnSpPr>
          <p:spPr>
            <a:xfrm rot="16200000">
              <a:off x="4136119" y="4818841"/>
              <a:ext cx="6096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72" name="TextBox 271">
              <a:extLst>
                <a:ext uri="{FF2B5EF4-FFF2-40B4-BE49-F238E27FC236}">
                  <a16:creationId xmlns:a16="http://schemas.microsoft.com/office/drawing/2014/main" id="{46545B8A-9545-A945-9E77-E6FE7E2F7C9B}"/>
                </a:ext>
              </a:extLst>
            </p:cNvPr>
            <p:cNvSpPr txBox="1"/>
            <p:nvPr/>
          </p:nvSpPr>
          <p:spPr>
            <a:xfrm>
              <a:off x="4303870" y="4864313"/>
              <a:ext cx="122699" cy="131646"/>
            </a:xfrm>
            <a:prstGeom prst="rect">
              <a:avLst/>
            </a:prstGeom>
            <a:noFill/>
          </p:spPr>
          <p:txBody>
            <a:bodyPr wrap="none" lIns="0" tIns="0" rIns="0" bIns="0" rtlCol="0">
              <a:spAutoFit/>
            </a:bodyPr>
            <a:lstStyle/>
            <a:p>
              <a:pPr algn="ctr"/>
              <a:r>
                <a:rPr lang="en-US" sz="693" dirty="0"/>
                <a:t>17</a:t>
              </a:r>
            </a:p>
          </p:txBody>
        </p:sp>
        <p:cxnSp>
          <p:nvCxnSpPr>
            <p:cNvPr id="273" name="Straight Connector 272">
              <a:extLst>
                <a:ext uri="{FF2B5EF4-FFF2-40B4-BE49-F238E27FC236}">
                  <a16:creationId xmlns:a16="http://schemas.microsoft.com/office/drawing/2014/main" id="{60B8D603-A2E4-FA41-B79D-8A8A8C6D667B}"/>
                </a:ext>
              </a:extLst>
            </p:cNvPr>
            <p:cNvCxnSpPr>
              <a:cxnSpLocks/>
            </p:cNvCxnSpPr>
            <p:nvPr/>
          </p:nvCxnSpPr>
          <p:spPr>
            <a:xfrm rot="16200000">
              <a:off x="4334739" y="4818841"/>
              <a:ext cx="6096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74" name="TextBox 273">
              <a:extLst>
                <a:ext uri="{FF2B5EF4-FFF2-40B4-BE49-F238E27FC236}">
                  <a16:creationId xmlns:a16="http://schemas.microsoft.com/office/drawing/2014/main" id="{FD1C184B-96EE-7749-9019-2A703E09177B}"/>
                </a:ext>
              </a:extLst>
            </p:cNvPr>
            <p:cNvSpPr txBox="1"/>
            <p:nvPr/>
          </p:nvSpPr>
          <p:spPr>
            <a:xfrm>
              <a:off x="4502490" y="4864313"/>
              <a:ext cx="122699" cy="131646"/>
            </a:xfrm>
            <a:prstGeom prst="rect">
              <a:avLst/>
            </a:prstGeom>
            <a:noFill/>
          </p:spPr>
          <p:txBody>
            <a:bodyPr wrap="none" lIns="0" tIns="0" rIns="0" bIns="0" rtlCol="0">
              <a:spAutoFit/>
            </a:bodyPr>
            <a:lstStyle/>
            <a:p>
              <a:pPr algn="ctr"/>
              <a:r>
                <a:rPr lang="en-US" sz="693" dirty="0"/>
                <a:t>18</a:t>
              </a:r>
            </a:p>
          </p:txBody>
        </p:sp>
        <p:cxnSp>
          <p:nvCxnSpPr>
            <p:cNvPr id="275" name="Straight Connector 274">
              <a:extLst>
                <a:ext uri="{FF2B5EF4-FFF2-40B4-BE49-F238E27FC236}">
                  <a16:creationId xmlns:a16="http://schemas.microsoft.com/office/drawing/2014/main" id="{3BE0BEBF-5FA6-FA4E-B01E-797AFA03A722}"/>
                </a:ext>
              </a:extLst>
            </p:cNvPr>
            <p:cNvCxnSpPr>
              <a:cxnSpLocks/>
            </p:cNvCxnSpPr>
            <p:nvPr/>
          </p:nvCxnSpPr>
          <p:spPr>
            <a:xfrm rot="16200000">
              <a:off x="4533359" y="4818841"/>
              <a:ext cx="6096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76" name="TextBox 275">
              <a:extLst>
                <a:ext uri="{FF2B5EF4-FFF2-40B4-BE49-F238E27FC236}">
                  <a16:creationId xmlns:a16="http://schemas.microsoft.com/office/drawing/2014/main" id="{32F33F44-8F0F-B643-9CC5-447E42E3E59C}"/>
                </a:ext>
              </a:extLst>
            </p:cNvPr>
            <p:cNvSpPr txBox="1"/>
            <p:nvPr/>
          </p:nvSpPr>
          <p:spPr>
            <a:xfrm>
              <a:off x="4701109" y="4864313"/>
              <a:ext cx="122699" cy="131646"/>
            </a:xfrm>
            <a:prstGeom prst="rect">
              <a:avLst/>
            </a:prstGeom>
            <a:noFill/>
          </p:spPr>
          <p:txBody>
            <a:bodyPr wrap="none" lIns="0" tIns="0" rIns="0" bIns="0" rtlCol="0">
              <a:spAutoFit/>
            </a:bodyPr>
            <a:lstStyle/>
            <a:p>
              <a:pPr algn="ctr"/>
              <a:r>
                <a:rPr lang="en-US" sz="693" dirty="0"/>
                <a:t>19</a:t>
              </a:r>
            </a:p>
          </p:txBody>
        </p:sp>
        <p:cxnSp>
          <p:nvCxnSpPr>
            <p:cNvPr id="277" name="Straight Connector 276">
              <a:extLst>
                <a:ext uri="{FF2B5EF4-FFF2-40B4-BE49-F238E27FC236}">
                  <a16:creationId xmlns:a16="http://schemas.microsoft.com/office/drawing/2014/main" id="{BC1CDC57-CB0A-DA45-A980-AD3922776593}"/>
                </a:ext>
              </a:extLst>
            </p:cNvPr>
            <p:cNvCxnSpPr>
              <a:cxnSpLocks/>
            </p:cNvCxnSpPr>
            <p:nvPr/>
          </p:nvCxnSpPr>
          <p:spPr>
            <a:xfrm rot="16200000">
              <a:off x="4731978" y="4818841"/>
              <a:ext cx="6096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78" name="TextBox 277">
              <a:extLst>
                <a:ext uri="{FF2B5EF4-FFF2-40B4-BE49-F238E27FC236}">
                  <a16:creationId xmlns:a16="http://schemas.microsoft.com/office/drawing/2014/main" id="{EBA5D0D3-A54B-A04E-AA75-234AFD4ED024}"/>
                </a:ext>
              </a:extLst>
            </p:cNvPr>
            <p:cNvSpPr txBox="1"/>
            <p:nvPr/>
          </p:nvSpPr>
          <p:spPr>
            <a:xfrm>
              <a:off x="4903476" y="4864313"/>
              <a:ext cx="122699" cy="131646"/>
            </a:xfrm>
            <a:prstGeom prst="rect">
              <a:avLst/>
            </a:prstGeom>
            <a:noFill/>
          </p:spPr>
          <p:txBody>
            <a:bodyPr wrap="none" lIns="0" tIns="0" rIns="0" bIns="0" rtlCol="0">
              <a:spAutoFit/>
            </a:bodyPr>
            <a:lstStyle/>
            <a:p>
              <a:pPr algn="ctr"/>
              <a:r>
                <a:rPr lang="en-US" sz="693" dirty="0"/>
                <a:t>20</a:t>
              </a:r>
            </a:p>
          </p:txBody>
        </p:sp>
        <p:cxnSp>
          <p:nvCxnSpPr>
            <p:cNvPr id="279" name="Straight Connector 278">
              <a:extLst>
                <a:ext uri="{FF2B5EF4-FFF2-40B4-BE49-F238E27FC236}">
                  <a16:creationId xmlns:a16="http://schemas.microsoft.com/office/drawing/2014/main" id="{8E3220F6-4D84-F041-990E-66D852F87C7C}"/>
                </a:ext>
              </a:extLst>
            </p:cNvPr>
            <p:cNvCxnSpPr>
              <a:cxnSpLocks/>
            </p:cNvCxnSpPr>
            <p:nvPr/>
          </p:nvCxnSpPr>
          <p:spPr>
            <a:xfrm rot="16200000">
              <a:off x="4934345" y="4818841"/>
              <a:ext cx="6096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80" name="TextBox 279">
              <a:extLst>
                <a:ext uri="{FF2B5EF4-FFF2-40B4-BE49-F238E27FC236}">
                  <a16:creationId xmlns:a16="http://schemas.microsoft.com/office/drawing/2014/main" id="{E45F20A2-25A6-774C-8613-5E4D929B8A0A}"/>
                </a:ext>
              </a:extLst>
            </p:cNvPr>
            <p:cNvSpPr txBox="1"/>
            <p:nvPr/>
          </p:nvSpPr>
          <p:spPr>
            <a:xfrm>
              <a:off x="5080090" y="4864313"/>
              <a:ext cx="166712" cy="131646"/>
            </a:xfrm>
            <a:prstGeom prst="rect">
              <a:avLst/>
            </a:prstGeom>
            <a:noFill/>
          </p:spPr>
          <p:txBody>
            <a:bodyPr wrap="square" lIns="0" tIns="0" rIns="0" bIns="0" rtlCol="0">
              <a:spAutoFit/>
            </a:bodyPr>
            <a:lstStyle/>
            <a:p>
              <a:pPr algn="ctr"/>
              <a:r>
                <a:rPr lang="en-US" sz="693" dirty="0"/>
                <a:t>21</a:t>
              </a:r>
            </a:p>
          </p:txBody>
        </p:sp>
        <p:cxnSp>
          <p:nvCxnSpPr>
            <p:cNvPr id="281" name="Straight Connector 280">
              <a:extLst>
                <a:ext uri="{FF2B5EF4-FFF2-40B4-BE49-F238E27FC236}">
                  <a16:creationId xmlns:a16="http://schemas.microsoft.com/office/drawing/2014/main" id="{2F1D7B22-5114-984C-87B4-C298B35E8673}"/>
                </a:ext>
              </a:extLst>
            </p:cNvPr>
            <p:cNvCxnSpPr>
              <a:cxnSpLocks/>
            </p:cNvCxnSpPr>
            <p:nvPr/>
          </p:nvCxnSpPr>
          <p:spPr>
            <a:xfrm rot="16200000">
              <a:off x="5132965" y="4818841"/>
              <a:ext cx="6096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82" name="TextBox 281">
              <a:extLst>
                <a:ext uri="{FF2B5EF4-FFF2-40B4-BE49-F238E27FC236}">
                  <a16:creationId xmlns:a16="http://schemas.microsoft.com/office/drawing/2014/main" id="{8AF20FB3-0BD5-AB4E-881C-AB574F4E64F0}"/>
                </a:ext>
              </a:extLst>
            </p:cNvPr>
            <p:cNvSpPr txBox="1"/>
            <p:nvPr/>
          </p:nvSpPr>
          <p:spPr>
            <a:xfrm>
              <a:off x="5308212" y="4864313"/>
              <a:ext cx="122699" cy="131646"/>
            </a:xfrm>
            <a:prstGeom prst="rect">
              <a:avLst/>
            </a:prstGeom>
            <a:noFill/>
          </p:spPr>
          <p:txBody>
            <a:bodyPr wrap="none" lIns="0" tIns="0" rIns="0" bIns="0" rtlCol="0">
              <a:spAutoFit/>
            </a:bodyPr>
            <a:lstStyle/>
            <a:p>
              <a:pPr algn="ctr"/>
              <a:r>
                <a:rPr lang="en-US" sz="693" dirty="0"/>
                <a:t>22</a:t>
              </a:r>
            </a:p>
          </p:txBody>
        </p:sp>
        <p:cxnSp>
          <p:nvCxnSpPr>
            <p:cNvPr id="283" name="Straight Connector 282">
              <a:extLst>
                <a:ext uri="{FF2B5EF4-FFF2-40B4-BE49-F238E27FC236}">
                  <a16:creationId xmlns:a16="http://schemas.microsoft.com/office/drawing/2014/main" id="{24F3F295-7E90-8542-B116-E8E677785B34}"/>
                </a:ext>
              </a:extLst>
            </p:cNvPr>
            <p:cNvCxnSpPr>
              <a:cxnSpLocks/>
            </p:cNvCxnSpPr>
            <p:nvPr/>
          </p:nvCxnSpPr>
          <p:spPr>
            <a:xfrm rot="16200000">
              <a:off x="5339081" y="4818841"/>
              <a:ext cx="6096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84" name="TextBox 283">
              <a:extLst>
                <a:ext uri="{FF2B5EF4-FFF2-40B4-BE49-F238E27FC236}">
                  <a16:creationId xmlns:a16="http://schemas.microsoft.com/office/drawing/2014/main" id="{8B10312D-9043-5943-A34D-B18E0A260068}"/>
                </a:ext>
              </a:extLst>
            </p:cNvPr>
            <p:cNvSpPr txBox="1"/>
            <p:nvPr/>
          </p:nvSpPr>
          <p:spPr>
            <a:xfrm>
              <a:off x="5506831" y="4864313"/>
              <a:ext cx="122699" cy="131646"/>
            </a:xfrm>
            <a:prstGeom prst="rect">
              <a:avLst/>
            </a:prstGeom>
            <a:noFill/>
          </p:spPr>
          <p:txBody>
            <a:bodyPr wrap="none" lIns="0" tIns="0" rIns="0" bIns="0" rtlCol="0">
              <a:spAutoFit/>
            </a:bodyPr>
            <a:lstStyle/>
            <a:p>
              <a:pPr algn="ctr"/>
              <a:r>
                <a:rPr lang="en-US" sz="693" dirty="0"/>
                <a:t>23</a:t>
              </a:r>
            </a:p>
          </p:txBody>
        </p:sp>
        <p:cxnSp>
          <p:nvCxnSpPr>
            <p:cNvPr id="285" name="Straight Connector 284">
              <a:extLst>
                <a:ext uri="{FF2B5EF4-FFF2-40B4-BE49-F238E27FC236}">
                  <a16:creationId xmlns:a16="http://schemas.microsoft.com/office/drawing/2014/main" id="{B4A973E1-8D5D-1F4E-AF8D-52493668537A}"/>
                </a:ext>
              </a:extLst>
            </p:cNvPr>
            <p:cNvCxnSpPr>
              <a:cxnSpLocks/>
            </p:cNvCxnSpPr>
            <p:nvPr/>
          </p:nvCxnSpPr>
          <p:spPr>
            <a:xfrm rot="16200000">
              <a:off x="5537700" y="4818841"/>
              <a:ext cx="6096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86" name="TextBox 285">
              <a:extLst>
                <a:ext uri="{FF2B5EF4-FFF2-40B4-BE49-F238E27FC236}">
                  <a16:creationId xmlns:a16="http://schemas.microsoft.com/office/drawing/2014/main" id="{33CF52ED-DB75-EA41-A3DE-89A3430D18BA}"/>
                </a:ext>
              </a:extLst>
            </p:cNvPr>
            <p:cNvSpPr txBox="1"/>
            <p:nvPr/>
          </p:nvSpPr>
          <p:spPr>
            <a:xfrm>
              <a:off x="5709198" y="4864313"/>
              <a:ext cx="122699" cy="131646"/>
            </a:xfrm>
            <a:prstGeom prst="rect">
              <a:avLst/>
            </a:prstGeom>
            <a:noFill/>
          </p:spPr>
          <p:txBody>
            <a:bodyPr wrap="none" lIns="0" tIns="0" rIns="0" bIns="0" rtlCol="0">
              <a:spAutoFit/>
            </a:bodyPr>
            <a:lstStyle/>
            <a:p>
              <a:pPr algn="ctr"/>
              <a:r>
                <a:rPr lang="en-US" sz="693" dirty="0"/>
                <a:t>24</a:t>
              </a:r>
            </a:p>
          </p:txBody>
        </p:sp>
        <p:cxnSp>
          <p:nvCxnSpPr>
            <p:cNvPr id="287" name="Straight Connector 286">
              <a:extLst>
                <a:ext uri="{FF2B5EF4-FFF2-40B4-BE49-F238E27FC236}">
                  <a16:creationId xmlns:a16="http://schemas.microsoft.com/office/drawing/2014/main" id="{A9977A77-D55B-FD44-80F7-B4E284F7EF2F}"/>
                </a:ext>
              </a:extLst>
            </p:cNvPr>
            <p:cNvCxnSpPr>
              <a:cxnSpLocks/>
            </p:cNvCxnSpPr>
            <p:nvPr/>
          </p:nvCxnSpPr>
          <p:spPr>
            <a:xfrm rot="16200000">
              <a:off x="5740067" y="4818841"/>
              <a:ext cx="6096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88" name="TextBox 287">
              <a:extLst>
                <a:ext uri="{FF2B5EF4-FFF2-40B4-BE49-F238E27FC236}">
                  <a16:creationId xmlns:a16="http://schemas.microsoft.com/office/drawing/2014/main" id="{1204FC19-1D95-BC48-99F2-05B36C88DCBD}"/>
                </a:ext>
              </a:extLst>
            </p:cNvPr>
            <p:cNvSpPr txBox="1"/>
            <p:nvPr/>
          </p:nvSpPr>
          <p:spPr>
            <a:xfrm>
              <a:off x="5885811" y="4864313"/>
              <a:ext cx="166712" cy="131646"/>
            </a:xfrm>
            <a:prstGeom prst="rect">
              <a:avLst/>
            </a:prstGeom>
            <a:noFill/>
          </p:spPr>
          <p:txBody>
            <a:bodyPr wrap="square" lIns="0" tIns="0" rIns="0" bIns="0" rtlCol="0">
              <a:spAutoFit/>
            </a:bodyPr>
            <a:lstStyle/>
            <a:p>
              <a:pPr algn="ctr"/>
              <a:r>
                <a:rPr lang="en-US" sz="693" dirty="0"/>
                <a:t>25</a:t>
              </a:r>
            </a:p>
          </p:txBody>
        </p:sp>
        <p:cxnSp>
          <p:nvCxnSpPr>
            <p:cNvPr id="289" name="Straight Connector 288">
              <a:extLst>
                <a:ext uri="{FF2B5EF4-FFF2-40B4-BE49-F238E27FC236}">
                  <a16:creationId xmlns:a16="http://schemas.microsoft.com/office/drawing/2014/main" id="{DCD4B78D-E490-2744-BE9E-61F2722584F7}"/>
                </a:ext>
              </a:extLst>
            </p:cNvPr>
            <p:cNvCxnSpPr>
              <a:cxnSpLocks/>
            </p:cNvCxnSpPr>
            <p:nvPr/>
          </p:nvCxnSpPr>
          <p:spPr>
            <a:xfrm rot="16200000">
              <a:off x="5938687" y="4818841"/>
              <a:ext cx="6096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90" name="TextBox 289">
            <a:extLst>
              <a:ext uri="{FF2B5EF4-FFF2-40B4-BE49-F238E27FC236}">
                <a16:creationId xmlns:a16="http://schemas.microsoft.com/office/drawing/2014/main" id="{B6854A5C-F68B-1F41-9E3E-2338441AB8C0}"/>
              </a:ext>
            </a:extLst>
          </p:cNvPr>
          <p:cNvSpPr txBox="1"/>
          <p:nvPr/>
        </p:nvSpPr>
        <p:spPr>
          <a:xfrm>
            <a:off x="3421006" y="3077909"/>
            <a:ext cx="609141" cy="106632"/>
          </a:xfrm>
          <a:prstGeom prst="rect">
            <a:avLst/>
          </a:prstGeom>
          <a:noFill/>
        </p:spPr>
        <p:txBody>
          <a:bodyPr wrap="none" lIns="0" tIns="0" rIns="0" bIns="0" rtlCol="0">
            <a:spAutoFit/>
          </a:bodyPr>
          <a:lstStyle/>
          <a:p>
            <a:pPr algn="ctr"/>
            <a:r>
              <a:rPr lang="en-US" sz="693" b="1" dirty="0"/>
              <a:t>Time (months)</a:t>
            </a:r>
          </a:p>
        </p:txBody>
      </p:sp>
      <p:pic>
        <p:nvPicPr>
          <p:cNvPr id="5" name="Picture 4">
            <a:extLst>
              <a:ext uri="{FF2B5EF4-FFF2-40B4-BE49-F238E27FC236}">
                <a16:creationId xmlns:a16="http://schemas.microsoft.com/office/drawing/2014/main" id="{4F479D16-E4BD-12AD-370F-5038E11ACEB4}"/>
              </a:ext>
            </a:extLst>
          </p:cNvPr>
          <p:cNvPicPr>
            <a:picLocks noChangeAspect="1"/>
          </p:cNvPicPr>
          <p:nvPr/>
        </p:nvPicPr>
        <p:blipFill rotWithShape="1">
          <a:blip r:embed="rId3"/>
          <a:srcRect b="45252"/>
          <a:stretch/>
        </p:blipFill>
        <p:spPr>
          <a:xfrm>
            <a:off x="742746" y="634824"/>
            <a:ext cx="7539259" cy="3712937"/>
          </a:xfrm>
          <a:prstGeom prst="rect">
            <a:avLst/>
          </a:prstGeom>
        </p:spPr>
      </p:pic>
    </p:spTree>
    <p:extLst>
      <p:ext uri="{BB962C8B-B14F-4D97-AF65-F5344CB8AC3E}">
        <p14:creationId xmlns:p14="http://schemas.microsoft.com/office/powerpoint/2010/main" val="51093785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a:xfrm>
            <a:off x="665825" y="1753676"/>
            <a:ext cx="7812349" cy="2204975"/>
          </a:xfrm>
        </p:spPr>
        <p: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kern="1200" dirty="0">
                <a:solidFill>
                  <a:sysClr val="windowText" lastClr="000000"/>
                </a:solidFill>
              </a:rPr>
              <a:t>Shane Marchesani</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2400" u="none" strike="noStrike" kern="1200" cap="none" spc="0" normalizeH="0" baseline="0" noProof="0" dirty="0">
              <a:ln>
                <a:noFill/>
              </a:ln>
              <a:solidFill>
                <a:sysClr val="windowText" lastClr="000000"/>
              </a:solidFill>
              <a:effectLst/>
              <a:uLnTx/>
              <a:uFillTx/>
              <a:latin typeface="+mn-lt"/>
            </a:endParaRPr>
          </a:p>
        </p:txBody>
      </p:sp>
      <p:sp>
        <p:nvSpPr>
          <p:cNvPr id="4" name="Title 3"/>
          <p:cNvSpPr>
            <a:spLocks noGrp="1"/>
          </p:cNvSpPr>
          <p:nvPr>
            <p:ph type="title"/>
          </p:nvPr>
        </p:nvSpPr>
        <p:spPr>
          <a:xfrm>
            <a:off x="0" y="127465"/>
            <a:ext cx="9144000" cy="786936"/>
          </a:xfrm>
        </p:spPr>
        <p:txBody>
          <a:bodyPr/>
          <a:lstStyle/>
          <a:p>
            <a:r>
              <a:rPr lang="en-US" sz="3200" b="1" dirty="0">
                <a:solidFill>
                  <a:srgbClr val="002E51"/>
                </a:solidFill>
              </a:rPr>
              <a:t>Thank You to Our Supporters</a:t>
            </a:r>
          </a:p>
        </p:txBody>
      </p:sp>
      <p:pic>
        <p:nvPicPr>
          <p:cNvPr id="3" name="Picture 2">
            <a:extLst>
              <a:ext uri="{FF2B5EF4-FFF2-40B4-BE49-F238E27FC236}">
                <a16:creationId xmlns:a16="http://schemas.microsoft.com/office/drawing/2014/main" id="{0214EDCD-28AF-E96D-19A4-2A69835E417D}"/>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0" y="2382"/>
            <a:ext cx="9144000" cy="5148863"/>
          </a:xfrm>
          <a:prstGeom prst="rect">
            <a:avLst/>
          </a:prstGeom>
        </p:spPr>
      </p:pic>
    </p:spTree>
    <p:extLst>
      <p:ext uri="{BB962C8B-B14F-4D97-AF65-F5344CB8AC3E}">
        <p14:creationId xmlns:p14="http://schemas.microsoft.com/office/powerpoint/2010/main" val="38393595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AB221E-D2A7-1B46-9D15-5B2B9804791A}"/>
              </a:ext>
            </a:extLst>
          </p:cNvPr>
          <p:cNvSpPr>
            <a:spLocks noGrp="1"/>
          </p:cNvSpPr>
          <p:nvPr>
            <p:ph type="title"/>
          </p:nvPr>
        </p:nvSpPr>
        <p:spPr>
          <a:xfrm>
            <a:off x="1162406" y="270284"/>
            <a:ext cx="6597763" cy="473880"/>
          </a:xfrm>
        </p:spPr>
        <p:txBody>
          <a:bodyPr>
            <a:noAutofit/>
          </a:bodyPr>
          <a:lstStyle/>
          <a:p>
            <a:r>
              <a:rPr lang="en-US" sz="2402" dirty="0"/>
              <a:t>EMERALD:  Primary Endpoint: PFS by IRC</a:t>
            </a:r>
          </a:p>
        </p:txBody>
      </p:sp>
      <p:sp>
        <p:nvSpPr>
          <p:cNvPr id="6" name="TextBox 5">
            <a:extLst>
              <a:ext uri="{FF2B5EF4-FFF2-40B4-BE49-F238E27FC236}">
                <a16:creationId xmlns:a16="http://schemas.microsoft.com/office/drawing/2014/main" id="{E6621FBC-BD0A-654E-B6A5-BC255F905422}"/>
              </a:ext>
            </a:extLst>
          </p:cNvPr>
          <p:cNvSpPr txBox="1"/>
          <p:nvPr/>
        </p:nvSpPr>
        <p:spPr>
          <a:xfrm>
            <a:off x="167662" y="176024"/>
            <a:ext cx="8556460" cy="584775"/>
          </a:xfrm>
          <a:prstGeom prst="rect">
            <a:avLst/>
          </a:prstGeom>
          <a:noFill/>
        </p:spPr>
        <p:txBody>
          <a:bodyPr wrap="square" rtlCol="0">
            <a:spAutoFit/>
          </a:bodyPr>
          <a:lstStyle/>
          <a:p>
            <a:pPr algn="ctr"/>
            <a:r>
              <a:rPr lang="en-US" sz="3200" b="1" dirty="0"/>
              <a:t>Patients With Tumors Harboring </a:t>
            </a:r>
            <a:r>
              <a:rPr lang="en-US" sz="3200" b="1" i="1" dirty="0"/>
              <a:t>mESR1</a:t>
            </a:r>
            <a:endParaRPr lang="en-US" sz="3200" b="1" dirty="0"/>
          </a:p>
        </p:txBody>
      </p:sp>
      <p:pic>
        <p:nvPicPr>
          <p:cNvPr id="3" name="Picture 2">
            <a:extLst>
              <a:ext uri="{FF2B5EF4-FFF2-40B4-BE49-F238E27FC236}">
                <a16:creationId xmlns:a16="http://schemas.microsoft.com/office/drawing/2014/main" id="{8D1FE809-702A-EA32-A49E-690511E9E6DE}"/>
              </a:ext>
            </a:extLst>
          </p:cNvPr>
          <p:cNvPicPr>
            <a:picLocks noChangeAspect="1"/>
          </p:cNvPicPr>
          <p:nvPr/>
        </p:nvPicPr>
        <p:blipFill rotWithShape="1">
          <a:blip r:embed="rId2"/>
          <a:srcRect t="53126" b="1763"/>
          <a:stretch/>
        </p:blipFill>
        <p:spPr>
          <a:xfrm>
            <a:off x="870171" y="979713"/>
            <a:ext cx="7403657" cy="3004458"/>
          </a:xfrm>
          <a:prstGeom prst="rect">
            <a:avLst/>
          </a:prstGeom>
        </p:spPr>
      </p:pic>
    </p:spTree>
    <p:extLst>
      <p:ext uri="{BB962C8B-B14F-4D97-AF65-F5344CB8AC3E}">
        <p14:creationId xmlns:p14="http://schemas.microsoft.com/office/powerpoint/2010/main" val="118280861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E1152E-A9E7-3D6A-7E76-EF5885437C7C}"/>
              </a:ext>
            </a:extLst>
          </p:cNvPr>
          <p:cNvSpPr>
            <a:spLocks noGrp="1"/>
          </p:cNvSpPr>
          <p:nvPr>
            <p:ph type="title"/>
          </p:nvPr>
        </p:nvSpPr>
        <p:spPr/>
        <p:txBody>
          <a:bodyPr/>
          <a:lstStyle/>
          <a:p>
            <a:r>
              <a:rPr lang="en-US" sz="3200" b="1" dirty="0"/>
              <a:t>PFS by Duration of CDK4/6 Inhibitor (All Pts) </a:t>
            </a:r>
          </a:p>
        </p:txBody>
      </p:sp>
      <p:pic>
        <p:nvPicPr>
          <p:cNvPr id="4" name="Picture 3">
            <a:extLst>
              <a:ext uri="{FF2B5EF4-FFF2-40B4-BE49-F238E27FC236}">
                <a16:creationId xmlns:a16="http://schemas.microsoft.com/office/drawing/2014/main" id="{5495E6D3-14AA-70AB-9677-CB8278670BC3}"/>
              </a:ext>
            </a:extLst>
          </p:cNvPr>
          <p:cNvPicPr>
            <a:picLocks noChangeAspect="1"/>
          </p:cNvPicPr>
          <p:nvPr/>
        </p:nvPicPr>
        <p:blipFill rotWithShape="1">
          <a:blip r:embed="rId2"/>
          <a:srcRect t="12295"/>
          <a:stretch/>
        </p:blipFill>
        <p:spPr>
          <a:xfrm>
            <a:off x="885825" y="899169"/>
            <a:ext cx="7372350" cy="3349923"/>
          </a:xfrm>
          <a:prstGeom prst="rect">
            <a:avLst/>
          </a:prstGeom>
        </p:spPr>
      </p:pic>
    </p:spTree>
    <p:extLst>
      <p:ext uri="{BB962C8B-B14F-4D97-AF65-F5344CB8AC3E}">
        <p14:creationId xmlns:p14="http://schemas.microsoft.com/office/powerpoint/2010/main" val="301297791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E52C4D-2EB3-17C6-43EF-DA3394FE884C}"/>
              </a:ext>
            </a:extLst>
          </p:cNvPr>
          <p:cNvSpPr>
            <a:spLocks noGrp="1"/>
          </p:cNvSpPr>
          <p:nvPr>
            <p:ph type="title"/>
          </p:nvPr>
        </p:nvSpPr>
        <p:spPr>
          <a:xfrm>
            <a:off x="-177283" y="127464"/>
            <a:ext cx="9498563" cy="1006507"/>
          </a:xfrm>
        </p:spPr>
        <p:txBody>
          <a:bodyPr/>
          <a:lstStyle/>
          <a:p>
            <a:r>
              <a:rPr lang="en-US" sz="3600" b="1" dirty="0"/>
              <a:t>PFS by Duration of CDK4/6i (ESR1mut) </a:t>
            </a:r>
            <a:endParaRPr lang="en-US" dirty="0"/>
          </a:p>
        </p:txBody>
      </p:sp>
      <p:pic>
        <p:nvPicPr>
          <p:cNvPr id="4" name="Picture 3">
            <a:extLst>
              <a:ext uri="{FF2B5EF4-FFF2-40B4-BE49-F238E27FC236}">
                <a16:creationId xmlns:a16="http://schemas.microsoft.com/office/drawing/2014/main" id="{49E2E8C2-8EC6-16C6-9608-F7D5A41A9032}"/>
              </a:ext>
            </a:extLst>
          </p:cNvPr>
          <p:cNvPicPr>
            <a:picLocks noChangeAspect="1"/>
          </p:cNvPicPr>
          <p:nvPr/>
        </p:nvPicPr>
        <p:blipFill rotWithShape="1">
          <a:blip r:embed="rId2"/>
          <a:srcRect t="17136"/>
          <a:stretch/>
        </p:blipFill>
        <p:spPr>
          <a:xfrm>
            <a:off x="615820" y="836486"/>
            <a:ext cx="7763070" cy="3377851"/>
          </a:xfrm>
          <a:prstGeom prst="rect">
            <a:avLst/>
          </a:prstGeom>
        </p:spPr>
      </p:pic>
    </p:spTree>
    <p:extLst>
      <p:ext uri="{BB962C8B-B14F-4D97-AF65-F5344CB8AC3E}">
        <p14:creationId xmlns:p14="http://schemas.microsoft.com/office/powerpoint/2010/main" val="227207103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914ECD-677C-9EA3-0F16-68DBD4CE0986}"/>
              </a:ext>
            </a:extLst>
          </p:cNvPr>
          <p:cNvSpPr>
            <a:spLocks noGrp="1"/>
          </p:cNvSpPr>
          <p:nvPr>
            <p:ph type="title"/>
          </p:nvPr>
        </p:nvSpPr>
        <p:spPr>
          <a:xfrm>
            <a:off x="73741" y="134388"/>
            <a:ext cx="8495071" cy="560785"/>
          </a:xfrm>
        </p:spPr>
        <p:txBody>
          <a:bodyPr/>
          <a:lstStyle/>
          <a:p>
            <a:r>
              <a:rPr lang="en-US" sz="3200" b="1" dirty="0">
                <a:latin typeface="Arial" panose="020B0604020202020204" pitchFamily="34" charset="0"/>
                <a:cs typeface="Arial" panose="020B0604020202020204" pitchFamily="34" charset="0"/>
              </a:rPr>
              <a:t>Oral SERDS: Mixed Results to Date</a:t>
            </a:r>
          </a:p>
        </p:txBody>
      </p:sp>
      <p:graphicFrame>
        <p:nvGraphicFramePr>
          <p:cNvPr id="5" name="Table 5">
            <a:extLst>
              <a:ext uri="{FF2B5EF4-FFF2-40B4-BE49-F238E27FC236}">
                <a16:creationId xmlns:a16="http://schemas.microsoft.com/office/drawing/2014/main" id="{10328DB4-399B-CBFD-8CE8-BBA9DDDE865E}"/>
              </a:ext>
            </a:extLst>
          </p:cNvPr>
          <p:cNvGraphicFramePr>
            <a:graphicFrameLocks noGrp="1"/>
          </p:cNvGraphicFramePr>
          <p:nvPr>
            <p:extLst>
              <p:ext uri="{D42A27DB-BD31-4B8C-83A1-F6EECF244321}">
                <p14:modId xmlns:p14="http://schemas.microsoft.com/office/powerpoint/2010/main" val="3135168915"/>
              </p:ext>
            </p:extLst>
          </p:nvPr>
        </p:nvGraphicFramePr>
        <p:xfrm>
          <a:off x="415923" y="1036634"/>
          <a:ext cx="6388281" cy="2613660"/>
        </p:xfrm>
        <a:graphic>
          <a:graphicData uri="http://schemas.openxmlformats.org/drawingml/2006/table">
            <a:tbl>
              <a:tblPr firstRow="1" bandRow="1">
                <a:tableStyleId>{5940675A-B579-460E-94D1-54222C63F5DA}</a:tableStyleId>
              </a:tblPr>
              <a:tblGrid>
                <a:gridCol w="1211893">
                  <a:extLst>
                    <a:ext uri="{9D8B030D-6E8A-4147-A177-3AD203B41FA5}">
                      <a16:colId xmlns:a16="http://schemas.microsoft.com/office/drawing/2014/main" val="2169416308"/>
                    </a:ext>
                  </a:extLst>
                </a:gridCol>
                <a:gridCol w="817324">
                  <a:extLst>
                    <a:ext uri="{9D8B030D-6E8A-4147-A177-3AD203B41FA5}">
                      <a16:colId xmlns:a16="http://schemas.microsoft.com/office/drawing/2014/main" val="358008940"/>
                    </a:ext>
                  </a:extLst>
                </a:gridCol>
                <a:gridCol w="995819">
                  <a:extLst>
                    <a:ext uri="{9D8B030D-6E8A-4147-A177-3AD203B41FA5}">
                      <a16:colId xmlns:a16="http://schemas.microsoft.com/office/drawing/2014/main" val="1618290828"/>
                    </a:ext>
                  </a:extLst>
                </a:gridCol>
                <a:gridCol w="798535">
                  <a:extLst>
                    <a:ext uri="{9D8B030D-6E8A-4147-A177-3AD203B41FA5}">
                      <a16:colId xmlns:a16="http://schemas.microsoft.com/office/drawing/2014/main" val="2683790276"/>
                    </a:ext>
                  </a:extLst>
                </a:gridCol>
                <a:gridCol w="986425">
                  <a:extLst>
                    <a:ext uri="{9D8B030D-6E8A-4147-A177-3AD203B41FA5}">
                      <a16:colId xmlns:a16="http://schemas.microsoft.com/office/drawing/2014/main" val="2488448869"/>
                    </a:ext>
                  </a:extLst>
                </a:gridCol>
                <a:gridCol w="770351">
                  <a:extLst>
                    <a:ext uri="{9D8B030D-6E8A-4147-A177-3AD203B41FA5}">
                      <a16:colId xmlns:a16="http://schemas.microsoft.com/office/drawing/2014/main" val="3176390936"/>
                    </a:ext>
                  </a:extLst>
                </a:gridCol>
                <a:gridCol w="807934">
                  <a:extLst>
                    <a:ext uri="{9D8B030D-6E8A-4147-A177-3AD203B41FA5}">
                      <a16:colId xmlns:a16="http://schemas.microsoft.com/office/drawing/2014/main" val="3360949157"/>
                    </a:ext>
                  </a:extLst>
                </a:gridCol>
              </a:tblGrid>
              <a:tr h="274320">
                <a:tc>
                  <a:txBody>
                    <a:bodyPr/>
                    <a:lstStyle/>
                    <a:p>
                      <a:r>
                        <a:rPr lang="en-US" sz="1400" dirty="0"/>
                        <a:t>Trial</a:t>
                      </a:r>
                    </a:p>
                  </a:txBody>
                  <a:tcPr marL="68580" marR="68580" marT="34290" marB="34290">
                    <a:noFill/>
                  </a:tcPr>
                </a:tc>
                <a:tc gridSpan="2">
                  <a:txBody>
                    <a:bodyPr/>
                    <a:lstStyle/>
                    <a:p>
                      <a:pPr algn="ctr"/>
                      <a:r>
                        <a:rPr lang="en-US" sz="1400" dirty="0"/>
                        <a:t>EMERALD</a:t>
                      </a:r>
                    </a:p>
                  </a:txBody>
                  <a:tcPr marL="68580" marR="68580" marT="34290" marB="34290">
                    <a:solidFill>
                      <a:srgbClr val="21FF76"/>
                    </a:solidFill>
                  </a:tcPr>
                </a:tc>
                <a:tc hMerge="1">
                  <a:txBody>
                    <a:bodyPr/>
                    <a:lstStyle/>
                    <a:p>
                      <a:endParaRPr lang="en-US" dirty="0"/>
                    </a:p>
                  </a:txBody>
                  <a:tcPr/>
                </a:tc>
                <a:tc gridSpan="2">
                  <a:txBody>
                    <a:bodyPr/>
                    <a:lstStyle/>
                    <a:p>
                      <a:pPr algn="ctr"/>
                      <a:r>
                        <a:rPr lang="en-US" sz="1400" dirty="0" err="1"/>
                        <a:t>AcelERA</a:t>
                      </a:r>
                      <a:endParaRPr lang="en-US" sz="1400" dirty="0"/>
                    </a:p>
                  </a:txBody>
                  <a:tcPr marL="68580" marR="68580" marT="34290" marB="34290">
                    <a:solidFill>
                      <a:srgbClr val="FF0000"/>
                    </a:solidFill>
                  </a:tcPr>
                </a:tc>
                <a:tc hMerge="1">
                  <a:txBody>
                    <a:bodyPr/>
                    <a:lstStyle/>
                    <a:p>
                      <a:endParaRPr lang="en-US" dirty="0"/>
                    </a:p>
                  </a:txBody>
                  <a:tcPr/>
                </a:tc>
                <a:tc gridSpan="2">
                  <a:txBody>
                    <a:bodyPr/>
                    <a:lstStyle/>
                    <a:p>
                      <a:pPr algn="ctr"/>
                      <a:r>
                        <a:rPr lang="en-US" sz="1400" dirty="0"/>
                        <a:t>AMEERA-3</a:t>
                      </a:r>
                    </a:p>
                  </a:txBody>
                  <a:tcPr marL="68580" marR="68580" marT="34290" marB="34290">
                    <a:solidFill>
                      <a:srgbClr val="FF0000"/>
                    </a:solidFill>
                  </a:tcPr>
                </a:tc>
                <a:tc hMerge="1">
                  <a:txBody>
                    <a:bodyPr/>
                    <a:lstStyle/>
                    <a:p>
                      <a:endParaRPr lang="en-US" dirty="0"/>
                    </a:p>
                  </a:txBody>
                  <a:tcPr/>
                </a:tc>
                <a:extLst>
                  <a:ext uri="{0D108BD9-81ED-4DB2-BD59-A6C34878D82A}">
                    <a16:rowId xmlns:a16="http://schemas.microsoft.com/office/drawing/2014/main" val="1501825230"/>
                  </a:ext>
                </a:extLst>
              </a:tr>
              <a:tr h="278130">
                <a:tc>
                  <a:txBody>
                    <a:bodyPr/>
                    <a:lstStyle/>
                    <a:p>
                      <a:r>
                        <a:rPr lang="en-US" sz="1400" dirty="0"/>
                        <a:t>Treatment</a:t>
                      </a:r>
                    </a:p>
                  </a:txBody>
                  <a:tcPr marL="68580" marR="68580" marT="34290" marB="34290">
                    <a:noFill/>
                  </a:tcPr>
                </a:tc>
                <a:tc>
                  <a:txBody>
                    <a:bodyPr/>
                    <a:lstStyle/>
                    <a:p>
                      <a:pPr algn="ctr"/>
                      <a:r>
                        <a:rPr lang="en-US" sz="1400" dirty="0"/>
                        <a:t>ELAC</a:t>
                      </a:r>
                    </a:p>
                  </a:txBody>
                  <a:tcPr marL="68580" marR="68580" marT="34290" marB="34290">
                    <a:solidFill>
                      <a:srgbClr val="21FF76"/>
                    </a:solidFill>
                  </a:tcPr>
                </a:tc>
                <a:tc>
                  <a:txBody>
                    <a:bodyPr/>
                    <a:lstStyle/>
                    <a:p>
                      <a:pPr algn="ctr"/>
                      <a:r>
                        <a:rPr lang="en-US" sz="1400" dirty="0"/>
                        <a:t>FULV</a:t>
                      </a:r>
                    </a:p>
                  </a:txBody>
                  <a:tcPr marL="68580" marR="68580" marT="34290" marB="34290">
                    <a:solidFill>
                      <a:srgbClr val="21FF76"/>
                    </a:solidFill>
                  </a:tcPr>
                </a:tc>
                <a:tc>
                  <a:txBody>
                    <a:bodyPr/>
                    <a:lstStyle/>
                    <a:p>
                      <a:pPr algn="ctr"/>
                      <a:r>
                        <a:rPr lang="en-US" sz="1400" dirty="0"/>
                        <a:t>GIRE</a:t>
                      </a:r>
                    </a:p>
                  </a:txBody>
                  <a:tcPr marL="68580" marR="68580" marT="34290" marB="34290">
                    <a:solidFill>
                      <a:srgbClr val="FF0000"/>
                    </a:solidFill>
                  </a:tcPr>
                </a:tc>
                <a:tc>
                  <a:txBody>
                    <a:bodyPr/>
                    <a:lstStyle/>
                    <a:p>
                      <a:pPr algn="ctr"/>
                      <a:r>
                        <a:rPr lang="en-US" sz="1400" dirty="0"/>
                        <a:t>SAET</a:t>
                      </a:r>
                    </a:p>
                  </a:txBody>
                  <a:tcPr marL="68580" marR="68580" marT="34290" marB="34290">
                    <a:solidFill>
                      <a:srgbClr val="FF0000"/>
                    </a:solidFill>
                  </a:tcPr>
                </a:tc>
                <a:tc>
                  <a:txBody>
                    <a:bodyPr/>
                    <a:lstStyle/>
                    <a:p>
                      <a:pPr algn="ctr"/>
                      <a:r>
                        <a:rPr lang="en-US" sz="1400" dirty="0"/>
                        <a:t>AMCE</a:t>
                      </a:r>
                    </a:p>
                  </a:txBody>
                  <a:tcPr marL="68580" marR="68580" marT="34290" marB="34290">
                    <a:solidFill>
                      <a:srgbClr val="FF0000"/>
                    </a:solidFill>
                  </a:tcPr>
                </a:tc>
                <a:tc>
                  <a:txBody>
                    <a:bodyPr/>
                    <a:lstStyle/>
                    <a:p>
                      <a:pPr algn="ctr"/>
                      <a:r>
                        <a:rPr lang="en-US" sz="1400" dirty="0"/>
                        <a:t>SAET</a:t>
                      </a:r>
                    </a:p>
                  </a:txBody>
                  <a:tcPr marL="68580" marR="68580" marT="34290" marB="34290">
                    <a:solidFill>
                      <a:srgbClr val="FF0000"/>
                    </a:solidFill>
                  </a:tcPr>
                </a:tc>
                <a:extLst>
                  <a:ext uri="{0D108BD9-81ED-4DB2-BD59-A6C34878D82A}">
                    <a16:rowId xmlns:a16="http://schemas.microsoft.com/office/drawing/2014/main" val="4208808734"/>
                  </a:ext>
                </a:extLst>
              </a:tr>
              <a:tr h="278130">
                <a:tc>
                  <a:txBody>
                    <a:bodyPr/>
                    <a:lstStyle/>
                    <a:p>
                      <a:r>
                        <a:rPr lang="en-US" sz="1400" dirty="0"/>
                        <a:t>n ITT</a:t>
                      </a:r>
                    </a:p>
                  </a:txBody>
                  <a:tcPr marL="68580" marR="68580" marT="34290" marB="34290">
                    <a:noFill/>
                  </a:tcPr>
                </a:tc>
                <a:tc>
                  <a:txBody>
                    <a:bodyPr/>
                    <a:lstStyle/>
                    <a:p>
                      <a:pPr algn="ctr"/>
                      <a:r>
                        <a:rPr lang="en-US" sz="1400" dirty="0"/>
                        <a:t>239</a:t>
                      </a:r>
                    </a:p>
                  </a:txBody>
                  <a:tcPr marL="68580" marR="68580" marT="34290" marB="34290">
                    <a:solidFill>
                      <a:srgbClr val="21FF76"/>
                    </a:solidFill>
                  </a:tcPr>
                </a:tc>
                <a:tc>
                  <a:txBody>
                    <a:bodyPr/>
                    <a:lstStyle/>
                    <a:p>
                      <a:pPr algn="ctr"/>
                      <a:r>
                        <a:rPr lang="en-US" sz="1400" dirty="0"/>
                        <a:t>238</a:t>
                      </a:r>
                    </a:p>
                  </a:txBody>
                  <a:tcPr marL="68580" marR="68580" marT="34290" marB="34290">
                    <a:solidFill>
                      <a:srgbClr val="21FF76"/>
                    </a:solidFill>
                  </a:tcPr>
                </a:tc>
                <a:tc>
                  <a:txBody>
                    <a:bodyPr/>
                    <a:lstStyle/>
                    <a:p>
                      <a:pPr algn="ctr"/>
                      <a:r>
                        <a:rPr lang="en-US" sz="1400" dirty="0"/>
                        <a:t>143</a:t>
                      </a:r>
                    </a:p>
                  </a:txBody>
                  <a:tcPr marL="68580" marR="68580" marT="34290" marB="34290">
                    <a:solidFill>
                      <a:srgbClr val="FF0000"/>
                    </a:solidFill>
                  </a:tcPr>
                </a:tc>
                <a:tc>
                  <a:txBody>
                    <a:bodyPr/>
                    <a:lstStyle/>
                    <a:p>
                      <a:pPr algn="ctr"/>
                      <a:r>
                        <a:rPr lang="en-US" sz="1400" dirty="0"/>
                        <a:t>147</a:t>
                      </a:r>
                    </a:p>
                  </a:txBody>
                  <a:tcPr marL="68580" marR="68580" marT="34290" marB="34290">
                    <a:solidFill>
                      <a:srgbClr val="FF0000"/>
                    </a:solidFill>
                  </a:tcPr>
                </a:tc>
                <a:tc>
                  <a:txBody>
                    <a:bodyPr/>
                    <a:lstStyle/>
                    <a:p>
                      <a:pPr algn="ctr"/>
                      <a:r>
                        <a:rPr lang="en-US" sz="1400" dirty="0"/>
                        <a:t>151</a:t>
                      </a:r>
                    </a:p>
                  </a:txBody>
                  <a:tcPr marL="68580" marR="68580" marT="34290" marB="34290">
                    <a:solidFill>
                      <a:srgbClr val="FF0000"/>
                    </a:solidFill>
                  </a:tcPr>
                </a:tc>
                <a:tc>
                  <a:txBody>
                    <a:bodyPr/>
                    <a:lstStyle/>
                    <a:p>
                      <a:pPr algn="ctr"/>
                      <a:r>
                        <a:rPr lang="en-US" sz="1400" dirty="0"/>
                        <a:t>152</a:t>
                      </a:r>
                    </a:p>
                  </a:txBody>
                  <a:tcPr marL="68580" marR="68580" marT="34290" marB="34290">
                    <a:solidFill>
                      <a:srgbClr val="FF0000"/>
                    </a:solidFill>
                  </a:tcPr>
                </a:tc>
                <a:extLst>
                  <a:ext uri="{0D108BD9-81ED-4DB2-BD59-A6C34878D82A}">
                    <a16:rowId xmlns:a16="http://schemas.microsoft.com/office/drawing/2014/main" val="3094412506"/>
                  </a:ext>
                </a:extLst>
              </a:tr>
              <a:tr h="480060">
                <a:tc>
                  <a:txBody>
                    <a:bodyPr/>
                    <a:lstStyle/>
                    <a:p>
                      <a:r>
                        <a:rPr lang="en-US" sz="1400" dirty="0"/>
                        <a:t>ESR1 mutation </a:t>
                      </a:r>
                    </a:p>
                  </a:txBody>
                  <a:tcPr marL="68580" marR="68580" marT="34290" marB="34290">
                    <a:noFill/>
                  </a:tcPr>
                </a:tc>
                <a:tc>
                  <a:txBody>
                    <a:bodyPr/>
                    <a:lstStyle/>
                    <a:p>
                      <a:pPr algn="ctr"/>
                      <a:r>
                        <a:rPr lang="en-US" sz="1400" dirty="0"/>
                        <a:t>115</a:t>
                      </a:r>
                    </a:p>
                  </a:txBody>
                  <a:tcPr marL="68580" marR="68580" marT="34290" marB="34290">
                    <a:solidFill>
                      <a:srgbClr val="21FF76"/>
                    </a:solidFill>
                  </a:tcPr>
                </a:tc>
                <a:tc>
                  <a:txBody>
                    <a:bodyPr/>
                    <a:lstStyle/>
                    <a:p>
                      <a:pPr algn="ctr"/>
                      <a:r>
                        <a:rPr lang="en-US" sz="1400" dirty="0"/>
                        <a:t>113</a:t>
                      </a:r>
                    </a:p>
                  </a:txBody>
                  <a:tcPr marL="68580" marR="68580" marT="34290" marB="34290">
                    <a:solidFill>
                      <a:srgbClr val="21FF76"/>
                    </a:solidFill>
                  </a:tcPr>
                </a:tc>
                <a:tc>
                  <a:txBody>
                    <a:bodyPr/>
                    <a:lstStyle/>
                    <a:p>
                      <a:pPr algn="ctr"/>
                      <a:r>
                        <a:rPr lang="en-US" sz="1400" dirty="0"/>
                        <a:t>65</a:t>
                      </a:r>
                    </a:p>
                  </a:txBody>
                  <a:tcPr marL="68580" marR="68580" marT="34290" marB="34290">
                    <a:solidFill>
                      <a:srgbClr val="FF0000"/>
                    </a:solidFill>
                  </a:tcPr>
                </a:tc>
                <a:tc>
                  <a:txBody>
                    <a:bodyPr/>
                    <a:lstStyle/>
                    <a:p>
                      <a:pPr algn="ctr"/>
                      <a:r>
                        <a:rPr lang="en-US" sz="1400" dirty="0"/>
                        <a:t>55</a:t>
                      </a:r>
                    </a:p>
                  </a:txBody>
                  <a:tcPr marL="68580" marR="68580" marT="34290" marB="34290">
                    <a:solidFill>
                      <a:srgbClr val="FF0000"/>
                    </a:solidFill>
                  </a:tcPr>
                </a:tc>
                <a:tc>
                  <a:txBody>
                    <a:bodyPr/>
                    <a:lstStyle/>
                    <a:p>
                      <a:pPr algn="ctr"/>
                      <a:r>
                        <a:rPr lang="en-US" sz="1400" dirty="0"/>
                        <a:t>44</a:t>
                      </a:r>
                    </a:p>
                  </a:txBody>
                  <a:tcPr marL="68580" marR="68580" marT="34290" marB="34290">
                    <a:solidFill>
                      <a:srgbClr val="FF0000"/>
                    </a:solidFill>
                  </a:tcPr>
                </a:tc>
                <a:tc>
                  <a:txBody>
                    <a:bodyPr/>
                    <a:lstStyle/>
                    <a:p>
                      <a:pPr algn="ctr"/>
                      <a:r>
                        <a:rPr lang="en-US" sz="1400" dirty="0"/>
                        <a:t>34</a:t>
                      </a:r>
                    </a:p>
                  </a:txBody>
                  <a:tcPr marL="68580" marR="68580" marT="34290" marB="34290">
                    <a:solidFill>
                      <a:srgbClr val="FF0000"/>
                    </a:solidFill>
                  </a:tcPr>
                </a:tc>
                <a:extLst>
                  <a:ext uri="{0D108BD9-81ED-4DB2-BD59-A6C34878D82A}">
                    <a16:rowId xmlns:a16="http://schemas.microsoft.com/office/drawing/2014/main" val="403916503"/>
                  </a:ext>
                </a:extLst>
              </a:tr>
              <a:tr h="278130">
                <a:tc>
                  <a:txBody>
                    <a:bodyPr/>
                    <a:lstStyle/>
                    <a:p>
                      <a:r>
                        <a:rPr lang="en-US" sz="1400" dirty="0"/>
                        <a:t>Prior </a:t>
                      </a:r>
                      <a:r>
                        <a:rPr lang="en-US" sz="1400" dirty="0" err="1"/>
                        <a:t>CDKi</a:t>
                      </a:r>
                      <a:r>
                        <a:rPr lang="en-US" sz="1400" dirty="0"/>
                        <a:t> </a:t>
                      </a:r>
                    </a:p>
                  </a:txBody>
                  <a:tcPr marL="68580" marR="68580" marT="34290" marB="34290">
                    <a:noFill/>
                  </a:tcPr>
                </a:tc>
                <a:tc>
                  <a:txBody>
                    <a:bodyPr/>
                    <a:lstStyle/>
                    <a:p>
                      <a:pPr algn="ctr"/>
                      <a:r>
                        <a:rPr lang="en-US" sz="1400" dirty="0"/>
                        <a:t>100%</a:t>
                      </a:r>
                    </a:p>
                  </a:txBody>
                  <a:tcPr marL="68580" marR="68580" marT="34290" marB="34290">
                    <a:solidFill>
                      <a:srgbClr val="21FF76"/>
                    </a:solidFill>
                  </a:tcPr>
                </a:tc>
                <a:tc>
                  <a:txBody>
                    <a:bodyPr/>
                    <a:lstStyle/>
                    <a:p>
                      <a:pPr algn="ctr"/>
                      <a:r>
                        <a:rPr lang="en-US" sz="1400" dirty="0"/>
                        <a:t>100%</a:t>
                      </a:r>
                    </a:p>
                  </a:txBody>
                  <a:tcPr marL="68580" marR="68580" marT="34290" marB="34290">
                    <a:solidFill>
                      <a:srgbClr val="21FF76"/>
                    </a:solidFill>
                  </a:tcPr>
                </a:tc>
                <a:tc>
                  <a:txBody>
                    <a:bodyPr/>
                    <a:lstStyle/>
                    <a:p>
                      <a:pPr algn="ctr"/>
                      <a:r>
                        <a:rPr lang="en-US" sz="1400" dirty="0"/>
                        <a:t>80%</a:t>
                      </a:r>
                    </a:p>
                  </a:txBody>
                  <a:tcPr marL="68580" marR="68580" marT="34290" marB="34290">
                    <a:solidFill>
                      <a:srgbClr val="FF0000"/>
                    </a:solidFill>
                  </a:tcPr>
                </a:tc>
                <a:tc>
                  <a:txBody>
                    <a:bodyPr/>
                    <a:lstStyle/>
                    <a:p>
                      <a:pPr algn="ctr"/>
                      <a:r>
                        <a:rPr lang="en-US" sz="1400" dirty="0"/>
                        <a:t>78%</a:t>
                      </a:r>
                    </a:p>
                  </a:txBody>
                  <a:tcPr marL="68580" marR="68580" marT="34290" marB="34290">
                    <a:solidFill>
                      <a:srgbClr val="FF0000"/>
                    </a:solidFill>
                  </a:tcPr>
                </a:tc>
                <a:tc>
                  <a:txBody>
                    <a:bodyPr/>
                    <a:lstStyle/>
                    <a:p>
                      <a:pPr algn="ctr"/>
                      <a:r>
                        <a:rPr lang="en-US" sz="1400" dirty="0"/>
                        <a:t>43%</a:t>
                      </a:r>
                    </a:p>
                  </a:txBody>
                  <a:tcPr marL="68580" marR="68580" marT="34290" marB="34290">
                    <a:solidFill>
                      <a:srgbClr val="FF0000"/>
                    </a:solidFill>
                  </a:tcPr>
                </a:tc>
                <a:tc>
                  <a:txBody>
                    <a:bodyPr/>
                    <a:lstStyle/>
                    <a:p>
                      <a:pPr algn="ctr"/>
                      <a:r>
                        <a:rPr lang="en-US" sz="1400" dirty="0"/>
                        <a:t>41%</a:t>
                      </a:r>
                    </a:p>
                  </a:txBody>
                  <a:tcPr marL="68580" marR="68580" marT="34290" marB="34290">
                    <a:solidFill>
                      <a:srgbClr val="FF0000"/>
                    </a:solidFill>
                  </a:tcPr>
                </a:tc>
                <a:extLst>
                  <a:ext uri="{0D108BD9-81ED-4DB2-BD59-A6C34878D82A}">
                    <a16:rowId xmlns:a16="http://schemas.microsoft.com/office/drawing/2014/main" val="1440437010"/>
                  </a:ext>
                </a:extLst>
              </a:tr>
              <a:tr h="278130">
                <a:tc>
                  <a:txBody>
                    <a:bodyPr/>
                    <a:lstStyle/>
                    <a:p>
                      <a:r>
                        <a:rPr lang="en-US" sz="1400" dirty="0"/>
                        <a:t>PFS (mos.)</a:t>
                      </a:r>
                    </a:p>
                  </a:txBody>
                  <a:tcPr marL="68580" marR="68580" marT="34290" marB="34290">
                    <a:noFill/>
                  </a:tcPr>
                </a:tc>
                <a:tc>
                  <a:txBody>
                    <a:bodyPr/>
                    <a:lstStyle/>
                    <a:p>
                      <a:pPr algn="ctr"/>
                      <a:r>
                        <a:rPr lang="en-US" sz="1400" dirty="0"/>
                        <a:t>2.79</a:t>
                      </a:r>
                    </a:p>
                  </a:txBody>
                  <a:tcPr marL="68580" marR="68580" marT="34290" marB="34290">
                    <a:solidFill>
                      <a:srgbClr val="21FF76"/>
                    </a:solidFill>
                  </a:tcPr>
                </a:tc>
                <a:tc>
                  <a:txBody>
                    <a:bodyPr/>
                    <a:lstStyle/>
                    <a:p>
                      <a:pPr algn="ctr"/>
                      <a:r>
                        <a:rPr lang="en-US" sz="1400" dirty="0"/>
                        <a:t>1.91</a:t>
                      </a:r>
                    </a:p>
                  </a:txBody>
                  <a:tcPr marL="68580" marR="68580" marT="34290" marB="34290">
                    <a:solidFill>
                      <a:srgbClr val="21FF76"/>
                    </a:solidFill>
                  </a:tcPr>
                </a:tc>
                <a:tc>
                  <a:txBody>
                    <a:bodyPr/>
                    <a:lstStyle/>
                    <a:p>
                      <a:pPr algn="ctr"/>
                      <a:r>
                        <a:rPr lang="en-US" sz="1400" dirty="0"/>
                        <a:t>3.6</a:t>
                      </a:r>
                    </a:p>
                  </a:txBody>
                  <a:tcPr marL="68580" marR="68580" marT="34290" marB="34290">
                    <a:solidFill>
                      <a:srgbClr val="FF0000"/>
                    </a:solidFill>
                  </a:tcPr>
                </a:tc>
                <a:tc>
                  <a:txBody>
                    <a:bodyPr/>
                    <a:lstStyle/>
                    <a:p>
                      <a:pPr algn="ctr"/>
                      <a:r>
                        <a:rPr lang="en-US" sz="1400" dirty="0"/>
                        <a:t>3.7</a:t>
                      </a:r>
                    </a:p>
                  </a:txBody>
                  <a:tcPr marL="68580" marR="68580" marT="34290" marB="34290">
                    <a:solidFill>
                      <a:srgbClr val="FF0000"/>
                    </a:solidFill>
                  </a:tcPr>
                </a:tc>
                <a:tc>
                  <a:txBody>
                    <a:bodyPr/>
                    <a:lstStyle/>
                    <a:p>
                      <a:pPr algn="ctr"/>
                      <a:r>
                        <a:rPr lang="en-US" sz="1400" dirty="0"/>
                        <a:t>5.6</a:t>
                      </a:r>
                    </a:p>
                  </a:txBody>
                  <a:tcPr marL="68580" marR="68580" marT="34290" marB="34290">
                    <a:solidFill>
                      <a:srgbClr val="FF0000"/>
                    </a:solidFill>
                  </a:tcPr>
                </a:tc>
                <a:tc>
                  <a:txBody>
                    <a:bodyPr/>
                    <a:lstStyle/>
                    <a:p>
                      <a:pPr algn="ctr"/>
                      <a:r>
                        <a:rPr lang="en-US" sz="1400" dirty="0"/>
                        <a:t>5.4</a:t>
                      </a:r>
                    </a:p>
                  </a:txBody>
                  <a:tcPr marL="68580" marR="68580" marT="34290" marB="34290">
                    <a:solidFill>
                      <a:srgbClr val="FF0000"/>
                    </a:solidFill>
                  </a:tcPr>
                </a:tc>
                <a:extLst>
                  <a:ext uri="{0D108BD9-81ED-4DB2-BD59-A6C34878D82A}">
                    <a16:rowId xmlns:a16="http://schemas.microsoft.com/office/drawing/2014/main" val="281888595"/>
                  </a:ext>
                </a:extLst>
              </a:tr>
              <a:tr h="480060">
                <a:tc>
                  <a:txBody>
                    <a:bodyPr/>
                    <a:lstStyle/>
                    <a:p>
                      <a:r>
                        <a:rPr lang="en-US" sz="1400" dirty="0"/>
                        <a:t>PFS in mESR1 (mos.)</a:t>
                      </a:r>
                    </a:p>
                  </a:txBody>
                  <a:tcPr marL="68580" marR="68580" marT="34290" marB="34290">
                    <a:noFill/>
                  </a:tcPr>
                </a:tc>
                <a:tc>
                  <a:txBody>
                    <a:bodyPr/>
                    <a:lstStyle/>
                    <a:p>
                      <a:pPr algn="ctr"/>
                      <a:r>
                        <a:rPr lang="en-US" sz="1400" dirty="0"/>
                        <a:t>3.78</a:t>
                      </a:r>
                    </a:p>
                  </a:txBody>
                  <a:tcPr marL="68580" marR="68580" marT="34290" marB="34290">
                    <a:solidFill>
                      <a:srgbClr val="21FF76"/>
                    </a:solidFill>
                  </a:tcPr>
                </a:tc>
                <a:tc>
                  <a:txBody>
                    <a:bodyPr/>
                    <a:lstStyle/>
                    <a:p>
                      <a:pPr algn="ctr"/>
                      <a:r>
                        <a:rPr lang="en-US" sz="1400" dirty="0"/>
                        <a:t>1.87</a:t>
                      </a:r>
                    </a:p>
                  </a:txBody>
                  <a:tcPr marL="68580" marR="68580" marT="34290" marB="34290">
                    <a:solidFill>
                      <a:srgbClr val="21FF76"/>
                    </a:solidFill>
                  </a:tcPr>
                </a:tc>
                <a:tc>
                  <a:txBody>
                    <a:bodyPr/>
                    <a:lstStyle/>
                    <a:p>
                      <a:pPr algn="ctr"/>
                      <a:r>
                        <a:rPr lang="en-US" sz="1400" dirty="0"/>
                        <a:t>3.7</a:t>
                      </a:r>
                    </a:p>
                  </a:txBody>
                  <a:tcPr marL="68580" marR="68580" marT="34290" marB="34290">
                    <a:solidFill>
                      <a:srgbClr val="FF0000"/>
                    </a:solidFill>
                  </a:tcPr>
                </a:tc>
                <a:tc>
                  <a:txBody>
                    <a:bodyPr/>
                    <a:lstStyle/>
                    <a:p>
                      <a:pPr algn="ctr"/>
                      <a:r>
                        <a:rPr lang="en-US" sz="1400" dirty="0"/>
                        <a:t>2.0</a:t>
                      </a:r>
                    </a:p>
                  </a:txBody>
                  <a:tcPr marL="68580" marR="68580" marT="34290" marB="34290">
                    <a:solidFill>
                      <a:srgbClr val="FF0000"/>
                    </a:solidFill>
                  </a:tcPr>
                </a:tc>
                <a:tc>
                  <a:txBody>
                    <a:bodyPr/>
                    <a:lstStyle/>
                    <a:p>
                      <a:pPr algn="ctr"/>
                      <a:r>
                        <a:rPr lang="en-US" sz="1400" dirty="0"/>
                        <a:t>5.3</a:t>
                      </a:r>
                    </a:p>
                  </a:txBody>
                  <a:tcPr marL="68580" marR="68580" marT="34290" marB="34290">
                    <a:solidFill>
                      <a:srgbClr val="FF0000"/>
                    </a:solidFill>
                  </a:tcPr>
                </a:tc>
                <a:tc>
                  <a:txBody>
                    <a:bodyPr/>
                    <a:lstStyle/>
                    <a:p>
                      <a:pPr algn="ctr"/>
                      <a:r>
                        <a:rPr lang="en-US" sz="1400" dirty="0"/>
                        <a:t>3.5</a:t>
                      </a:r>
                    </a:p>
                  </a:txBody>
                  <a:tcPr marL="68580" marR="68580" marT="34290" marB="34290">
                    <a:solidFill>
                      <a:srgbClr val="FF0000"/>
                    </a:solidFill>
                  </a:tcPr>
                </a:tc>
                <a:extLst>
                  <a:ext uri="{0D108BD9-81ED-4DB2-BD59-A6C34878D82A}">
                    <a16:rowId xmlns:a16="http://schemas.microsoft.com/office/drawing/2014/main" val="3783607784"/>
                  </a:ext>
                </a:extLst>
              </a:tr>
            </a:tbl>
          </a:graphicData>
        </a:graphic>
      </p:graphicFrame>
      <p:sp>
        <p:nvSpPr>
          <p:cNvPr id="6" name="TextBox 5">
            <a:extLst>
              <a:ext uri="{FF2B5EF4-FFF2-40B4-BE49-F238E27FC236}">
                <a16:creationId xmlns:a16="http://schemas.microsoft.com/office/drawing/2014/main" id="{E047A61F-F93C-EB86-B3DB-47F7EEC275C0}"/>
              </a:ext>
            </a:extLst>
          </p:cNvPr>
          <p:cNvSpPr txBox="1"/>
          <p:nvPr/>
        </p:nvSpPr>
        <p:spPr>
          <a:xfrm>
            <a:off x="73741" y="3733196"/>
            <a:ext cx="8837253" cy="661720"/>
          </a:xfrm>
          <a:prstGeom prst="rect">
            <a:avLst/>
          </a:prstGeom>
          <a:noFill/>
        </p:spPr>
        <p:txBody>
          <a:bodyPr wrap="square" rtlCol="0">
            <a:spAutoFit/>
          </a:bodyPr>
          <a:lstStyle/>
          <a:p>
            <a:r>
              <a:rPr lang="en-US" sz="900" dirty="0"/>
              <a:t>ELAC = </a:t>
            </a:r>
            <a:r>
              <a:rPr lang="en-US" sz="900" dirty="0" err="1"/>
              <a:t>Elacestrant</a:t>
            </a:r>
            <a:r>
              <a:rPr lang="en-US" sz="900" dirty="0"/>
              <a:t>; GIRE = </a:t>
            </a:r>
            <a:r>
              <a:rPr lang="en-US" sz="900" dirty="0" err="1"/>
              <a:t>Giredestant</a:t>
            </a:r>
            <a:r>
              <a:rPr lang="en-US" sz="900" dirty="0"/>
              <a:t>; AMCE = </a:t>
            </a:r>
            <a:r>
              <a:rPr lang="en-US" sz="900" dirty="0" err="1"/>
              <a:t>Amcenestrant</a:t>
            </a:r>
            <a:r>
              <a:rPr lang="en-US" sz="900" dirty="0"/>
              <a:t>; CAM: </a:t>
            </a:r>
            <a:r>
              <a:rPr lang="en-US" sz="900" dirty="0" err="1"/>
              <a:t>Camizestrant</a:t>
            </a:r>
            <a:r>
              <a:rPr lang="en-US" sz="900" dirty="0"/>
              <a:t>; FULV = </a:t>
            </a:r>
            <a:r>
              <a:rPr lang="en-US" sz="900" dirty="0" err="1"/>
              <a:t>fulvestrant</a:t>
            </a:r>
            <a:r>
              <a:rPr lang="en-US" sz="900" dirty="0"/>
              <a:t>; SAET= Standard anti-estrogen therapy</a:t>
            </a:r>
          </a:p>
          <a:p>
            <a:r>
              <a:rPr lang="en-US" sz="1400" b="0" i="0" dirty="0">
                <a:solidFill>
                  <a:srgbClr val="212121"/>
                </a:solidFill>
                <a:effectLst/>
                <a:latin typeface="+mn-lt"/>
              </a:rPr>
              <a:t>ELAINE 1: </a:t>
            </a:r>
            <a:r>
              <a:rPr lang="en-US" sz="1400" dirty="0">
                <a:solidFill>
                  <a:srgbClr val="212121"/>
                </a:solidFill>
                <a:latin typeface="+mn-lt"/>
              </a:rPr>
              <a:t>PFS not met: with oral </a:t>
            </a:r>
            <a:r>
              <a:rPr lang="en-US" sz="1400" b="0" i="0" dirty="0">
                <a:solidFill>
                  <a:srgbClr val="212121"/>
                </a:solidFill>
                <a:effectLst/>
                <a:latin typeface="+mn-lt"/>
              </a:rPr>
              <a:t>SERM (</a:t>
            </a:r>
            <a:r>
              <a:rPr lang="en-US" sz="1400" b="0" i="0" dirty="0" err="1">
                <a:solidFill>
                  <a:srgbClr val="212121"/>
                </a:solidFill>
                <a:effectLst/>
                <a:latin typeface="+mn-lt"/>
              </a:rPr>
              <a:t>lasofoxifene</a:t>
            </a:r>
            <a:r>
              <a:rPr lang="en-US" sz="1400" b="0" i="0" dirty="0">
                <a:solidFill>
                  <a:srgbClr val="212121"/>
                </a:solidFill>
                <a:effectLst/>
                <a:latin typeface="+mn-lt"/>
              </a:rPr>
              <a:t>)  vs  </a:t>
            </a:r>
            <a:r>
              <a:rPr lang="en-US" sz="1400" b="0" i="0" dirty="0" err="1">
                <a:solidFill>
                  <a:srgbClr val="212121"/>
                </a:solidFill>
                <a:effectLst/>
                <a:latin typeface="+mn-lt"/>
              </a:rPr>
              <a:t>fulv</a:t>
            </a:r>
            <a:r>
              <a:rPr lang="en-US" sz="1400" b="0" i="0" dirty="0">
                <a:solidFill>
                  <a:srgbClr val="212121"/>
                </a:solidFill>
                <a:effectLst/>
                <a:latin typeface="+mn-lt"/>
              </a:rPr>
              <a:t> in m</a:t>
            </a:r>
            <a:r>
              <a:rPr lang="en-US" sz="1400" b="0" i="1" dirty="0">
                <a:solidFill>
                  <a:srgbClr val="212121"/>
                </a:solidFill>
                <a:effectLst/>
                <a:latin typeface="+mn-lt"/>
              </a:rPr>
              <a:t>ESR1+</a:t>
            </a:r>
            <a:r>
              <a:rPr lang="en-US" sz="1400" dirty="0">
                <a:solidFill>
                  <a:srgbClr val="212121"/>
                </a:solidFill>
                <a:latin typeface="+mn-lt"/>
              </a:rPr>
              <a:t> prior AI/</a:t>
            </a:r>
            <a:r>
              <a:rPr lang="en-US" sz="1400" b="0" i="0" dirty="0">
                <a:solidFill>
                  <a:srgbClr val="212121"/>
                </a:solidFill>
                <a:effectLst/>
                <a:latin typeface="+mn-lt"/>
              </a:rPr>
              <a:t>CDK4/6 inhibitors</a:t>
            </a:r>
          </a:p>
          <a:p>
            <a:r>
              <a:rPr lang="en-US" sz="1400" dirty="0">
                <a:solidFill>
                  <a:srgbClr val="212121"/>
                </a:solidFill>
                <a:latin typeface="+mn-lt"/>
              </a:rPr>
              <a:t>- </a:t>
            </a:r>
            <a:r>
              <a:rPr lang="en-US" sz="1400" b="0" i="0" dirty="0">
                <a:solidFill>
                  <a:srgbClr val="212121"/>
                </a:solidFill>
                <a:effectLst/>
                <a:latin typeface="+mn-lt"/>
              </a:rPr>
              <a:t>HR 0.699; 95% CI 0.445–1.125; p=0.138</a:t>
            </a:r>
            <a:endParaRPr lang="en-US" sz="1400" dirty="0">
              <a:latin typeface="+mn-lt"/>
            </a:endParaRPr>
          </a:p>
        </p:txBody>
      </p:sp>
      <p:sp>
        <p:nvSpPr>
          <p:cNvPr id="7" name="TextBox 6">
            <a:extLst>
              <a:ext uri="{FF2B5EF4-FFF2-40B4-BE49-F238E27FC236}">
                <a16:creationId xmlns:a16="http://schemas.microsoft.com/office/drawing/2014/main" id="{570D4DAB-48CC-11D6-C103-0953FAC718AA}"/>
              </a:ext>
            </a:extLst>
          </p:cNvPr>
          <p:cNvSpPr txBox="1"/>
          <p:nvPr/>
        </p:nvSpPr>
        <p:spPr>
          <a:xfrm>
            <a:off x="3321541" y="4492345"/>
            <a:ext cx="4085349" cy="646331"/>
          </a:xfrm>
          <a:prstGeom prst="rect">
            <a:avLst/>
          </a:prstGeom>
          <a:noFill/>
        </p:spPr>
        <p:txBody>
          <a:bodyPr wrap="none" rtlCol="0">
            <a:spAutoFit/>
          </a:bodyPr>
          <a:lstStyle/>
          <a:p>
            <a:pPr algn="l"/>
            <a:r>
              <a:rPr lang="en-US" sz="1200" dirty="0"/>
              <a:t>Jimenez et al ESMO 2022; Goetz et al ESMO 2022 </a:t>
            </a:r>
          </a:p>
          <a:p>
            <a:pPr algn="l"/>
            <a:r>
              <a:rPr lang="en-US" sz="1200" dirty="0"/>
              <a:t>Oliveira et al SABCS 2022</a:t>
            </a:r>
          </a:p>
          <a:p>
            <a:pPr algn="l"/>
            <a:r>
              <a:rPr lang="en-US" sz="1200" dirty="0" err="1"/>
              <a:t>Tolaney</a:t>
            </a:r>
            <a:r>
              <a:rPr lang="en-US" sz="1200" dirty="0"/>
              <a:t> et al ESMO 2022; </a:t>
            </a:r>
            <a:r>
              <a:rPr lang="en-US" sz="1200" dirty="0" err="1"/>
              <a:t>Bidard</a:t>
            </a:r>
            <a:r>
              <a:rPr lang="en-US" sz="1200" dirty="0"/>
              <a:t> et al J Clin Oncol 2022 </a:t>
            </a:r>
          </a:p>
        </p:txBody>
      </p:sp>
      <p:graphicFrame>
        <p:nvGraphicFramePr>
          <p:cNvPr id="3" name="Table 2">
            <a:extLst>
              <a:ext uri="{FF2B5EF4-FFF2-40B4-BE49-F238E27FC236}">
                <a16:creationId xmlns:a16="http://schemas.microsoft.com/office/drawing/2014/main" id="{3029F32F-E0B1-7242-A75D-B54687832816}"/>
              </a:ext>
            </a:extLst>
          </p:cNvPr>
          <p:cNvGraphicFramePr>
            <a:graphicFrameLocks noGrp="1"/>
          </p:cNvGraphicFramePr>
          <p:nvPr>
            <p:extLst>
              <p:ext uri="{D42A27DB-BD31-4B8C-83A1-F6EECF244321}">
                <p14:modId xmlns:p14="http://schemas.microsoft.com/office/powerpoint/2010/main" val="3529272008"/>
              </p:ext>
            </p:extLst>
          </p:nvPr>
        </p:nvGraphicFramePr>
        <p:xfrm>
          <a:off x="6804204" y="1036634"/>
          <a:ext cx="1578285" cy="2608676"/>
        </p:xfrm>
        <a:graphic>
          <a:graphicData uri="http://schemas.openxmlformats.org/drawingml/2006/table">
            <a:tbl>
              <a:tblPr firstRow="1" bandRow="1">
                <a:tableStyleId>{5940675A-B579-460E-94D1-54222C63F5DA}</a:tableStyleId>
              </a:tblPr>
              <a:tblGrid>
                <a:gridCol w="770351">
                  <a:extLst>
                    <a:ext uri="{9D8B030D-6E8A-4147-A177-3AD203B41FA5}">
                      <a16:colId xmlns:a16="http://schemas.microsoft.com/office/drawing/2014/main" val="2641482226"/>
                    </a:ext>
                  </a:extLst>
                </a:gridCol>
                <a:gridCol w="807934">
                  <a:extLst>
                    <a:ext uri="{9D8B030D-6E8A-4147-A177-3AD203B41FA5}">
                      <a16:colId xmlns:a16="http://schemas.microsoft.com/office/drawing/2014/main" val="1497047945"/>
                    </a:ext>
                  </a:extLst>
                </a:gridCol>
              </a:tblGrid>
              <a:tr h="275972">
                <a:tc gridSpan="2">
                  <a:txBody>
                    <a:bodyPr/>
                    <a:lstStyle/>
                    <a:p>
                      <a:pPr algn="ctr"/>
                      <a:r>
                        <a:rPr lang="en-US" sz="1400" dirty="0"/>
                        <a:t>SERENA</a:t>
                      </a:r>
                    </a:p>
                  </a:txBody>
                  <a:tcPr marL="68580" marR="68580" marT="34290" marB="34290">
                    <a:solidFill>
                      <a:srgbClr val="21FF76"/>
                    </a:solidFill>
                  </a:tcPr>
                </a:tc>
                <a:tc hMerge="1">
                  <a:txBody>
                    <a:bodyPr/>
                    <a:lstStyle/>
                    <a:p>
                      <a:endParaRPr lang="en-US" dirty="0"/>
                    </a:p>
                  </a:txBody>
                  <a:tcPr/>
                </a:tc>
                <a:extLst>
                  <a:ext uri="{0D108BD9-81ED-4DB2-BD59-A6C34878D82A}">
                    <a16:rowId xmlns:a16="http://schemas.microsoft.com/office/drawing/2014/main" val="3445289835"/>
                  </a:ext>
                </a:extLst>
              </a:tr>
              <a:tr h="274252">
                <a:tc>
                  <a:txBody>
                    <a:bodyPr/>
                    <a:lstStyle/>
                    <a:p>
                      <a:pPr algn="ctr"/>
                      <a:r>
                        <a:rPr lang="en-US" sz="1400" dirty="0"/>
                        <a:t>CAM</a:t>
                      </a:r>
                    </a:p>
                  </a:txBody>
                  <a:tcPr marL="68580" marR="68580" marT="34290" marB="34290">
                    <a:solidFill>
                      <a:srgbClr val="21FF76"/>
                    </a:solidFill>
                  </a:tcPr>
                </a:tc>
                <a:tc>
                  <a:txBody>
                    <a:bodyPr/>
                    <a:lstStyle/>
                    <a:p>
                      <a:pPr algn="ctr"/>
                      <a:r>
                        <a:rPr lang="en-US" sz="1400" dirty="0"/>
                        <a:t>FULV</a:t>
                      </a:r>
                    </a:p>
                  </a:txBody>
                  <a:tcPr marL="68580" marR="68580" marT="34290" marB="34290">
                    <a:solidFill>
                      <a:srgbClr val="21FF76"/>
                    </a:solidFill>
                  </a:tcPr>
                </a:tc>
                <a:extLst>
                  <a:ext uri="{0D108BD9-81ED-4DB2-BD59-A6C34878D82A}">
                    <a16:rowId xmlns:a16="http://schemas.microsoft.com/office/drawing/2014/main" val="3014335134"/>
                  </a:ext>
                </a:extLst>
              </a:tr>
              <a:tr h="272531">
                <a:tc>
                  <a:txBody>
                    <a:bodyPr/>
                    <a:lstStyle/>
                    <a:p>
                      <a:pPr algn="ctr"/>
                      <a:r>
                        <a:rPr lang="en-US" sz="1400" dirty="0"/>
                        <a:t>74/73</a:t>
                      </a:r>
                    </a:p>
                  </a:txBody>
                  <a:tcPr marL="68580" marR="68580" marT="34290" marB="34290">
                    <a:solidFill>
                      <a:srgbClr val="21FF76"/>
                    </a:solidFill>
                  </a:tcPr>
                </a:tc>
                <a:tc>
                  <a:txBody>
                    <a:bodyPr/>
                    <a:lstStyle/>
                    <a:p>
                      <a:pPr algn="ctr"/>
                      <a:r>
                        <a:rPr lang="en-US" sz="1400" dirty="0"/>
                        <a:t>73</a:t>
                      </a:r>
                    </a:p>
                  </a:txBody>
                  <a:tcPr marL="68580" marR="68580" marT="34290" marB="34290">
                    <a:solidFill>
                      <a:srgbClr val="21FF76"/>
                    </a:solidFill>
                  </a:tcPr>
                </a:tc>
                <a:extLst>
                  <a:ext uri="{0D108BD9-81ED-4DB2-BD59-A6C34878D82A}">
                    <a16:rowId xmlns:a16="http://schemas.microsoft.com/office/drawing/2014/main" val="1572745011"/>
                  </a:ext>
                </a:extLst>
              </a:tr>
              <a:tr h="484662">
                <a:tc>
                  <a:txBody>
                    <a:bodyPr/>
                    <a:lstStyle/>
                    <a:p>
                      <a:pPr algn="ctr"/>
                      <a:r>
                        <a:rPr lang="en-US" sz="1400" dirty="0"/>
                        <a:t>30/36%</a:t>
                      </a:r>
                    </a:p>
                  </a:txBody>
                  <a:tcPr marL="68580" marR="68580" marT="34290" marB="34290">
                    <a:solidFill>
                      <a:srgbClr val="21FF76"/>
                    </a:solidFill>
                  </a:tcPr>
                </a:tc>
                <a:tc>
                  <a:txBody>
                    <a:bodyPr/>
                    <a:lstStyle/>
                    <a:p>
                      <a:pPr algn="ctr"/>
                      <a:r>
                        <a:rPr lang="en-US" sz="1400" dirty="0"/>
                        <a:t>48%</a:t>
                      </a:r>
                    </a:p>
                  </a:txBody>
                  <a:tcPr marL="68580" marR="68580" marT="34290" marB="34290">
                    <a:solidFill>
                      <a:srgbClr val="21FF76"/>
                    </a:solidFill>
                  </a:tcPr>
                </a:tc>
                <a:extLst>
                  <a:ext uri="{0D108BD9-81ED-4DB2-BD59-A6C34878D82A}">
                    <a16:rowId xmlns:a16="http://schemas.microsoft.com/office/drawing/2014/main" val="3996752102"/>
                  </a:ext>
                </a:extLst>
              </a:tr>
              <a:tr h="287594">
                <a:tc>
                  <a:txBody>
                    <a:bodyPr/>
                    <a:lstStyle/>
                    <a:p>
                      <a:pPr algn="ctr"/>
                      <a:r>
                        <a:rPr lang="en-US" sz="1400" dirty="0"/>
                        <a:t>51/51</a:t>
                      </a:r>
                    </a:p>
                  </a:txBody>
                  <a:tcPr marL="68580" marR="68580" marT="34290" marB="34290">
                    <a:solidFill>
                      <a:srgbClr val="21FF76"/>
                    </a:solidFill>
                  </a:tcPr>
                </a:tc>
                <a:tc>
                  <a:txBody>
                    <a:bodyPr/>
                    <a:lstStyle/>
                    <a:p>
                      <a:pPr algn="ctr"/>
                      <a:r>
                        <a:rPr lang="en-US" sz="1400" dirty="0"/>
                        <a:t>51</a:t>
                      </a:r>
                    </a:p>
                  </a:txBody>
                  <a:tcPr marL="68580" marR="68580" marT="34290" marB="34290">
                    <a:solidFill>
                      <a:srgbClr val="21FF76"/>
                    </a:solidFill>
                  </a:tcPr>
                </a:tc>
                <a:extLst>
                  <a:ext uri="{0D108BD9-81ED-4DB2-BD59-A6C34878D82A}">
                    <a16:rowId xmlns:a16="http://schemas.microsoft.com/office/drawing/2014/main" val="2717913698"/>
                  </a:ext>
                </a:extLst>
              </a:tr>
              <a:tr h="264237">
                <a:tc>
                  <a:txBody>
                    <a:bodyPr/>
                    <a:lstStyle/>
                    <a:p>
                      <a:pPr algn="ctr"/>
                      <a:r>
                        <a:rPr lang="en-US" sz="1400" dirty="0"/>
                        <a:t>7.2/7.7</a:t>
                      </a:r>
                    </a:p>
                  </a:txBody>
                  <a:tcPr marL="68580" marR="68580" marT="34290" marB="34290">
                    <a:solidFill>
                      <a:srgbClr val="21FF76"/>
                    </a:solidFill>
                  </a:tcPr>
                </a:tc>
                <a:tc>
                  <a:txBody>
                    <a:bodyPr/>
                    <a:lstStyle/>
                    <a:p>
                      <a:pPr algn="ctr"/>
                      <a:r>
                        <a:rPr lang="en-US" sz="1400" dirty="0"/>
                        <a:t>3.7</a:t>
                      </a:r>
                    </a:p>
                  </a:txBody>
                  <a:tcPr marL="68580" marR="68580" marT="34290" marB="34290">
                    <a:solidFill>
                      <a:srgbClr val="21FF76"/>
                    </a:solidFill>
                  </a:tcPr>
                </a:tc>
                <a:extLst>
                  <a:ext uri="{0D108BD9-81ED-4DB2-BD59-A6C34878D82A}">
                    <a16:rowId xmlns:a16="http://schemas.microsoft.com/office/drawing/2014/main" val="4208084556"/>
                  </a:ext>
                </a:extLst>
              </a:tr>
              <a:tr h="529455">
                <a:tc>
                  <a:txBody>
                    <a:bodyPr/>
                    <a:lstStyle/>
                    <a:p>
                      <a:pPr algn="ctr"/>
                      <a:r>
                        <a:rPr lang="en-US" sz="1400" dirty="0"/>
                        <a:t>6.3/9.2</a:t>
                      </a:r>
                    </a:p>
                    <a:p>
                      <a:pPr algn="ctr"/>
                      <a:endParaRPr lang="en-US" sz="1400" dirty="0"/>
                    </a:p>
                    <a:p>
                      <a:pPr algn="ctr"/>
                      <a:endParaRPr lang="en-US" sz="1400" dirty="0"/>
                    </a:p>
                  </a:txBody>
                  <a:tcPr marL="68580" marR="68580" marT="34290" marB="34290">
                    <a:solidFill>
                      <a:srgbClr val="21FF76"/>
                    </a:solidFill>
                  </a:tcPr>
                </a:tc>
                <a:tc>
                  <a:txBody>
                    <a:bodyPr/>
                    <a:lstStyle/>
                    <a:p>
                      <a:pPr algn="ctr"/>
                      <a:r>
                        <a:rPr lang="en-US" sz="1400" dirty="0"/>
                        <a:t>2.2</a:t>
                      </a:r>
                    </a:p>
                  </a:txBody>
                  <a:tcPr marL="68580" marR="68580" marT="34290" marB="34290">
                    <a:solidFill>
                      <a:srgbClr val="21FF76"/>
                    </a:solidFill>
                  </a:tcPr>
                </a:tc>
                <a:extLst>
                  <a:ext uri="{0D108BD9-81ED-4DB2-BD59-A6C34878D82A}">
                    <a16:rowId xmlns:a16="http://schemas.microsoft.com/office/drawing/2014/main" val="2311596985"/>
                  </a:ext>
                </a:extLst>
              </a:tr>
            </a:tbl>
          </a:graphicData>
        </a:graphic>
      </p:graphicFrame>
    </p:spTree>
    <p:extLst>
      <p:ext uri="{BB962C8B-B14F-4D97-AF65-F5344CB8AC3E}">
        <p14:creationId xmlns:p14="http://schemas.microsoft.com/office/powerpoint/2010/main" val="215658100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832934" y="1833878"/>
            <a:ext cx="2016383" cy="1547731"/>
          </a:xfrm>
          <a:prstGeom prst="rect">
            <a:avLst/>
          </a:prstGeom>
          <a:noFill/>
          <a:ln>
            <a:solidFill>
              <a:schemeClr val="tx1"/>
            </a:solidFill>
          </a:ln>
        </p:spPr>
        <p:txBody>
          <a:bodyPr wrap="square" rtlCol="0">
            <a:spAutoFit/>
          </a:bodyPr>
          <a:lstStyle/>
          <a:p>
            <a:pPr algn="ctr"/>
            <a:r>
              <a:rPr lang="en-US" sz="1051" b="1" dirty="0">
                <a:solidFill>
                  <a:prstClr val="black"/>
                </a:solidFill>
              </a:rPr>
              <a:t>Metastatic ER+</a:t>
            </a:r>
          </a:p>
          <a:p>
            <a:pPr algn="ctr"/>
            <a:r>
              <a:rPr lang="en-US" sz="1051" b="1" dirty="0">
                <a:solidFill>
                  <a:prstClr val="black"/>
                </a:solidFill>
              </a:rPr>
              <a:t>Breast Cancer Patients</a:t>
            </a:r>
          </a:p>
          <a:p>
            <a:pPr algn="ctr"/>
            <a:r>
              <a:rPr lang="en-US" sz="1051" dirty="0">
                <a:solidFill>
                  <a:prstClr val="black"/>
                </a:solidFill>
              </a:rPr>
              <a:t>Measurable or bone only disease</a:t>
            </a:r>
          </a:p>
          <a:p>
            <a:pPr algn="ctr"/>
            <a:r>
              <a:rPr lang="en-US" sz="1051" dirty="0">
                <a:solidFill>
                  <a:prstClr val="black"/>
                </a:solidFill>
              </a:rPr>
              <a:t>≥1 line of prior endocrine therapy</a:t>
            </a:r>
          </a:p>
          <a:p>
            <a:pPr algn="ctr"/>
            <a:r>
              <a:rPr lang="en-US" sz="1051" b="1" i="1" dirty="0">
                <a:solidFill>
                  <a:prstClr val="black"/>
                </a:solidFill>
              </a:rPr>
              <a:t>ESR1</a:t>
            </a:r>
            <a:r>
              <a:rPr lang="en-US" sz="1051" b="1" dirty="0">
                <a:solidFill>
                  <a:prstClr val="black"/>
                </a:solidFill>
              </a:rPr>
              <a:t> Gene Mutation Positive</a:t>
            </a:r>
          </a:p>
          <a:p>
            <a:pPr algn="ctr"/>
            <a:r>
              <a:rPr lang="en-US" sz="1051" b="1" dirty="0">
                <a:solidFill>
                  <a:prstClr val="black"/>
                </a:solidFill>
              </a:rPr>
              <a:t>(any routine assay) </a:t>
            </a:r>
          </a:p>
        </p:txBody>
      </p:sp>
      <p:sp>
        <p:nvSpPr>
          <p:cNvPr id="8" name="TextBox 7"/>
          <p:cNvSpPr txBox="1"/>
          <p:nvPr/>
        </p:nvSpPr>
        <p:spPr>
          <a:xfrm>
            <a:off x="3507091" y="2534446"/>
            <a:ext cx="700834" cy="577466"/>
          </a:xfrm>
          <a:prstGeom prst="rect">
            <a:avLst/>
          </a:prstGeom>
          <a:noFill/>
          <a:ln>
            <a:solidFill>
              <a:schemeClr val="tx1"/>
            </a:solidFill>
          </a:ln>
        </p:spPr>
        <p:txBody>
          <a:bodyPr wrap="none" rtlCol="0">
            <a:spAutoFit/>
          </a:bodyPr>
          <a:lstStyle/>
          <a:p>
            <a:pPr algn="ctr"/>
            <a:r>
              <a:rPr lang="en-US" sz="1051" b="1" dirty="0">
                <a:solidFill>
                  <a:prstClr val="black"/>
                </a:solidFill>
              </a:rPr>
              <a:t>FES</a:t>
            </a:r>
          </a:p>
          <a:p>
            <a:pPr algn="ctr"/>
            <a:r>
              <a:rPr lang="en-US" sz="1051" b="1" dirty="0">
                <a:solidFill>
                  <a:prstClr val="black"/>
                </a:solidFill>
              </a:rPr>
              <a:t>Positive</a:t>
            </a:r>
          </a:p>
          <a:p>
            <a:pPr algn="ctr"/>
            <a:r>
              <a:rPr lang="en-US" sz="1051" b="1" dirty="0">
                <a:solidFill>
                  <a:prstClr val="black"/>
                </a:solidFill>
              </a:rPr>
              <a:t>(N=12)</a:t>
            </a:r>
          </a:p>
        </p:txBody>
      </p:sp>
      <p:sp>
        <p:nvSpPr>
          <p:cNvPr id="21" name="TextBox 20"/>
          <p:cNvSpPr txBox="1"/>
          <p:nvPr/>
        </p:nvSpPr>
        <p:spPr>
          <a:xfrm rot="16200000">
            <a:off x="4468072" y="2469116"/>
            <a:ext cx="2328424" cy="277255"/>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802" b="1" dirty="0">
                <a:solidFill>
                  <a:prstClr val="black"/>
                </a:solidFill>
              </a:rPr>
              <a:t>FES  PET/CT</a:t>
            </a:r>
          </a:p>
        </p:txBody>
      </p:sp>
      <p:sp>
        <p:nvSpPr>
          <p:cNvPr id="25" name="TextBox 24"/>
          <p:cNvSpPr txBox="1"/>
          <p:nvPr/>
        </p:nvSpPr>
        <p:spPr>
          <a:xfrm>
            <a:off x="4056543" y="3846146"/>
            <a:ext cx="1518365" cy="577466"/>
          </a:xfrm>
          <a:prstGeom prst="rect">
            <a:avLst/>
          </a:prstGeom>
          <a:noFill/>
          <a:ln>
            <a:noFill/>
          </a:ln>
        </p:spPr>
        <p:txBody>
          <a:bodyPr wrap="none" rtlCol="0">
            <a:spAutoFit/>
          </a:bodyPr>
          <a:lstStyle/>
          <a:p>
            <a:pPr algn="ctr"/>
            <a:r>
              <a:rPr lang="en-US" sz="1051" b="1" dirty="0">
                <a:solidFill>
                  <a:prstClr val="black"/>
                </a:solidFill>
              </a:rPr>
              <a:t>Tamoxifen 20-200mg</a:t>
            </a:r>
          </a:p>
          <a:p>
            <a:pPr algn="ctr"/>
            <a:r>
              <a:rPr lang="en-US" sz="1051" b="1" dirty="0">
                <a:solidFill>
                  <a:prstClr val="black"/>
                </a:solidFill>
              </a:rPr>
              <a:t>3 pts/cohort</a:t>
            </a:r>
          </a:p>
          <a:p>
            <a:pPr algn="ctr"/>
            <a:r>
              <a:rPr lang="en-US" sz="1051" b="1" dirty="0">
                <a:solidFill>
                  <a:prstClr val="black"/>
                </a:solidFill>
              </a:rPr>
              <a:t>(N=12)</a:t>
            </a:r>
          </a:p>
        </p:txBody>
      </p:sp>
      <p:cxnSp>
        <p:nvCxnSpPr>
          <p:cNvPr id="28" name="Straight Arrow Connector 27"/>
          <p:cNvCxnSpPr>
            <a:stCxn id="8" idx="3"/>
          </p:cNvCxnSpPr>
          <p:nvPr/>
        </p:nvCxnSpPr>
        <p:spPr>
          <a:xfrm flipV="1">
            <a:off x="4207925" y="2814393"/>
            <a:ext cx="1215603" cy="8786"/>
          </a:xfrm>
          <a:prstGeom prst="straightConnector1">
            <a:avLst/>
          </a:prstGeom>
          <a:ln w="3810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4343189" y="2607744"/>
            <a:ext cx="901727" cy="254044"/>
          </a:xfrm>
          <a:prstGeom prst="rect">
            <a:avLst/>
          </a:prstGeom>
          <a:noFill/>
        </p:spPr>
        <p:txBody>
          <a:bodyPr wrap="square" rtlCol="0">
            <a:spAutoFit/>
          </a:bodyPr>
          <a:lstStyle/>
          <a:p>
            <a:r>
              <a:rPr lang="en-US" sz="1051" b="1" dirty="0">
                <a:solidFill>
                  <a:prstClr val="black"/>
                </a:solidFill>
              </a:rPr>
              <a:t>3-4 weeks</a:t>
            </a:r>
          </a:p>
        </p:txBody>
      </p:sp>
      <p:sp>
        <p:nvSpPr>
          <p:cNvPr id="31" name="TextBox 30"/>
          <p:cNvSpPr txBox="1"/>
          <p:nvPr/>
        </p:nvSpPr>
        <p:spPr>
          <a:xfrm>
            <a:off x="5922821" y="2363949"/>
            <a:ext cx="1791167" cy="900888"/>
          </a:xfrm>
          <a:prstGeom prst="rect">
            <a:avLst/>
          </a:prstGeom>
          <a:noFill/>
        </p:spPr>
        <p:txBody>
          <a:bodyPr wrap="square" rtlCol="0">
            <a:spAutoFit/>
          </a:bodyPr>
          <a:lstStyle/>
          <a:p>
            <a:pPr algn="ctr"/>
            <a:r>
              <a:rPr lang="en-US" sz="1051" b="1" dirty="0">
                <a:solidFill>
                  <a:prstClr val="black"/>
                </a:solidFill>
              </a:rPr>
              <a:t>Complete vs Incomplete  FES Blockade defined by ≥ 75% blockade at escalating tamoxifen doses</a:t>
            </a:r>
          </a:p>
        </p:txBody>
      </p:sp>
      <p:cxnSp>
        <p:nvCxnSpPr>
          <p:cNvPr id="35" name="Straight Arrow Connector 34"/>
          <p:cNvCxnSpPr/>
          <p:nvPr/>
        </p:nvCxnSpPr>
        <p:spPr>
          <a:xfrm>
            <a:off x="4227994" y="3887461"/>
            <a:ext cx="3389654" cy="16524"/>
          </a:xfrm>
          <a:prstGeom prst="straightConnector1">
            <a:avLst/>
          </a:prstGeom>
          <a:ln w="38100">
            <a:solidFill>
              <a:srgbClr val="FF0000"/>
            </a:solidFill>
            <a:tailEnd type="arrow"/>
          </a:ln>
        </p:spPr>
        <p:style>
          <a:lnRef idx="1">
            <a:schemeClr val="accent1"/>
          </a:lnRef>
          <a:fillRef idx="0">
            <a:schemeClr val="accent1"/>
          </a:fillRef>
          <a:effectRef idx="0">
            <a:schemeClr val="accent1"/>
          </a:effectRef>
          <a:fontRef idx="minor">
            <a:schemeClr val="tx1"/>
          </a:fontRef>
        </p:style>
      </p:cxnSp>
      <p:sp>
        <p:nvSpPr>
          <p:cNvPr id="36" name="TextBox 35"/>
          <p:cNvSpPr txBox="1"/>
          <p:nvPr/>
        </p:nvSpPr>
        <p:spPr>
          <a:xfrm>
            <a:off x="5922821" y="3903985"/>
            <a:ext cx="2456122" cy="415755"/>
          </a:xfrm>
          <a:prstGeom prst="rect">
            <a:avLst/>
          </a:prstGeom>
          <a:noFill/>
        </p:spPr>
        <p:txBody>
          <a:bodyPr wrap="none" rtlCol="0">
            <a:spAutoFit/>
          </a:bodyPr>
          <a:lstStyle/>
          <a:p>
            <a:r>
              <a:rPr lang="en-US" sz="1051" b="1" dirty="0">
                <a:solidFill>
                  <a:prstClr val="black"/>
                </a:solidFill>
              </a:rPr>
              <a:t>Continue until progressive disease/</a:t>
            </a:r>
          </a:p>
          <a:p>
            <a:r>
              <a:rPr lang="en-US" sz="1051" b="1" dirty="0">
                <a:solidFill>
                  <a:prstClr val="black"/>
                </a:solidFill>
              </a:rPr>
              <a:t>intolerance</a:t>
            </a:r>
          </a:p>
        </p:txBody>
      </p:sp>
      <p:sp>
        <p:nvSpPr>
          <p:cNvPr id="37" name="TextBox 36"/>
          <p:cNvSpPr txBox="1"/>
          <p:nvPr/>
        </p:nvSpPr>
        <p:spPr>
          <a:xfrm rot="16200000">
            <a:off x="2143896" y="2417027"/>
            <a:ext cx="2328424" cy="277255"/>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802" b="1" dirty="0">
                <a:solidFill>
                  <a:prstClr val="black"/>
                </a:solidFill>
              </a:rPr>
              <a:t>FES  PET/CT</a:t>
            </a:r>
          </a:p>
        </p:txBody>
      </p:sp>
      <p:sp>
        <p:nvSpPr>
          <p:cNvPr id="3" name="Title 2"/>
          <p:cNvSpPr>
            <a:spLocks noGrp="1"/>
          </p:cNvSpPr>
          <p:nvPr>
            <p:ph type="title"/>
          </p:nvPr>
        </p:nvSpPr>
        <p:spPr/>
        <p:txBody>
          <a:bodyPr/>
          <a:lstStyle/>
          <a:p>
            <a:r>
              <a:rPr lang="en-US" b="1" dirty="0"/>
              <a:t>High dose Tamoxifen Study Schema</a:t>
            </a:r>
          </a:p>
        </p:txBody>
      </p:sp>
      <p:sp>
        <p:nvSpPr>
          <p:cNvPr id="4" name="Rectangle 3">
            <a:extLst>
              <a:ext uri="{FF2B5EF4-FFF2-40B4-BE49-F238E27FC236}">
                <a16:creationId xmlns:a16="http://schemas.microsoft.com/office/drawing/2014/main" id="{3FFEB3A4-F2FF-76FC-4F73-5E535928E824}"/>
              </a:ext>
            </a:extLst>
          </p:cNvPr>
          <p:cNvSpPr/>
          <p:nvPr/>
        </p:nvSpPr>
        <p:spPr>
          <a:xfrm>
            <a:off x="3273543" y="4497802"/>
            <a:ext cx="5105400" cy="646294"/>
          </a:xfrm>
          <a:prstGeom prst="rect">
            <a:avLst/>
          </a:prstGeom>
        </p:spPr>
        <p:txBody>
          <a:bodyPr wrap="square" lIns="91400" tIns="45702" rIns="91400" bIns="45702">
            <a:spAutoFit/>
          </a:bodyPr>
          <a:lstStyle/>
          <a:p>
            <a:r>
              <a:rPr lang="en-US" sz="1200" dirty="0">
                <a:solidFill>
                  <a:srgbClr val="002E51"/>
                </a:solidFill>
              </a:rPr>
              <a:t>Fanning SW et al (2016) </a:t>
            </a:r>
            <a:r>
              <a:rPr lang="en-US" sz="1200" dirty="0" err="1">
                <a:solidFill>
                  <a:srgbClr val="002E51"/>
                </a:solidFill>
              </a:rPr>
              <a:t>eLife</a:t>
            </a:r>
            <a:r>
              <a:rPr lang="en-US" sz="1200" dirty="0">
                <a:solidFill>
                  <a:srgbClr val="002E51"/>
                </a:solidFill>
              </a:rPr>
              <a:t> 5:e12792</a:t>
            </a:r>
          </a:p>
          <a:p>
            <a:r>
              <a:rPr lang="en-US" sz="1200" dirty="0" err="1">
                <a:solidFill>
                  <a:srgbClr val="002E51"/>
                </a:solidFill>
              </a:rPr>
              <a:t>Brandes</a:t>
            </a:r>
            <a:r>
              <a:rPr lang="en-US" sz="1200" dirty="0">
                <a:solidFill>
                  <a:srgbClr val="002E51"/>
                </a:solidFill>
              </a:rPr>
              <a:t> JCO 1999; </a:t>
            </a:r>
            <a:r>
              <a:rPr lang="en-US" sz="1200" dirty="0" err="1">
                <a:solidFill>
                  <a:srgbClr val="002E51"/>
                </a:solidFill>
              </a:rPr>
              <a:t>Cauldwell</a:t>
            </a:r>
            <a:r>
              <a:rPr lang="en-US" sz="1200" dirty="0">
                <a:solidFill>
                  <a:srgbClr val="002E51"/>
                </a:solidFill>
              </a:rPr>
              <a:t> CCR 1996; </a:t>
            </a:r>
          </a:p>
          <a:p>
            <a:r>
              <a:rPr lang="en-US" sz="1200" dirty="0">
                <a:solidFill>
                  <a:srgbClr val="002E51"/>
                </a:solidFill>
              </a:rPr>
              <a:t>Berman Leukemia 1995</a:t>
            </a:r>
          </a:p>
        </p:txBody>
      </p:sp>
      <p:sp>
        <p:nvSpPr>
          <p:cNvPr id="5" name="TextBox 4">
            <a:extLst>
              <a:ext uri="{FF2B5EF4-FFF2-40B4-BE49-F238E27FC236}">
                <a16:creationId xmlns:a16="http://schemas.microsoft.com/office/drawing/2014/main" id="{B81B8334-7094-4E5F-61A3-A3CA532CEFF1}"/>
              </a:ext>
            </a:extLst>
          </p:cNvPr>
          <p:cNvSpPr txBox="1"/>
          <p:nvPr/>
        </p:nvSpPr>
        <p:spPr>
          <a:xfrm>
            <a:off x="199908" y="772100"/>
            <a:ext cx="8697203" cy="1077218"/>
          </a:xfrm>
          <a:prstGeom prst="rect">
            <a:avLst/>
          </a:prstGeom>
          <a:noFill/>
        </p:spPr>
        <p:txBody>
          <a:bodyPr wrap="square" rtlCol="0">
            <a:spAutoFit/>
          </a:bodyPr>
          <a:lstStyle/>
          <a:p>
            <a:r>
              <a:rPr lang="en-US" sz="2000" dirty="0"/>
              <a:t>Higher tamoxifen doses inhibit mutant ER</a:t>
            </a:r>
            <a:r>
              <a:rPr lang="el-GR" sz="2000" dirty="0"/>
              <a:t>α</a:t>
            </a:r>
            <a:r>
              <a:rPr lang="en-US" sz="2000" dirty="0"/>
              <a:t> transcriptional function in cells and is feasible/safe based on prior studies</a:t>
            </a:r>
          </a:p>
          <a:p>
            <a:endParaRPr lang="en-US" dirty="0"/>
          </a:p>
        </p:txBody>
      </p:sp>
      <p:sp>
        <p:nvSpPr>
          <p:cNvPr id="6" name="TextBox 5">
            <a:extLst>
              <a:ext uri="{FF2B5EF4-FFF2-40B4-BE49-F238E27FC236}">
                <a16:creationId xmlns:a16="http://schemas.microsoft.com/office/drawing/2014/main" id="{1020DF61-E615-1BBA-CA49-A8753B5CD2A0}"/>
              </a:ext>
            </a:extLst>
          </p:cNvPr>
          <p:cNvSpPr txBox="1"/>
          <p:nvPr/>
        </p:nvSpPr>
        <p:spPr>
          <a:xfrm>
            <a:off x="65451" y="3771956"/>
            <a:ext cx="2919389" cy="584775"/>
          </a:xfrm>
          <a:prstGeom prst="rect">
            <a:avLst/>
          </a:prstGeom>
          <a:noFill/>
        </p:spPr>
        <p:txBody>
          <a:bodyPr wrap="none" rtlCol="0">
            <a:spAutoFit/>
          </a:bodyPr>
          <a:lstStyle/>
          <a:p>
            <a:r>
              <a:rPr lang="en-US" sz="1600" dirty="0"/>
              <a:t>PI: Wisinski/Fowler</a:t>
            </a:r>
          </a:p>
          <a:p>
            <a:r>
              <a:rPr lang="en-US" sz="1600" dirty="0"/>
              <a:t>Open at UWCCC &amp; ProHealth</a:t>
            </a:r>
          </a:p>
        </p:txBody>
      </p:sp>
    </p:spTree>
    <p:extLst>
      <p:ext uri="{BB962C8B-B14F-4D97-AF65-F5344CB8AC3E}">
        <p14:creationId xmlns:p14="http://schemas.microsoft.com/office/powerpoint/2010/main" val="73081019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73BB96-06F6-84B7-61A6-F008D7A1CE5F}"/>
              </a:ext>
            </a:extLst>
          </p:cNvPr>
          <p:cNvSpPr>
            <a:spLocks noGrp="1"/>
          </p:cNvSpPr>
          <p:nvPr>
            <p:ph type="title"/>
          </p:nvPr>
        </p:nvSpPr>
        <p:spPr>
          <a:xfrm>
            <a:off x="-186431" y="1459114"/>
            <a:ext cx="9144000" cy="1006507"/>
          </a:xfrm>
        </p:spPr>
        <p:txBody>
          <a:bodyPr/>
          <a:lstStyle/>
          <a:p>
            <a:r>
              <a:rPr lang="en-US" b="1" dirty="0"/>
              <a:t>PI3K/Akt/mTOR Pathway</a:t>
            </a:r>
          </a:p>
        </p:txBody>
      </p:sp>
    </p:spTree>
    <p:extLst>
      <p:ext uri="{BB962C8B-B14F-4D97-AF65-F5344CB8AC3E}">
        <p14:creationId xmlns:p14="http://schemas.microsoft.com/office/powerpoint/2010/main" val="45050452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99D3582-A809-D720-E44D-4B0BEA732628}"/>
              </a:ext>
            </a:extLst>
          </p:cNvPr>
          <p:cNvSpPr>
            <a:spLocks noGrp="1"/>
          </p:cNvSpPr>
          <p:nvPr>
            <p:ph type="title"/>
          </p:nvPr>
        </p:nvSpPr>
        <p:spPr/>
        <p:txBody>
          <a:bodyPr/>
          <a:lstStyle/>
          <a:p>
            <a:r>
              <a:rPr lang="en-US" b="1" dirty="0">
                <a:solidFill>
                  <a:schemeClr val="tx1"/>
                </a:solidFill>
              </a:rPr>
              <a:t>mTOR Inhibitors </a:t>
            </a:r>
          </a:p>
        </p:txBody>
      </p:sp>
      <p:grpSp>
        <p:nvGrpSpPr>
          <p:cNvPr id="284" name="Group 283">
            <a:extLst>
              <a:ext uri="{FF2B5EF4-FFF2-40B4-BE49-F238E27FC236}">
                <a16:creationId xmlns:a16="http://schemas.microsoft.com/office/drawing/2014/main" id="{DDEE8A12-DA76-86EA-07E2-5B4231E5EB2F}"/>
              </a:ext>
            </a:extLst>
          </p:cNvPr>
          <p:cNvGrpSpPr/>
          <p:nvPr/>
        </p:nvGrpSpPr>
        <p:grpSpPr>
          <a:xfrm>
            <a:off x="-22567" y="1944159"/>
            <a:ext cx="4532118" cy="1926351"/>
            <a:chOff x="782531" y="1049338"/>
            <a:chExt cx="7812361" cy="4415449"/>
          </a:xfrm>
        </p:grpSpPr>
        <p:sp>
          <p:nvSpPr>
            <p:cNvPr id="285" name="Text Box 6">
              <a:extLst>
                <a:ext uri="{FF2B5EF4-FFF2-40B4-BE49-F238E27FC236}">
                  <a16:creationId xmlns:a16="http://schemas.microsoft.com/office/drawing/2014/main" id="{A9F5606D-DFA0-5122-3B31-648F7E7D3263}"/>
                </a:ext>
              </a:extLst>
            </p:cNvPr>
            <p:cNvSpPr txBox="1">
              <a:spLocks noChangeArrowheads="1"/>
            </p:cNvSpPr>
            <p:nvPr/>
          </p:nvSpPr>
          <p:spPr bwMode="auto">
            <a:xfrm>
              <a:off x="4610102" y="1343028"/>
              <a:ext cx="2803029" cy="9015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tabLst>
                  <a:tab pos="1262063" algn="l"/>
                </a:tabLst>
                <a:defRPr sz="2800">
                  <a:solidFill>
                    <a:schemeClr val="bg1"/>
                  </a:solidFill>
                  <a:latin typeface="Comic Sans MS" charset="0"/>
                  <a:ea typeface="ＭＳ Ｐゴシック" charset="0"/>
                  <a:cs typeface="ＭＳ Ｐゴシック" charset="0"/>
                </a:defRPr>
              </a:lvl1pPr>
              <a:lvl2pPr marL="742950" indent="-285750">
                <a:tabLst>
                  <a:tab pos="1262063" algn="l"/>
                </a:tabLst>
                <a:defRPr sz="2800">
                  <a:solidFill>
                    <a:schemeClr val="bg1"/>
                  </a:solidFill>
                  <a:latin typeface="Comic Sans MS" charset="0"/>
                  <a:ea typeface="ＭＳ Ｐゴシック" charset="0"/>
                </a:defRPr>
              </a:lvl2pPr>
              <a:lvl3pPr marL="1143000" indent="-228600">
                <a:tabLst>
                  <a:tab pos="1262063" algn="l"/>
                </a:tabLst>
                <a:defRPr sz="2800">
                  <a:solidFill>
                    <a:schemeClr val="bg1"/>
                  </a:solidFill>
                  <a:latin typeface="Comic Sans MS" charset="0"/>
                  <a:ea typeface="ＭＳ Ｐゴシック" charset="0"/>
                </a:defRPr>
              </a:lvl3pPr>
              <a:lvl4pPr marL="1600200" indent="-228600">
                <a:tabLst>
                  <a:tab pos="1262063" algn="l"/>
                </a:tabLst>
                <a:defRPr sz="2800">
                  <a:solidFill>
                    <a:schemeClr val="bg1"/>
                  </a:solidFill>
                  <a:latin typeface="Comic Sans MS" charset="0"/>
                  <a:ea typeface="ＭＳ Ｐゴシック" charset="0"/>
                </a:defRPr>
              </a:lvl4pPr>
              <a:lvl5pPr marL="2057400" indent="-228600">
                <a:tabLst>
                  <a:tab pos="1262063" algn="l"/>
                </a:tabLst>
                <a:defRPr sz="2800">
                  <a:solidFill>
                    <a:schemeClr val="bg1"/>
                  </a:solidFill>
                  <a:latin typeface="Comic Sans MS" charset="0"/>
                  <a:ea typeface="ＭＳ Ｐゴシック" charset="0"/>
                </a:defRPr>
              </a:lvl5pPr>
              <a:lvl6pPr marL="2514600" indent="-228600" eaLnBrk="0" fontAlgn="base" hangingPunct="0">
                <a:spcBef>
                  <a:spcPct val="0"/>
                </a:spcBef>
                <a:spcAft>
                  <a:spcPct val="0"/>
                </a:spcAft>
                <a:tabLst>
                  <a:tab pos="1262063" algn="l"/>
                </a:tabLst>
                <a:defRPr sz="2800">
                  <a:solidFill>
                    <a:schemeClr val="bg1"/>
                  </a:solidFill>
                  <a:latin typeface="Comic Sans MS" charset="0"/>
                  <a:ea typeface="ＭＳ Ｐゴシック" charset="0"/>
                </a:defRPr>
              </a:lvl6pPr>
              <a:lvl7pPr marL="2971800" indent="-228600" eaLnBrk="0" fontAlgn="base" hangingPunct="0">
                <a:spcBef>
                  <a:spcPct val="0"/>
                </a:spcBef>
                <a:spcAft>
                  <a:spcPct val="0"/>
                </a:spcAft>
                <a:tabLst>
                  <a:tab pos="1262063" algn="l"/>
                </a:tabLst>
                <a:defRPr sz="2800">
                  <a:solidFill>
                    <a:schemeClr val="bg1"/>
                  </a:solidFill>
                  <a:latin typeface="Comic Sans MS" charset="0"/>
                  <a:ea typeface="ＭＳ Ｐゴシック" charset="0"/>
                </a:defRPr>
              </a:lvl7pPr>
              <a:lvl8pPr marL="3429000" indent="-228600" eaLnBrk="0" fontAlgn="base" hangingPunct="0">
                <a:spcBef>
                  <a:spcPct val="0"/>
                </a:spcBef>
                <a:spcAft>
                  <a:spcPct val="0"/>
                </a:spcAft>
                <a:tabLst>
                  <a:tab pos="1262063" algn="l"/>
                </a:tabLst>
                <a:defRPr sz="2800">
                  <a:solidFill>
                    <a:schemeClr val="bg1"/>
                  </a:solidFill>
                  <a:latin typeface="Comic Sans MS" charset="0"/>
                  <a:ea typeface="ＭＳ Ｐゴシック" charset="0"/>
                </a:defRPr>
              </a:lvl8pPr>
              <a:lvl9pPr marL="3886200" indent="-228600" eaLnBrk="0" fontAlgn="base" hangingPunct="0">
                <a:spcBef>
                  <a:spcPct val="0"/>
                </a:spcBef>
                <a:spcAft>
                  <a:spcPct val="0"/>
                </a:spcAft>
                <a:tabLst>
                  <a:tab pos="1262063" algn="l"/>
                </a:tabLst>
                <a:defRPr sz="2800">
                  <a:solidFill>
                    <a:schemeClr val="bg1"/>
                  </a:solidFill>
                  <a:latin typeface="Comic Sans MS" charset="0"/>
                  <a:ea typeface="ＭＳ Ｐゴシック" charset="0"/>
                </a:defRPr>
              </a:lvl9pPr>
            </a:lstStyle>
            <a:p>
              <a:pPr eaLnBrk="1" hangingPunct="1"/>
              <a:r>
                <a:rPr lang="en-US" sz="1201" dirty="0">
                  <a:solidFill>
                    <a:srgbClr val="000000"/>
                  </a:solidFill>
                  <a:latin typeface="Arial" panose="020B0604020202020204" pitchFamily="34" charset="0"/>
                  <a:cs typeface="Arial" panose="020B0604020202020204" pitchFamily="34" charset="0"/>
                </a:rPr>
                <a:t>TAM	4.5 mo.</a:t>
              </a:r>
            </a:p>
            <a:p>
              <a:pPr eaLnBrk="1" hangingPunct="1"/>
              <a:r>
                <a:rPr lang="en-US" sz="1201" dirty="0">
                  <a:solidFill>
                    <a:srgbClr val="000000"/>
                  </a:solidFill>
                  <a:latin typeface="Arial" panose="020B0604020202020204" pitchFamily="34" charset="0"/>
                  <a:cs typeface="Arial" panose="020B0604020202020204" pitchFamily="34" charset="0"/>
                </a:rPr>
                <a:t>TAM + RAD	8.6 mo.</a:t>
              </a:r>
            </a:p>
          </p:txBody>
        </p:sp>
        <p:sp>
          <p:nvSpPr>
            <p:cNvPr id="286" name="Text Box 7">
              <a:extLst>
                <a:ext uri="{FF2B5EF4-FFF2-40B4-BE49-F238E27FC236}">
                  <a16:creationId xmlns:a16="http://schemas.microsoft.com/office/drawing/2014/main" id="{D7FC9C87-9C90-A5A0-BB47-7232BDCBC872}"/>
                </a:ext>
              </a:extLst>
            </p:cNvPr>
            <p:cNvSpPr txBox="1">
              <a:spLocks noChangeArrowheads="1"/>
            </p:cNvSpPr>
            <p:nvPr/>
          </p:nvSpPr>
          <p:spPr bwMode="auto">
            <a:xfrm>
              <a:off x="4515827" y="2168524"/>
              <a:ext cx="4079065" cy="1058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800">
                  <a:solidFill>
                    <a:schemeClr val="bg1"/>
                  </a:solidFill>
                  <a:latin typeface="Comic Sans MS" charset="0"/>
                  <a:ea typeface="ＭＳ Ｐゴシック" charset="0"/>
                  <a:cs typeface="ＭＳ Ｐゴシック" charset="0"/>
                </a:defRPr>
              </a:lvl1pPr>
              <a:lvl2pPr marL="742950" indent="-285750">
                <a:defRPr sz="2800">
                  <a:solidFill>
                    <a:schemeClr val="bg1"/>
                  </a:solidFill>
                  <a:latin typeface="Comic Sans MS" charset="0"/>
                  <a:ea typeface="ＭＳ Ｐゴシック" charset="0"/>
                </a:defRPr>
              </a:lvl2pPr>
              <a:lvl3pPr marL="1143000" indent="-228600">
                <a:defRPr sz="2800">
                  <a:solidFill>
                    <a:schemeClr val="bg1"/>
                  </a:solidFill>
                  <a:latin typeface="Comic Sans MS" charset="0"/>
                  <a:ea typeface="ＭＳ Ｐゴシック" charset="0"/>
                </a:defRPr>
              </a:lvl3pPr>
              <a:lvl4pPr marL="1600200" indent="-228600">
                <a:defRPr sz="2800">
                  <a:solidFill>
                    <a:schemeClr val="bg1"/>
                  </a:solidFill>
                  <a:latin typeface="Comic Sans MS" charset="0"/>
                  <a:ea typeface="ＭＳ Ｐゴシック" charset="0"/>
                </a:defRPr>
              </a:lvl4pPr>
              <a:lvl5pPr marL="2057400" indent="-228600">
                <a:defRPr sz="2800">
                  <a:solidFill>
                    <a:schemeClr val="bg1"/>
                  </a:solidFill>
                  <a:latin typeface="Comic Sans MS" charset="0"/>
                  <a:ea typeface="ＭＳ Ｐゴシック" charset="0"/>
                </a:defRPr>
              </a:lvl5pPr>
              <a:lvl6pPr marL="2514600" indent="-228600" eaLnBrk="0" fontAlgn="base" hangingPunct="0">
                <a:spcBef>
                  <a:spcPct val="0"/>
                </a:spcBef>
                <a:spcAft>
                  <a:spcPct val="0"/>
                </a:spcAft>
                <a:defRPr sz="2800">
                  <a:solidFill>
                    <a:schemeClr val="bg1"/>
                  </a:solidFill>
                  <a:latin typeface="Comic Sans MS" charset="0"/>
                  <a:ea typeface="ＭＳ Ｐゴシック" charset="0"/>
                </a:defRPr>
              </a:lvl6pPr>
              <a:lvl7pPr marL="2971800" indent="-228600" eaLnBrk="0" fontAlgn="base" hangingPunct="0">
                <a:spcBef>
                  <a:spcPct val="0"/>
                </a:spcBef>
                <a:spcAft>
                  <a:spcPct val="0"/>
                </a:spcAft>
                <a:defRPr sz="2800">
                  <a:solidFill>
                    <a:schemeClr val="bg1"/>
                  </a:solidFill>
                  <a:latin typeface="Comic Sans MS" charset="0"/>
                  <a:ea typeface="ＭＳ Ｐゴシック" charset="0"/>
                </a:defRPr>
              </a:lvl7pPr>
              <a:lvl8pPr marL="3429000" indent="-228600" eaLnBrk="0" fontAlgn="base" hangingPunct="0">
                <a:spcBef>
                  <a:spcPct val="0"/>
                </a:spcBef>
                <a:spcAft>
                  <a:spcPct val="0"/>
                </a:spcAft>
                <a:defRPr sz="2800">
                  <a:solidFill>
                    <a:schemeClr val="bg1"/>
                  </a:solidFill>
                  <a:latin typeface="Comic Sans MS" charset="0"/>
                  <a:ea typeface="ＭＳ Ｐゴシック" charset="0"/>
                </a:defRPr>
              </a:lvl8pPr>
              <a:lvl9pPr marL="3886200" indent="-228600" eaLnBrk="0" fontAlgn="base" hangingPunct="0">
                <a:spcBef>
                  <a:spcPct val="0"/>
                </a:spcBef>
                <a:spcAft>
                  <a:spcPct val="0"/>
                </a:spcAft>
                <a:defRPr sz="2800">
                  <a:solidFill>
                    <a:schemeClr val="bg1"/>
                  </a:solidFill>
                  <a:latin typeface="Comic Sans MS" charset="0"/>
                  <a:ea typeface="ＭＳ Ｐゴシック" charset="0"/>
                </a:defRPr>
              </a:lvl9pPr>
            </a:lstStyle>
            <a:p>
              <a:pPr eaLnBrk="1" hangingPunct="1"/>
              <a:r>
                <a:rPr lang="en-US" sz="1201" dirty="0">
                  <a:solidFill>
                    <a:srgbClr val="000000"/>
                  </a:solidFill>
                  <a:latin typeface="Arial" panose="020B0604020202020204" pitchFamily="34" charset="0"/>
                  <a:cs typeface="Arial" panose="020B0604020202020204" pitchFamily="34" charset="0"/>
                </a:rPr>
                <a:t>HR = 0.53 (95% CI: 0.35-0.81)</a:t>
              </a:r>
            </a:p>
            <a:p>
              <a:pPr eaLnBrk="1" hangingPunct="1"/>
              <a:r>
                <a:rPr lang="en-US" sz="1201" dirty="0">
                  <a:solidFill>
                    <a:srgbClr val="000000"/>
                  </a:solidFill>
                  <a:latin typeface="Arial" panose="020B0604020202020204" pitchFamily="34" charset="0"/>
                  <a:cs typeface="Arial" panose="020B0604020202020204" pitchFamily="34" charset="0"/>
                </a:rPr>
                <a:t>Exploratory log-rank: </a:t>
              </a:r>
              <a:r>
                <a:rPr lang="en-US" sz="1201" i="1" dirty="0">
                  <a:solidFill>
                    <a:srgbClr val="000000"/>
                  </a:solidFill>
                  <a:latin typeface="Arial" panose="020B0604020202020204" pitchFamily="34" charset="0"/>
                  <a:cs typeface="Arial" panose="020B0604020202020204" pitchFamily="34" charset="0"/>
                </a:rPr>
                <a:t>P </a:t>
              </a:r>
              <a:r>
                <a:rPr lang="en-US" sz="1201" dirty="0">
                  <a:solidFill>
                    <a:srgbClr val="000000"/>
                  </a:solidFill>
                  <a:latin typeface="Arial" panose="020B0604020202020204" pitchFamily="34" charset="0"/>
                  <a:cs typeface="Arial" panose="020B0604020202020204" pitchFamily="34" charset="0"/>
                </a:rPr>
                <a:t>= .0026</a:t>
              </a:r>
            </a:p>
          </p:txBody>
        </p:sp>
        <p:sp>
          <p:nvSpPr>
            <p:cNvPr id="287" name="Line 9">
              <a:extLst>
                <a:ext uri="{FF2B5EF4-FFF2-40B4-BE49-F238E27FC236}">
                  <a16:creationId xmlns:a16="http://schemas.microsoft.com/office/drawing/2014/main" id="{53F0ACA6-DFA0-21AA-F56E-143DAC71333A}"/>
                </a:ext>
              </a:extLst>
            </p:cNvPr>
            <p:cNvSpPr>
              <a:spLocks noChangeShapeType="1"/>
            </p:cNvSpPr>
            <p:nvPr/>
          </p:nvSpPr>
          <p:spPr bwMode="auto">
            <a:xfrm flipH="1">
              <a:off x="4408488" y="1535113"/>
              <a:ext cx="250825" cy="0"/>
            </a:xfrm>
            <a:prstGeom prst="line">
              <a:avLst/>
            </a:prstGeom>
            <a:noFill/>
            <a:ln w="28575">
              <a:solidFill>
                <a:schemeClr val="hlink"/>
              </a:solidFill>
              <a:round/>
              <a:headEnd/>
              <a:tailEnd/>
            </a:ln>
            <a:extLst>
              <a:ext uri="{909E8E84-426E-40DD-AFC4-6F175D3DCCD1}">
                <a14:hiddenFill xmlns:a14="http://schemas.microsoft.com/office/drawing/2010/main">
                  <a:noFill/>
                </a14:hiddenFill>
              </a:ext>
            </a:extLst>
          </p:spPr>
          <p:txBody>
            <a:bodyPr/>
            <a:lstStyle/>
            <a:p>
              <a:endParaRPr lang="en-US" sz="1802">
                <a:latin typeface="Arial" panose="020B0604020202020204" pitchFamily="34" charset="0"/>
                <a:cs typeface="Arial" panose="020B0604020202020204" pitchFamily="34" charset="0"/>
              </a:endParaRPr>
            </a:p>
          </p:txBody>
        </p:sp>
        <p:sp>
          <p:nvSpPr>
            <p:cNvPr id="288" name="Line 10">
              <a:extLst>
                <a:ext uri="{FF2B5EF4-FFF2-40B4-BE49-F238E27FC236}">
                  <a16:creationId xmlns:a16="http://schemas.microsoft.com/office/drawing/2014/main" id="{6D65268D-1D36-3E1B-7725-C1DEE81123E4}"/>
                </a:ext>
              </a:extLst>
            </p:cNvPr>
            <p:cNvSpPr>
              <a:spLocks noChangeShapeType="1"/>
            </p:cNvSpPr>
            <p:nvPr/>
          </p:nvSpPr>
          <p:spPr bwMode="auto">
            <a:xfrm flipH="1">
              <a:off x="4408488" y="1774825"/>
              <a:ext cx="250825" cy="0"/>
            </a:xfrm>
            <a:prstGeom prst="line">
              <a:avLst/>
            </a:prstGeom>
            <a:noFill/>
            <a:ln w="28575">
              <a:solidFill>
                <a:srgbClr val="FF0000"/>
              </a:solidFill>
              <a:round/>
              <a:headEnd/>
              <a:tailEnd/>
            </a:ln>
            <a:extLst>
              <a:ext uri="{909E8E84-426E-40DD-AFC4-6F175D3DCCD1}">
                <a14:hiddenFill xmlns:a14="http://schemas.microsoft.com/office/drawing/2010/main">
                  <a:noFill/>
                </a14:hiddenFill>
              </a:ext>
            </a:extLst>
          </p:spPr>
          <p:txBody>
            <a:bodyPr/>
            <a:lstStyle/>
            <a:p>
              <a:endParaRPr lang="en-US" sz="1802">
                <a:latin typeface="Arial" panose="020B0604020202020204" pitchFamily="34" charset="0"/>
                <a:cs typeface="Arial" panose="020B0604020202020204" pitchFamily="34" charset="0"/>
              </a:endParaRPr>
            </a:p>
          </p:txBody>
        </p:sp>
        <p:sp>
          <p:nvSpPr>
            <p:cNvPr id="289" name="Freeform 11">
              <a:extLst>
                <a:ext uri="{FF2B5EF4-FFF2-40B4-BE49-F238E27FC236}">
                  <a16:creationId xmlns:a16="http://schemas.microsoft.com/office/drawing/2014/main" id="{0613A1DB-C189-AB9F-54C0-B7DFC3FB715D}"/>
                </a:ext>
              </a:extLst>
            </p:cNvPr>
            <p:cNvSpPr>
              <a:spLocks/>
            </p:cNvSpPr>
            <p:nvPr/>
          </p:nvSpPr>
          <p:spPr bwMode="auto">
            <a:xfrm>
              <a:off x="1863725" y="1152525"/>
              <a:ext cx="5973763" cy="3213100"/>
            </a:xfrm>
            <a:custGeom>
              <a:avLst/>
              <a:gdLst>
                <a:gd name="T0" fmla="*/ 2147483647 w 3011"/>
                <a:gd name="T1" fmla="*/ 2147483647 h 1755"/>
                <a:gd name="T2" fmla="*/ 0 w 3011"/>
                <a:gd name="T3" fmla="*/ 2147483647 h 1755"/>
                <a:gd name="T4" fmla="*/ 0 w 3011"/>
                <a:gd name="T5" fmla="*/ 0 h 1755"/>
                <a:gd name="T6" fmla="*/ 0 60000 65536"/>
                <a:gd name="T7" fmla="*/ 0 60000 65536"/>
                <a:gd name="T8" fmla="*/ 0 60000 65536"/>
                <a:gd name="T9" fmla="*/ 0 w 3011"/>
                <a:gd name="T10" fmla="*/ 0 h 1755"/>
                <a:gd name="T11" fmla="*/ 3011 w 3011"/>
                <a:gd name="T12" fmla="*/ 1755 h 1755"/>
              </a:gdLst>
              <a:ahLst/>
              <a:cxnLst>
                <a:cxn ang="T6">
                  <a:pos x="T0" y="T1"/>
                </a:cxn>
                <a:cxn ang="T7">
                  <a:pos x="T2" y="T3"/>
                </a:cxn>
                <a:cxn ang="T8">
                  <a:pos x="T4" y="T5"/>
                </a:cxn>
              </a:cxnLst>
              <a:rect l="T9" t="T10" r="T11" b="T12"/>
              <a:pathLst>
                <a:path w="3011" h="1755">
                  <a:moveTo>
                    <a:pt x="3011" y="1755"/>
                  </a:moveTo>
                  <a:lnTo>
                    <a:pt x="0" y="1755"/>
                  </a:lnTo>
                  <a:lnTo>
                    <a:pt x="0" y="0"/>
                  </a:lnTo>
                </a:path>
              </a:pathLst>
            </a:custGeom>
            <a:noFill/>
            <a:ln w="19050">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sz="1802">
                <a:latin typeface="Arial" panose="020B0604020202020204" pitchFamily="34" charset="0"/>
                <a:cs typeface="Arial" panose="020B0604020202020204" pitchFamily="34" charset="0"/>
              </a:endParaRPr>
            </a:p>
          </p:txBody>
        </p:sp>
        <p:sp>
          <p:nvSpPr>
            <p:cNvPr id="290" name="Text Box 12">
              <a:extLst>
                <a:ext uri="{FF2B5EF4-FFF2-40B4-BE49-F238E27FC236}">
                  <a16:creationId xmlns:a16="http://schemas.microsoft.com/office/drawing/2014/main" id="{64F45A1F-1A75-9E70-EBCD-150AA4E22F98}"/>
                </a:ext>
              </a:extLst>
            </p:cNvPr>
            <p:cNvSpPr txBox="1">
              <a:spLocks noChangeArrowheads="1"/>
            </p:cNvSpPr>
            <p:nvPr/>
          </p:nvSpPr>
          <p:spPr bwMode="auto">
            <a:xfrm>
              <a:off x="1260192" y="4178300"/>
              <a:ext cx="565436" cy="5408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800">
                  <a:solidFill>
                    <a:schemeClr val="bg1"/>
                  </a:solidFill>
                  <a:latin typeface="Comic Sans MS" charset="0"/>
                  <a:ea typeface="ＭＳ Ｐゴシック" charset="0"/>
                  <a:cs typeface="ＭＳ Ｐゴシック" charset="0"/>
                </a:defRPr>
              </a:lvl1pPr>
              <a:lvl2pPr marL="742950" indent="-285750">
                <a:defRPr sz="2800">
                  <a:solidFill>
                    <a:schemeClr val="bg1"/>
                  </a:solidFill>
                  <a:latin typeface="Comic Sans MS" charset="0"/>
                  <a:ea typeface="ＭＳ Ｐゴシック" charset="0"/>
                </a:defRPr>
              </a:lvl2pPr>
              <a:lvl3pPr marL="1143000" indent="-228600">
                <a:defRPr sz="2800">
                  <a:solidFill>
                    <a:schemeClr val="bg1"/>
                  </a:solidFill>
                  <a:latin typeface="Comic Sans MS" charset="0"/>
                  <a:ea typeface="ＭＳ Ｐゴシック" charset="0"/>
                </a:defRPr>
              </a:lvl3pPr>
              <a:lvl4pPr marL="1600200" indent="-228600">
                <a:defRPr sz="2800">
                  <a:solidFill>
                    <a:schemeClr val="bg1"/>
                  </a:solidFill>
                  <a:latin typeface="Comic Sans MS" charset="0"/>
                  <a:ea typeface="ＭＳ Ｐゴシック" charset="0"/>
                </a:defRPr>
              </a:lvl4pPr>
              <a:lvl5pPr marL="2057400" indent="-228600">
                <a:defRPr sz="2800">
                  <a:solidFill>
                    <a:schemeClr val="bg1"/>
                  </a:solidFill>
                  <a:latin typeface="Comic Sans MS" charset="0"/>
                  <a:ea typeface="ＭＳ Ｐゴシック" charset="0"/>
                </a:defRPr>
              </a:lvl5pPr>
              <a:lvl6pPr marL="2514600" indent="-228600" eaLnBrk="0" fontAlgn="base" hangingPunct="0">
                <a:spcBef>
                  <a:spcPct val="0"/>
                </a:spcBef>
                <a:spcAft>
                  <a:spcPct val="0"/>
                </a:spcAft>
                <a:defRPr sz="2800">
                  <a:solidFill>
                    <a:schemeClr val="bg1"/>
                  </a:solidFill>
                  <a:latin typeface="Comic Sans MS" charset="0"/>
                  <a:ea typeface="ＭＳ Ｐゴシック" charset="0"/>
                </a:defRPr>
              </a:lvl6pPr>
              <a:lvl7pPr marL="2971800" indent="-228600" eaLnBrk="0" fontAlgn="base" hangingPunct="0">
                <a:spcBef>
                  <a:spcPct val="0"/>
                </a:spcBef>
                <a:spcAft>
                  <a:spcPct val="0"/>
                </a:spcAft>
                <a:defRPr sz="2800">
                  <a:solidFill>
                    <a:schemeClr val="bg1"/>
                  </a:solidFill>
                  <a:latin typeface="Comic Sans MS" charset="0"/>
                  <a:ea typeface="ＭＳ Ｐゴシック" charset="0"/>
                </a:defRPr>
              </a:lvl7pPr>
              <a:lvl8pPr marL="3429000" indent="-228600" eaLnBrk="0" fontAlgn="base" hangingPunct="0">
                <a:spcBef>
                  <a:spcPct val="0"/>
                </a:spcBef>
                <a:spcAft>
                  <a:spcPct val="0"/>
                </a:spcAft>
                <a:defRPr sz="2800">
                  <a:solidFill>
                    <a:schemeClr val="bg1"/>
                  </a:solidFill>
                  <a:latin typeface="Comic Sans MS" charset="0"/>
                  <a:ea typeface="ＭＳ Ｐゴシック" charset="0"/>
                </a:defRPr>
              </a:lvl8pPr>
              <a:lvl9pPr marL="3886200" indent="-228600" eaLnBrk="0" fontAlgn="base" hangingPunct="0">
                <a:spcBef>
                  <a:spcPct val="0"/>
                </a:spcBef>
                <a:spcAft>
                  <a:spcPct val="0"/>
                </a:spcAft>
                <a:defRPr sz="2800">
                  <a:solidFill>
                    <a:schemeClr val="bg1"/>
                  </a:solidFill>
                  <a:latin typeface="Comic Sans MS" charset="0"/>
                  <a:ea typeface="ＭＳ Ｐゴシック" charset="0"/>
                </a:defRPr>
              </a:lvl9pPr>
            </a:lstStyle>
            <a:p>
              <a:pPr algn="r" eaLnBrk="1" hangingPunct="1"/>
              <a:r>
                <a:rPr lang="en-US" sz="1201">
                  <a:solidFill>
                    <a:srgbClr val="000000"/>
                  </a:solidFill>
                  <a:latin typeface="Arial" panose="020B0604020202020204" pitchFamily="34" charset="0"/>
                  <a:cs typeface="Arial" panose="020B0604020202020204" pitchFamily="34" charset="0"/>
                </a:rPr>
                <a:t>0.0</a:t>
              </a:r>
            </a:p>
          </p:txBody>
        </p:sp>
        <p:sp>
          <p:nvSpPr>
            <p:cNvPr id="291" name="Line 13">
              <a:extLst>
                <a:ext uri="{FF2B5EF4-FFF2-40B4-BE49-F238E27FC236}">
                  <a16:creationId xmlns:a16="http://schemas.microsoft.com/office/drawing/2014/main" id="{C07C0097-DF53-CEE4-4DD1-80660E67CB48}"/>
                </a:ext>
              </a:extLst>
            </p:cNvPr>
            <p:cNvSpPr>
              <a:spLocks noChangeShapeType="1"/>
            </p:cNvSpPr>
            <p:nvPr/>
          </p:nvSpPr>
          <p:spPr bwMode="auto">
            <a:xfrm flipH="1">
              <a:off x="1760538" y="4370388"/>
              <a:ext cx="104775"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802">
                <a:latin typeface="Arial" panose="020B0604020202020204" pitchFamily="34" charset="0"/>
                <a:cs typeface="Arial" panose="020B0604020202020204" pitchFamily="34" charset="0"/>
              </a:endParaRPr>
            </a:p>
          </p:txBody>
        </p:sp>
        <p:sp>
          <p:nvSpPr>
            <p:cNvPr id="292" name="Text Box 14">
              <a:extLst>
                <a:ext uri="{FF2B5EF4-FFF2-40B4-BE49-F238E27FC236}">
                  <a16:creationId xmlns:a16="http://schemas.microsoft.com/office/drawing/2014/main" id="{38CE99CC-EA0C-D3AE-7519-E759C08A7D5A}"/>
                </a:ext>
              </a:extLst>
            </p:cNvPr>
            <p:cNvSpPr txBox="1">
              <a:spLocks noChangeArrowheads="1"/>
            </p:cNvSpPr>
            <p:nvPr/>
          </p:nvSpPr>
          <p:spPr bwMode="auto">
            <a:xfrm>
              <a:off x="1260194" y="3854451"/>
              <a:ext cx="565436" cy="5408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800">
                  <a:solidFill>
                    <a:schemeClr val="bg1"/>
                  </a:solidFill>
                  <a:latin typeface="Comic Sans MS" charset="0"/>
                  <a:ea typeface="ＭＳ Ｐゴシック" charset="0"/>
                  <a:cs typeface="ＭＳ Ｐゴシック" charset="0"/>
                </a:defRPr>
              </a:lvl1pPr>
              <a:lvl2pPr marL="742950" indent="-285750">
                <a:defRPr sz="2800">
                  <a:solidFill>
                    <a:schemeClr val="bg1"/>
                  </a:solidFill>
                  <a:latin typeface="Comic Sans MS" charset="0"/>
                  <a:ea typeface="ＭＳ Ｐゴシック" charset="0"/>
                </a:defRPr>
              </a:lvl2pPr>
              <a:lvl3pPr marL="1143000" indent="-228600">
                <a:defRPr sz="2800">
                  <a:solidFill>
                    <a:schemeClr val="bg1"/>
                  </a:solidFill>
                  <a:latin typeface="Comic Sans MS" charset="0"/>
                  <a:ea typeface="ＭＳ Ｐゴシック" charset="0"/>
                </a:defRPr>
              </a:lvl3pPr>
              <a:lvl4pPr marL="1600200" indent="-228600">
                <a:defRPr sz="2800">
                  <a:solidFill>
                    <a:schemeClr val="bg1"/>
                  </a:solidFill>
                  <a:latin typeface="Comic Sans MS" charset="0"/>
                  <a:ea typeface="ＭＳ Ｐゴシック" charset="0"/>
                </a:defRPr>
              </a:lvl4pPr>
              <a:lvl5pPr marL="2057400" indent="-228600">
                <a:defRPr sz="2800">
                  <a:solidFill>
                    <a:schemeClr val="bg1"/>
                  </a:solidFill>
                  <a:latin typeface="Comic Sans MS" charset="0"/>
                  <a:ea typeface="ＭＳ Ｐゴシック" charset="0"/>
                </a:defRPr>
              </a:lvl5pPr>
              <a:lvl6pPr marL="2514600" indent="-228600" eaLnBrk="0" fontAlgn="base" hangingPunct="0">
                <a:spcBef>
                  <a:spcPct val="0"/>
                </a:spcBef>
                <a:spcAft>
                  <a:spcPct val="0"/>
                </a:spcAft>
                <a:defRPr sz="2800">
                  <a:solidFill>
                    <a:schemeClr val="bg1"/>
                  </a:solidFill>
                  <a:latin typeface="Comic Sans MS" charset="0"/>
                  <a:ea typeface="ＭＳ Ｐゴシック" charset="0"/>
                </a:defRPr>
              </a:lvl6pPr>
              <a:lvl7pPr marL="2971800" indent="-228600" eaLnBrk="0" fontAlgn="base" hangingPunct="0">
                <a:spcBef>
                  <a:spcPct val="0"/>
                </a:spcBef>
                <a:spcAft>
                  <a:spcPct val="0"/>
                </a:spcAft>
                <a:defRPr sz="2800">
                  <a:solidFill>
                    <a:schemeClr val="bg1"/>
                  </a:solidFill>
                  <a:latin typeface="Comic Sans MS" charset="0"/>
                  <a:ea typeface="ＭＳ Ｐゴシック" charset="0"/>
                </a:defRPr>
              </a:lvl7pPr>
              <a:lvl8pPr marL="3429000" indent="-228600" eaLnBrk="0" fontAlgn="base" hangingPunct="0">
                <a:spcBef>
                  <a:spcPct val="0"/>
                </a:spcBef>
                <a:spcAft>
                  <a:spcPct val="0"/>
                </a:spcAft>
                <a:defRPr sz="2800">
                  <a:solidFill>
                    <a:schemeClr val="bg1"/>
                  </a:solidFill>
                  <a:latin typeface="Comic Sans MS" charset="0"/>
                  <a:ea typeface="ＭＳ Ｐゴシック" charset="0"/>
                </a:defRPr>
              </a:lvl8pPr>
              <a:lvl9pPr marL="3886200" indent="-228600" eaLnBrk="0" fontAlgn="base" hangingPunct="0">
                <a:spcBef>
                  <a:spcPct val="0"/>
                </a:spcBef>
                <a:spcAft>
                  <a:spcPct val="0"/>
                </a:spcAft>
                <a:defRPr sz="2800">
                  <a:solidFill>
                    <a:schemeClr val="bg1"/>
                  </a:solidFill>
                  <a:latin typeface="Comic Sans MS" charset="0"/>
                  <a:ea typeface="ＭＳ Ｐゴシック" charset="0"/>
                </a:defRPr>
              </a:lvl9pPr>
            </a:lstStyle>
            <a:p>
              <a:pPr algn="r" eaLnBrk="1" hangingPunct="1"/>
              <a:r>
                <a:rPr lang="en-US" sz="1201">
                  <a:solidFill>
                    <a:srgbClr val="000000"/>
                  </a:solidFill>
                  <a:latin typeface="Arial" panose="020B0604020202020204" pitchFamily="34" charset="0"/>
                  <a:cs typeface="Arial" panose="020B0604020202020204" pitchFamily="34" charset="0"/>
                </a:rPr>
                <a:t>0.1</a:t>
              </a:r>
            </a:p>
          </p:txBody>
        </p:sp>
        <p:sp>
          <p:nvSpPr>
            <p:cNvPr id="293" name="Line 15">
              <a:extLst>
                <a:ext uri="{FF2B5EF4-FFF2-40B4-BE49-F238E27FC236}">
                  <a16:creationId xmlns:a16="http://schemas.microsoft.com/office/drawing/2014/main" id="{33CE98E2-784E-7EDB-97A5-BFF1CA124252}"/>
                </a:ext>
              </a:extLst>
            </p:cNvPr>
            <p:cNvSpPr>
              <a:spLocks noChangeShapeType="1"/>
            </p:cNvSpPr>
            <p:nvPr/>
          </p:nvSpPr>
          <p:spPr bwMode="auto">
            <a:xfrm flipH="1">
              <a:off x="1760538" y="4046538"/>
              <a:ext cx="104775"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802">
                <a:latin typeface="Arial" panose="020B0604020202020204" pitchFamily="34" charset="0"/>
                <a:cs typeface="Arial" panose="020B0604020202020204" pitchFamily="34" charset="0"/>
              </a:endParaRPr>
            </a:p>
          </p:txBody>
        </p:sp>
        <p:sp>
          <p:nvSpPr>
            <p:cNvPr id="294" name="Text Box 16">
              <a:extLst>
                <a:ext uri="{FF2B5EF4-FFF2-40B4-BE49-F238E27FC236}">
                  <a16:creationId xmlns:a16="http://schemas.microsoft.com/office/drawing/2014/main" id="{DA87893F-8A69-884F-143E-B48BD91D4ECC}"/>
                </a:ext>
              </a:extLst>
            </p:cNvPr>
            <p:cNvSpPr txBox="1">
              <a:spLocks noChangeArrowheads="1"/>
            </p:cNvSpPr>
            <p:nvPr/>
          </p:nvSpPr>
          <p:spPr bwMode="auto">
            <a:xfrm>
              <a:off x="1260192" y="3546476"/>
              <a:ext cx="565436" cy="5408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800">
                  <a:solidFill>
                    <a:schemeClr val="bg1"/>
                  </a:solidFill>
                  <a:latin typeface="Comic Sans MS" charset="0"/>
                  <a:ea typeface="ＭＳ Ｐゴシック" charset="0"/>
                  <a:cs typeface="ＭＳ Ｐゴシック" charset="0"/>
                </a:defRPr>
              </a:lvl1pPr>
              <a:lvl2pPr marL="742950" indent="-285750">
                <a:defRPr sz="2800">
                  <a:solidFill>
                    <a:schemeClr val="bg1"/>
                  </a:solidFill>
                  <a:latin typeface="Comic Sans MS" charset="0"/>
                  <a:ea typeface="ＭＳ Ｐゴシック" charset="0"/>
                </a:defRPr>
              </a:lvl2pPr>
              <a:lvl3pPr marL="1143000" indent="-228600">
                <a:defRPr sz="2800">
                  <a:solidFill>
                    <a:schemeClr val="bg1"/>
                  </a:solidFill>
                  <a:latin typeface="Comic Sans MS" charset="0"/>
                  <a:ea typeface="ＭＳ Ｐゴシック" charset="0"/>
                </a:defRPr>
              </a:lvl3pPr>
              <a:lvl4pPr marL="1600200" indent="-228600">
                <a:defRPr sz="2800">
                  <a:solidFill>
                    <a:schemeClr val="bg1"/>
                  </a:solidFill>
                  <a:latin typeface="Comic Sans MS" charset="0"/>
                  <a:ea typeface="ＭＳ Ｐゴシック" charset="0"/>
                </a:defRPr>
              </a:lvl4pPr>
              <a:lvl5pPr marL="2057400" indent="-228600">
                <a:defRPr sz="2800">
                  <a:solidFill>
                    <a:schemeClr val="bg1"/>
                  </a:solidFill>
                  <a:latin typeface="Comic Sans MS" charset="0"/>
                  <a:ea typeface="ＭＳ Ｐゴシック" charset="0"/>
                </a:defRPr>
              </a:lvl5pPr>
              <a:lvl6pPr marL="2514600" indent="-228600" eaLnBrk="0" fontAlgn="base" hangingPunct="0">
                <a:spcBef>
                  <a:spcPct val="0"/>
                </a:spcBef>
                <a:spcAft>
                  <a:spcPct val="0"/>
                </a:spcAft>
                <a:defRPr sz="2800">
                  <a:solidFill>
                    <a:schemeClr val="bg1"/>
                  </a:solidFill>
                  <a:latin typeface="Comic Sans MS" charset="0"/>
                  <a:ea typeface="ＭＳ Ｐゴシック" charset="0"/>
                </a:defRPr>
              </a:lvl6pPr>
              <a:lvl7pPr marL="2971800" indent="-228600" eaLnBrk="0" fontAlgn="base" hangingPunct="0">
                <a:spcBef>
                  <a:spcPct val="0"/>
                </a:spcBef>
                <a:spcAft>
                  <a:spcPct val="0"/>
                </a:spcAft>
                <a:defRPr sz="2800">
                  <a:solidFill>
                    <a:schemeClr val="bg1"/>
                  </a:solidFill>
                  <a:latin typeface="Comic Sans MS" charset="0"/>
                  <a:ea typeface="ＭＳ Ｐゴシック" charset="0"/>
                </a:defRPr>
              </a:lvl7pPr>
              <a:lvl8pPr marL="3429000" indent="-228600" eaLnBrk="0" fontAlgn="base" hangingPunct="0">
                <a:spcBef>
                  <a:spcPct val="0"/>
                </a:spcBef>
                <a:spcAft>
                  <a:spcPct val="0"/>
                </a:spcAft>
                <a:defRPr sz="2800">
                  <a:solidFill>
                    <a:schemeClr val="bg1"/>
                  </a:solidFill>
                  <a:latin typeface="Comic Sans MS" charset="0"/>
                  <a:ea typeface="ＭＳ Ｐゴシック" charset="0"/>
                </a:defRPr>
              </a:lvl8pPr>
              <a:lvl9pPr marL="3886200" indent="-228600" eaLnBrk="0" fontAlgn="base" hangingPunct="0">
                <a:spcBef>
                  <a:spcPct val="0"/>
                </a:spcBef>
                <a:spcAft>
                  <a:spcPct val="0"/>
                </a:spcAft>
                <a:defRPr sz="2800">
                  <a:solidFill>
                    <a:schemeClr val="bg1"/>
                  </a:solidFill>
                  <a:latin typeface="Comic Sans MS" charset="0"/>
                  <a:ea typeface="ＭＳ Ｐゴシック" charset="0"/>
                </a:defRPr>
              </a:lvl9pPr>
            </a:lstStyle>
            <a:p>
              <a:pPr algn="r" eaLnBrk="1" hangingPunct="1"/>
              <a:r>
                <a:rPr lang="en-US" sz="1201">
                  <a:solidFill>
                    <a:srgbClr val="000000"/>
                  </a:solidFill>
                  <a:latin typeface="Arial" panose="020B0604020202020204" pitchFamily="34" charset="0"/>
                  <a:cs typeface="Arial" panose="020B0604020202020204" pitchFamily="34" charset="0"/>
                </a:rPr>
                <a:t>0.2</a:t>
              </a:r>
            </a:p>
          </p:txBody>
        </p:sp>
        <p:sp>
          <p:nvSpPr>
            <p:cNvPr id="295" name="Line 17">
              <a:extLst>
                <a:ext uri="{FF2B5EF4-FFF2-40B4-BE49-F238E27FC236}">
                  <a16:creationId xmlns:a16="http://schemas.microsoft.com/office/drawing/2014/main" id="{D045803E-FD33-0060-1140-8337CB63A996}"/>
                </a:ext>
              </a:extLst>
            </p:cNvPr>
            <p:cNvSpPr>
              <a:spLocks noChangeShapeType="1"/>
            </p:cNvSpPr>
            <p:nvPr/>
          </p:nvSpPr>
          <p:spPr bwMode="auto">
            <a:xfrm flipH="1">
              <a:off x="1760538" y="3738563"/>
              <a:ext cx="104775"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802">
                <a:latin typeface="Arial" panose="020B0604020202020204" pitchFamily="34" charset="0"/>
                <a:cs typeface="Arial" panose="020B0604020202020204" pitchFamily="34" charset="0"/>
              </a:endParaRPr>
            </a:p>
          </p:txBody>
        </p:sp>
        <p:sp>
          <p:nvSpPr>
            <p:cNvPr id="296" name="Text Box 18">
              <a:extLst>
                <a:ext uri="{FF2B5EF4-FFF2-40B4-BE49-F238E27FC236}">
                  <a16:creationId xmlns:a16="http://schemas.microsoft.com/office/drawing/2014/main" id="{830E7D81-0A9A-F670-2005-F9A10994A7B2}"/>
                </a:ext>
              </a:extLst>
            </p:cNvPr>
            <p:cNvSpPr txBox="1">
              <a:spLocks noChangeArrowheads="1"/>
            </p:cNvSpPr>
            <p:nvPr/>
          </p:nvSpPr>
          <p:spPr bwMode="auto">
            <a:xfrm>
              <a:off x="1260192" y="3232153"/>
              <a:ext cx="565436" cy="5408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800">
                  <a:solidFill>
                    <a:schemeClr val="bg1"/>
                  </a:solidFill>
                  <a:latin typeface="Comic Sans MS" charset="0"/>
                  <a:ea typeface="ＭＳ Ｐゴシック" charset="0"/>
                  <a:cs typeface="ＭＳ Ｐゴシック" charset="0"/>
                </a:defRPr>
              </a:lvl1pPr>
              <a:lvl2pPr marL="742950" indent="-285750">
                <a:defRPr sz="2800">
                  <a:solidFill>
                    <a:schemeClr val="bg1"/>
                  </a:solidFill>
                  <a:latin typeface="Comic Sans MS" charset="0"/>
                  <a:ea typeface="ＭＳ Ｐゴシック" charset="0"/>
                </a:defRPr>
              </a:lvl2pPr>
              <a:lvl3pPr marL="1143000" indent="-228600">
                <a:defRPr sz="2800">
                  <a:solidFill>
                    <a:schemeClr val="bg1"/>
                  </a:solidFill>
                  <a:latin typeface="Comic Sans MS" charset="0"/>
                  <a:ea typeface="ＭＳ Ｐゴシック" charset="0"/>
                </a:defRPr>
              </a:lvl3pPr>
              <a:lvl4pPr marL="1600200" indent="-228600">
                <a:defRPr sz="2800">
                  <a:solidFill>
                    <a:schemeClr val="bg1"/>
                  </a:solidFill>
                  <a:latin typeface="Comic Sans MS" charset="0"/>
                  <a:ea typeface="ＭＳ Ｐゴシック" charset="0"/>
                </a:defRPr>
              </a:lvl4pPr>
              <a:lvl5pPr marL="2057400" indent="-228600">
                <a:defRPr sz="2800">
                  <a:solidFill>
                    <a:schemeClr val="bg1"/>
                  </a:solidFill>
                  <a:latin typeface="Comic Sans MS" charset="0"/>
                  <a:ea typeface="ＭＳ Ｐゴシック" charset="0"/>
                </a:defRPr>
              </a:lvl5pPr>
              <a:lvl6pPr marL="2514600" indent="-228600" eaLnBrk="0" fontAlgn="base" hangingPunct="0">
                <a:spcBef>
                  <a:spcPct val="0"/>
                </a:spcBef>
                <a:spcAft>
                  <a:spcPct val="0"/>
                </a:spcAft>
                <a:defRPr sz="2800">
                  <a:solidFill>
                    <a:schemeClr val="bg1"/>
                  </a:solidFill>
                  <a:latin typeface="Comic Sans MS" charset="0"/>
                  <a:ea typeface="ＭＳ Ｐゴシック" charset="0"/>
                </a:defRPr>
              </a:lvl6pPr>
              <a:lvl7pPr marL="2971800" indent="-228600" eaLnBrk="0" fontAlgn="base" hangingPunct="0">
                <a:spcBef>
                  <a:spcPct val="0"/>
                </a:spcBef>
                <a:spcAft>
                  <a:spcPct val="0"/>
                </a:spcAft>
                <a:defRPr sz="2800">
                  <a:solidFill>
                    <a:schemeClr val="bg1"/>
                  </a:solidFill>
                  <a:latin typeface="Comic Sans MS" charset="0"/>
                  <a:ea typeface="ＭＳ Ｐゴシック" charset="0"/>
                </a:defRPr>
              </a:lvl7pPr>
              <a:lvl8pPr marL="3429000" indent="-228600" eaLnBrk="0" fontAlgn="base" hangingPunct="0">
                <a:spcBef>
                  <a:spcPct val="0"/>
                </a:spcBef>
                <a:spcAft>
                  <a:spcPct val="0"/>
                </a:spcAft>
                <a:defRPr sz="2800">
                  <a:solidFill>
                    <a:schemeClr val="bg1"/>
                  </a:solidFill>
                  <a:latin typeface="Comic Sans MS" charset="0"/>
                  <a:ea typeface="ＭＳ Ｐゴシック" charset="0"/>
                </a:defRPr>
              </a:lvl8pPr>
              <a:lvl9pPr marL="3886200" indent="-228600" eaLnBrk="0" fontAlgn="base" hangingPunct="0">
                <a:spcBef>
                  <a:spcPct val="0"/>
                </a:spcBef>
                <a:spcAft>
                  <a:spcPct val="0"/>
                </a:spcAft>
                <a:defRPr sz="2800">
                  <a:solidFill>
                    <a:schemeClr val="bg1"/>
                  </a:solidFill>
                  <a:latin typeface="Comic Sans MS" charset="0"/>
                  <a:ea typeface="ＭＳ Ｐゴシック" charset="0"/>
                </a:defRPr>
              </a:lvl9pPr>
            </a:lstStyle>
            <a:p>
              <a:pPr algn="r" eaLnBrk="1" hangingPunct="1"/>
              <a:r>
                <a:rPr lang="en-US" sz="1201">
                  <a:solidFill>
                    <a:srgbClr val="000000"/>
                  </a:solidFill>
                  <a:latin typeface="Arial" panose="020B0604020202020204" pitchFamily="34" charset="0"/>
                  <a:cs typeface="Arial" panose="020B0604020202020204" pitchFamily="34" charset="0"/>
                </a:rPr>
                <a:t>0.3</a:t>
              </a:r>
            </a:p>
          </p:txBody>
        </p:sp>
        <p:sp>
          <p:nvSpPr>
            <p:cNvPr id="297" name="Line 19">
              <a:extLst>
                <a:ext uri="{FF2B5EF4-FFF2-40B4-BE49-F238E27FC236}">
                  <a16:creationId xmlns:a16="http://schemas.microsoft.com/office/drawing/2014/main" id="{1D207F47-ED20-BED3-724D-1178E74D00B7}"/>
                </a:ext>
              </a:extLst>
            </p:cNvPr>
            <p:cNvSpPr>
              <a:spLocks noChangeShapeType="1"/>
            </p:cNvSpPr>
            <p:nvPr/>
          </p:nvSpPr>
          <p:spPr bwMode="auto">
            <a:xfrm flipH="1">
              <a:off x="1760538" y="3424238"/>
              <a:ext cx="104775"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802">
                <a:latin typeface="Arial" panose="020B0604020202020204" pitchFamily="34" charset="0"/>
                <a:cs typeface="Arial" panose="020B0604020202020204" pitchFamily="34" charset="0"/>
              </a:endParaRPr>
            </a:p>
          </p:txBody>
        </p:sp>
        <p:sp>
          <p:nvSpPr>
            <p:cNvPr id="298" name="Text Box 20">
              <a:extLst>
                <a:ext uri="{FF2B5EF4-FFF2-40B4-BE49-F238E27FC236}">
                  <a16:creationId xmlns:a16="http://schemas.microsoft.com/office/drawing/2014/main" id="{D5A7F1D1-9175-C9ED-4CE5-8B50EB7D7EC3}"/>
                </a:ext>
              </a:extLst>
            </p:cNvPr>
            <p:cNvSpPr txBox="1">
              <a:spLocks noChangeArrowheads="1"/>
            </p:cNvSpPr>
            <p:nvPr/>
          </p:nvSpPr>
          <p:spPr bwMode="auto">
            <a:xfrm>
              <a:off x="1260221" y="2908303"/>
              <a:ext cx="565436" cy="5408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800">
                  <a:solidFill>
                    <a:schemeClr val="bg1"/>
                  </a:solidFill>
                  <a:latin typeface="Comic Sans MS" charset="0"/>
                  <a:ea typeface="ＭＳ Ｐゴシック" charset="0"/>
                  <a:cs typeface="ＭＳ Ｐゴシック" charset="0"/>
                </a:defRPr>
              </a:lvl1pPr>
              <a:lvl2pPr marL="742950" indent="-285750">
                <a:defRPr sz="2800">
                  <a:solidFill>
                    <a:schemeClr val="bg1"/>
                  </a:solidFill>
                  <a:latin typeface="Comic Sans MS" charset="0"/>
                  <a:ea typeface="ＭＳ Ｐゴシック" charset="0"/>
                </a:defRPr>
              </a:lvl2pPr>
              <a:lvl3pPr marL="1143000" indent="-228600">
                <a:defRPr sz="2800">
                  <a:solidFill>
                    <a:schemeClr val="bg1"/>
                  </a:solidFill>
                  <a:latin typeface="Comic Sans MS" charset="0"/>
                  <a:ea typeface="ＭＳ Ｐゴシック" charset="0"/>
                </a:defRPr>
              </a:lvl3pPr>
              <a:lvl4pPr marL="1600200" indent="-228600">
                <a:defRPr sz="2800">
                  <a:solidFill>
                    <a:schemeClr val="bg1"/>
                  </a:solidFill>
                  <a:latin typeface="Comic Sans MS" charset="0"/>
                  <a:ea typeface="ＭＳ Ｐゴシック" charset="0"/>
                </a:defRPr>
              </a:lvl4pPr>
              <a:lvl5pPr marL="2057400" indent="-228600">
                <a:defRPr sz="2800">
                  <a:solidFill>
                    <a:schemeClr val="bg1"/>
                  </a:solidFill>
                  <a:latin typeface="Comic Sans MS" charset="0"/>
                  <a:ea typeface="ＭＳ Ｐゴシック" charset="0"/>
                </a:defRPr>
              </a:lvl5pPr>
              <a:lvl6pPr marL="2514600" indent="-228600" eaLnBrk="0" fontAlgn="base" hangingPunct="0">
                <a:spcBef>
                  <a:spcPct val="0"/>
                </a:spcBef>
                <a:spcAft>
                  <a:spcPct val="0"/>
                </a:spcAft>
                <a:defRPr sz="2800">
                  <a:solidFill>
                    <a:schemeClr val="bg1"/>
                  </a:solidFill>
                  <a:latin typeface="Comic Sans MS" charset="0"/>
                  <a:ea typeface="ＭＳ Ｐゴシック" charset="0"/>
                </a:defRPr>
              </a:lvl6pPr>
              <a:lvl7pPr marL="2971800" indent="-228600" eaLnBrk="0" fontAlgn="base" hangingPunct="0">
                <a:spcBef>
                  <a:spcPct val="0"/>
                </a:spcBef>
                <a:spcAft>
                  <a:spcPct val="0"/>
                </a:spcAft>
                <a:defRPr sz="2800">
                  <a:solidFill>
                    <a:schemeClr val="bg1"/>
                  </a:solidFill>
                  <a:latin typeface="Comic Sans MS" charset="0"/>
                  <a:ea typeface="ＭＳ Ｐゴシック" charset="0"/>
                </a:defRPr>
              </a:lvl7pPr>
              <a:lvl8pPr marL="3429000" indent="-228600" eaLnBrk="0" fontAlgn="base" hangingPunct="0">
                <a:spcBef>
                  <a:spcPct val="0"/>
                </a:spcBef>
                <a:spcAft>
                  <a:spcPct val="0"/>
                </a:spcAft>
                <a:defRPr sz="2800">
                  <a:solidFill>
                    <a:schemeClr val="bg1"/>
                  </a:solidFill>
                  <a:latin typeface="Comic Sans MS" charset="0"/>
                  <a:ea typeface="ＭＳ Ｐゴシック" charset="0"/>
                </a:defRPr>
              </a:lvl8pPr>
              <a:lvl9pPr marL="3886200" indent="-228600" eaLnBrk="0" fontAlgn="base" hangingPunct="0">
                <a:spcBef>
                  <a:spcPct val="0"/>
                </a:spcBef>
                <a:spcAft>
                  <a:spcPct val="0"/>
                </a:spcAft>
                <a:defRPr sz="2800">
                  <a:solidFill>
                    <a:schemeClr val="bg1"/>
                  </a:solidFill>
                  <a:latin typeface="Comic Sans MS" charset="0"/>
                  <a:ea typeface="ＭＳ Ｐゴシック" charset="0"/>
                </a:defRPr>
              </a:lvl9pPr>
            </a:lstStyle>
            <a:p>
              <a:pPr algn="r" eaLnBrk="1" hangingPunct="1"/>
              <a:r>
                <a:rPr lang="en-US" sz="1201">
                  <a:solidFill>
                    <a:srgbClr val="000000"/>
                  </a:solidFill>
                  <a:latin typeface="Arial" panose="020B0604020202020204" pitchFamily="34" charset="0"/>
                  <a:cs typeface="Arial" panose="020B0604020202020204" pitchFamily="34" charset="0"/>
                </a:rPr>
                <a:t>0.4</a:t>
              </a:r>
            </a:p>
          </p:txBody>
        </p:sp>
        <p:sp>
          <p:nvSpPr>
            <p:cNvPr id="299" name="Line 21">
              <a:extLst>
                <a:ext uri="{FF2B5EF4-FFF2-40B4-BE49-F238E27FC236}">
                  <a16:creationId xmlns:a16="http://schemas.microsoft.com/office/drawing/2014/main" id="{0F245CC7-8FAF-55F5-34B2-2A3896F8ECB9}"/>
                </a:ext>
              </a:extLst>
            </p:cNvPr>
            <p:cNvSpPr>
              <a:spLocks noChangeShapeType="1"/>
            </p:cNvSpPr>
            <p:nvPr/>
          </p:nvSpPr>
          <p:spPr bwMode="auto">
            <a:xfrm flipH="1">
              <a:off x="1760538" y="3100388"/>
              <a:ext cx="104775"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802">
                <a:latin typeface="Arial" panose="020B0604020202020204" pitchFamily="34" charset="0"/>
                <a:cs typeface="Arial" panose="020B0604020202020204" pitchFamily="34" charset="0"/>
              </a:endParaRPr>
            </a:p>
          </p:txBody>
        </p:sp>
        <p:sp>
          <p:nvSpPr>
            <p:cNvPr id="300" name="Text Box 22">
              <a:extLst>
                <a:ext uri="{FF2B5EF4-FFF2-40B4-BE49-F238E27FC236}">
                  <a16:creationId xmlns:a16="http://schemas.microsoft.com/office/drawing/2014/main" id="{D8BBACE1-3DA9-5A6A-FC7D-6CC505FDBEA7}"/>
                </a:ext>
              </a:extLst>
            </p:cNvPr>
            <p:cNvSpPr txBox="1">
              <a:spLocks noChangeArrowheads="1"/>
            </p:cNvSpPr>
            <p:nvPr/>
          </p:nvSpPr>
          <p:spPr bwMode="auto">
            <a:xfrm>
              <a:off x="1260192" y="2600325"/>
              <a:ext cx="565436" cy="5408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800">
                  <a:solidFill>
                    <a:schemeClr val="bg1"/>
                  </a:solidFill>
                  <a:latin typeface="Comic Sans MS" charset="0"/>
                  <a:ea typeface="ＭＳ Ｐゴシック" charset="0"/>
                  <a:cs typeface="ＭＳ Ｐゴシック" charset="0"/>
                </a:defRPr>
              </a:lvl1pPr>
              <a:lvl2pPr marL="742950" indent="-285750">
                <a:defRPr sz="2800">
                  <a:solidFill>
                    <a:schemeClr val="bg1"/>
                  </a:solidFill>
                  <a:latin typeface="Comic Sans MS" charset="0"/>
                  <a:ea typeface="ＭＳ Ｐゴシック" charset="0"/>
                </a:defRPr>
              </a:lvl2pPr>
              <a:lvl3pPr marL="1143000" indent="-228600">
                <a:defRPr sz="2800">
                  <a:solidFill>
                    <a:schemeClr val="bg1"/>
                  </a:solidFill>
                  <a:latin typeface="Comic Sans MS" charset="0"/>
                  <a:ea typeface="ＭＳ Ｐゴシック" charset="0"/>
                </a:defRPr>
              </a:lvl3pPr>
              <a:lvl4pPr marL="1600200" indent="-228600">
                <a:defRPr sz="2800">
                  <a:solidFill>
                    <a:schemeClr val="bg1"/>
                  </a:solidFill>
                  <a:latin typeface="Comic Sans MS" charset="0"/>
                  <a:ea typeface="ＭＳ Ｐゴシック" charset="0"/>
                </a:defRPr>
              </a:lvl4pPr>
              <a:lvl5pPr marL="2057400" indent="-228600">
                <a:defRPr sz="2800">
                  <a:solidFill>
                    <a:schemeClr val="bg1"/>
                  </a:solidFill>
                  <a:latin typeface="Comic Sans MS" charset="0"/>
                  <a:ea typeface="ＭＳ Ｐゴシック" charset="0"/>
                </a:defRPr>
              </a:lvl5pPr>
              <a:lvl6pPr marL="2514600" indent="-228600" eaLnBrk="0" fontAlgn="base" hangingPunct="0">
                <a:spcBef>
                  <a:spcPct val="0"/>
                </a:spcBef>
                <a:spcAft>
                  <a:spcPct val="0"/>
                </a:spcAft>
                <a:defRPr sz="2800">
                  <a:solidFill>
                    <a:schemeClr val="bg1"/>
                  </a:solidFill>
                  <a:latin typeface="Comic Sans MS" charset="0"/>
                  <a:ea typeface="ＭＳ Ｐゴシック" charset="0"/>
                </a:defRPr>
              </a:lvl6pPr>
              <a:lvl7pPr marL="2971800" indent="-228600" eaLnBrk="0" fontAlgn="base" hangingPunct="0">
                <a:spcBef>
                  <a:spcPct val="0"/>
                </a:spcBef>
                <a:spcAft>
                  <a:spcPct val="0"/>
                </a:spcAft>
                <a:defRPr sz="2800">
                  <a:solidFill>
                    <a:schemeClr val="bg1"/>
                  </a:solidFill>
                  <a:latin typeface="Comic Sans MS" charset="0"/>
                  <a:ea typeface="ＭＳ Ｐゴシック" charset="0"/>
                </a:defRPr>
              </a:lvl7pPr>
              <a:lvl8pPr marL="3429000" indent="-228600" eaLnBrk="0" fontAlgn="base" hangingPunct="0">
                <a:spcBef>
                  <a:spcPct val="0"/>
                </a:spcBef>
                <a:spcAft>
                  <a:spcPct val="0"/>
                </a:spcAft>
                <a:defRPr sz="2800">
                  <a:solidFill>
                    <a:schemeClr val="bg1"/>
                  </a:solidFill>
                  <a:latin typeface="Comic Sans MS" charset="0"/>
                  <a:ea typeface="ＭＳ Ｐゴシック" charset="0"/>
                </a:defRPr>
              </a:lvl8pPr>
              <a:lvl9pPr marL="3886200" indent="-228600" eaLnBrk="0" fontAlgn="base" hangingPunct="0">
                <a:spcBef>
                  <a:spcPct val="0"/>
                </a:spcBef>
                <a:spcAft>
                  <a:spcPct val="0"/>
                </a:spcAft>
                <a:defRPr sz="2800">
                  <a:solidFill>
                    <a:schemeClr val="bg1"/>
                  </a:solidFill>
                  <a:latin typeface="Comic Sans MS" charset="0"/>
                  <a:ea typeface="ＭＳ Ｐゴシック" charset="0"/>
                </a:defRPr>
              </a:lvl9pPr>
            </a:lstStyle>
            <a:p>
              <a:pPr algn="r" eaLnBrk="1" hangingPunct="1"/>
              <a:r>
                <a:rPr lang="en-US" sz="1201">
                  <a:solidFill>
                    <a:srgbClr val="000000"/>
                  </a:solidFill>
                  <a:latin typeface="Arial" panose="020B0604020202020204" pitchFamily="34" charset="0"/>
                  <a:cs typeface="Arial" panose="020B0604020202020204" pitchFamily="34" charset="0"/>
                </a:rPr>
                <a:t>0.5</a:t>
              </a:r>
            </a:p>
          </p:txBody>
        </p:sp>
        <p:sp>
          <p:nvSpPr>
            <p:cNvPr id="301" name="Text Box 23">
              <a:extLst>
                <a:ext uri="{FF2B5EF4-FFF2-40B4-BE49-F238E27FC236}">
                  <a16:creationId xmlns:a16="http://schemas.microsoft.com/office/drawing/2014/main" id="{125E58CE-8055-62A4-6AA5-625092CFE5AD}"/>
                </a:ext>
              </a:extLst>
            </p:cNvPr>
            <p:cNvSpPr txBox="1">
              <a:spLocks noChangeArrowheads="1"/>
            </p:cNvSpPr>
            <p:nvPr/>
          </p:nvSpPr>
          <p:spPr bwMode="auto">
            <a:xfrm>
              <a:off x="1260193" y="2300287"/>
              <a:ext cx="565437" cy="540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800">
                  <a:solidFill>
                    <a:schemeClr val="bg1"/>
                  </a:solidFill>
                  <a:latin typeface="Comic Sans MS" charset="0"/>
                  <a:ea typeface="ＭＳ Ｐゴシック" charset="0"/>
                  <a:cs typeface="ＭＳ Ｐゴシック" charset="0"/>
                </a:defRPr>
              </a:lvl1pPr>
              <a:lvl2pPr marL="742950" indent="-285750">
                <a:defRPr sz="2800">
                  <a:solidFill>
                    <a:schemeClr val="bg1"/>
                  </a:solidFill>
                  <a:latin typeface="Comic Sans MS" charset="0"/>
                  <a:ea typeface="ＭＳ Ｐゴシック" charset="0"/>
                </a:defRPr>
              </a:lvl2pPr>
              <a:lvl3pPr marL="1143000" indent="-228600">
                <a:defRPr sz="2800">
                  <a:solidFill>
                    <a:schemeClr val="bg1"/>
                  </a:solidFill>
                  <a:latin typeface="Comic Sans MS" charset="0"/>
                  <a:ea typeface="ＭＳ Ｐゴシック" charset="0"/>
                </a:defRPr>
              </a:lvl3pPr>
              <a:lvl4pPr marL="1600200" indent="-228600">
                <a:defRPr sz="2800">
                  <a:solidFill>
                    <a:schemeClr val="bg1"/>
                  </a:solidFill>
                  <a:latin typeface="Comic Sans MS" charset="0"/>
                  <a:ea typeface="ＭＳ Ｐゴシック" charset="0"/>
                </a:defRPr>
              </a:lvl4pPr>
              <a:lvl5pPr marL="2057400" indent="-228600">
                <a:defRPr sz="2800">
                  <a:solidFill>
                    <a:schemeClr val="bg1"/>
                  </a:solidFill>
                  <a:latin typeface="Comic Sans MS" charset="0"/>
                  <a:ea typeface="ＭＳ Ｐゴシック" charset="0"/>
                </a:defRPr>
              </a:lvl5pPr>
              <a:lvl6pPr marL="2514600" indent="-228600" eaLnBrk="0" fontAlgn="base" hangingPunct="0">
                <a:spcBef>
                  <a:spcPct val="0"/>
                </a:spcBef>
                <a:spcAft>
                  <a:spcPct val="0"/>
                </a:spcAft>
                <a:defRPr sz="2800">
                  <a:solidFill>
                    <a:schemeClr val="bg1"/>
                  </a:solidFill>
                  <a:latin typeface="Comic Sans MS" charset="0"/>
                  <a:ea typeface="ＭＳ Ｐゴシック" charset="0"/>
                </a:defRPr>
              </a:lvl6pPr>
              <a:lvl7pPr marL="2971800" indent="-228600" eaLnBrk="0" fontAlgn="base" hangingPunct="0">
                <a:spcBef>
                  <a:spcPct val="0"/>
                </a:spcBef>
                <a:spcAft>
                  <a:spcPct val="0"/>
                </a:spcAft>
                <a:defRPr sz="2800">
                  <a:solidFill>
                    <a:schemeClr val="bg1"/>
                  </a:solidFill>
                  <a:latin typeface="Comic Sans MS" charset="0"/>
                  <a:ea typeface="ＭＳ Ｐゴシック" charset="0"/>
                </a:defRPr>
              </a:lvl7pPr>
              <a:lvl8pPr marL="3429000" indent="-228600" eaLnBrk="0" fontAlgn="base" hangingPunct="0">
                <a:spcBef>
                  <a:spcPct val="0"/>
                </a:spcBef>
                <a:spcAft>
                  <a:spcPct val="0"/>
                </a:spcAft>
                <a:defRPr sz="2800">
                  <a:solidFill>
                    <a:schemeClr val="bg1"/>
                  </a:solidFill>
                  <a:latin typeface="Comic Sans MS" charset="0"/>
                  <a:ea typeface="ＭＳ Ｐゴシック" charset="0"/>
                </a:defRPr>
              </a:lvl8pPr>
              <a:lvl9pPr marL="3886200" indent="-228600" eaLnBrk="0" fontAlgn="base" hangingPunct="0">
                <a:spcBef>
                  <a:spcPct val="0"/>
                </a:spcBef>
                <a:spcAft>
                  <a:spcPct val="0"/>
                </a:spcAft>
                <a:defRPr sz="2800">
                  <a:solidFill>
                    <a:schemeClr val="bg1"/>
                  </a:solidFill>
                  <a:latin typeface="Comic Sans MS" charset="0"/>
                  <a:ea typeface="ＭＳ Ｐゴシック" charset="0"/>
                </a:defRPr>
              </a:lvl9pPr>
            </a:lstStyle>
            <a:p>
              <a:pPr algn="r" eaLnBrk="1" hangingPunct="1"/>
              <a:r>
                <a:rPr lang="en-US" sz="1201">
                  <a:solidFill>
                    <a:srgbClr val="000000"/>
                  </a:solidFill>
                  <a:latin typeface="Arial" panose="020B0604020202020204" pitchFamily="34" charset="0"/>
                  <a:cs typeface="Arial" panose="020B0604020202020204" pitchFamily="34" charset="0"/>
                </a:rPr>
                <a:t>0.6</a:t>
              </a:r>
            </a:p>
          </p:txBody>
        </p:sp>
        <p:sp>
          <p:nvSpPr>
            <p:cNvPr id="302" name="Line 24">
              <a:extLst>
                <a:ext uri="{FF2B5EF4-FFF2-40B4-BE49-F238E27FC236}">
                  <a16:creationId xmlns:a16="http://schemas.microsoft.com/office/drawing/2014/main" id="{7A62DE94-0800-0152-32D2-906FAC402320}"/>
                </a:ext>
              </a:extLst>
            </p:cNvPr>
            <p:cNvSpPr>
              <a:spLocks noChangeShapeType="1"/>
            </p:cNvSpPr>
            <p:nvPr/>
          </p:nvSpPr>
          <p:spPr bwMode="auto">
            <a:xfrm flipH="1">
              <a:off x="1760538" y="2492375"/>
              <a:ext cx="104775"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802">
                <a:latin typeface="Arial" panose="020B0604020202020204" pitchFamily="34" charset="0"/>
                <a:cs typeface="Arial" panose="020B0604020202020204" pitchFamily="34" charset="0"/>
              </a:endParaRPr>
            </a:p>
          </p:txBody>
        </p:sp>
        <p:sp>
          <p:nvSpPr>
            <p:cNvPr id="303" name="Text Box 25">
              <a:extLst>
                <a:ext uri="{FF2B5EF4-FFF2-40B4-BE49-F238E27FC236}">
                  <a16:creationId xmlns:a16="http://schemas.microsoft.com/office/drawing/2014/main" id="{09BC0669-1902-BEFA-744C-C26DE53D3CC0}"/>
                </a:ext>
              </a:extLst>
            </p:cNvPr>
            <p:cNvSpPr txBox="1">
              <a:spLocks noChangeArrowheads="1"/>
            </p:cNvSpPr>
            <p:nvPr/>
          </p:nvSpPr>
          <p:spPr bwMode="auto">
            <a:xfrm>
              <a:off x="1260221" y="1976439"/>
              <a:ext cx="565436" cy="5408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800">
                  <a:solidFill>
                    <a:schemeClr val="bg1"/>
                  </a:solidFill>
                  <a:latin typeface="Comic Sans MS" charset="0"/>
                  <a:ea typeface="ＭＳ Ｐゴシック" charset="0"/>
                  <a:cs typeface="ＭＳ Ｐゴシック" charset="0"/>
                </a:defRPr>
              </a:lvl1pPr>
              <a:lvl2pPr marL="742950" indent="-285750">
                <a:defRPr sz="2800">
                  <a:solidFill>
                    <a:schemeClr val="bg1"/>
                  </a:solidFill>
                  <a:latin typeface="Comic Sans MS" charset="0"/>
                  <a:ea typeface="ＭＳ Ｐゴシック" charset="0"/>
                </a:defRPr>
              </a:lvl2pPr>
              <a:lvl3pPr marL="1143000" indent="-228600">
                <a:defRPr sz="2800">
                  <a:solidFill>
                    <a:schemeClr val="bg1"/>
                  </a:solidFill>
                  <a:latin typeface="Comic Sans MS" charset="0"/>
                  <a:ea typeface="ＭＳ Ｐゴシック" charset="0"/>
                </a:defRPr>
              </a:lvl3pPr>
              <a:lvl4pPr marL="1600200" indent="-228600">
                <a:defRPr sz="2800">
                  <a:solidFill>
                    <a:schemeClr val="bg1"/>
                  </a:solidFill>
                  <a:latin typeface="Comic Sans MS" charset="0"/>
                  <a:ea typeface="ＭＳ Ｐゴシック" charset="0"/>
                </a:defRPr>
              </a:lvl4pPr>
              <a:lvl5pPr marL="2057400" indent="-228600">
                <a:defRPr sz="2800">
                  <a:solidFill>
                    <a:schemeClr val="bg1"/>
                  </a:solidFill>
                  <a:latin typeface="Comic Sans MS" charset="0"/>
                  <a:ea typeface="ＭＳ Ｐゴシック" charset="0"/>
                </a:defRPr>
              </a:lvl5pPr>
              <a:lvl6pPr marL="2514600" indent="-228600" eaLnBrk="0" fontAlgn="base" hangingPunct="0">
                <a:spcBef>
                  <a:spcPct val="0"/>
                </a:spcBef>
                <a:spcAft>
                  <a:spcPct val="0"/>
                </a:spcAft>
                <a:defRPr sz="2800">
                  <a:solidFill>
                    <a:schemeClr val="bg1"/>
                  </a:solidFill>
                  <a:latin typeface="Comic Sans MS" charset="0"/>
                  <a:ea typeface="ＭＳ Ｐゴシック" charset="0"/>
                </a:defRPr>
              </a:lvl6pPr>
              <a:lvl7pPr marL="2971800" indent="-228600" eaLnBrk="0" fontAlgn="base" hangingPunct="0">
                <a:spcBef>
                  <a:spcPct val="0"/>
                </a:spcBef>
                <a:spcAft>
                  <a:spcPct val="0"/>
                </a:spcAft>
                <a:defRPr sz="2800">
                  <a:solidFill>
                    <a:schemeClr val="bg1"/>
                  </a:solidFill>
                  <a:latin typeface="Comic Sans MS" charset="0"/>
                  <a:ea typeface="ＭＳ Ｐゴシック" charset="0"/>
                </a:defRPr>
              </a:lvl7pPr>
              <a:lvl8pPr marL="3429000" indent="-228600" eaLnBrk="0" fontAlgn="base" hangingPunct="0">
                <a:spcBef>
                  <a:spcPct val="0"/>
                </a:spcBef>
                <a:spcAft>
                  <a:spcPct val="0"/>
                </a:spcAft>
                <a:defRPr sz="2800">
                  <a:solidFill>
                    <a:schemeClr val="bg1"/>
                  </a:solidFill>
                  <a:latin typeface="Comic Sans MS" charset="0"/>
                  <a:ea typeface="ＭＳ Ｐゴシック" charset="0"/>
                </a:defRPr>
              </a:lvl8pPr>
              <a:lvl9pPr marL="3886200" indent="-228600" eaLnBrk="0" fontAlgn="base" hangingPunct="0">
                <a:spcBef>
                  <a:spcPct val="0"/>
                </a:spcBef>
                <a:spcAft>
                  <a:spcPct val="0"/>
                </a:spcAft>
                <a:defRPr sz="2800">
                  <a:solidFill>
                    <a:schemeClr val="bg1"/>
                  </a:solidFill>
                  <a:latin typeface="Comic Sans MS" charset="0"/>
                  <a:ea typeface="ＭＳ Ｐゴシック" charset="0"/>
                </a:defRPr>
              </a:lvl9pPr>
            </a:lstStyle>
            <a:p>
              <a:pPr algn="r" eaLnBrk="1" hangingPunct="1"/>
              <a:r>
                <a:rPr lang="en-US" sz="1201">
                  <a:solidFill>
                    <a:srgbClr val="000000"/>
                  </a:solidFill>
                  <a:latin typeface="Arial" panose="020B0604020202020204" pitchFamily="34" charset="0"/>
                  <a:cs typeface="Arial" panose="020B0604020202020204" pitchFamily="34" charset="0"/>
                </a:rPr>
                <a:t>0.7</a:t>
              </a:r>
            </a:p>
          </p:txBody>
        </p:sp>
        <p:sp>
          <p:nvSpPr>
            <p:cNvPr id="304" name="Line 26">
              <a:extLst>
                <a:ext uri="{FF2B5EF4-FFF2-40B4-BE49-F238E27FC236}">
                  <a16:creationId xmlns:a16="http://schemas.microsoft.com/office/drawing/2014/main" id="{0B203F95-6C1E-4D48-5BE8-53792AEEE75F}"/>
                </a:ext>
              </a:extLst>
            </p:cNvPr>
            <p:cNvSpPr>
              <a:spLocks noChangeShapeType="1"/>
            </p:cNvSpPr>
            <p:nvPr/>
          </p:nvSpPr>
          <p:spPr bwMode="auto">
            <a:xfrm flipH="1">
              <a:off x="1760538" y="2168525"/>
              <a:ext cx="104775"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802">
                <a:latin typeface="Arial" panose="020B0604020202020204" pitchFamily="34" charset="0"/>
                <a:cs typeface="Arial" panose="020B0604020202020204" pitchFamily="34" charset="0"/>
              </a:endParaRPr>
            </a:p>
          </p:txBody>
        </p:sp>
        <p:sp>
          <p:nvSpPr>
            <p:cNvPr id="305" name="Text Box 27">
              <a:extLst>
                <a:ext uri="{FF2B5EF4-FFF2-40B4-BE49-F238E27FC236}">
                  <a16:creationId xmlns:a16="http://schemas.microsoft.com/office/drawing/2014/main" id="{37B70CBA-EA3A-DFB4-045E-EE9AAB548DB4}"/>
                </a:ext>
              </a:extLst>
            </p:cNvPr>
            <p:cNvSpPr txBox="1">
              <a:spLocks noChangeArrowheads="1"/>
            </p:cNvSpPr>
            <p:nvPr/>
          </p:nvSpPr>
          <p:spPr bwMode="auto">
            <a:xfrm>
              <a:off x="1260192" y="1668464"/>
              <a:ext cx="565436" cy="5408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800">
                  <a:solidFill>
                    <a:schemeClr val="bg1"/>
                  </a:solidFill>
                  <a:latin typeface="Comic Sans MS" charset="0"/>
                  <a:ea typeface="ＭＳ Ｐゴシック" charset="0"/>
                  <a:cs typeface="ＭＳ Ｐゴシック" charset="0"/>
                </a:defRPr>
              </a:lvl1pPr>
              <a:lvl2pPr marL="742950" indent="-285750">
                <a:defRPr sz="2800">
                  <a:solidFill>
                    <a:schemeClr val="bg1"/>
                  </a:solidFill>
                  <a:latin typeface="Comic Sans MS" charset="0"/>
                  <a:ea typeface="ＭＳ Ｐゴシック" charset="0"/>
                </a:defRPr>
              </a:lvl2pPr>
              <a:lvl3pPr marL="1143000" indent="-228600">
                <a:defRPr sz="2800">
                  <a:solidFill>
                    <a:schemeClr val="bg1"/>
                  </a:solidFill>
                  <a:latin typeface="Comic Sans MS" charset="0"/>
                  <a:ea typeface="ＭＳ Ｐゴシック" charset="0"/>
                </a:defRPr>
              </a:lvl3pPr>
              <a:lvl4pPr marL="1600200" indent="-228600">
                <a:defRPr sz="2800">
                  <a:solidFill>
                    <a:schemeClr val="bg1"/>
                  </a:solidFill>
                  <a:latin typeface="Comic Sans MS" charset="0"/>
                  <a:ea typeface="ＭＳ Ｐゴシック" charset="0"/>
                </a:defRPr>
              </a:lvl4pPr>
              <a:lvl5pPr marL="2057400" indent="-228600">
                <a:defRPr sz="2800">
                  <a:solidFill>
                    <a:schemeClr val="bg1"/>
                  </a:solidFill>
                  <a:latin typeface="Comic Sans MS" charset="0"/>
                  <a:ea typeface="ＭＳ Ｐゴシック" charset="0"/>
                </a:defRPr>
              </a:lvl5pPr>
              <a:lvl6pPr marL="2514600" indent="-228600" eaLnBrk="0" fontAlgn="base" hangingPunct="0">
                <a:spcBef>
                  <a:spcPct val="0"/>
                </a:spcBef>
                <a:spcAft>
                  <a:spcPct val="0"/>
                </a:spcAft>
                <a:defRPr sz="2800">
                  <a:solidFill>
                    <a:schemeClr val="bg1"/>
                  </a:solidFill>
                  <a:latin typeface="Comic Sans MS" charset="0"/>
                  <a:ea typeface="ＭＳ Ｐゴシック" charset="0"/>
                </a:defRPr>
              </a:lvl6pPr>
              <a:lvl7pPr marL="2971800" indent="-228600" eaLnBrk="0" fontAlgn="base" hangingPunct="0">
                <a:spcBef>
                  <a:spcPct val="0"/>
                </a:spcBef>
                <a:spcAft>
                  <a:spcPct val="0"/>
                </a:spcAft>
                <a:defRPr sz="2800">
                  <a:solidFill>
                    <a:schemeClr val="bg1"/>
                  </a:solidFill>
                  <a:latin typeface="Comic Sans MS" charset="0"/>
                  <a:ea typeface="ＭＳ Ｐゴシック" charset="0"/>
                </a:defRPr>
              </a:lvl7pPr>
              <a:lvl8pPr marL="3429000" indent="-228600" eaLnBrk="0" fontAlgn="base" hangingPunct="0">
                <a:spcBef>
                  <a:spcPct val="0"/>
                </a:spcBef>
                <a:spcAft>
                  <a:spcPct val="0"/>
                </a:spcAft>
                <a:defRPr sz="2800">
                  <a:solidFill>
                    <a:schemeClr val="bg1"/>
                  </a:solidFill>
                  <a:latin typeface="Comic Sans MS" charset="0"/>
                  <a:ea typeface="ＭＳ Ｐゴシック" charset="0"/>
                </a:defRPr>
              </a:lvl8pPr>
              <a:lvl9pPr marL="3886200" indent="-228600" eaLnBrk="0" fontAlgn="base" hangingPunct="0">
                <a:spcBef>
                  <a:spcPct val="0"/>
                </a:spcBef>
                <a:spcAft>
                  <a:spcPct val="0"/>
                </a:spcAft>
                <a:defRPr sz="2800">
                  <a:solidFill>
                    <a:schemeClr val="bg1"/>
                  </a:solidFill>
                  <a:latin typeface="Comic Sans MS" charset="0"/>
                  <a:ea typeface="ＭＳ Ｐゴシック" charset="0"/>
                </a:defRPr>
              </a:lvl9pPr>
            </a:lstStyle>
            <a:p>
              <a:pPr algn="r" eaLnBrk="1" hangingPunct="1"/>
              <a:r>
                <a:rPr lang="en-US" sz="1201">
                  <a:solidFill>
                    <a:srgbClr val="000000"/>
                  </a:solidFill>
                  <a:latin typeface="Arial" panose="020B0604020202020204" pitchFamily="34" charset="0"/>
                  <a:cs typeface="Arial" panose="020B0604020202020204" pitchFamily="34" charset="0"/>
                </a:rPr>
                <a:t>0.8</a:t>
              </a:r>
            </a:p>
          </p:txBody>
        </p:sp>
        <p:sp>
          <p:nvSpPr>
            <p:cNvPr id="306" name="Line 28">
              <a:extLst>
                <a:ext uri="{FF2B5EF4-FFF2-40B4-BE49-F238E27FC236}">
                  <a16:creationId xmlns:a16="http://schemas.microsoft.com/office/drawing/2014/main" id="{8A75A3AC-046C-720F-5A53-03A1D85F39F2}"/>
                </a:ext>
              </a:extLst>
            </p:cNvPr>
            <p:cNvSpPr>
              <a:spLocks noChangeShapeType="1"/>
            </p:cNvSpPr>
            <p:nvPr/>
          </p:nvSpPr>
          <p:spPr bwMode="auto">
            <a:xfrm flipH="1">
              <a:off x="1760538" y="2803525"/>
              <a:ext cx="104775"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802">
                <a:latin typeface="Arial" panose="020B0604020202020204" pitchFamily="34" charset="0"/>
                <a:cs typeface="Arial" panose="020B0604020202020204" pitchFamily="34" charset="0"/>
              </a:endParaRPr>
            </a:p>
          </p:txBody>
        </p:sp>
        <p:sp>
          <p:nvSpPr>
            <p:cNvPr id="307" name="Line 29">
              <a:extLst>
                <a:ext uri="{FF2B5EF4-FFF2-40B4-BE49-F238E27FC236}">
                  <a16:creationId xmlns:a16="http://schemas.microsoft.com/office/drawing/2014/main" id="{ECEF17C3-C8D5-29A9-E886-6A771E7A1D1A}"/>
                </a:ext>
              </a:extLst>
            </p:cNvPr>
            <p:cNvSpPr>
              <a:spLocks noChangeShapeType="1"/>
            </p:cNvSpPr>
            <p:nvPr/>
          </p:nvSpPr>
          <p:spPr bwMode="auto">
            <a:xfrm flipH="1">
              <a:off x="1760538" y="1865313"/>
              <a:ext cx="104775"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802">
                <a:latin typeface="Arial" panose="020B0604020202020204" pitchFamily="34" charset="0"/>
                <a:cs typeface="Arial" panose="020B0604020202020204" pitchFamily="34" charset="0"/>
              </a:endParaRPr>
            </a:p>
          </p:txBody>
        </p:sp>
        <p:sp>
          <p:nvSpPr>
            <p:cNvPr id="308" name="Text Box 30">
              <a:extLst>
                <a:ext uri="{FF2B5EF4-FFF2-40B4-BE49-F238E27FC236}">
                  <a16:creationId xmlns:a16="http://schemas.microsoft.com/office/drawing/2014/main" id="{54580BC8-B163-2B7B-75BE-BAD07037480A}"/>
                </a:ext>
              </a:extLst>
            </p:cNvPr>
            <p:cNvSpPr txBox="1">
              <a:spLocks noChangeArrowheads="1"/>
            </p:cNvSpPr>
            <p:nvPr/>
          </p:nvSpPr>
          <p:spPr bwMode="auto">
            <a:xfrm>
              <a:off x="1260192" y="1357313"/>
              <a:ext cx="565436" cy="5408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800">
                  <a:solidFill>
                    <a:schemeClr val="bg1"/>
                  </a:solidFill>
                  <a:latin typeface="Comic Sans MS" charset="0"/>
                  <a:ea typeface="ＭＳ Ｐゴシック" charset="0"/>
                  <a:cs typeface="ＭＳ Ｐゴシック" charset="0"/>
                </a:defRPr>
              </a:lvl1pPr>
              <a:lvl2pPr marL="742950" indent="-285750">
                <a:defRPr sz="2800">
                  <a:solidFill>
                    <a:schemeClr val="bg1"/>
                  </a:solidFill>
                  <a:latin typeface="Comic Sans MS" charset="0"/>
                  <a:ea typeface="ＭＳ Ｐゴシック" charset="0"/>
                </a:defRPr>
              </a:lvl2pPr>
              <a:lvl3pPr marL="1143000" indent="-228600">
                <a:defRPr sz="2800">
                  <a:solidFill>
                    <a:schemeClr val="bg1"/>
                  </a:solidFill>
                  <a:latin typeface="Comic Sans MS" charset="0"/>
                  <a:ea typeface="ＭＳ Ｐゴシック" charset="0"/>
                </a:defRPr>
              </a:lvl3pPr>
              <a:lvl4pPr marL="1600200" indent="-228600">
                <a:defRPr sz="2800">
                  <a:solidFill>
                    <a:schemeClr val="bg1"/>
                  </a:solidFill>
                  <a:latin typeface="Comic Sans MS" charset="0"/>
                  <a:ea typeface="ＭＳ Ｐゴシック" charset="0"/>
                </a:defRPr>
              </a:lvl4pPr>
              <a:lvl5pPr marL="2057400" indent="-228600">
                <a:defRPr sz="2800">
                  <a:solidFill>
                    <a:schemeClr val="bg1"/>
                  </a:solidFill>
                  <a:latin typeface="Comic Sans MS" charset="0"/>
                  <a:ea typeface="ＭＳ Ｐゴシック" charset="0"/>
                </a:defRPr>
              </a:lvl5pPr>
              <a:lvl6pPr marL="2514600" indent="-228600" eaLnBrk="0" fontAlgn="base" hangingPunct="0">
                <a:spcBef>
                  <a:spcPct val="0"/>
                </a:spcBef>
                <a:spcAft>
                  <a:spcPct val="0"/>
                </a:spcAft>
                <a:defRPr sz="2800">
                  <a:solidFill>
                    <a:schemeClr val="bg1"/>
                  </a:solidFill>
                  <a:latin typeface="Comic Sans MS" charset="0"/>
                  <a:ea typeface="ＭＳ Ｐゴシック" charset="0"/>
                </a:defRPr>
              </a:lvl6pPr>
              <a:lvl7pPr marL="2971800" indent="-228600" eaLnBrk="0" fontAlgn="base" hangingPunct="0">
                <a:spcBef>
                  <a:spcPct val="0"/>
                </a:spcBef>
                <a:spcAft>
                  <a:spcPct val="0"/>
                </a:spcAft>
                <a:defRPr sz="2800">
                  <a:solidFill>
                    <a:schemeClr val="bg1"/>
                  </a:solidFill>
                  <a:latin typeface="Comic Sans MS" charset="0"/>
                  <a:ea typeface="ＭＳ Ｐゴシック" charset="0"/>
                </a:defRPr>
              </a:lvl7pPr>
              <a:lvl8pPr marL="3429000" indent="-228600" eaLnBrk="0" fontAlgn="base" hangingPunct="0">
                <a:spcBef>
                  <a:spcPct val="0"/>
                </a:spcBef>
                <a:spcAft>
                  <a:spcPct val="0"/>
                </a:spcAft>
                <a:defRPr sz="2800">
                  <a:solidFill>
                    <a:schemeClr val="bg1"/>
                  </a:solidFill>
                  <a:latin typeface="Comic Sans MS" charset="0"/>
                  <a:ea typeface="ＭＳ Ｐゴシック" charset="0"/>
                </a:defRPr>
              </a:lvl8pPr>
              <a:lvl9pPr marL="3886200" indent="-228600" eaLnBrk="0" fontAlgn="base" hangingPunct="0">
                <a:spcBef>
                  <a:spcPct val="0"/>
                </a:spcBef>
                <a:spcAft>
                  <a:spcPct val="0"/>
                </a:spcAft>
                <a:defRPr sz="2800">
                  <a:solidFill>
                    <a:schemeClr val="bg1"/>
                  </a:solidFill>
                  <a:latin typeface="Comic Sans MS" charset="0"/>
                  <a:ea typeface="ＭＳ Ｐゴシック" charset="0"/>
                </a:defRPr>
              </a:lvl9pPr>
            </a:lstStyle>
            <a:p>
              <a:pPr algn="r" eaLnBrk="1" hangingPunct="1"/>
              <a:r>
                <a:rPr lang="en-US" sz="1201">
                  <a:solidFill>
                    <a:srgbClr val="000000"/>
                  </a:solidFill>
                  <a:latin typeface="Arial" panose="020B0604020202020204" pitchFamily="34" charset="0"/>
                  <a:cs typeface="Arial" panose="020B0604020202020204" pitchFamily="34" charset="0"/>
                </a:rPr>
                <a:t>0.9</a:t>
              </a:r>
            </a:p>
          </p:txBody>
        </p:sp>
        <p:sp>
          <p:nvSpPr>
            <p:cNvPr id="309" name="Line 31">
              <a:extLst>
                <a:ext uri="{FF2B5EF4-FFF2-40B4-BE49-F238E27FC236}">
                  <a16:creationId xmlns:a16="http://schemas.microsoft.com/office/drawing/2014/main" id="{15F87FBF-37BE-6C45-D34C-263BBB64EEBA}"/>
                </a:ext>
              </a:extLst>
            </p:cNvPr>
            <p:cNvSpPr>
              <a:spLocks noChangeShapeType="1"/>
            </p:cNvSpPr>
            <p:nvPr/>
          </p:nvSpPr>
          <p:spPr bwMode="auto">
            <a:xfrm flipH="1">
              <a:off x="1760538" y="1549400"/>
              <a:ext cx="104775"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802">
                <a:latin typeface="Arial" panose="020B0604020202020204" pitchFamily="34" charset="0"/>
                <a:cs typeface="Arial" panose="020B0604020202020204" pitchFamily="34" charset="0"/>
              </a:endParaRPr>
            </a:p>
          </p:txBody>
        </p:sp>
        <p:sp>
          <p:nvSpPr>
            <p:cNvPr id="310" name="Text Box 32">
              <a:extLst>
                <a:ext uri="{FF2B5EF4-FFF2-40B4-BE49-F238E27FC236}">
                  <a16:creationId xmlns:a16="http://schemas.microsoft.com/office/drawing/2014/main" id="{53EAF9A1-47BD-5A79-9135-8EC306A3D6B9}"/>
                </a:ext>
              </a:extLst>
            </p:cNvPr>
            <p:cNvSpPr txBox="1">
              <a:spLocks noChangeArrowheads="1"/>
            </p:cNvSpPr>
            <p:nvPr/>
          </p:nvSpPr>
          <p:spPr bwMode="auto">
            <a:xfrm>
              <a:off x="1260191" y="1049338"/>
              <a:ext cx="565436" cy="5408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800">
                  <a:solidFill>
                    <a:schemeClr val="bg1"/>
                  </a:solidFill>
                  <a:latin typeface="Comic Sans MS" charset="0"/>
                  <a:ea typeface="ＭＳ Ｐゴシック" charset="0"/>
                  <a:cs typeface="ＭＳ Ｐゴシック" charset="0"/>
                </a:defRPr>
              </a:lvl1pPr>
              <a:lvl2pPr marL="742950" indent="-285750">
                <a:defRPr sz="2800">
                  <a:solidFill>
                    <a:schemeClr val="bg1"/>
                  </a:solidFill>
                  <a:latin typeface="Comic Sans MS" charset="0"/>
                  <a:ea typeface="ＭＳ Ｐゴシック" charset="0"/>
                </a:defRPr>
              </a:lvl2pPr>
              <a:lvl3pPr marL="1143000" indent="-228600">
                <a:defRPr sz="2800">
                  <a:solidFill>
                    <a:schemeClr val="bg1"/>
                  </a:solidFill>
                  <a:latin typeface="Comic Sans MS" charset="0"/>
                  <a:ea typeface="ＭＳ Ｐゴシック" charset="0"/>
                </a:defRPr>
              </a:lvl3pPr>
              <a:lvl4pPr marL="1600200" indent="-228600">
                <a:defRPr sz="2800">
                  <a:solidFill>
                    <a:schemeClr val="bg1"/>
                  </a:solidFill>
                  <a:latin typeface="Comic Sans MS" charset="0"/>
                  <a:ea typeface="ＭＳ Ｐゴシック" charset="0"/>
                </a:defRPr>
              </a:lvl4pPr>
              <a:lvl5pPr marL="2057400" indent="-228600">
                <a:defRPr sz="2800">
                  <a:solidFill>
                    <a:schemeClr val="bg1"/>
                  </a:solidFill>
                  <a:latin typeface="Comic Sans MS" charset="0"/>
                  <a:ea typeface="ＭＳ Ｐゴシック" charset="0"/>
                </a:defRPr>
              </a:lvl5pPr>
              <a:lvl6pPr marL="2514600" indent="-228600" eaLnBrk="0" fontAlgn="base" hangingPunct="0">
                <a:spcBef>
                  <a:spcPct val="0"/>
                </a:spcBef>
                <a:spcAft>
                  <a:spcPct val="0"/>
                </a:spcAft>
                <a:defRPr sz="2800">
                  <a:solidFill>
                    <a:schemeClr val="bg1"/>
                  </a:solidFill>
                  <a:latin typeface="Comic Sans MS" charset="0"/>
                  <a:ea typeface="ＭＳ Ｐゴシック" charset="0"/>
                </a:defRPr>
              </a:lvl6pPr>
              <a:lvl7pPr marL="2971800" indent="-228600" eaLnBrk="0" fontAlgn="base" hangingPunct="0">
                <a:spcBef>
                  <a:spcPct val="0"/>
                </a:spcBef>
                <a:spcAft>
                  <a:spcPct val="0"/>
                </a:spcAft>
                <a:defRPr sz="2800">
                  <a:solidFill>
                    <a:schemeClr val="bg1"/>
                  </a:solidFill>
                  <a:latin typeface="Comic Sans MS" charset="0"/>
                  <a:ea typeface="ＭＳ Ｐゴシック" charset="0"/>
                </a:defRPr>
              </a:lvl7pPr>
              <a:lvl8pPr marL="3429000" indent="-228600" eaLnBrk="0" fontAlgn="base" hangingPunct="0">
                <a:spcBef>
                  <a:spcPct val="0"/>
                </a:spcBef>
                <a:spcAft>
                  <a:spcPct val="0"/>
                </a:spcAft>
                <a:defRPr sz="2800">
                  <a:solidFill>
                    <a:schemeClr val="bg1"/>
                  </a:solidFill>
                  <a:latin typeface="Comic Sans MS" charset="0"/>
                  <a:ea typeface="ＭＳ Ｐゴシック" charset="0"/>
                </a:defRPr>
              </a:lvl8pPr>
              <a:lvl9pPr marL="3886200" indent="-228600" eaLnBrk="0" fontAlgn="base" hangingPunct="0">
                <a:spcBef>
                  <a:spcPct val="0"/>
                </a:spcBef>
                <a:spcAft>
                  <a:spcPct val="0"/>
                </a:spcAft>
                <a:defRPr sz="2800">
                  <a:solidFill>
                    <a:schemeClr val="bg1"/>
                  </a:solidFill>
                  <a:latin typeface="Comic Sans MS" charset="0"/>
                  <a:ea typeface="ＭＳ Ｐゴシック" charset="0"/>
                </a:defRPr>
              </a:lvl9pPr>
            </a:lstStyle>
            <a:p>
              <a:pPr algn="r" eaLnBrk="1" hangingPunct="1"/>
              <a:r>
                <a:rPr lang="en-US" sz="1201">
                  <a:solidFill>
                    <a:srgbClr val="000000"/>
                  </a:solidFill>
                  <a:latin typeface="Arial" panose="020B0604020202020204" pitchFamily="34" charset="0"/>
                  <a:cs typeface="Arial" panose="020B0604020202020204" pitchFamily="34" charset="0"/>
                </a:rPr>
                <a:t>1.0</a:t>
              </a:r>
            </a:p>
          </p:txBody>
        </p:sp>
        <p:sp>
          <p:nvSpPr>
            <p:cNvPr id="311" name="Line 33">
              <a:extLst>
                <a:ext uri="{FF2B5EF4-FFF2-40B4-BE49-F238E27FC236}">
                  <a16:creationId xmlns:a16="http://schemas.microsoft.com/office/drawing/2014/main" id="{F8A694D5-9A54-8CE7-1826-9600D4C1C726}"/>
                </a:ext>
              </a:extLst>
            </p:cNvPr>
            <p:cNvSpPr>
              <a:spLocks noChangeShapeType="1"/>
            </p:cNvSpPr>
            <p:nvPr/>
          </p:nvSpPr>
          <p:spPr bwMode="auto">
            <a:xfrm flipH="1">
              <a:off x="1760538" y="1247775"/>
              <a:ext cx="104775"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802">
                <a:latin typeface="Arial" panose="020B0604020202020204" pitchFamily="34" charset="0"/>
                <a:cs typeface="Arial" panose="020B0604020202020204" pitchFamily="34" charset="0"/>
              </a:endParaRPr>
            </a:p>
          </p:txBody>
        </p:sp>
        <p:sp>
          <p:nvSpPr>
            <p:cNvPr id="312" name="Text Box 34">
              <a:extLst>
                <a:ext uri="{FF2B5EF4-FFF2-40B4-BE49-F238E27FC236}">
                  <a16:creationId xmlns:a16="http://schemas.microsoft.com/office/drawing/2014/main" id="{4B826D48-8A04-983F-6DA9-3E8C468541DD}"/>
                </a:ext>
              </a:extLst>
            </p:cNvPr>
            <p:cNvSpPr txBox="1">
              <a:spLocks noChangeArrowheads="1"/>
            </p:cNvSpPr>
            <p:nvPr/>
          </p:nvSpPr>
          <p:spPr bwMode="auto">
            <a:xfrm rot="16200000">
              <a:off x="-614917" y="2711380"/>
              <a:ext cx="3188742" cy="3938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800">
                  <a:solidFill>
                    <a:schemeClr val="bg1"/>
                  </a:solidFill>
                  <a:latin typeface="Comic Sans MS" charset="0"/>
                  <a:ea typeface="ＭＳ Ｐゴシック" charset="0"/>
                  <a:cs typeface="ＭＳ Ｐゴシック" charset="0"/>
                </a:defRPr>
              </a:lvl1pPr>
              <a:lvl2pPr marL="742950" indent="-285750">
                <a:defRPr sz="2800">
                  <a:solidFill>
                    <a:schemeClr val="bg1"/>
                  </a:solidFill>
                  <a:latin typeface="Comic Sans MS" charset="0"/>
                  <a:ea typeface="ＭＳ Ｐゴシック" charset="0"/>
                </a:defRPr>
              </a:lvl2pPr>
              <a:lvl3pPr marL="1143000" indent="-228600">
                <a:defRPr sz="2800">
                  <a:solidFill>
                    <a:schemeClr val="bg1"/>
                  </a:solidFill>
                  <a:latin typeface="Comic Sans MS" charset="0"/>
                  <a:ea typeface="ＭＳ Ｐゴシック" charset="0"/>
                </a:defRPr>
              </a:lvl3pPr>
              <a:lvl4pPr marL="1600200" indent="-228600">
                <a:defRPr sz="2800">
                  <a:solidFill>
                    <a:schemeClr val="bg1"/>
                  </a:solidFill>
                  <a:latin typeface="Comic Sans MS" charset="0"/>
                  <a:ea typeface="ＭＳ Ｐゴシック" charset="0"/>
                </a:defRPr>
              </a:lvl4pPr>
              <a:lvl5pPr marL="2057400" indent="-228600">
                <a:defRPr sz="2800">
                  <a:solidFill>
                    <a:schemeClr val="bg1"/>
                  </a:solidFill>
                  <a:latin typeface="Comic Sans MS" charset="0"/>
                  <a:ea typeface="ＭＳ Ｐゴシック" charset="0"/>
                </a:defRPr>
              </a:lvl5pPr>
              <a:lvl6pPr marL="2514600" indent="-228600" eaLnBrk="0" fontAlgn="base" hangingPunct="0">
                <a:spcBef>
                  <a:spcPct val="0"/>
                </a:spcBef>
                <a:spcAft>
                  <a:spcPct val="0"/>
                </a:spcAft>
                <a:defRPr sz="2800">
                  <a:solidFill>
                    <a:schemeClr val="bg1"/>
                  </a:solidFill>
                  <a:latin typeface="Comic Sans MS" charset="0"/>
                  <a:ea typeface="ＭＳ Ｐゴシック" charset="0"/>
                </a:defRPr>
              </a:lvl6pPr>
              <a:lvl7pPr marL="2971800" indent="-228600" eaLnBrk="0" fontAlgn="base" hangingPunct="0">
                <a:spcBef>
                  <a:spcPct val="0"/>
                </a:spcBef>
                <a:spcAft>
                  <a:spcPct val="0"/>
                </a:spcAft>
                <a:defRPr sz="2800">
                  <a:solidFill>
                    <a:schemeClr val="bg1"/>
                  </a:solidFill>
                  <a:latin typeface="Comic Sans MS" charset="0"/>
                  <a:ea typeface="ＭＳ Ｐゴシック" charset="0"/>
                </a:defRPr>
              </a:lvl7pPr>
              <a:lvl8pPr marL="3429000" indent="-228600" eaLnBrk="0" fontAlgn="base" hangingPunct="0">
                <a:spcBef>
                  <a:spcPct val="0"/>
                </a:spcBef>
                <a:spcAft>
                  <a:spcPct val="0"/>
                </a:spcAft>
                <a:defRPr sz="2800">
                  <a:solidFill>
                    <a:schemeClr val="bg1"/>
                  </a:solidFill>
                  <a:latin typeface="Comic Sans MS" charset="0"/>
                  <a:ea typeface="ＭＳ Ｐゴシック" charset="0"/>
                </a:defRPr>
              </a:lvl8pPr>
              <a:lvl9pPr marL="3886200" indent="-228600" eaLnBrk="0" fontAlgn="base" hangingPunct="0">
                <a:spcBef>
                  <a:spcPct val="0"/>
                </a:spcBef>
                <a:spcAft>
                  <a:spcPct val="0"/>
                </a:spcAft>
                <a:defRPr sz="2800">
                  <a:solidFill>
                    <a:schemeClr val="bg1"/>
                  </a:solidFill>
                  <a:latin typeface="Comic Sans MS" charset="0"/>
                  <a:ea typeface="ＭＳ Ｐゴシック" charset="0"/>
                </a:defRPr>
              </a:lvl9pPr>
            </a:lstStyle>
            <a:p>
              <a:pPr algn="ctr" eaLnBrk="1" hangingPunct="1"/>
              <a:r>
                <a:rPr lang="en-US" sz="1201" dirty="0">
                  <a:solidFill>
                    <a:srgbClr val="000000"/>
                  </a:solidFill>
                  <a:latin typeface="Arial" panose="020B0604020202020204" pitchFamily="34" charset="0"/>
                  <a:cs typeface="Arial" panose="020B0604020202020204" pitchFamily="34" charset="0"/>
                </a:rPr>
                <a:t>Probability of survival</a:t>
              </a:r>
            </a:p>
          </p:txBody>
        </p:sp>
        <p:sp>
          <p:nvSpPr>
            <p:cNvPr id="313" name="Line 36">
              <a:extLst>
                <a:ext uri="{FF2B5EF4-FFF2-40B4-BE49-F238E27FC236}">
                  <a16:creationId xmlns:a16="http://schemas.microsoft.com/office/drawing/2014/main" id="{ECBAE7B0-4531-7343-9CFA-2B318D42A85F}"/>
                </a:ext>
              </a:extLst>
            </p:cNvPr>
            <p:cNvSpPr>
              <a:spLocks noChangeShapeType="1"/>
            </p:cNvSpPr>
            <p:nvPr/>
          </p:nvSpPr>
          <p:spPr bwMode="auto">
            <a:xfrm>
              <a:off x="1862138" y="4359275"/>
              <a:ext cx="0" cy="98425"/>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802">
                <a:latin typeface="Arial" panose="020B0604020202020204" pitchFamily="34" charset="0"/>
                <a:cs typeface="Arial" panose="020B0604020202020204" pitchFamily="34" charset="0"/>
              </a:endParaRPr>
            </a:p>
          </p:txBody>
        </p:sp>
        <p:sp>
          <p:nvSpPr>
            <p:cNvPr id="314" name="Line 38">
              <a:extLst>
                <a:ext uri="{FF2B5EF4-FFF2-40B4-BE49-F238E27FC236}">
                  <a16:creationId xmlns:a16="http://schemas.microsoft.com/office/drawing/2014/main" id="{B703EBF9-6D25-E25E-5083-E1F9D4EE37E3}"/>
                </a:ext>
              </a:extLst>
            </p:cNvPr>
            <p:cNvSpPr>
              <a:spLocks noChangeShapeType="1"/>
            </p:cNvSpPr>
            <p:nvPr/>
          </p:nvSpPr>
          <p:spPr bwMode="auto">
            <a:xfrm>
              <a:off x="2298700" y="4359275"/>
              <a:ext cx="0" cy="98425"/>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802">
                <a:latin typeface="Arial" panose="020B0604020202020204" pitchFamily="34" charset="0"/>
                <a:cs typeface="Arial" panose="020B0604020202020204" pitchFamily="34" charset="0"/>
              </a:endParaRPr>
            </a:p>
          </p:txBody>
        </p:sp>
        <p:sp>
          <p:nvSpPr>
            <p:cNvPr id="315" name="Line 40">
              <a:extLst>
                <a:ext uri="{FF2B5EF4-FFF2-40B4-BE49-F238E27FC236}">
                  <a16:creationId xmlns:a16="http://schemas.microsoft.com/office/drawing/2014/main" id="{E5789DB1-ADFD-D9F1-FC89-D3BFCA9FB601}"/>
                </a:ext>
              </a:extLst>
            </p:cNvPr>
            <p:cNvSpPr>
              <a:spLocks noChangeShapeType="1"/>
            </p:cNvSpPr>
            <p:nvPr/>
          </p:nvSpPr>
          <p:spPr bwMode="auto">
            <a:xfrm>
              <a:off x="2708275" y="4359275"/>
              <a:ext cx="0" cy="98425"/>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802">
                <a:latin typeface="Arial" panose="020B0604020202020204" pitchFamily="34" charset="0"/>
                <a:cs typeface="Arial" panose="020B0604020202020204" pitchFamily="34" charset="0"/>
              </a:endParaRPr>
            </a:p>
          </p:txBody>
        </p:sp>
        <p:sp>
          <p:nvSpPr>
            <p:cNvPr id="316" name="Line 42">
              <a:extLst>
                <a:ext uri="{FF2B5EF4-FFF2-40B4-BE49-F238E27FC236}">
                  <a16:creationId xmlns:a16="http://schemas.microsoft.com/office/drawing/2014/main" id="{F4CEEEE6-C127-9443-02A5-3BE4E1E38E2F}"/>
                </a:ext>
              </a:extLst>
            </p:cNvPr>
            <p:cNvSpPr>
              <a:spLocks noChangeShapeType="1"/>
            </p:cNvSpPr>
            <p:nvPr/>
          </p:nvSpPr>
          <p:spPr bwMode="auto">
            <a:xfrm>
              <a:off x="3136900" y="4359275"/>
              <a:ext cx="0" cy="98425"/>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802">
                <a:latin typeface="Arial" panose="020B0604020202020204" pitchFamily="34" charset="0"/>
                <a:cs typeface="Arial" panose="020B0604020202020204" pitchFamily="34" charset="0"/>
              </a:endParaRPr>
            </a:p>
          </p:txBody>
        </p:sp>
        <p:sp>
          <p:nvSpPr>
            <p:cNvPr id="317" name="Line 44">
              <a:extLst>
                <a:ext uri="{FF2B5EF4-FFF2-40B4-BE49-F238E27FC236}">
                  <a16:creationId xmlns:a16="http://schemas.microsoft.com/office/drawing/2014/main" id="{2DEFB829-9A80-58F1-EBEC-D30C4587011C}"/>
                </a:ext>
              </a:extLst>
            </p:cNvPr>
            <p:cNvSpPr>
              <a:spLocks noChangeShapeType="1"/>
            </p:cNvSpPr>
            <p:nvPr/>
          </p:nvSpPr>
          <p:spPr bwMode="auto">
            <a:xfrm>
              <a:off x="3562350" y="4359275"/>
              <a:ext cx="0" cy="98425"/>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802">
                <a:latin typeface="Arial" panose="020B0604020202020204" pitchFamily="34" charset="0"/>
                <a:cs typeface="Arial" panose="020B0604020202020204" pitchFamily="34" charset="0"/>
              </a:endParaRPr>
            </a:p>
          </p:txBody>
        </p:sp>
        <p:sp>
          <p:nvSpPr>
            <p:cNvPr id="318" name="Line 46">
              <a:extLst>
                <a:ext uri="{FF2B5EF4-FFF2-40B4-BE49-F238E27FC236}">
                  <a16:creationId xmlns:a16="http://schemas.microsoft.com/office/drawing/2014/main" id="{15B71511-52CB-0D58-E548-60BD155A47C3}"/>
                </a:ext>
              </a:extLst>
            </p:cNvPr>
            <p:cNvSpPr>
              <a:spLocks noChangeShapeType="1"/>
            </p:cNvSpPr>
            <p:nvPr/>
          </p:nvSpPr>
          <p:spPr bwMode="auto">
            <a:xfrm>
              <a:off x="3997325" y="4359275"/>
              <a:ext cx="0" cy="98425"/>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802">
                <a:latin typeface="Arial" panose="020B0604020202020204" pitchFamily="34" charset="0"/>
                <a:cs typeface="Arial" panose="020B0604020202020204" pitchFamily="34" charset="0"/>
              </a:endParaRPr>
            </a:p>
          </p:txBody>
        </p:sp>
        <p:sp>
          <p:nvSpPr>
            <p:cNvPr id="319" name="Line 48">
              <a:extLst>
                <a:ext uri="{FF2B5EF4-FFF2-40B4-BE49-F238E27FC236}">
                  <a16:creationId xmlns:a16="http://schemas.microsoft.com/office/drawing/2014/main" id="{547DCE3E-6814-48E1-6B1F-07E50AA5BDF2}"/>
                </a:ext>
              </a:extLst>
            </p:cNvPr>
            <p:cNvSpPr>
              <a:spLocks noChangeShapeType="1"/>
            </p:cNvSpPr>
            <p:nvPr/>
          </p:nvSpPr>
          <p:spPr bwMode="auto">
            <a:xfrm>
              <a:off x="4408488" y="4359275"/>
              <a:ext cx="0" cy="98425"/>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802">
                <a:latin typeface="Arial" panose="020B0604020202020204" pitchFamily="34" charset="0"/>
                <a:cs typeface="Arial" panose="020B0604020202020204" pitchFamily="34" charset="0"/>
              </a:endParaRPr>
            </a:p>
          </p:txBody>
        </p:sp>
        <p:sp>
          <p:nvSpPr>
            <p:cNvPr id="320" name="Line 50">
              <a:extLst>
                <a:ext uri="{FF2B5EF4-FFF2-40B4-BE49-F238E27FC236}">
                  <a16:creationId xmlns:a16="http://schemas.microsoft.com/office/drawing/2014/main" id="{67E7AEE8-274C-5BE1-AD6F-5DE84FF972F4}"/>
                </a:ext>
              </a:extLst>
            </p:cNvPr>
            <p:cNvSpPr>
              <a:spLocks noChangeShapeType="1"/>
            </p:cNvSpPr>
            <p:nvPr/>
          </p:nvSpPr>
          <p:spPr bwMode="auto">
            <a:xfrm>
              <a:off x="4837113" y="4359275"/>
              <a:ext cx="0" cy="98425"/>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802">
                <a:latin typeface="Arial" panose="020B0604020202020204" pitchFamily="34" charset="0"/>
                <a:cs typeface="Arial" panose="020B0604020202020204" pitchFamily="34" charset="0"/>
              </a:endParaRPr>
            </a:p>
          </p:txBody>
        </p:sp>
        <p:sp>
          <p:nvSpPr>
            <p:cNvPr id="321" name="Line 52">
              <a:extLst>
                <a:ext uri="{FF2B5EF4-FFF2-40B4-BE49-F238E27FC236}">
                  <a16:creationId xmlns:a16="http://schemas.microsoft.com/office/drawing/2014/main" id="{E421D152-666D-9475-DC3C-4897EEA8525D}"/>
                </a:ext>
              </a:extLst>
            </p:cNvPr>
            <p:cNvSpPr>
              <a:spLocks noChangeShapeType="1"/>
            </p:cNvSpPr>
            <p:nvPr/>
          </p:nvSpPr>
          <p:spPr bwMode="auto">
            <a:xfrm>
              <a:off x="5259388" y="4359275"/>
              <a:ext cx="0" cy="98425"/>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802">
                <a:latin typeface="Arial" panose="020B0604020202020204" pitchFamily="34" charset="0"/>
                <a:cs typeface="Arial" panose="020B0604020202020204" pitchFamily="34" charset="0"/>
              </a:endParaRPr>
            </a:p>
          </p:txBody>
        </p:sp>
        <p:sp>
          <p:nvSpPr>
            <p:cNvPr id="322" name="Line 54">
              <a:extLst>
                <a:ext uri="{FF2B5EF4-FFF2-40B4-BE49-F238E27FC236}">
                  <a16:creationId xmlns:a16="http://schemas.microsoft.com/office/drawing/2014/main" id="{35F52A26-2FE6-FD10-7AAE-45452B175B9A}"/>
                </a:ext>
              </a:extLst>
            </p:cNvPr>
            <p:cNvSpPr>
              <a:spLocks noChangeShapeType="1"/>
            </p:cNvSpPr>
            <p:nvPr/>
          </p:nvSpPr>
          <p:spPr bwMode="auto">
            <a:xfrm>
              <a:off x="5695950" y="4359275"/>
              <a:ext cx="0" cy="98425"/>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802">
                <a:latin typeface="Arial" panose="020B0604020202020204" pitchFamily="34" charset="0"/>
                <a:cs typeface="Arial" panose="020B0604020202020204" pitchFamily="34" charset="0"/>
              </a:endParaRPr>
            </a:p>
          </p:txBody>
        </p:sp>
        <p:sp>
          <p:nvSpPr>
            <p:cNvPr id="323" name="Line 56">
              <a:extLst>
                <a:ext uri="{FF2B5EF4-FFF2-40B4-BE49-F238E27FC236}">
                  <a16:creationId xmlns:a16="http://schemas.microsoft.com/office/drawing/2014/main" id="{17B14C8C-EC35-3EF6-3945-4CB73B1B9B13}"/>
                </a:ext>
              </a:extLst>
            </p:cNvPr>
            <p:cNvSpPr>
              <a:spLocks noChangeShapeType="1"/>
            </p:cNvSpPr>
            <p:nvPr/>
          </p:nvSpPr>
          <p:spPr bwMode="auto">
            <a:xfrm>
              <a:off x="6107113" y="4359275"/>
              <a:ext cx="0" cy="98425"/>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802">
                <a:latin typeface="Arial" panose="020B0604020202020204" pitchFamily="34" charset="0"/>
                <a:cs typeface="Arial" panose="020B0604020202020204" pitchFamily="34" charset="0"/>
              </a:endParaRPr>
            </a:p>
          </p:txBody>
        </p:sp>
        <p:sp>
          <p:nvSpPr>
            <p:cNvPr id="324" name="Line 58">
              <a:extLst>
                <a:ext uri="{FF2B5EF4-FFF2-40B4-BE49-F238E27FC236}">
                  <a16:creationId xmlns:a16="http://schemas.microsoft.com/office/drawing/2014/main" id="{C4C23BBC-96B5-D5F7-95AC-A34C591E5E69}"/>
                </a:ext>
              </a:extLst>
            </p:cNvPr>
            <p:cNvSpPr>
              <a:spLocks noChangeShapeType="1"/>
            </p:cNvSpPr>
            <p:nvPr/>
          </p:nvSpPr>
          <p:spPr bwMode="auto">
            <a:xfrm>
              <a:off x="6535738" y="4359275"/>
              <a:ext cx="0" cy="98425"/>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802">
                <a:latin typeface="Arial" panose="020B0604020202020204" pitchFamily="34" charset="0"/>
                <a:cs typeface="Arial" panose="020B0604020202020204" pitchFamily="34" charset="0"/>
              </a:endParaRPr>
            </a:p>
          </p:txBody>
        </p:sp>
        <p:sp>
          <p:nvSpPr>
            <p:cNvPr id="325" name="Line 60">
              <a:extLst>
                <a:ext uri="{FF2B5EF4-FFF2-40B4-BE49-F238E27FC236}">
                  <a16:creationId xmlns:a16="http://schemas.microsoft.com/office/drawing/2014/main" id="{282F328E-C127-1F24-8127-406D94D896B0}"/>
                </a:ext>
              </a:extLst>
            </p:cNvPr>
            <p:cNvSpPr>
              <a:spLocks noChangeShapeType="1"/>
            </p:cNvSpPr>
            <p:nvPr/>
          </p:nvSpPr>
          <p:spPr bwMode="auto">
            <a:xfrm>
              <a:off x="6961188" y="4359275"/>
              <a:ext cx="0" cy="98425"/>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802">
                <a:latin typeface="Arial" panose="020B0604020202020204" pitchFamily="34" charset="0"/>
                <a:cs typeface="Arial" panose="020B0604020202020204" pitchFamily="34" charset="0"/>
              </a:endParaRPr>
            </a:p>
          </p:txBody>
        </p:sp>
        <p:sp>
          <p:nvSpPr>
            <p:cNvPr id="326" name="Line 62">
              <a:extLst>
                <a:ext uri="{FF2B5EF4-FFF2-40B4-BE49-F238E27FC236}">
                  <a16:creationId xmlns:a16="http://schemas.microsoft.com/office/drawing/2014/main" id="{D7EE3145-3B3A-99E9-3146-C25D1BD65DFD}"/>
                </a:ext>
              </a:extLst>
            </p:cNvPr>
            <p:cNvSpPr>
              <a:spLocks noChangeShapeType="1"/>
            </p:cNvSpPr>
            <p:nvPr/>
          </p:nvSpPr>
          <p:spPr bwMode="auto">
            <a:xfrm>
              <a:off x="7397750" y="4359275"/>
              <a:ext cx="0" cy="98425"/>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802">
                <a:latin typeface="Arial" panose="020B0604020202020204" pitchFamily="34" charset="0"/>
                <a:cs typeface="Arial" panose="020B0604020202020204" pitchFamily="34" charset="0"/>
              </a:endParaRPr>
            </a:p>
          </p:txBody>
        </p:sp>
        <p:grpSp>
          <p:nvGrpSpPr>
            <p:cNvPr id="327" name="Group 88">
              <a:extLst>
                <a:ext uri="{FF2B5EF4-FFF2-40B4-BE49-F238E27FC236}">
                  <a16:creationId xmlns:a16="http://schemas.microsoft.com/office/drawing/2014/main" id="{212D4366-89E3-90EE-C4DE-28B76D5EC8A1}"/>
                </a:ext>
              </a:extLst>
            </p:cNvPr>
            <p:cNvGrpSpPr>
              <a:grpSpLocks/>
            </p:cNvGrpSpPr>
            <p:nvPr/>
          </p:nvGrpSpPr>
          <p:grpSpPr bwMode="auto">
            <a:xfrm>
              <a:off x="1669270" y="4387852"/>
              <a:ext cx="6389264" cy="541021"/>
              <a:chOff x="1280" y="2882"/>
              <a:chExt cx="3221" cy="296"/>
            </a:xfrm>
            <a:noFill/>
          </p:grpSpPr>
          <p:sp>
            <p:nvSpPr>
              <p:cNvPr id="349" name="Text Box 35">
                <a:extLst>
                  <a:ext uri="{FF2B5EF4-FFF2-40B4-BE49-F238E27FC236}">
                    <a16:creationId xmlns:a16="http://schemas.microsoft.com/office/drawing/2014/main" id="{6FB13431-88A0-3A74-2781-11E4394B74E0}"/>
                  </a:ext>
                </a:extLst>
              </p:cNvPr>
              <p:cNvSpPr txBox="1">
                <a:spLocks noChangeArrowheads="1"/>
              </p:cNvSpPr>
              <p:nvPr/>
            </p:nvSpPr>
            <p:spPr bwMode="auto">
              <a:xfrm>
                <a:off x="1280" y="2882"/>
                <a:ext cx="193" cy="296"/>
              </a:xfrm>
              <a:prstGeom prst="rect">
                <a:avLst/>
              </a:prstGeom>
              <a:grpFill/>
              <a:ln w="9525">
                <a:noFill/>
                <a:miter lim="800000"/>
                <a:headEnd/>
                <a:tailEnd/>
              </a:ln>
            </p:spPr>
            <p:txBody>
              <a:bodyPr wrap="none">
                <a:spAutoFit/>
              </a:bodyPr>
              <a:lstStyle>
                <a:lvl1pPr>
                  <a:defRPr sz="2800">
                    <a:solidFill>
                      <a:schemeClr val="bg1"/>
                    </a:solidFill>
                    <a:latin typeface="Comic Sans MS" charset="0"/>
                    <a:ea typeface="ＭＳ Ｐゴシック" charset="0"/>
                    <a:cs typeface="ＭＳ Ｐゴシック" charset="0"/>
                  </a:defRPr>
                </a:lvl1pPr>
                <a:lvl2pPr marL="742950" indent="-285750">
                  <a:defRPr sz="2800">
                    <a:solidFill>
                      <a:schemeClr val="bg1"/>
                    </a:solidFill>
                    <a:latin typeface="Comic Sans MS" charset="0"/>
                    <a:ea typeface="ＭＳ Ｐゴシック" charset="0"/>
                  </a:defRPr>
                </a:lvl2pPr>
                <a:lvl3pPr marL="1143000" indent="-228600">
                  <a:defRPr sz="2800">
                    <a:solidFill>
                      <a:schemeClr val="bg1"/>
                    </a:solidFill>
                    <a:latin typeface="Comic Sans MS" charset="0"/>
                    <a:ea typeface="ＭＳ Ｐゴシック" charset="0"/>
                  </a:defRPr>
                </a:lvl3pPr>
                <a:lvl4pPr marL="1600200" indent="-228600">
                  <a:defRPr sz="2800">
                    <a:solidFill>
                      <a:schemeClr val="bg1"/>
                    </a:solidFill>
                    <a:latin typeface="Comic Sans MS" charset="0"/>
                    <a:ea typeface="ＭＳ Ｐゴシック" charset="0"/>
                  </a:defRPr>
                </a:lvl4pPr>
                <a:lvl5pPr marL="2057400" indent="-228600">
                  <a:defRPr sz="2800">
                    <a:solidFill>
                      <a:schemeClr val="bg1"/>
                    </a:solidFill>
                    <a:latin typeface="Comic Sans MS" charset="0"/>
                    <a:ea typeface="ＭＳ Ｐゴシック" charset="0"/>
                  </a:defRPr>
                </a:lvl5pPr>
                <a:lvl6pPr marL="2514600" indent="-228600" eaLnBrk="0" fontAlgn="base" hangingPunct="0">
                  <a:spcBef>
                    <a:spcPct val="0"/>
                  </a:spcBef>
                  <a:spcAft>
                    <a:spcPct val="0"/>
                  </a:spcAft>
                  <a:defRPr sz="2800">
                    <a:solidFill>
                      <a:schemeClr val="bg1"/>
                    </a:solidFill>
                    <a:latin typeface="Comic Sans MS" charset="0"/>
                    <a:ea typeface="ＭＳ Ｐゴシック" charset="0"/>
                  </a:defRPr>
                </a:lvl6pPr>
                <a:lvl7pPr marL="2971800" indent="-228600" eaLnBrk="0" fontAlgn="base" hangingPunct="0">
                  <a:spcBef>
                    <a:spcPct val="0"/>
                  </a:spcBef>
                  <a:spcAft>
                    <a:spcPct val="0"/>
                  </a:spcAft>
                  <a:defRPr sz="2800">
                    <a:solidFill>
                      <a:schemeClr val="bg1"/>
                    </a:solidFill>
                    <a:latin typeface="Comic Sans MS" charset="0"/>
                    <a:ea typeface="ＭＳ Ｐゴシック" charset="0"/>
                  </a:defRPr>
                </a:lvl7pPr>
                <a:lvl8pPr marL="3429000" indent="-228600" eaLnBrk="0" fontAlgn="base" hangingPunct="0">
                  <a:spcBef>
                    <a:spcPct val="0"/>
                  </a:spcBef>
                  <a:spcAft>
                    <a:spcPct val="0"/>
                  </a:spcAft>
                  <a:defRPr sz="2800">
                    <a:solidFill>
                      <a:schemeClr val="bg1"/>
                    </a:solidFill>
                    <a:latin typeface="Comic Sans MS" charset="0"/>
                    <a:ea typeface="ＭＳ Ｐゴシック" charset="0"/>
                  </a:defRPr>
                </a:lvl8pPr>
                <a:lvl9pPr marL="3886200" indent="-228600" eaLnBrk="0" fontAlgn="base" hangingPunct="0">
                  <a:spcBef>
                    <a:spcPct val="0"/>
                  </a:spcBef>
                  <a:spcAft>
                    <a:spcPct val="0"/>
                  </a:spcAft>
                  <a:defRPr sz="2800">
                    <a:solidFill>
                      <a:schemeClr val="bg1"/>
                    </a:solidFill>
                    <a:latin typeface="Comic Sans MS" charset="0"/>
                    <a:ea typeface="ＭＳ Ｐゴシック" charset="0"/>
                  </a:defRPr>
                </a:lvl9pPr>
              </a:lstStyle>
              <a:p>
                <a:pPr algn="ctr" eaLnBrk="1" hangingPunct="1"/>
                <a:r>
                  <a:rPr lang="en-US" sz="1201">
                    <a:solidFill>
                      <a:srgbClr val="000000"/>
                    </a:solidFill>
                    <a:latin typeface="Arial" panose="020B0604020202020204" pitchFamily="34" charset="0"/>
                    <a:cs typeface="Arial" panose="020B0604020202020204" pitchFamily="34" charset="0"/>
                  </a:rPr>
                  <a:t>0</a:t>
                </a:r>
              </a:p>
            </p:txBody>
          </p:sp>
          <p:sp>
            <p:nvSpPr>
              <p:cNvPr id="350" name="Text Box 37">
                <a:extLst>
                  <a:ext uri="{FF2B5EF4-FFF2-40B4-BE49-F238E27FC236}">
                    <a16:creationId xmlns:a16="http://schemas.microsoft.com/office/drawing/2014/main" id="{DD7A065B-20FE-66D7-FC79-0668EBDCDF7D}"/>
                  </a:ext>
                </a:extLst>
              </p:cNvPr>
              <p:cNvSpPr txBox="1">
                <a:spLocks noChangeArrowheads="1"/>
              </p:cNvSpPr>
              <p:nvPr/>
            </p:nvSpPr>
            <p:spPr bwMode="auto">
              <a:xfrm>
                <a:off x="1499" y="2882"/>
                <a:ext cx="193" cy="296"/>
              </a:xfrm>
              <a:prstGeom prst="rect">
                <a:avLst/>
              </a:prstGeom>
              <a:grpFill/>
              <a:ln w="9525">
                <a:noFill/>
                <a:miter lim="800000"/>
                <a:headEnd/>
                <a:tailEnd/>
              </a:ln>
            </p:spPr>
            <p:txBody>
              <a:bodyPr wrap="none">
                <a:spAutoFit/>
              </a:bodyPr>
              <a:lstStyle>
                <a:lvl1pPr>
                  <a:defRPr sz="2800">
                    <a:solidFill>
                      <a:schemeClr val="bg1"/>
                    </a:solidFill>
                    <a:latin typeface="Comic Sans MS" charset="0"/>
                    <a:ea typeface="ＭＳ Ｐゴシック" charset="0"/>
                    <a:cs typeface="ＭＳ Ｐゴシック" charset="0"/>
                  </a:defRPr>
                </a:lvl1pPr>
                <a:lvl2pPr marL="742950" indent="-285750">
                  <a:defRPr sz="2800">
                    <a:solidFill>
                      <a:schemeClr val="bg1"/>
                    </a:solidFill>
                    <a:latin typeface="Comic Sans MS" charset="0"/>
                    <a:ea typeface="ＭＳ Ｐゴシック" charset="0"/>
                  </a:defRPr>
                </a:lvl2pPr>
                <a:lvl3pPr marL="1143000" indent="-228600">
                  <a:defRPr sz="2800">
                    <a:solidFill>
                      <a:schemeClr val="bg1"/>
                    </a:solidFill>
                    <a:latin typeface="Comic Sans MS" charset="0"/>
                    <a:ea typeface="ＭＳ Ｐゴシック" charset="0"/>
                  </a:defRPr>
                </a:lvl3pPr>
                <a:lvl4pPr marL="1600200" indent="-228600">
                  <a:defRPr sz="2800">
                    <a:solidFill>
                      <a:schemeClr val="bg1"/>
                    </a:solidFill>
                    <a:latin typeface="Comic Sans MS" charset="0"/>
                    <a:ea typeface="ＭＳ Ｐゴシック" charset="0"/>
                  </a:defRPr>
                </a:lvl4pPr>
                <a:lvl5pPr marL="2057400" indent="-228600">
                  <a:defRPr sz="2800">
                    <a:solidFill>
                      <a:schemeClr val="bg1"/>
                    </a:solidFill>
                    <a:latin typeface="Comic Sans MS" charset="0"/>
                    <a:ea typeface="ＭＳ Ｐゴシック" charset="0"/>
                  </a:defRPr>
                </a:lvl5pPr>
                <a:lvl6pPr marL="2514600" indent="-228600" eaLnBrk="0" fontAlgn="base" hangingPunct="0">
                  <a:spcBef>
                    <a:spcPct val="0"/>
                  </a:spcBef>
                  <a:spcAft>
                    <a:spcPct val="0"/>
                  </a:spcAft>
                  <a:defRPr sz="2800">
                    <a:solidFill>
                      <a:schemeClr val="bg1"/>
                    </a:solidFill>
                    <a:latin typeface="Comic Sans MS" charset="0"/>
                    <a:ea typeface="ＭＳ Ｐゴシック" charset="0"/>
                  </a:defRPr>
                </a:lvl6pPr>
                <a:lvl7pPr marL="2971800" indent="-228600" eaLnBrk="0" fontAlgn="base" hangingPunct="0">
                  <a:spcBef>
                    <a:spcPct val="0"/>
                  </a:spcBef>
                  <a:spcAft>
                    <a:spcPct val="0"/>
                  </a:spcAft>
                  <a:defRPr sz="2800">
                    <a:solidFill>
                      <a:schemeClr val="bg1"/>
                    </a:solidFill>
                    <a:latin typeface="Comic Sans MS" charset="0"/>
                    <a:ea typeface="ＭＳ Ｐゴシック" charset="0"/>
                  </a:defRPr>
                </a:lvl7pPr>
                <a:lvl8pPr marL="3429000" indent="-228600" eaLnBrk="0" fontAlgn="base" hangingPunct="0">
                  <a:spcBef>
                    <a:spcPct val="0"/>
                  </a:spcBef>
                  <a:spcAft>
                    <a:spcPct val="0"/>
                  </a:spcAft>
                  <a:defRPr sz="2800">
                    <a:solidFill>
                      <a:schemeClr val="bg1"/>
                    </a:solidFill>
                    <a:latin typeface="Comic Sans MS" charset="0"/>
                    <a:ea typeface="ＭＳ Ｐゴシック" charset="0"/>
                  </a:defRPr>
                </a:lvl8pPr>
                <a:lvl9pPr marL="3886200" indent="-228600" eaLnBrk="0" fontAlgn="base" hangingPunct="0">
                  <a:spcBef>
                    <a:spcPct val="0"/>
                  </a:spcBef>
                  <a:spcAft>
                    <a:spcPct val="0"/>
                  </a:spcAft>
                  <a:defRPr sz="2800">
                    <a:solidFill>
                      <a:schemeClr val="bg1"/>
                    </a:solidFill>
                    <a:latin typeface="Comic Sans MS" charset="0"/>
                    <a:ea typeface="ＭＳ Ｐゴシック" charset="0"/>
                  </a:defRPr>
                </a:lvl9pPr>
              </a:lstStyle>
              <a:p>
                <a:pPr algn="ctr" eaLnBrk="1" hangingPunct="1"/>
                <a:r>
                  <a:rPr lang="en-US" sz="1201">
                    <a:solidFill>
                      <a:srgbClr val="000000"/>
                    </a:solidFill>
                    <a:latin typeface="Arial" panose="020B0604020202020204" pitchFamily="34" charset="0"/>
                    <a:cs typeface="Arial" panose="020B0604020202020204" pitchFamily="34" charset="0"/>
                  </a:rPr>
                  <a:t>2</a:t>
                </a:r>
              </a:p>
            </p:txBody>
          </p:sp>
          <p:sp>
            <p:nvSpPr>
              <p:cNvPr id="351" name="Text Box 39">
                <a:extLst>
                  <a:ext uri="{FF2B5EF4-FFF2-40B4-BE49-F238E27FC236}">
                    <a16:creationId xmlns:a16="http://schemas.microsoft.com/office/drawing/2014/main" id="{E875EEAC-FC09-50A4-8A7B-BB2B6AB55D4D}"/>
                  </a:ext>
                </a:extLst>
              </p:cNvPr>
              <p:cNvSpPr txBox="1">
                <a:spLocks noChangeArrowheads="1"/>
              </p:cNvSpPr>
              <p:nvPr/>
            </p:nvSpPr>
            <p:spPr bwMode="auto">
              <a:xfrm>
                <a:off x="1708" y="2882"/>
                <a:ext cx="193" cy="296"/>
              </a:xfrm>
              <a:prstGeom prst="rect">
                <a:avLst/>
              </a:prstGeom>
              <a:grpFill/>
              <a:ln w="9525">
                <a:noFill/>
                <a:miter lim="800000"/>
                <a:headEnd/>
                <a:tailEnd/>
              </a:ln>
            </p:spPr>
            <p:txBody>
              <a:bodyPr wrap="none">
                <a:spAutoFit/>
              </a:bodyPr>
              <a:lstStyle>
                <a:lvl1pPr>
                  <a:defRPr sz="2800">
                    <a:solidFill>
                      <a:schemeClr val="bg1"/>
                    </a:solidFill>
                    <a:latin typeface="Comic Sans MS" charset="0"/>
                    <a:ea typeface="ＭＳ Ｐゴシック" charset="0"/>
                    <a:cs typeface="ＭＳ Ｐゴシック" charset="0"/>
                  </a:defRPr>
                </a:lvl1pPr>
                <a:lvl2pPr marL="742950" indent="-285750">
                  <a:defRPr sz="2800">
                    <a:solidFill>
                      <a:schemeClr val="bg1"/>
                    </a:solidFill>
                    <a:latin typeface="Comic Sans MS" charset="0"/>
                    <a:ea typeface="ＭＳ Ｐゴシック" charset="0"/>
                  </a:defRPr>
                </a:lvl2pPr>
                <a:lvl3pPr marL="1143000" indent="-228600">
                  <a:defRPr sz="2800">
                    <a:solidFill>
                      <a:schemeClr val="bg1"/>
                    </a:solidFill>
                    <a:latin typeface="Comic Sans MS" charset="0"/>
                    <a:ea typeface="ＭＳ Ｐゴシック" charset="0"/>
                  </a:defRPr>
                </a:lvl3pPr>
                <a:lvl4pPr marL="1600200" indent="-228600">
                  <a:defRPr sz="2800">
                    <a:solidFill>
                      <a:schemeClr val="bg1"/>
                    </a:solidFill>
                    <a:latin typeface="Comic Sans MS" charset="0"/>
                    <a:ea typeface="ＭＳ Ｐゴシック" charset="0"/>
                  </a:defRPr>
                </a:lvl4pPr>
                <a:lvl5pPr marL="2057400" indent="-228600">
                  <a:defRPr sz="2800">
                    <a:solidFill>
                      <a:schemeClr val="bg1"/>
                    </a:solidFill>
                    <a:latin typeface="Comic Sans MS" charset="0"/>
                    <a:ea typeface="ＭＳ Ｐゴシック" charset="0"/>
                  </a:defRPr>
                </a:lvl5pPr>
                <a:lvl6pPr marL="2514600" indent="-228600" eaLnBrk="0" fontAlgn="base" hangingPunct="0">
                  <a:spcBef>
                    <a:spcPct val="0"/>
                  </a:spcBef>
                  <a:spcAft>
                    <a:spcPct val="0"/>
                  </a:spcAft>
                  <a:defRPr sz="2800">
                    <a:solidFill>
                      <a:schemeClr val="bg1"/>
                    </a:solidFill>
                    <a:latin typeface="Comic Sans MS" charset="0"/>
                    <a:ea typeface="ＭＳ Ｐゴシック" charset="0"/>
                  </a:defRPr>
                </a:lvl6pPr>
                <a:lvl7pPr marL="2971800" indent="-228600" eaLnBrk="0" fontAlgn="base" hangingPunct="0">
                  <a:spcBef>
                    <a:spcPct val="0"/>
                  </a:spcBef>
                  <a:spcAft>
                    <a:spcPct val="0"/>
                  </a:spcAft>
                  <a:defRPr sz="2800">
                    <a:solidFill>
                      <a:schemeClr val="bg1"/>
                    </a:solidFill>
                    <a:latin typeface="Comic Sans MS" charset="0"/>
                    <a:ea typeface="ＭＳ Ｐゴシック" charset="0"/>
                  </a:defRPr>
                </a:lvl7pPr>
                <a:lvl8pPr marL="3429000" indent="-228600" eaLnBrk="0" fontAlgn="base" hangingPunct="0">
                  <a:spcBef>
                    <a:spcPct val="0"/>
                  </a:spcBef>
                  <a:spcAft>
                    <a:spcPct val="0"/>
                  </a:spcAft>
                  <a:defRPr sz="2800">
                    <a:solidFill>
                      <a:schemeClr val="bg1"/>
                    </a:solidFill>
                    <a:latin typeface="Comic Sans MS" charset="0"/>
                    <a:ea typeface="ＭＳ Ｐゴシック" charset="0"/>
                  </a:defRPr>
                </a:lvl8pPr>
                <a:lvl9pPr marL="3886200" indent="-228600" eaLnBrk="0" fontAlgn="base" hangingPunct="0">
                  <a:spcBef>
                    <a:spcPct val="0"/>
                  </a:spcBef>
                  <a:spcAft>
                    <a:spcPct val="0"/>
                  </a:spcAft>
                  <a:defRPr sz="2800">
                    <a:solidFill>
                      <a:schemeClr val="bg1"/>
                    </a:solidFill>
                    <a:latin typeface="Comic Sans MS" charset="0"/>
                    <a:ea typeface="ＭＳ Ｐゴシック" charset="0"/>
                  </a:defRPr>
                </a:lvl9pPr>
              </a:lstStyle>
              <a:p>
                <a:pPr algn="ctr" eaLnBrk="1" hangingPunct="1"/>
                <a:r>
                  <a:rPr lang="en-US" sz="1201">
                    <a:solidFill>
                      <a:srgbClr val="000000"/>
                    </a:solidFill>
                    <a:latin typeface="Arial" panose="020B0604020202020204" pitchFamily="34" charset="0"/>
                    <a:cs typeface="Arial" panose="020B0604020202020204" pitchFamily="34" charset="0"/>
                  </a:rPr>
                  <a:t>4</a:t>
                </a:r>
              </a:p>
            </p:txBody>
          </p:sp>
          <p:sp>
            <p:nvSpPr>
              <p:cNvPr id="352" name="Text Box 41">
                <a:extLst>
                  <a:ext uri="{FF2B5EF4-FFF2-40B4-BE49-F238E27FC236}">
                    <a16:creationId xmlns:a16="http://schemas.microsoft.com/office/drawing/2014/main" id="{7D317F46-6317-47D4-D8CE-72B4FAC21756}"/>
                  </a:ext>
                </a:extLst>
              </p:cNvPr>
              <p:cNvSpPr txBox="1">
                <a:spLocks noChangeArrowheads="1"/>
              </p:cNvSpPr>
              <p:nvPr/>
            </p:nvSpPr>
            <p:spPr bwMode="auto">
              <a:xfrm>
                <a:off x="1923" y="2882"/>
                <a:ext cx="193" cy="296"/>
              </a:xfrm>
              <a:prstGeom prst="rect">
                <a:avLst/>
              </a:prstGeom>
              <a:grpFill/>
              <a:ln w="9525">
                <a:noFill/>
                <a:miter lim="800000"/>
                <a:headEnd/>
                <a:tailEnd/>
              </a:ln>
            </p:spPr>
            <p:txBody>
              <a:bodyPr wrap="none">
                <a:spAutoFit/>
              </a:bodyPr>
              <a:lstStyle>
                <a:lvl1pPr>
                  <a:defRPr sz="2800">
                    <a:solidFill>
                      <a:schemeClr val="bg1"/>
                    </a:solidFill>
                    <a:latin typeface="Comic Sans MS" charset="0"/>
                    <a:ea typeface="ＭＳ Ｐゴシック" charset="0"/>
                    <a:cs typeface="ＭＳ Ｐゴシック" charset="0"/>
                  </a:defRPr>
                </a:lvl1pPr>
                <a:lvl2pPr marL="742950" indent="-285750">
                  <a:defRPr sz="2800">
                    <a:solidFill>
                      <a:schemeClr val="bg1"/>
                    </a:solidFill>
                    <a:latin typeface="Comic Sans MS" charset="0"/>
                    <a:ea typeface="ＭＳ Ｐゴシック" charset="0"/>
                  </a:defRPr>
                </a:lvl2pPr>
                <a:lvl3pPr marL="1143000" indent="-228600">
                  <a:defRPr sz="2800">
                    <a:solidFill>
                      <a:schemeClr val="bg1"/>
                    </a:solidFill>
                    <a:latin typeface="Comic Sans MS" charset="0"/>
                    <a:ea typeface="ＭＳ Ｐゴシック" charset="0"/>
                  </a:defRPr>
                </a:lvl3pPr>
                <a:lvl4pPr marL="1600200" indent="-228600">
                  <a:defRPr sz="2800">
                    <a:solidFill>
                      <a:schemeClr val="bg1"/>
                    </a:solidFill>
                    <a:latin typeface="Comic Sans MS" charset="0"/>
                    <a:ea typeface="ＭＳ Ｐゴシック" charset="0"/>
                  </a:defRPr>
                </a:lvl4pPr>
                <a:lvl5pPr marL="2057400" indent="-228600">
                  <a:defRPr sz="2800">
                    <a:solidFill>
                      <a:schemeClr val="bg1"/>
                    </a:solidFill>
                    <a:latin typeface="Comic Sans MS" charset="0"/>
                    <a:ea typeface="ＭＳ Ｐゴシック" charset="0"/>
                  </a:defRPr>
                </a:lvl5pPr>
                <a:lvl6pPr marL="2514600" indent="-228600" eaLnBrk="0" fontAlgn="base" hangingPunct="0">
                  <a:spcBef>
                    <a:spcPct val="0"/>
                  </a:spcBef>
                  <a:spcAft>
                    <a:spcPct val="0"/>
                  </a:spcAft>
                  <a:defRPr sz="2800">
                    <a:solidFill>
                      <a:schemeClr val="bg1"/>
                    </a:solidFill>
                    <a:latin typeface="Comic Sans MS" charset="0"/>
                    <a:ea typeface="ＭＳ Ｐゴシック" charset="0"/>
                  </a:defRPr>
                </a:lvl6pPr>
                <a:lvl7pPr marL="2971800" indent="-228600" eaLnBrk="0" fontAlgn="base" hangingPunct="0">
                  <a:spcBef>
                    <a:spcPct val="0"/>
                  </a:spcBef>
                  <a:spcAft>
                    <a:spcPct val="0"/>
                  </a:spcAft>
                  <a:defRPr sz="2800">
                    <a:solidFill>
                      <a:schemeClr val="bg1"/>
                    </a:solidFill>
                    <a:latin typeface="Comic Sans MS" charset="0"/>
                    <a:ea typeface="ＭＳ Ｐゴシック" charset="0"/>
                  </a:defRPr>
                </a:lvl7pPr>
                <a:lvl8pPr marL="3429000" indent="-228600" eaLnBrk="0" fontAlgn="base" hangingPunct="0">
                  <a:spcBef>
                    <a:spcPct val="0"/>
                  </a:spcBef>
                  <a:spcAft>
                    <a:spcPct val="0"/>
                  </a:spcAft>
                  <a:defRPr sz="2800">
                    <a:solidFill>
                      <a:schemeClr val="bg1"/>
                    </a:solidFill>
                    <a:latin typeface="Comic Sans MS" charset="0"/>
                    <a:ea typeface="ＭＳ Ｐゴシック" charset="0"/>
                  </a:defRPr>
                </a:lvl8pPr>
                <a:lvl9pPr marL="3886200" indent="-228600" eaLnBrk="0" fontAlgn="base" hangingPunct="0">
                  <a:spcBef>
                    <a:spcPct val="0"/>
                  </a:spcBef>
                  <a:spcAft>
                    <a:spcPct val="0"/>
                  </a:spcAft>
                  <a:defRPr sz="2800">
                    <a:solidFill>
                      <a:schemeClr val="bg1"/>
                    </a:solidFill>
                    <a:latin typeface="Comic Sans MS" charset="0"/>
                    <a:ea typeface="ＭＳ Ｐゴシック" charset="0"/>
                  </a:defRPr>
                </a:lvl9pPr>
              </a:lstStyle>
              <a:p>
                <a:pPr algn="ctr" eaLnBrk="1" hangingPunct="1"/>
                <a:r>
                  <a:rPr lang="en-US" sz="1201">
                    <a:solidFill>
                      <a:srgbClr val="000000"/>
                    </a:solidFill>
                    <a:latin typeface="Arial" panose="020B0604020202020204" pitchFamily="34" charset="0"/>
                    <a:cs typeface="Arial" panose="020B0604020202020204" pitchFamily="34" charset="0"/>
                  </a:rPr>
                  <a:t>6</a:t>
                </a:r>
              </a:p>
            </p:txBody>
          </p:sp>
          <p:sp>
            <p:nvSpPr>
              <p:cNvPr id="353" name="Text Box 43">
                <a:extLst>
                  <a:ext uri="{FF2B5EF4-FFF2-40B4-BE49-F238E27FC236}">
                    <a16:creationId xmlns:a16="http://schemas.microsoft.com/office/drawing/2014/main" id="{F98591D9-4067-99F6-BDEC-E274CE2B1BD4}"/>
                  </a:ext>
                </a:extLst>
              </p:cNvPr>
              <p:cNvSpPr txBox="1">
                <a:spLocks noChangeArrowheads="1"/>
              </p:cNvSpPr>
              <p:nvPr/>
            </p:nvSpPr>
            <p:spPr bwMode="auto">
              <a:xfrm>
                <a:off x="2136" y="2882"/>
                <a:ext cx="193" cy="296"/>
              </a:xfrm>
              <a:prstGeom prst="rect">
                <a:avLst/>
              </a:prstGeom>
              <a:grpFill/>
              <a:ln w="9525">
                <a:noFill/>
                <a:miter lim="800000"/>
                <a:headEnd/>
                <a:tailEnd/>
              </a:ln>
            </p:spPr>
            <p:txBody>
              <a:bodyPr wrap="none">
                <a:spAutoFit/>
              </a:bodyPr>
              <a:lstStyle>
                <a:lvl1pPr>
                  <a:defRPr sz="2800">
                    <a:solidFill>
                      <a:schemeClr val="bg1"/>
                    </a:solidFill>
                    <a:latin typeface="Comic Sans MS" charset="0"/>
                    <a:ea typeface="ＭＳ Ｐゴシック" charset="0"/>
                    <a:cs typeface="ＭＳ Ｐゴシック" charset="0"/>
                  </a:defRPr>
                </a:lvl1pPr>
                <a:lvl2pPr marL="742950" indent="-285750">
                  <a:defRPr sz="2800">
                    <a:solidFill>
                      <a:schemeClr val="bg1"/>
                    </a:solidFill>
                    <a:latin typeface="Comic Sans MS" charset="0"/>
                    <a:ea typeface="ＭＳ Ｐゴシック" charset="0"/>
                  </a:defRPr>
                </a:lvl2pPr>
                <a:lvl3pPr marL="1143000" indent="-228600">
                  <a:defRPr sz="2800">
                    <a:solidFill>
                      <a:schemeClr val="bg1"/>
                    </a:solidFill>
                    <a:latin typeface="Comic Sans MS" charset="0"/>
                    <a:ea typeface="ＭＳ Ｐゴシック" charset="0"/>
                  </a:defRPr>
                </a:lvl3pPr>
                <a:lvl4pPr marL="1600200" indent="-228600">
                  <a:defRPr sz="2800">
                    <a:solidFill>
                      <a:schemeClr val="bg1"/>
                    </a:solidFill>
                    <a:latin typeface="Comic Sans MS" charset="0"/>
                    <a:ea typeface="ＭＳ Ｐゴシック" charset="0"/>
                  </a:defRPr>
                </a:lvl4pPr>
                <a:lvl5pPr marL="2057400" indent="-228600">
                  <a:defRPr sz="2800">
                    <a:solidFill>
                      <a:schemeClr val="bg1"/>
                    </a:solidFill>
                    <a:latin typeface="Comic Sans MS" charset="0"/>
                    <a:ea typeface="ＭＳ Ｐゴシック" charset="0"/>
                  </a:defRPr>
                </a:lvl5pPr>
                <a:lvl6pPr marL="2514600" indent="-228600" eaLnBrk="0" fontAlgn="base" hangingPunct="0">
                  <a:spcBef>
                    <a:spcPct val="0"/>
                  </a:spcBef>
                  <a:spcAft>
                    <a:spcPct val="0"/>
                  </a:spcAft>
                  <a:defRPr sz="2800">
                    <a:solidFill>
                      <a:schemeClr val="bg1"/>
                    </a:solidFill>
                    <a:latin typeface="Comic Sans MS" charset="0"/>
                    <a:ea typeface="ＭＳ Ｐゴシック" charset="0"/>
                  </a:defRPr>
                </a:lvl6pPr>
                <a:lvl7pPr marL="2971800" indent="-228600" eaLnBrk="0" fontAlgn="base" hangingPunct="0">
                  <a:spcBef>
                    <a:spcPct val="0"/>
                  </a:spcBef>
                  <a:spcAft>
                    <a:spcPct val="0"/>
                  </a:spcAft>
                  <a:defRPr sz="2800">
                    <a:solidFill>
                      <a:schemeClr val="bg1"/>
                    </a:solidFill>
                    <a:latin typeface="Comic Sans MS" charset="0"/>
                    <a:ea typeface="ＭＳ Ｐゴシック" charset="0"/>
                  </a:defRPr>
                </a:lvl7pPr>
                <a:lvl8pPr marL="3429000" indent="-228600" eaLnBrk="0" fontAlgn="base" hangingPunct="0">
                  <a:spcBef>
                    <a:spcPct val="0"/>
                  </a:spcBef>
                  <a:spcAft>
                    <a:spcPct val="0"/>
                  </a:spcAft>
                  <a:defRPr sz="2800">
                    <a:solidFill>
                      <a:schemeClr val="bg1"/>
                    </a:solidFill>
                    <a:latin typeface="Comic Sans MS" charset="0"/>
                    <a:ea typeface="ＭＳ Ｐゴシック" charset="0"/>
                  </a:defRPr>
                </a:lvl8pPr>
                <a:lvl9pPr marL="3886200" indent="-228600" eaLnBrk="0" fontAlgn="base" hangingPunct="0">
                  <a:spcBef>
                    <a:spcPct val="0"/>
                  </a:spcBef>
                  <a:spcAft>
                    <a:spcPct val="0"/>
                  </a:spcAft>
                  <a:defRPr sz="2800">
                    <a:solidFill>
                      <a:schemeClr val="bg1"/>
                    </a:solidFill>
                    <a:latin typeface="Comic Sans MS" charset="0"/>
                    <a:ea typeface="ＭＳ Ｐゴシック" charset="0"/>
                  </a:defRPr>
                </a:lvl9pPr>
              </a:lstStyle>
              <a:p>
                <a:pPr algn="ctr" eaLnBrk="1" hangingPunct="1"/>
                <a:r>
                  <a:rPr lang="en-US" sz="1201">
                    <a:solidFill>
                      <a:srgbClr val="000000"/>
                    </a:solidFill>
                    <a:latin typeface="Arial" panose="020B0604020202020204" pitchFamily="34" charset="0"/>
                    <a:cs typeface="Arial" panose="020B0604020202020204" pitchFamily="34" charset="0"/>
                  </a:rPr>
                  <a:t>8</a:t>
                </a:r>
              </a:p>
            </p:txBody>
          </p:sp>
          <p:sp>
            <p:nvSpPr>
              <p:cNvPr id="354" name="Text Box 45">
                <a:extLst>
                  <a:ext uri="{FF2B5EF4-FFF2-40B4-BE49-F238E27FC236}">
                    <a16:creationId xmlns:a16="http://schemas.microsoft.com/office/drawing/2014/main" id="{BA883B44-F770-DCC2-566D-0784FF48BAEA}"/>
                  </a:ext>
                </a:extLst>
              </p:cNvPr>
              <p:cNvSpPr txBox="1">
                <a:spLocks noChangeArrowheads="1"/>
              </p:cNvSpPr>
              <p:nvPr/>
            </p:nvSpPr>
            <p:spPr bwMode="auto">
              <a:xfrm>
                <a:off x="2325" y="2882"/>
                <a:ext cx="254" cy="296"/>
              </a:xfrm>
              <a:prstGeom prst="rect">
                <a:avLst/>
              </a:prstGeom>
              <a:grpFill/>
              <a:ln w="9525">
                <a:noFill/>
                <a:miter lim="800000"/>
                <a:headEnd/>
                <a:tailEnd/>
              </a:ln>
            </p:spPr>
            <p:txBody>
              <a:bodyPr wrap="none">
                <a:spAutoFit/>
              </a:bodyPr>
              <a:lstStyle>
                <a:lvl1pPr>
                  <a:defRPr sz="2800">
                    <a:solidFill>
                      <a:schemeClr val="bg1"/>
                    </a:solidFill>
                    <a:latin typeface="Comic Sans MS" charset="0"/>
                    <a:ea typeface="ＭＳ Ｐゴシック" charset="0"/>
                    <a:cs typeface="ＭＳ Ｐゴシック" charset="0"/>
                  </a:defRPr>
                </a:lvl1pPr>
                <a:lvl2pPr marL="742950" indent="-285750">
                  <a:defRPr sz="2800">
                    <a:solidFill>
                      <a:schemeClr val="bg1"/>
                    </a:solidFill>
                    <a:latin typeface="Comic Sans MS" charset="0"/>
                    <a:ea typeface="ＭＳ Ｐゴシック" charset="0"/>
                  </a:defRPr>
                </a:lvl2pPr>
                <a:lvl3pPr marL="1143000" indent="-228600">
                  <a:defRPr sz="2800">
                    <a:solidFill>
                      <a:schemeClr val="bg1"/>
                    </a:solidFill>
                    <a:latin typeface="Comic Sans MS" charset="0"/>
                    <a:ea typeface="ＭＳ Ｐゴシック" charset="0"/>
                  </a:defRPr>
                </a:lvl3pPr>
                <a:lvl4pPr marL="1600200" indent="-228600">
                  <a:defRPr sz="2800">
                    <a:solidFill>
                      <a:schemeClr val="bg1"/>
                    </a:solidFill>
                    <a:latin typeface="Comic Sans MS" charset="0"/>
                    <a:ea typeface="ＭＳ Ｐゴシック" charset="0"/>
                  </a:defRPr>
                </a:lvl4pPr>
                <a:lvl5pPr marL="2057400" indent="-228600">
                  <a:defRPr sz="2800">
                    <a:solidFill>
                      <a:schemeClr val="bg1"/>
                    </a:solidFill>
                    <a:latin typeface="Comic Sans MS" charset="0"/>
                    <a:ea typeface="ＭＳ Ｐゴシック" charset="0"/>
                  </a:defRPr>
                </a:lvl5pPr>
                <a:lvl6pPr marL="2514600" indent="-228600" eaLnBrk="0" fontAlgn="base" hangingPunct="0">
                  <a:spcBef>
                    <a:spcPct val="0"/>
                  </a:spcBef>
                  <a:spcAft>
                    <a:spcPct val="0"/>
                  </a:spcAft>
                  <a:defRPr sz="2800">
                    <a:solidFill>
                      <a:schemeClr val="bg1"/>
                    </a:solidFill>
                    <a:latin typeface="Comic Sans MS" charset="0"/>
                    <a:ea typeface="ＭＳ Ｐゴシック" charset="0"/>
                  </a:defRPr>
                </a:lvl6pPr>
                <a:lvl7pPr marL="2971800" indent="-228600" eaLnBrk="0" fontAlgn="base" hangingPunct="0">
                  <a:spcBef>
                    <a:spcPct val="0"/>
                  </a:spcBef>
                  <a:spcAft>
                    <a:spcPct val="0"/>
                  </a:spcAft>
                  <a:defRPr sz="2800">
                    <a:solidFill>
                      <a:schemeClr val="bg1"/>
                    </a:solidFill>
                    <a:latin typeface="Comic Sans MS" charset="0"/>
                    <a:ea typeface="ＭＳ Ｐゴシック" charset="0"/>
                  </a:defRPr>
                </a:lvl7pPr>
                <a:lvl8pPr marL="3429000" indent="-228600" eaLnBrk="0" fontAlgn="base" hangingPunct="0">
                  <a:spcBef>
                    <a:spcPct val="0"/>
                  </a:spcBef>
                  <a:spcAft>
                    <a:spcPct val="0"/>
                  </a:spcAft>
                  <a:defRPr sz="2800">
                    <a:solidFill>
                      <a:schemeClr val="bg1"/>
                    </a:solidFill>
                    <a:latin typeface="Comic Sans MS" charset="0"/>
                    <a:ea typeface="ＭＳ Ｐゴシック" charset="0"/>
                  </a:defRPr>
                </a:lvl8pPr>
                <a:lvl9pPr marL="3886200" indent="-228600" eaLnBrk="0" fontAlgn="base" hangingPunct="0">
                  <a:spcBef>
                    <a:spcPct val="0"/>
                  </a:spcBef>
                  <a:spcAft>
                    <a:spcPct val="0"/>
                  </a:spcAft>
                  <a:defRPr sz="2800">
                    <a:solidFill>
                      <a:schemeClr val="bg1"/>
                    </a:solidFill>
                    <a:latin typeface="Comic Sans MS" charset="0"/>
                    <a:ea typeface="ＭＳ Ｐゴシック" charset="0"/>
                  </a:defRPr>
                </a:lvl9pPr>
              </a:lstStyle>
              <a:p>
                <a:pPr algn="ctr" eaLnBrk="1" hangingPunct="1"/>
                <a:r>
                  <a:rPr lang="en-US" sz="1201">
                    <a:solidFill>
                      <a:srgbClr val="000000"/>
                    </a:solidFill>
                    <a:latin typeface="Arial" panose="020B0604020202020204" pitchFamily="34" charset="0"/>
                    <a:cs typeface="Arial" panose="020B0604020202020204" pitchFamily="34" charset="0"/>
                  </a:rPr>
                  <a:t>10</a:t>
                </a:r>
              </a:p>
            </p:txBody>
          </p:sp>
          <p:sp>
            <p:nvSpPr>
              <p:cNvPr id="355" name="Text Box 47">
                <a:extLst>
                  <a:ext uri="{FF2B5EF4-FFF2-40B4-BE49-F238E27FC236}">
                    <a16:creationId xmlns:a16="http://schemas.microsoft.com/office/drawing/2014/main" id="{FD409666-BF7E-B1E3-170C-6D092C6D8956}"/>
                  </a:ext>
                </a:extLst>
              </p:cNvPr>
              <p:cNvSpPr txBox="1">
                <a:spLocks noChangeArrowheads="1"/>
              </p:cNvSpPr>
              <p:nvPr/>
            </p:nvSpPr>
            <p:spPr bwMode="auto">
              <a:xfrm>
                <a:off x="2533" y="2882"/>
                <a:ext cx="254" cy="296"/>
              </a:xfrm>
              <a:prstGeom prst="rect">
                <a:avLst/>
              </a:prstGeom>
              <a:grpFill/>
              <a:ln w="9525">
                <a:noFill/>
                <a:miter lim="800000"/>
                <a:headEnd/>
                <a:tailEnd/>
              </a:ln>
            </p:spPr>
            <p:txBody>
              <a:bodyPr wrap="none">
                <a:spAutoFit/>
              </a:bodyPr>
              <a:lstStyle>
                <a:lvl1pPr>
                  <a:defRPr sz="2800">
                    <a:solidFill>
                      <a:schemeClr val="bg1"/>
                    </a:solidFill>
                    <a:latin typeface="Comic Sans MS" charset="0"/>
                    <a:ea typeface="ＭＳ Ｐゴシック" charset="0"/>
                    <a:cs typeface="ＭＳ Ｐゴシック" charset="0"/>
                  </a:defRPr>
                </a:lvl1pPr>
                <a:lvl2pPr marL="742950" indent="-285750">
                  <a:defRPr sz="2800">
                    <a:solidFill>
                      <a:schemeClr val="bg1"/>
                    </a:solidFill>
                    <a:latin typeface="Comic Sans MS" charset="0"/>
                    <a:ea typeface="ＭＳ Ｐゴシック" charset="0"/>
                  </a:defRPr>
                </a:lvl2pPr>
                <a:lvl3pPr marL="1143000" indent="-228600">
                  <a:defRPr sz="2800">
                    <a:solidFill>
                      <a:schemeClr val="bg1"/>
                    </a:solidFill>
                    <a:latin typeface="Comic Sans MS" charset="0"/>
                    <a:ea typeface="ＭＳ Ｐゴシック" charset="0"/>
                  </a:defRPr>
                </a:lvl3pPr>
                <a:lvl4pPr marL="1600200" indent="-228600">
                  <a:defRPr sz="2800">
                    <a:solidFill>
                      <a:schemeClr val="bg1"/>
                    </a:solidFill>
                    <a:latin typeface="Comic Sans MS" charset="0"/>
                    <a:ea typeface="ＭＳ Ｐゴシック" charset="0"/>
                  </a:defRPr>
                </a:lvl4pPr>
                <a:lvl5pPr marL="2057400" indent="-228600">
                  <a:defRPr sz="2800">
                    <a:solidFill>
                      <a:schemeClr val="bg1"/>
                    </a:solidFill>
                    <a:latin typeface="Comic Sans MS" charset="0"/>
                    <a:ea typeface="ＭＳ Ｐゴシック" charset="0"/>
                  </a:defRPr>
                </a:lvl5pPr>
                <a:lvl6pPr marL="2514600" indent="-228600" eaLnBrk="0" fontAlgn="base" hangingPunct="0">
                  <a:spcBef>
                    <a:spcPct val="0"/>
                  </a:spcBef>
                  <a:spcAft>
                    <a:spcPct val="0"/>
                  </a:spcAft>
                  <a:defRPr sz="2800">
                    <a:solidFill>
                      <a:schemeClr val="bg1"/>
                    </a:solidFill>
                    <a:latin typeface="Comic Sans MS" charset="0"/>
                    <a:ea typeface="ＭＳ Ｐゴシック" charset="0"/>
                  </a:defRPr>
                </a:lvl6pPr>
                <a:lvl7pPr marL="2971800" indent="-228600" eaLnBrk="0" fontAlgn="base" hangingPunct="0">
                  <a:spcBef>
                    <a:spcPct val="0"/>
                  </a:spcBef>
                  <a:spcAft>
                    <a:spcPct val="0"/>
                  </a:spcAft>
                  <a:defRPr sz="2800">
                    <a:solidFill>
                      <a:schemeClr val="bg1"/>
                    </a:solidFill>
                    <a:latin typeface="Comic Sans MS" charset="0"/>
                    <a:ea typeface="ＭＳ Ｐゴシック" charset="0"/>
                  </a:defRPr>
                </a:lvl7pPr>
                <a:lvl8pPr marL="3429000" indent="-228600" eaLnBrk="0" fontAlgn="base" hangingPunct="0">
                  <a:spcBef>
                    <a:spcPct val="0"/>
                  </a:spcBef>
                  <a:spcAft>
                    <a:spcPct val="0"/>
                  </a:spcAft>
                  <a:defRPr sz="2800">
                    <a:solidFill>
                      <a:schemeClr val="bg1"/>
                    </a:solidFill>
                    <a:latin typeface="Comic Sans MS" charset="0"/>
                    <a:ea typeface="ＭＳ Ｐゴシック" charset="0"/>
                  </a:defRPr>
                </a:lvl8pPr>
                <a:lvl9pPr marL="3886200" indent="-228600" eaLnBrk="0" fontAlgn="base" hangingPunct="0">
                  <a:spcBef>
                    <a:spcPct val="0"/>
                  </a:spcBef>
                  <a:spcAft>
                    <a:spcPct val="0"/>
                  </a:spcAft>
                  <a:defRPr sz="2800">
                    <a:solidFill>
                      <a:schemeClr val="bg1"/>
                    </a:solidFill>
                    <a:latin typeface="Comic Sans MS" charset="0"/>
                    <a:ea typeface="ＭＳ Ｐゴシック" charset="0"/>
                  </a:defRPr>
                </a:lvl9pPr>
              </a:lstStyle>
              <a:p>
                <a:pPr algn="ctr" eaLnBrk="1" hangingPunct="1"/>
                <a:r>
                  <a:rPr lang="en-US" sz="1201">
                    <a:solidFill>
                      <a:srgbClr val="000000"/>
                    </a:solidFill>
                    <a:latin typeface="Arial" panose="020B0604020202020204" pitchFamily="34" charset="0"/>
                    <a:cs typeface="Arial" panose="020B0604020202020204" pitchFamily="34" charset="0"/>
                  </a:rPr>
                  <a:t>12</a:t>
                </a:r>
              </a:p>
            </p:txBody>
          </p:sp>
          <p:sp>
            <p:nvSpPr>
              <p:cNvPr id="356" name="Text Box 49">
                <a:extLst>
                  <a:ext uri="{FF2B5EF4-FFF2-40B4-BE49-F238E27FC236}">
                    <a16:creationId xmlns:a16="http://schemas.microsoft.com/office/drawing/2014/main" id="{2A014D3D-7DAE-7262-3A93-40230ACDF4A6}"/>
                  </a:ext>
                </a:extLst>
              </p:cNvPr>
              <p:cNvSpPr txBox="1">
                <a:spLocks noChangeArrowheads="1"/>
              </p:cNvSpPr>
              <p:nvPr/>
            </p:nvSpPr>
            <p:spPr bwMode="auto">
              <a:xfrm>
                <a:off x="2751" y="2882"/>
                <a:ext cx="254" cy="296"/>
              </a:xfrm>
              <a:prstGeom prst="rect">
                <a:avLst/>
              </a:prstGeom>
              <a:grpFill/>
              <a:ln w="9525">
                <a:noFill/>
                <a:miter lim="800000"/>
                <a:headEnd/>
                <a:tailEnd/>
              </a:ln>
            </p:spPr>
            <p:txBody>
              <a:bodyPr wrap="none">
                <a:spAutoFit/>
              </a:bodyPr>
              <a:lstStyle>
                <a:lvl1pPr>
                  <a:defRPr sz="2800">
                    <a:solidFill>
                      <a:schemeClr val="bg1"/>
                    </a:solidFill>
                    <a:latin typeface="Comic Sans MS" charset="0"/>
                    <a:ea typeface="ＭＳ Ｐゴシック" charset="0"/>
                    <a:cs typeface="ＭＳ Ｐゴシック" charset="0"/>
                  </a:defRPr>
                </a:lvl1pPr>
                <a:lvl2pPr marL="742950" indent="-285750">
                  <a:defRPr sz="2800">
                    <a:solidFill>
                      <a:schemeClr val="bg1"/>
                    </a:solidFill>
                    <a:latin typeface="Comic Sans MS" charset="0"/>
                    <a:ea typeface="ＭＳ Ｐゴシック" charset="0"/>
                  </a:defRPr>
                </a:lvl2pPr>
                <a:lvl3pPr marL="1143000" indent="-228600">
                  <a:defRPr sz="2800">
                    <a:solidFill>
                      <a:schemeClr val="bg1"/>
                    </a:solidFill>
                    <a:latin typeface="Comic Sans MS" charset="0"/>
                    <a:ea typeface="ＭＳ Ｐゴシック" charset="0"/>
                  </a:defRPr>
                </a:lvl3pPr>
                <a:lvl4pPr marL="1600200" indent="-228600">
                  <a:defRPr sz="2800">
                    <a:solidFill>
                      <a:schemeClr val="bg1"/>
                    </a:solidFill>
                    <a:latin typeface="Comic Sans MS" charset="0"/>
                    <a:ea typeface="ＭＳ Ｐゴシック" charset="0"/>
                  </a:defRPr>
                </a:lvl4pPr>
                <a:lvl5pPr marL="2057400" indent="-228600">
                  <a:defRPr sz="2800">
                    <a:solidFill>
                      <a:schemeClr val="bg1"/>
                    </a:solidFill>
                    <a:latin typeface="Comic Sans MS" charset="0"/>
                    <a:ea typeface="ＭＳ Ｐゴシック" charset="0"/>
                  </a:defRPr>
                </a:lvl5pPr>
                <a:lvl6pPr marL="2514600" indent="-228600" eaLnBrk="0" fontAlgn="base" hangingPunct="0">
                  <a:spcBef>
                    <a:spcPct val="0"/>
                  </a:spcBef>
                  <a:spcAft>
                    <a:spcPct val="0"/>
                  </a:spcAft>
                  <a:defRPr sz="2800">
                    <a:solidFill>
                      <a:schemeClr val="bg1"/>
                    </a:solidFill>
                    <a:latin typeface="Comic Sans MS" charset="0"/>
                    <a:ea typeface="ＭＳ Ｐゴシック" charset="0"/>
                  </a:defRPr>
                </a:lvl6pPr>
                <a:lvl7pPr marL="2971800" indent="-228600" eaLnBrk="0" fontAlgn="base" hangingPunct="0">
                  <a:spcBef>
                    <a:spcPct val="0"/>
                  </a:spcBef>
                  <a:spcAft>
                    <a:spcPct val="0"/>
                  </a:spcAft>
                  <a:defRPr sz="2800">
                    <a:solidFill>
                      <a:schemeClr val="bg1"/>
                    </a:solidFill>
                    <a:latin typeface="Comic Sans MS" charset="0"/>
                    <a:ea typeface="ＭＳ Ｐゴシック" charset="0"/>
                  </a:defRPr>
                </a:lvl7pPr>
                <a:lvl8pPr marL="3429000" indent="-228600" eaLnBrk="0" fontAlgn="base" hangingPunct="0">
                  <a:spcBef>
                    <a:spcPct val="0"/>
                  </a:spcBef>
                  <a:spcAft>
                    <a:spcPct val="0"/>
                  </a:spcAft>
                  <a:defRPr sz="2800">
                    <a:solidFill>
                      <a:schemeClr val="bg1"/>
                    </a:solidFill>
                    <a:latin typeface="Comic Sans MS" charset="0"/>
                    <a:ea typeface="ＭＳ Ｐゴシック" charset="0"/>
                  </a:defRPr>
                </a:lvl8pPr>
                <a:lvl9pPr marL="3886200" indent="-228600" eaLnBrk="0" fontAlgn="base" hangingPunct="0">
                  <a:spcBef>
                    <a:spcPct val="0"/>
                  </a:spcBef>
                  <a:spcAft>
                    <a:spcPct val="0"/>
                  </a:spcAft>
                  <a:defRPr sz="2800">
                    <a:solidFill>
                      <a:schemeClr val="bg1"/>
                    </a:solidFill>
                    <a:latin typeface="Comic Sans MS" charset="0"/>
                    <a:ea typeface="ＭＳ Ｐゴシック" charset="0"/>
                  </a:defRPr>
                </a:lvl9pPr>
              </a:lstStyle>
              <a:p>
                <a:pPr algn="ctr" eaLnBrk="1" hangingPunct="1"/>
                <a:r>
                  <a:rPr lang="en-US" sz="1201">
                    <a:solidFill>
                      <a:srgbClr val="000000"/>
                    </a:solidFill>
                    <a:latin typeface="Arial" panose="020B0604020202020204" pitchFamily="34" charset="0"/>
                    <a:cs typeface="Arial" panose="020B0604020202020204" pitchFamily="34" charset="0"/>
                  </a:rPr>
                  <a:t>14</a:t>
                </a:r>
              </a:p>
            </p:txBody>
          </p:sp>
          <p:sp>
            <p:nvSpPr>
              <p:cNvPr id="357" name="Text Box 51">
                <a:extLst>
                  <a:ext uri="{FF2B5EF4-FFF2-40B4-BE49-F238E27FC236}">
                    <a16:creationId xmlns:a16="http://schemas.microsoft.com/office/drawing/2014/main" id="{6D8F3FAF-C3DE-5395-1246-309A554FE592}"/>
                  </a:ext>
                </a:extLst>
              </p:cNvPr>
              <p:cNvSpPr txBox="1">
                <a:spLocks noChangeArrowheads="1"/>
              </p:cNvSpPr>
              <p:nvPr/>
            </p:nvSpPr>
            <p:spPr bwMode="auto">
              <a:xfrm>
                <a:off x="2962" y="2882"/>
                <a:ext cx="254" cy="296"/>
              </a:xfrm>
              <a:prstGeom prst="rect">
                <a:avLst/>
              </a:prstGeom>
              <a:grpFill/>
              <a:ln w="9525">
                <a:noFill/>
                <a:miter lim="800000"/>
                <a:headEnd/>
                <a:tailEnd/>
              </a:ln>
            </p:spPr>
            <p:txBody>
              <a:bodyPr wrap="none">
                <a:spAutoFit/>
              </a:bodyPr>
              <a:lstStyle>
                <a:lvl1pPr>
                  <a:defRPr sz="2800">
                    <a:solidFill>
                      <a:schemeClr val="bg1"/>
                    </a:solidFill>
                    <a:latin typeface="Comic Sans MS" charset="0"/>
                    <a:ea typeface="ＭＳ Ｐゴシック" charset="0"/>
                    <a:cs typeface="ＭＳ Ｐゴシック" charset="0"/>
                  </a:defRPr>
                </a:lvl1pPr>
                <a:lvl2pPr marL="742950" indent="-285750">
                  <a:defRPr sz="2800">
                    <a:solidFill>
                      <a:schemeClr val="bg1"/>
                    </a:solidFill>
                    <a:latin typeface="Comic Sans MS" charset="0"/>
                    <a:ea typeface="ＭＳ Ｐゴシック" charset="0"/>
                  </a:defRPr>
                </a:lvl2pPr>
                <a:lvl3pPr marL="1143000" indent="-228600">
                  <a:defRPr sz="2800">
                    <a:solidFill>
                      <a:schemeClr val="bg1"/>
                    </a:solidFill>
                    <a:latin typeface="Comic Sans MS" charset="0"/>
                    <a:ea typeface="ＭＳ Ｐゴシック" charset="0"/>
                  </a:defRPr>
                </a:lvl3pPr>
                <a:lvl4pPr marL="1600200" indent="-228600">
                  <a:defRPr sz="2800">
                    <a:solidFill>
                      <a:schemeClr val="bg1"/>
                    </a:solidFill>
                    <a:latin typeface="Comic Sans MS" charset="0"/>
                    <a:ea typeface="ＭＳ Ｐゴシック" charset="0"/>
                  </a:defRPr>
                </a:lvl4pPr>
                <a:lvl5pPr marL="2057400" indent="-228600">
                  <a:defRPr sz="2800">
                    <a:solidFill>
                      <a:schemeClr val="bg1"/>
                    </a:solidFill>
                    <a:latin typeface="Comic Sans MS" charset="0"/>
                    <a:ea typeface="ＭＳ Ｐゴシック" charset="0"/>
                  </a:defRPr>
                </a:lvl5pPr>
                <a:lvl6pPr marL="2514600" indent="-228600" eaLnBrk="0" fontAlgn="base" hangingPunct="0">
                  <a:spcBef>
                    <a:spcPct val="0"/>
                  </a:spcBef>
                  <a:spcAft>
                    <a:spcPct val="0"/>
                  </a:spcAft>
                  <a:defRPr sz="2800">
                    <a:solidFill>
                      <a:schemeClr val="bg1"/>
                    </a:solidFill>
                    <a:latin typeface="Comic Sans MS" charset="0"/>
                    <a:ea typeface="ＭＳ Ｐゴシック" charset="0"/>
                  </a:defRPr>
                </a:lvl6pPr>
                <a:lvl7pPr marL="2971800" indent="-228600" eaLnBrk="0" fontAlgn="base" hangingPunct="0">
                  <a:spcBef>
                    <a:spcPct val="0"/>
                  </a:spcBef>
                  <a:spcAft>
                    <a:spcPct val="0"/>
                  </a:spcAft>
                  <a:defRPr sz="2800">
                    <a:solidFill>
                      <a:schemeClr val="bg1"/>
                    </a:solidFill>
                    <a:latin typeface="Comic Sans MS" charset="0"/>
                    <a:ea typeface="ＭＳ Ｐゴシック" charset="0"/>
                  </a:defRPr>
                </a:lvl7pPr>
                <a:lvl8pPr marL="3429000" indent="-228600" eaLnBrk="0" fontAlgn="base" hangingPunct="0">
                  <a:spcBef>
                    <a:spcPct val="0"/>
                  </a:spcBef>
                  <a:spcAft>
                    <a:spcPct val="0"/>
                  </a:spcAft>
                  <a:defRPr sz="2800">
                    <a:solidFill>
                      <a:schemeClr val="bg1"/>
                    </a:solidFill>
                    <a:latin typeface="Comic Sans MS" charset="0"/>
                    <a:ea typeface="ＭＳ Ｐゴシック" charset="0"/>
                  </a:defRPr>
                </a:lvl8pPr>
                <a:lvl9pPr marL="3886200" indent="-228600" eaLnBrk="0" fontAlgn="base" hangingPunct="0">
                  <a:spcBef>
                    <a:spcPct val="0"/>
                  </a:spcBef>
                  <a:spcAft>
                    <a:spcPct val="0"/>
                  </a:spcAft>
                  <a:defRPr sz="2800">
                    <a:solidFill>
                      <a:schemeClr val="bg1"/>
                    </a:solidFill>
                    <a:latin typeface="Comic Sans MS" charset="0"/>
                    <a:ea typeface="ＭＳ Ｐゴシック" charset="0"/>
                  </a:defRPr>
                </a:lvl9pPr>
              </a:lstStyle>
              <a:p>
                <a:pPr algn="ctr" eaLnBrk="1" hangingPunct="1"/>
                <a:r>
                  <a:rPr lang="en-US" sz="1201">
                    <a:solidFill>
                      <a:srgbClr val="000000"/>
                    </a:solidFill>
                    <a:latin typeface="Arial" panose="020B0604020202020204" pitchFamily="34" charset="0"/>
                    <a:cs typeface="Arial" panose="020B0604020202020204" pitchFamily="34" charset="0"/>
                  </a:rPr>
                  <a:t>16</a:t>
                </a:r>
              </a:p>
            </p:txBody>
          </p:sp>
          <p:sp>
            <p:nvSpPr>
              <p:cNvPr id="358" name="Text Box 53">
                <a:extLst>
                  <a:ext uri="{FF2B5EF4-FFF2-40B4-BE49-F238E27FC236}">
                    <a16:creationId xmlns:a16="http://schemas.microsoft.com/office/drawing/2014/main" id="{82F56E53-F32D-1AB8-B5A2-2E7E1009A141}"/>
                  </a:ext>
                </a:extLst>
              </p:cNvPr>
              <p:cNvSpPr txBox="1">
                <a:spLocks noChangeArrowheads="1"/>
              </p:cNvSpPr>
              <p:nvPr/>
            </p:nvSpPr>
            <p:spPr bwMode="auto">
              <a:xfrm>
                <a:off x="3182" y="2882"/>
                <a:ext cx="254" cy="296"/>
              </a:xfrm>
              <a:prstGeom prst="rect">
                <a:avLst/>
              </a:prstGeom>
              <a:grpFill/>
              <a:ln w="9525">
                <a:noFill/>
                <a:miter lim="800000"/>
                <a:headEnd/>
                <a:tailEnd/>
              </a:ln>
            </p:spPr>
            <p:txBody>
              <a:bodyPr wrap="none">
                <a:spAutoFit/>
              </a:bodyPr>
              <a:lstStyle>
                <a:lvl1pPr>
                  <a:defRPr sz="2800">
                    <a:solidFill>
                      <a:schemeClr val="bg1"/>
                    </a:solidFill>
                    <a:latin typeface="Comic Sans MS" charset="0"/>
                    <a:ea typeface="ＭＳ Ｐゴシック" charset="0"/>
                    <a:cs typeface="ＭＳ Ｐゴシック" charset="0"/>
                  </a:defRPr>
                </a:lvl1pPr>
                <a:lvl2pPr marL="742950" indent="-285750">
                  <a:defRPr sz="2800">
                    <a:solidFill>
                      <a:schemeClr val="bg1"/>
                    </a:solidFill>
                    <a:latin typeface="Comic Sans MS" charset="0"/>
                    <a:ea typeface="ＭＳ Ｐゴシック" charset="0"/>
                  </a:defRPr>
                </a:lvl2pPr>
                <a:lvl3pPr marL="1143000" indent="-228600">
                  <a:defRPr sz="2800">
                    <a:solidFill>
                      <a:schemeClr val="bg1"/>
                    </a:solidFill>
                    <a:latin typeface="Comic Sans MS" charset="0"/>
                    <a:ea typeface="ＭＳ Ｐゴシック" charset="0"/>
                  </a:defRPr>
                </a:lvl3pPr>
                <a:lvl4pPr marL="1600200" indent="-228600">
                  <a:defRPr sz="2800">
                    <a:solidFill>
                      <a:schemeClr val="bg1"/>
                    </a:solidFill>
                    <a:latin typeface="Comic Sans MS" charset="0"/>
                    <a:ea typeface="ＭＳ Ｐゴシック" charset="0"/>
                  </a:defRPr>
                </a:lvl4pPr>
                <a:lvl5pPr marL="2057400" indent="-228600">
                  <a:defRPr sz="2800">
                    <a:solidFill>
                      <a:schemeClr val="bg1"/>
                    </a:solidFill>
                    <a:latin typeface="Comic Sans MS" charset="0"/>
                    <a:ea typeface="ＭＳ Ｐゴシック" charset="0"/>
                  </a:defRPr>
                </a:lvl5pPr>
                <a:lvl6pPr marL="2514600" indent="-228600" eaLnBrk="0" fontAlgn="base" hangingPunct="0">
                  <a:spcBef>
                    <a:spcPct val="0"/>
                  </a:spcBef>
                  <a:spcAft>
                    <a:spcPct val="0"/>
                  </a:spcAft>
                  <a:defRPr sz="2800">
                    <a:solidFill>
                      <a:schemeClr val="bg1"/>
                    </a:solidFill>
                    <a:latin typeface="Comic Sans MS" charset="0"/>
                    <a:ea typeface="ＭＳ Ｐゴシック" charset="0"/>
                  </a:defRPr>
                </a:lvl6pPr>
                <a:lvl7pPr marL="2971800" indent="-228600" eaLnBrk="0" fontAlgn="base" hangingPunct="0">
                  <a:spcBef>
                    <a:spcPct val="0"/>
                  </a:spcBef>
                  <a:spcAft>
                    <a:spcPct val="0"/>
                  </a:spcAft>
                  <a:defRPr sz="2800">
                    <a:solidFill>
                      <a:schemeClr val="bg1"/>
                    </a:solidFill>
                    <a:latin typeface="Comic Sans MS" charset="0"/>
                    <a:ea typeface="ＭＳ Ｐゴシック" charset="0"/>
                  </a:defRPr>
                </a:lvl7pPr>
                <a:lvl8pPr marL="3429000" indent="-228600" eaLnBrk="0" fontAlgn="base" hangingPunct="0">
                  <a:spcBef>
                    <a:spcPct val="0"/>
                  </a:spcBef>
                  <a:spcAft>
                    <a:spcPct val="0"/>
                  </a:spcAft>
                  <a:defRPr sz="2800">
                    <a:solidFill>
                      <a:schemeClr val="bg1"/>
                    </a:solidFill>
                    <a:latin typeface="Comic Sans MS" charset="0"/>
                    <a:ea typeface="ＭＳ Ｐゴシック" charset="0"/>
                  </a:defRPr>
                </a:lvl8pPr>
                <a:lvl9pPr marL="3886200" indent="-228600" eaLnBrk="0" fontAlgn="base" hangingPunct="0">
                  <a:spcBef>
                    <a:spcPct val="0"/>
                  </a:spcBef>
                  <a:spcAft>
                    <a:spcPct val="0"/>
                  </a:spcAft>
                  <a:defRPr sz="2800">
                    <a:solidFill>
                      <a:schemeClr val="bg1"/>
                    </a:solidFill>
                    <a:latin typeface="Comic Sans MS" charset="0"/>
                    <a:ea typeface="ＭＳ Ｐゴシック" charset="0"/>
                  </a:defRPr>
                </a:lvl9pPr>
              </a:lstStyle>
              <a:p>
                <a:pPr algn="ctr" eaLnBrk="1" hangingPunct="1"/>
                <a:r>
                  <a:rPr lang="en-US" sz="1201">
                    <a:solidFill>
                      <a:srgbClr val="000000"/>
                    </a:solidFill>
                    <a:latin typeface="Arial" panose="020B0604020202020204" pitchFamily="34" charset="0"/>
                    <a:cs typeface="Arial" panose="020B0604020202020204" pitchFamily="34" charset="0"/>
                  </a:rPr>
                  <a:t>18</a:t>
                </a:r>
              </a:p>
            </p:txBody>
          </p:sp>
          <p:sp>
            <p:nvSpPr>
              <p:cNvPr id="359" name="Text Box 55">
                <a:extLst>
                  <a:ext uri="{FF2B5EF4-FFF2-40B4-BE49-F238E27FC236}">
                    <a16:creationId xmlns:a16="http://schemas.microsoft.com/office/drawing/2014/main" id="{F74B75F5-4CAA-3A40-1945-EA8C67EF5357}"/>
                  </a:ext>
                </a:extLst>
              </p:cNvPr>
              <p:cNvSpPr txBox="1">
                <a:spLocks noChangeArrowheads="1"/>
              </p:cNvSpPr>
              <p:nvPr/>
            </p:nvSpPr>
            <p:spPr bwMode="auto">
              <a:xfrm>
                <a:off x="3389" y="2882"/>
                <a:ext cx="254" cy="296"/>
              </a:xfrm>
              <a:prstGeom prst="rect">
                <a:avLst/>
              </a:prstGeom>
              <a:grpFill/>
              <a:ln w="9525">
                <a:noFill/>
                <a:miter lim="800000"/>
                <a:headEnd/>
                <a:tailEnd/>
              </a:ln>
            </p:spPr>
            <p:txBody>
              <a:bodyPr wrap="none">
                <a:spAutoFit/>
              </a:bodyPr>
              <a:lstStyle>
                <a:lvl1pPr>
                  <a:defRPr sz="2800">
                    <a:solidFill>
                      <a:schemeClr val="bg1"/>
                    </a:solidFill>
                    <a:latin typeface="Comic Sans MS" charset="0"/>
                    <a:ea typeface="ＭＳ Ｐゴシック" charset="0"/>
                    <a:cs typeface="ＭＳ Ｐゴシック" charset="0"/>
                  </a:defRPr>
                </a:lvl1pPr>
                <a:lvl2pPr marL="742950" indent="-285750">
                  <a:defRPr sz="2800">
                    <a:solidFill>
                      <a:schemeClr val="bg1"/>
                    </a:solidFill>
                    <a:latin typeface="Comic Sans MS" charset="0"/>
                    <a:ea typeface="ＭＳ Ｐゴシック" charset="0"/>
                  </a:defRPr>
                </a:lvl2pPr>
                <a:lvl3pPr marL="1143000" indent="-228600">
                  <a:defRPr sz="2800">
                    <a:solidFill>
                      <a:schemeClr val="bg1"/>
                    </a:solidFill>
                    <a:latin typeface="Comic Sans MS" charset="0"/>
                    <a:ea typeface="ＭＳ Ｐゴシック" charset="0"/>
                  </a:defRPr>
                </a:lvl3pPr>
                <a:lvl4pPr marL="1600200" indent="-228600">
                  <a:defRPr sz="2800">
                    <a:solidFill>
                      <a:schemeClr val="bg1"/>
                    </a:solidFill>
                    <a:latin typeface="Comic Sans MS" charset="0"/>
                    <a:ea typeface="ＭＳ Ｐゴシック" charset="0"/>
                  </a:defRPr>
                </a:lvl4pPr>
                <a:lvl5pPr marL="2057400" indent="-228600">
                  <a:defRPr sz="2800">
                    <a:solidFill>
                      <a:schemeClr val="bg1"/>
                    </a:solidFill>
                    <a:latin typeface="Comic Sans MS" charset="0"/>
                    <a:ea typeface="ＭＳ Ｐゴシック" charset="0"/>
                  </a:defRPr>
                </a:lvl5pPr>
                <a:lvl6pPr marL="2514600" indent="-228600" eaLnBrk="0" fontAlgn="base" hangingPunct="0">
                  <a:spcBef>
                    <a:spcPct val="0"/>
                  </a:spcBef>
                  <a:spcAft>
                    <a:spcPct val="0"/>
                  </a:spcAft>
                  <a:defRPr sz="2800">
                    <a:solidFill>
                      <a:schemeClr val="bg1"/>
                    </a:solidFill>
                    <a:latin typeface="Comic Sans MS" charset="0"/>
                    <a:ea typeface="ＭＳ Ｐゴシック" charset="0"/>
                  </a:defRPr>
                </a:lvl6pPr>
                <a:lvl7pPr marL="2971800" indent="-228600" eaLnBrk="0" fontAlgn="base" hangingPunct="0">
                  <a:spcBef>
                    <a:spcPct val="0"/>
                  </a:spcBef>
                  <a:spcAft>
                    <a:spcPct val="0"/>
                  </a:spcAft>
                  <a:defRPr sz="2800">
                    <a:solidFill>
                      <a:schemeClr val="bg1"/>
                    </a:solidFill>
                    <a:latin typeface="Comic Sans MS" charset="0"/>
                    <a:ea typeface="ＭＳ Ｐゴシック" charset="0"/>
                  </a:defRPr>
                </a:lvl7pPr>
                <a:lvl8pPr marL="3429000" indent="-228600" eaLnBrk="0" fontAlgn="base" hangingPunct="0">
                  <a:spcBef>
                    <a:spcPct val="0"/>
                  </a:spcBef>
                  <a:spcAft>
                    <a:spcPct val="0"/>
                  </a:spcAft>
                  <a:defRPr sz="2800">
                    <a:solidFill>
                      <a:schemeClr val="bg1"/>
                    </a:solidFill>
                    <a:latin typeface="Comic Sans MS" charset="0"/>
                    <a:ea typeface="ＭＳ Ｐゴシック" charset="0"/>
                  </a:defRPr>
                </a:lvl8pPr>
                <a:lvl9pPr marL="3886200" indent="-228600" eaLnBrk="0" fontAlgn="base" hangingPunct="0">
                  <a:spcBef>
                    <a:spcPct val="0"/>
                  </a:spcBef>
                  <a:spcAft>
                    <a:spcPct val="0"/>
                  </a:spcAft>
                  <a:defRPr sz="2800">
                    <a:solidFill>
                      <a:schemeClr val="bg1"/>
                    </a:solidFill>
                    <a:latin typeface="Comic Sans MS" charset="0"/>
                    <a:ea typeface="ＭＳ Ｐゴシック" charset="0"/>
                  </a:defRPr>
                </a:lvl9pPr>
              </a:lstStyle>
              <a:p>
                <a:pPr algn="ctr" eaLnBrk="1" hangingPunct="1"/>
                <a:r>
                  <a:rPr lang="en-US" sz="1201">
                    <a:solidFill>
                      <a:srgbClr val="000000"/>
                    </a:solidFill>
                    <a:latin typeface="Arial" panose="020B0604020202020204" pitchFamily="34" charset="0"/>
                    <a:cs typeface="Arial" panose="020B0604020202020204" pitchFamily="34" charset="0"/>
                  </a:rPr>
                  <a:t>20</a:t>
                </a:r>
              </a:p>
            </p:txBody>
          </p:sp>
          <p:sp>
            <p:nvSpPr>
              <p:cNvPr id="360" name="Text Box 57">
                <a:extLst>
                  <a:ext uri="{FF2B5EF4-FFF2-40B4-BE49-F238E27FC236}">
                    <a16:creationId xmlns:a16="http://schemas.microsoft.com/office/drawing/2014/main" id="{22FBC040-C83D-03CD-8EE8-06B068447D30}"/>
                  </a:ext>
                </a:extLst>
              </p:cNvPr>
              <p:cNvSpPr txBox="1">
                <a:spLocks noChangeArrowheads="1"/>
              </p:cNvSpPr>
              <p:nvPr/>
            </p:nvSpPr>
            <p:spPr bwMode="auto">
              <a:xfrm>
                <a:off x="3605" y="2882"/>
                <a:ext cx="254" cy="296"/>
              </a:xfrm>
              <a:prstGeom prst="rect">
                <a:avLst/>
              </a:prstGeom>
              <a:grpFill/>
              <a:ln w="9525">
                <a:noFill/>
                <a:miter lim="800000"/>
                <a:headEnd/>
                <a:tailEnd/>
              </a:ln>
            </p:spPr>
            <p:txBody>
              <a:bodyPr wrap="none">
                <a:spAutoFit/>
              </a:bodyPr>
              <a:lstStyle>
                <a:lvl1pPr>
                  <a:defRPr sz="2800">
                    <a:solidFill>
                      <a:schemeClr val="bg1"/>
                    </a:solidFill>
                    <a:latin typeface="Comic Sans MS" charset="0"/>
                    <a:ea typeface="ＭＳ Ｐゴシック" charset="0"/>
                    <a:cs typeface="ＭＳ Ｐゴシック" charset="0"/>
                  </a:defRPr>
                </a:lvl1pPr>
                <a:lvl2pPr marL="742950" indent="-285750">
                  <a:defRPr sz="2800">
                    <a:solidFill>
                      <a:schemeClr val="bg1"/>
                    </a:solidFill>
                    <a:latin typeface="Comic Sans MS" charset="0"/>
                    <a:ea typeface="ＭＳ Ｐゴシック" charset="0"/>
                  </a:defRPr>
                </a:lvl2pPr>
                <a:lvl3pPr marL="1143000" indent="-228600">
                  <a:defRPr sz="2800">
                    <a:solidFill>
                      <a:schemeClr val="bg1"/>
                    </a:solidFill>
                    <a:latin typeface="Comic Sans MS" charset="0"/>
                    <a:ea typeface="ＭＳ Ｐゴシック" charset="0"/>
                  </a:defRPr>
                </a:lvl3pPr>
                <a:lvl4pPr marL="1600200" indent="-228600">
                  <a:defRPr sz="2800">
                    <a:solidFill>
                      <a:schemeClr val="bg1"/>
                    </a:solidFill>
                    <a:latin typeface="Comic Sans MS" charset="0"/>
                    <a:ea typeface="ＭＳ Ｐゴシック" charset="0"/>
                  </a:defRPr>
                </a:lvl4pPr>
                <a:lvl5pPr marL="2057400" indent="-228600">
                  <a:defRPr sz="2800">
                    <a:solidFill>
                      <a:schemeClr val="bg1"/>
                    </a:solidFill>
                    <a:latin typeface="Comic Sans MS" charset="0"/>
                    <a:ea typeface="ＭＳ Ｐゴシック" charset="0"/>
                  </a:defRPr>
                </a:lvl5pPr>
                <a:lvl6pPr marL="2514600" indent="-228600" eaLnBrk="0" fontAlgn="base" hangingPunct="0">
                  <a:spcBef>
                    <a:spcPct val="0"/>
                  </a:spcBef>
                  <a:spcAft>
                    <a:spcPct val="0"/>
                  </a:spcAft>
                  <a:defRPr sz="2800">
                    <a:solidFill>
                      <a:schemeClr val="bg1"/>
                    </a:solidFill>
                    <a:latin typeface="Comic Sans MS" charset="0"/>
                    <a:ea typeface="ＭＳ Ｐゴシック" charset="0"/>
                  </a:defRPr>
                </a:lvl6pPr>
                <a:lvl7pPr marL="2971800" indent="-228600" eaLnBrk="0" fontAlgn="base" hangingPunct="0">
                  <a:spcBef>
                    <a:spcPct val="0"/>
                  </a:spcBef>
                  <a:spcAft>
                    <a:spcPct val="0"/>
                  </a:spcAft>
                  <a:defRPr sz="2800">
                    <a:solidFill>
                      <a:schemeClr val="bg1"/>
                    </a:solidFill>
                    <a:latin typeface="Comic Sans MS" charset="0"/>
                    <a:ea typeface="ＭＳ Ｐゴシック" charset="0"/>
                  </a:defRPr>
                </a:lvl7pPr>
                <a:lvl8pPr marL="3429000" indent="-228600" eaLnBrk="0" fontAlgn="base" hangingPunct="0">
                  <a:spcBef>
                    <a:spcPct val="0"/>
                  </a:spcBef>
                  <a:spcAft>
                    <a:spcPct val="0"/>
                  </a:spcAft>
                  <a:defRPr sz="2800">
                    <a:solidFill>
                      <a:schemeClr val="bg1"/>
                    </a:solidFill>
                    <a:latin typeface="Comic Sans MS" charset="0"/>
                    <a:ea typeface="ＭＳ Ｐゴシック" charset="0"/>
                  </a:defRPr>
                </a:lvl8pPr>
                <a:lvl9pPr marL="3886200" indent="-228600" eaLnBrk="0" fontAlgn="base" hangingPunct="0">
                  <a:spcBef>
                    <a:spcPct val="0"/>
                  </a:spcBef>
                  <a:spcAft>
                    <a:spcPct val="0"/>
                  </a:spcAft>
                  <a:defRPr sz="2800">
                    <a:solidFill>
                      <a:schemeClr val="bg1"/>
                    </a:solidFill>
                    <a:latin typeface="Comic Sans MS" charset="0"/>
                    <a:ea typeface="ＭＳ Ｐゴシック" charset="0"/>
                  </a:defRPr>
                </a:lvl9pPr>
              </a:lstStyle>
              <a:p>
                <a:pPr algn="ctr" eaLnBrk="1" hangingPunct="1"/>
                <a:r>
                  <a:rPr lang="en-US" sz="1201">
                    <a:solidFill>
                      <a:srgbClr val="000000"/>
                    </a:solidFill>
                    <a:latin typeface="Arial" panose="020B0604020202020204" pitchFamily="34" charset="0"/>
                    <a:cs typeface="Arial" panose="020B0604020202020204" pitchFamily="34" charset="0"/>
                  </a:rPr>
                  <a:t>22</a:t>
                </a:r>
              </a:p>
            </p:txBody>
          </p:sp>
          <p:sp>
            <p:nvSpPr>
              <p:cNvPr id="361" name="Text Box 59">
                <a:extLst>
                  <a:ext uri="{FF2B5EF4-FFF2-40B4-BE49-F238E27FC236}">
                    <a16:creationId xmlns:a16="http://schemas.microsoft.com/office/drawing/2014/main" id="{079F5A66-B57B-5255-E9F3-628BE2736329}"/>
                  </a:ext>
                </a:extLst>
              </p:cNvPr>
              <p:cNvSpPr txBox="1">
                <a:spLocks noChangeArrowheads="1"/>
              </p:cNvSpPr>
              <p:nvPr/>
            </p:nvSpPr>
            <p:spPr bwMode="auto">
              <a:xfrm>
                <a:off x="3819" y="2882"/>
                <a:ext cx="254" cy="296"/>
              </a:xfrm>
              <a:prstGeom prst="rect">
                <a:avLst/>
              </a:prstGeom>
              <a:grpFill/>
              <a:ln w="9525">
                <a:noFill/>
                <a:miter lim="800000"/>
                <a:headEnd/>
                <a:tailEnd/>
              </a:ln>
            </p:spPr>
            <p:txBody>
              <a:bodyPr wrap="none">
                <a:spAutoFit/>
              </a:bodyPr>
              <a:lstStyle>
                <a:lvl1pPr>
                  <a:defRPr sz="2800">
                    <a:solidFill>
                      <a:schemeClr val="bg1"/>
                    </a:solidFill>
                    <a:latin typeface="Comic Sans MS" charset="0"/>
                    <a:ea typeface="ＭＳ Ｐゴシック" charset="0"/>
                    <a:cs typeface="ＭＳ Ｐゴシック" charset="0"/>
                  </a:defRPr>
                </a:lvl1pPr>
                <a:lvl2pPr marL="742950" indent="-285750">
                  <a:defRPr sz="2800">
                    <a:solidFill>
                      <a:schemeClr val="bg1"/>
                    </a:solidFill>
                    <a:latin typeface="Comic Sans MS" charset="0"/>
                    <a:ea typeface="ＭＳ Ｐゴシック" charset="0"/>
                  </a:defRPr>
                </a:lvl2pPr>
                <a:lvl3pPr marL="1143000" indent="-228600">
                  <a:defRPr sz="2800">
                    <a:solidFill>
                      <a:schemeClr val="bg1"/>
                    </a:solidFill>
                    <a:latin typeface="Comic Sans MS" charset="0"/>
                    <a:ea typeface="ＭＳ Ｐゴシック" charset="0"/>
                  </a:defRPr>
                </a:lvl3pPr>
                <a:lvl4pPr marL="1600200" indent="-228600">
                  <a:defRPr sz="2800">
                    <a:solidFill>
                      <a:schemeClr val="bg1"/>
                    </a:solidFill>
                    <a:latin typeface="Comic Sans MS" charset="0"/>
                    <a:ea typeface="ＭＳ Ｐゴシック" charset="0"/>
                  </a:defRPr>
                </a:lvl4pPr>
                <a:lvl5pPr marL="2057400" indent="-228600">
                  <a:defRPr sz="2800">
                    <a:solidFill>
                      <a:schemeClr val="bg1"/>
                    </a:solidFill>
                    <a:latin typeface="Comic Sans MS" charset="0"/>
                    <a:ea typeface="ＭＳ Ｐゴシック" charset="0"/>
                  </a:defRPr>
                </a:lvl5pPr>
                <a:lvl6pPr marL="2514600" indent="-228600" eaLnBrk="0" fontAlgn="base" hangingPunct="0">
                  <a:spcBef>
                    <a:spcPct val="0"/>
                  </a:spcBef>
                  <a:spcAft>
                    <a:spcPct val="0"/>
                  </a:spcAft>
                  <a:defRPr sz="2800">
                    <a:solidFill>
                      <a:schemeClr val="bg1"/>
                    </a:solidFill>
                    <a:latin typeface="Comic Sans MS" charset="0"/>
                    <a:ea typeface="ＭＳ Ｐゴシック" charset="0"/>
                  </a:defRPr>
                </a:lvl6pPr>
                <a:lvl7pPr marL="2971800" indent="-228600" eaLnBrk="0" fontAlgn="base" hangingPunct="0">
                  <a:spcBef>
                    <a:spcPct val="0"/>
                  </a:spcBef>
                  <a:spcAft>
                    <a:spcPct val="0"/>
                  </a:spcAft>
                  <a:defRPr sz="2800">
                    <a:solidFill>
                      <a:schemeClr val="bg1"/>
                    </a:solidFill>
                    <a:latin typeface="Comic Sans MS" charset="0"/>
                    <a:ea typeface="ＭＳ Ｐゴシック" charset="0"/>
                  </a:defRPr>
                </a:lvl7pPr>
                <a:lvl8pPr marL="3429000" indent="-228600" eaLnBrk="0" fontAlgn="base" hangingPunct="0">
                  <a:spcBef>
                    <a:spcPct val="0"/>
                  </a:spcBef>
                  <a:spcAft>
                    <a:spcPct val="0"/>
                  </a:spcAft>
                  <a:defRPr sz="2800">
                    <a:solidFill>
                      <a:schemeClr val="bg1"/>
                    </a:solidFill>
                    <a:latin typeface="Comic Sans MS" charset="0"/>
                    <a:ea typeface="ＭＳ Ｐゴシック" charset="0"/>
                  </a:defRPr>
                </a:lvl8pPr>
                <a:lvl9pPr marL="3886200" indent="-228600" eaLnBrk="0" fontAlgn="base" hangingPunct="0">
                  <a:spcBef>
                    <a:spcPct val="0"/>
                  </a:spcBef>
                  <a:spcAft>
                    <a:spcPct val="0"/>
                  </a:spcAft>
                  <a:defRPr sz="2800">
                    <a:solidFill>
                      <a:schemeClr val="bg1"/>
                    </a:solidFill>
                    <a:latin typeface="Comic Sans MS" charset="0"/>
                    <a:ea typeface="ＭＳ Ｐゴシック" charset="0"/>
                  </a:defRPr>
                </a:lvl9pPr>
              </a:lstStyle>
              <a:p>
                <a:pPr algn="ctr" eaLnBrk="1" hangingPunct="1"/>
                <a:r>
                  <a:rPr lang="en-US" sz="1201">
                    <a:solidFill>
                      <a:srgbClr val="000000"/>
                    </a:solidFill>
                    <a:latin typeface="Arial" panose="020B0604020202020204" pitchFamily="34" charset="0"/>
                    <a:cs typeface="Arial" panose="020B0604020202020204" pitchFamily="34" charset="0"/>
                  </a:rPr>
                  <a:t>24</a:t>
                </a:r>
              </a:p>
            </p:txBody>
          </p:sp>
          <p:sp>
            <p:nvSpPr>
              <p:cNvPr id="362" name="Text Box 61">
                <a:extLst>
                  <a:ext uri="{FF2B5EF4-FFF2-40B4-BE49-F238E27FC236}">
                    <a16:creationId xmlns:a16="http://schemas.microsoft.com/office/drawing/2014/main" id="{8165C8F7-B606-8BFB-DA1B-58D0AC172E26}"/>
                  </a:ext>
                </a:extLst>
              </p:cNvPr>
              <p:cNvSpPr txBox="1">
                <a:spLocks noChangeArrowheads="1"/>
              </p:cNvSpPr>
              <p:nvPr/>
            </p:nvSpPr>
            <p:spPr bwMode="auto">
              <a:xfrm>
                <a:off x="4039" y="2882"/>
                <a:ext cx="254" cy="296"/>
              </a:xfrm>
              <a:prstGeom prst="rect">
                <a:avLst/>
              </a:prstGeom>
              <a:grpFill/>
              <a:ln w="9525">
                <a:noFill/>
                <a:miter lim="800000"/>
                <a:headEnd/>
                <a:tailEnd/>
              </a:ln>
            </p:spPr>
            <p:txBody>
              <a:bodyPr wrap="none">
                <a:spAutoFit/>
              </a:bodyPr>
              <a:lstStyle>
                <a:lvl1pPr>
                  <a:defRPr sz="2800">
                    <a:solidFill>
                      <a:schemeClr val="bg1"/>
                    </a:solidFill>
                    <a:latin typeface="Comic Sans MS" charset="0"/>
                    <a:ea typeface="ＭＳ Ｐゴシック" charset="0"/>
                    <a:cs typeface="ＭＳ Ｐゴシック" charset="0"/>
                  </a:defRPr>
                </a:lvl1pPr>
                <a:lvl2pPr marL="742950" indent="-285750">
                  <a:defRPr sz="2800">
                    <a:solidFill>
                      <a:schemeClr val="bg1"/>
                    </a:solidFill>
                    <a:latin typeface="Comic Sans MS" charset="0"/>
                    <a:ea typeface="ＭＳ Ｐゴシック" charset="0"/>
                  </a:defRPr>
                </a:lvl2pPr>
                <a:lvl3pPr marL="1143000" indent="-228600">
                  <a:defRPr sz="2800">
                    <a:solidFill>
                      <a:schemeClr val="bg1"/>
                    </a:solidFill>
                    <a:latin typeface="Comic Sans MS" charset="0"/>
                    <a:ea typeface="ＭＳ Ｐゴシック" charset="0"/>
                  </a:defRPr>
                </a:lvl3pPr>
                <a:lvl4pPr marL="1600200" indent="-228600">
                  <a:defRPr sz="2800">
                    <a:solidFill>
                      <a:schemeClr val="bg1"/>
                    </a:solidFill>
                    <a:latin typeface="Comic Sans MS" charset="0"/>
                    <a:ea typeface="ＭＳ Ｐゴシック" charset="0"/>
                  </a:defRPr>
                </a:lvl4pPr>
                <a:lvl5pPr marL="2057400" indent="-228600">
                  <a:defRPr sz="2800">
                    <a:solidFill>
                      <a:schemeClr val="bg1"/>
                    </a:solidFill>
                    <a:latin typeface="Comic Sans MS" charset="0"/>
                    <a:ea typeface="ＭＳ Ｐゴシック" charset="0"/>
                  </a:defRPr>
                </a:lvl5pPr>
                <a:lvl6pPr marL="2514600" indent="-228600" eaLnBrk="0" fontAlgn="base" hangingPunct="0">
                  <a:spcBef>
                    <a:spcPct val="0"/>
                  </a:spcBef>
                  <a:spcAft>
                    <a:spcPct val="0"/>
                  </a:spcAft>
                  <a:defRPr sz="2800">
                    <a:solidFill>
                      <a:schemeClr val="bg1"/>
                    </a:solidFill>
                    <a:latin typeface="Comic Sans MS" charset="0"/>
                    <a:ea typeface="ＭＳ Ｐゴシック" charset="0"/>
                  </a:defRPr>
                </a:lvl6pPr>
                <a:lvl7pPr marL="2971800" indent="-228600" eaLnBrk="0" fontAlgn="base" hangingPunct="0">
                  <a:spcBef>
                    <a:spcPct val="0"/>
                  </a:spcBef>
                  <a:spcAft>
                    <a:spcPct val="0"/>
                  </a:spcAft>
                  <a:defRPr sz="2800">
                    <a:solidFill>
                      <a:schemeClr val="bg1"/>
                    </a:solidFill>
                    <a:latin typeface="Comic Sans MS" charset="0"/>
                    <a:ea typeface="ＭＳ Ｐゴシック" charset="0"/>
                  </a:defRPr>
                </a:lvl7pPr>
                <a:lvl8pPr marL="3429000" indent="-228600" eaLnBrk="0" fontAlgn="base" hangingPunct="0">
                  <a:spcBef>
                    <a:spcPct val="0"/>
                  </a:spcBef>
                  <a:spcAft>
                    <a:spcPct val="0"/>
                  </a:spcAft>
                  <a:defRPr sz="2800">
                    <a:solidFill>
                      <a:schemeClr val="bg1"/>
                    </a:solidFill>
                    <a:latin typeface="Comic Sans MS" charset="0"/>
                    <a:ea typeface="ＭＳ Ｐゴシック" charset="0"/>
                  </a:defRPr>
                </a:lvl8pPr>
                <a:lvl9pPr marL="3886200" indent="-228600" eaLnBrk="0" fontAlgn="base" hangingPunct="0">
                  <a:spcBef>
                    <a:spcPct val="0"/>
                  </a:spcBef>
                  <a:spcAft>
                    <a:spcPct val="0"/>
                  </a:spcAft>
                  <a:defRPr sz="2800">
                    <a:solidFill>
                      <a:schemeClr val="bg1"/>
                    </a:solidFill>
                    <a:latin typeface="Comic Sans MS" charset="0"/>
                    <a:ea typeface="ＭＳ Ｐゴシック" charset="0"/>
                  </a:defRPr>
                </a:lvl9pPr>
              </a:lstStyle>
              <a:p>
                <a:pPr algn="ctr" eaLnBrk="1" hangingPunct="1"/>
                <a:r>
                  <a:rPr lang="en-US" sz="1201">
                    <a:solidFill>
                      <a:srgbClr val="000000"/>
                    </a:solidFill>
                    <a:latin typeface="Arial" panose="020B0604020202020204" pitchFamily="34" charset="0"/>
                    <a:cs typeface="Arial" panose="020B0604020202020204" pitchFamily="34" charset="0"/>
                  </a:rPr>
                  <a:t>26</a:t>
                </a:r>
              </a:p>
            </p:txBody>
          </p:sp>
          <p:sp>
            <p:nvSpPr>
              <p:cNvPr id="363" name="Text Box 63">
                <a:extLst>
                  <a:ext uri="{FF2B5EF4-FFF2-40B4-BE49-F238E27FC236}">
                    <a16:creationId xmlns:a16="http://schemas.microsoft.com/office/drawing/2014/main" id="{517F85C9-3DD3-C8B6-F745-595D4D502F2E}"/>
                  </a:ext>
                </a:extLst>
              </p:cNvPr>
              <p:cNvSpPr txBox="1">
                <a:spLocks noChangeArrowheads="1"/>
              </p:cNvSpPr>
              <p:nvPr/>
            </p:nvSpPr>
            <p:spPr bwMode="auto">
              <a:xfrm>
                <a:off x="4247" y="2882"/>
                <a:ext cx="254" cy="296"/>
              </a:xfrm>
              <a:prstGeom prst="rect">
                <a:avLst/>
              </a:prstGeom>
              <a:grpFill/>
              <a:ln w="9525">
                <a:noFill/>
                <a:miter lim="800000"/>
                <a:headEnd/>
                <a:tailEnd/>
              </a:ln>
            </p:spPr>
            <p:txBody>
              <a:bodyPr wrap="none">
                <a:spAutoFit/>
              </a:bodyPr>
              <a:lstStyle>
                <a:lvl1pPr>
                  <a:defRPr sz="2800">
                    <a:solidFill>
                      <a:schemeClr val="bg1"/>
                    </a:solidFill>
                    <a:latin typeface="Comic Sans MS" charset="0"/>
                    <a:ea typeface="ＭＳ Ｐゴシック" charset="0"/>
                    <a:cs typeface="ＭＳ Ｐゴシック" charset="0"/>
                  </a:defRPr>
                </a:lvl1pPr>
                <a:lvl2pPr marL="742950" indent="-285750">
                  <a:defRPr sz="2800">
                    <a:solidFill>
                      <a:schemeClr val="bg1"/>
                    </a:solidFill>
                    <a:latin typeface="Comic Sans MS" charset="0"/>
                    <a:ea typeface="ＭＳ Ｐゴシック" charset="0"/>
                  </a:defRPr>
                </a:lvl2pPr>
                <a:lvl3pPr marL="1143000" indent="-228600">
                  <a:defRPr sz="2800">
                    <a:solidFill>
                      <a:schemeClr val="bg1"/>
                    </a:solidFill>
                    <a:latin typeface="Comic Sans MS" charset="0"/>
                    <a:ea typeface="ＭＳ Ｐゴシック" charset="0"/>
                  </a:defRPr>
                </a:lvl3pPr>
                <a:lvl4pPr marL="1600200" indent="-228600">
                  <a:defRPr sz="2800">
                    <a:solidFill>
                      <a:schemeClr val="bg1"/>
                    </a:solidFill>
                    <a:latin typeface="Comic Sans MS" charset="0"/>
                    <a:ea typeface="ＭＳ Ｐゴシック" charset="0"/>
                  </a:defRPr>
                </a:lvl4pPr>
                <a:lvl5pPr marL="2057400" indent="-228600">
                  <a:defRPr sz="2800">
                    <a:solidFill>
                      <a:schemeClr val="bg1"/>
                    </a:solidFill>
                    <a:latin typeface="Comic Sans MS" charset="0"/>
                    <a:ea typeface="ＭＳ Ｐゴシック" charset="0"/>
                  </a:defRPr>
                </a:lvl5pPr>
                <a:lvl6pPr marL="2514600" indent="-228600" eaLnBrk="0" fontAlgn="base" hangingPunct="0">
                  <a:spcBef>
                    <a:spcPct val="0"/>
                  </a:spcBef>
                  <a:spcAft>
                    <a:spcPct val="0"/>
                  </a:spcAft>
                  <a:defRPr sz="2800">
                    <a:solidFill>
                      <a:schemeClr val="bg1"/>
                    </a:solidFill>
                    <a:latin typeface="Comic Sans MS" charset="0"/>
                    <a:ea typeface="ＭＳ Ｐゴシック" charset="0"/>
                  </a:defRPr>
                </a:lvl6pPr>
                <a:lvl7pPr marL="2971800" indent="-228600" eaLnBrk="0" fontAlgn="base" hangingPunct="0">
                  <a:spcBef>
                    <a:spcPct val="0"/>
                  </a:spcBef>
                  <a:spcAft>
                    <a:spcPct val="0"/>
                  </a:spcAft>
                  <a:defRPr sz="2800">
                    <a:solidFill>
                      <a:schemeClr val="bg1"/>
                    </a:solidFill>
                    <a:latin typeface="Comic Sans MS" charset="0"/>
                    <a:ea typeface="ＭＳ Ｐゴシック" charset="0"/>
                  </a:defRPr>
                </a:lvl7pPr>
                <a:lvl8pPr marL="3429000" indent="-228600" eaLnBrk="0" fontAlgn="base" hangingPunct="0">
                  <a:spcBef>
                    <a:spcPct val="0"/>
                  </a:spcBef>
                  <a:spcAft>
                    <a:spcPct val="0"/>
                  </a:spcAft>
                  <a:defRPr sz="2800">
                    <a:solidFill>
                      <a:schemeClr val="bg1"/>
                    </a:solidFill>
                    <a:latin typeface="Comic Sans MS" charset="0"/>
                    <a:ea typeface="ＭＳ Ｐゴシック" charset="0"/>
                  </a:defRPr>
                </a:lvl8pPr>
                <a:lvl9pPr marL="3886200" indent="-228600" eaLnBrk="0" fontAlgn="base" hangingPunct="0">
                  <a:spcBef>
                    <a:spcPct val="0"/>
                  </a:spcBef>
                  <a:spcAft>
                    <a:spcPct val="0"/>
                  </a:spcAft>
                  <a:defRPr sz="2800">
                    <a:solidFill>
                      <a:schemeClr val="bg1"/>
                    </a:solidFill>
                    <a:latin typeface="Comic Sans MS" charset="0"/>
                    <a:ea typeface="ＭＳ Ｐゴシック" charset="0"/>
                  </a:defRPr>
                </a:lvl9pPr>
              </a:lstStyle>
              <a:p>
                <a:pPr algn="ctr" eaLnBrk="1" hangingPunct="1"/>
                <a:r>
                  <a:rPr lang="en-US" sz="1201">
                    <a:solidFill>
                      <a:srgbClr val="000000"/>
                    </a:solidFill>
                    <a:latin typeface="Arial" panose="020B0604020202020204" pitchFamily="34" charset="0"/>
                    <a:cs typeface="Arial" panose="020B0604020202020204" pitchFamily="34" charset="0"/>
                  </a:rPr>
                  <a:t>28</a:t>
                </a:r>
              </a:p>
            </p:txBody>
          </p:sp>
        </p:grpSp>
        <p:sp>
          <p:nvSpPr>
            <p:cNvPr id="328" name="Line 64">
              <a:extLst>
                <a:ext uri="{FF2B5EF4-FFF2-40B4-BE49-F238E27FC236}">
                  <a16:creationId xmlns:a16="http://schemas.microsoft.com/office/drawing/2014/main" id="{D19CEE14-46B7-97C0-EA37-287456956E22}"/>
                </a:ext>
              </a:extLst>
            </p:cNvPr>
            <p:cNvSpPr>
              <a:spLocks noChangeShapeType="1"/>
            </p:cNvSpPr>
            <p:nvPr/>
          </p:nvSpPr>
          <p:spPr bwMode="auto">
            <a:xfrm>
              <a:off x="7808913" y="4359275"/>
              <a:ext cx="0" cy="98425"/>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802">
                <a:latin typeface="Arial" panose="020B0604020202020204" pitchFamily="34" charset="0"/>
                <a:cs typeface="Arial" panose="020B0604020202020204" pitchFamily="34" charset="0"/>
              </a:endParaRPr>
            </a:p>
          </p:txBody>
        </p:sp>
        <p:sp>
          <p:nvSpPr>
            <p:cNvPr id="329" name="Line 67">
              <a:extLst>
                <a:ext uri="{FF2B5EF4-FFF2-40B4-BE49-F238E27FC236}">
                  <a16:creationId xmlns:a16="http://schemas.microsoft.com/office/drawing/2014/main" id="{21CD726E-320B-B86B-0F7E-EB215A865BEE}"/>
                </a:ext>
              </a:extLst>
            </p:cNvPr>
            <p:cNvSpPr>
              <a:spLocks noChangeShapeType="1"/>
            </p:cNvSpPr>
            <p:nvPr/>
          </p:nvSpPr>
          <p:spPr bwMode="auto">
            <a:xfrm flipH="1">
              <a:off x="5032375" y="3190875"/>
              <a:ext cx="4763" cy="147638"/>
            </a:xfrm>
            <a:prstGeom prst="line">
              <a:avLst/>
            </a:prstGeom>
            <a:noFill/>
            <a:ln w="9525">
              <a:solidFill>
                <a:srgbClr val="FFFF00"/>
              </a:solidFill>
              <a:round/>
              <a:headEnd/>
              <a:tailEnd/>
            </a:ln>
            <a:extLst>
              <a:ext uri="{909E8E84-426E-40DD-AFC4-6F175D3DCCD1}">
                <a14:hiddenFill xmlns:a14="http://schemas.microsoft.com/office/drawing/2010/main">
                  <a:noFill/>
                </a14:hiddenFill>
              </a:ext>
            </a:extLst>
          </p:spPr>
          <p:txBody>
            <a:bodyPr/>
            <a:lstStyle/>
            <a:p>
              <a:endParaRPr lang="en-US" sz="1802">
                <a:latin typeface="Arial" panose="020B0604020202020204" pitchFamily="34" charset="0"/>
                <a:cs typeface="Arial" panose="020B0604020202020204" pitchFamily="34" charset="0"/>
              </a:endParaRPr>
            </a:p>
          </p:txBody>
        </p:sp>
        <p:sp>
          <p:nvSpPr>
            <p:cNvPr id="330" name="Line 68">
              <a:extLst>
                <a:ext uri="{FF2B5EF4-FFF2-40B4-BE49-F238E27FC236}">
                  <a16:creationId xmlns:a16="http://schemas.microsoft.com/office/drawing/2014/main" id="{89E7FE35-4E94-9883-6EBF-87B2D77DDF84}"/>
                </a:ext>
              </a:extLst>
            </p:cNvPr>
            <p:cNvSpPr>
              <a:spLocks noChangeShapeType="1"/>
            </p:cNvSpPr>
            <p:nvPr/>
          </p:nvSpPr>
          <p:spPr bwMode="auto">
            <a:xfrm flipH="1">
              <a:off x="4837113" y="3125788"/>
              <a:ext cx="6350" cy="146050"/>
            </a:xfrm>
            <a:prstGeom prst="line">
              <a:avLst/>
            </a:prstGeom>
            <a:noFill/>
            <a:ln w="9525">
              <a:solidFill>
                <a:srgbClr val="FFFF00"/>
              </a:solidFill>
              <a:round/>
              <a:headEnd/>
              <a:tailEnd/>
            </a:ln>
            <a:extLst>
              <a:ext uri="{909E8E84-426E-40DD-AFC4-6F175D3DCCD1}">
                <a14:hiddenFill xmlns:a14="http://schemas.microsoft.com/office/drawing/2010/main">
                  <a:noFill/>
                </a14:hiddenFill>
              </a:ext>
            </a:extLst>
          </p:spPr>
          <p:txBody>
            <a:bodyPr/>
            <a:lstStyle/>
            <a:p>
              <a:endParaRPr lang="en-US" sz="1802">
                <a:latin typeface="Arial" panose="020B0604020202020204" pitchFamily="34" charset="0"/>
                <a:cs typeface="Arial" panose="020B0604020202020204" pitchFamily="34" charset="0"/>
              </a:endParaRPr>
            </a:p>
          </p:txBody>
        </p:sp>
        <p:sp>
          <p:nvSpPr>
            <p:cNvPr id="331" name="Line 69">
              <a:extLst>
                <a:ext uri="{FF2B5EF4-FFF2-40B4-BE49-F238E27FC236}">
                  <a16:creationId xmlns:a16="http://schemas.microsoft.com/office/drawing/2014/main" id="{8DD12995-0CEA-02C5-C535-C11C59755DAC}"/>
                </a:ext>
              </a:extLst>
            </p:cNvPr>
            <p:cNvSpPr>
              <a:spLocks noChangeShapeType="1"/>
            </p:cNvSpPr>
            <p:nvPr/>
          </p:nvSpPr>
          <p:spPr bwMode="auto">
            <a:xfrm flipH="1">
              <a:off x="5192713" y="3190875"/>
              <a:ext cx="6350" cy="147638"/>
            </a:xfrm>
            <a:prstGeom prst="line">
              <a:avLst/>
            </a:prstGeom>
            <a:noFill/>
            <a:ln w="9525">
              <a:solidFill>
                <a:srgbClr val="FFFF00"/>
              </a:solidFill>
              <a:round/>
              <a:headEnd/>
              <a:tailEnd/>
            </a:ln>
            <a:extLst>
              <a:ext uri="{909E8E84-426E-40DD-AFC4-6F175D3DCCD1}">
                <a14:hiddenFill xmlns:a14="http://schemas.microsoft.com/office/drawing/2010/main">
                  <a:noFill/>
                </a14:hiddenFill>
              </a:ext>
            </a:extLst>
          </p:spPr>
          <p:txBody>
            <a:bodyPr/>
            <a:lstStyle/>
            <a:p>
              <a:endParaRPr lang="en-US" sz="1802">
                <a:latin typeface="Arial" panose="020B0604020202020204" pitchFamily="34" charset="0"/>
                <a:cs typeface="Arial" panose="020B0604020202020204" pitchFamily="34" charset="0"/>
              </a:endParaRPr>
            </a:p>
          </p:txBody>
        </p:sp>
        <p:sp>
          <p:nvSpPr>
            <p:cNvPr id="332" name="Line 70">
              <a:extLst>
                <a:ext uri="{FF2B5EF4-FFF2-40B4-BE49-F238E27FC236}">
                  <a16:creationId xmlns:a16="http://schemas.microsoft.com/office/drawing/2014/main" id="{59401B25-DD95-60B6-FF0B-9F9EE1BC773B}"/>
                </a:ext>
              </a:extLst>
            </p:cNvPr>
            <p:cNvSpPr>
              <a:spLocks noChangeShapeType="1"/>
            </p:cNvSpPr>
            <p:nvPr/>
          </p:nvSpPr>
          <p:spPr bwMode="auto">
            <a:xfrm flipH="1">
              <a:off x="5335588" y="3190875"/>
              <a:ext cx="4762" cy="147638"/>
            </a:xfrm>
            <a:prstGeom prst="line">
              <a:avLst/>
            </a:prstGeom>
            <a:noFill/>
            <a:ln w="9525">
              <a:solidFill>
                <a:srgbClr val="FFFF00"/>
              </a:solidFill>
              <a:round/>
              <a:headEnd/>
              <a:tailEnd/>
            </a:ln>
            <a:extLst>
              <a:ext uri="{909E8E84-426E-40DD-AFC4-6F175D3DCCD1}">
                <a14:hiddenFill xmlns:a14="http://schemas.microsoft.com/office/drawing/2010/main">
                  <a:noFill/>
                </a14:hiddenFill>
              </a:ext>
            </a:extLst>
          </p:spPr>
          <p:txBody>
            <a:bodyPr/>
            <a:lstStyle/>
            <a:p>
              <a:endParaRPr lang="en-US" sz="1802">
                <a:latin typeface="Arial" panose="020B0604020202020204" pitchFamily="34" charset="0"/>
                <a:cs typeface="Arial" panose="020B0604020202020204" pitchFamily="34" charset="0"/>
              </a:endParaRPr>
            </a:p>
          </p:txBody>
        </p:sp>
        <p:sp>
          <p:nvSpPr>
            <p:cNvPr id="333" name="Line 71">
              <a:extLst>
                <a:ext uri="{FF2B5EF4-FFF2-40B4-BE49-F238E27FC236}">
                  <a16:creationId xmlns:a16="http://schemas.microsoft.com/office/drawing/2014/main" id="{EF5D6F5B-21D3-7C99-4896-2EA87A5A3D0B}"/>
                </a:ext>
              </a:extLst>
            </p:cNvPr>
            <p:cNvSpPr>
              <a:spLocks noChangeShapeType="1"/>
            </p:cNvSpPr>
            <p:nvPr/>
          </p:nvSpPr>
          <p:spPr bwMode="auto">
            <a:xfrm flipH="1">
              <a:off x="5497513" y="3190875"/>
              <a:ext cx="6350" cy="147638"/>
            </a:xfrm>
            <a:prstGeom prst="line">
              <a:avLst/>
            </a:prstGeom>
            <a:noFill/>
            <a:ln w="9525">
              <a:solidFill>
                <a:srgbClr val="FFFF00"/>
              </a:solidFill>
              <a:round/>
              <a:headEnd/>
              <a:tailEnd/>
            </a:ln>
            <a:extLst>
              <a:ext uri="{909E8E84-426E-40DD-AFC4-6F175D3DCCD1}">
                <a14:hiddenFill xmlns:a14="http://schemas.microsoft.com/office/drawing/2010/main">
                  <a:noFill/>
                </a14:hiddenFill>
              </a:ext>
            </a:extLst>
          </p:spPr>
          <p:txBody>
            <a:bodyPr/>
            <a:lstStyle/>
            <a:p>
              <a:endParaRPr lang="en-US" sz="1802">
                <a:latin typeface="Arial" panose="020B0604020202020204" pitchFamily="34" charset="0"/>
                <a:cs typeface="Arial" panose="020B0604020202020204" pitchFamily="34" charset="0"/>
              </a:endParaRPr>
            </a:p>
          </p:txBody>
        </p:sp>
        <p:sp>
          <p:nvSpPr>
            <p:cNvPr id="334" name="Line 72">
              <a:extLst>
                <a:ext uri="{FF2B5EF4-FFF2-40B4-BE49-F238E27FC236}">
                  <a16:creationId xmlns:a16="http://schemas.microsoft.com/office/drawing/2014/main" id="{EB64D72B-5028-5F25-08E8-866E2F7FF4E1}"/>
                </a:ext>
              </a:extLst>
            </p:cNvPr>
            <p:cNvSpPr>
              <a:spLocks noChangeShapeType="1"/>
            </p:cNvSpPr>
            <p:nvPr/>
          </p:nvSpPr>
          <p:spPr bwMode="auto">
            <a:xfrm flipH="1">
              <a:off x="5521325" y="3190875"/>
              <a:ext cx="6350" cy="147638"/>
            </a:xfrm>
            <a:prstGeom prst="line">
              <a:avLst/>
            </a:prstGeom>
            <a:noFill/>
            <a:ln w="9525">
              <a:solidFill>
                <a:srgbClr val="FFFF00"/>
              </a:solidFill>
              <a:round/>
              <a:headEnd/>
              <a:tailEnd/>
            </a:ln>
            <a:extLst>
              <a:ext uri="{909E8E84-426E-40DD-AFC4-6F175D3DCCD1}">
                <a14:hiddenFill xmlns:a14="http://schemas.microsoft.com/office/drawing/2010/main">
                  <a:noFill/>
                </a14:hiddenFill>
              </a:ext>
            </a:extLst>
          </p:spPr>
          <p:txBody>
            <a:bodyPr/>
            <a:lstStyle/>
            <a:p>
              <a:endParaRPr lang="en-US" sz="1802">
                <a:latin typeface="Arial" panose="020B0604020202020204" pitchFamily="34" charset="0"/>
                <a:cs typeface="Arial" panose="020B0604020202020204" pitchFamily="34" charset="0"/>
              </a:endParaRPr>
            </a:p>
          </p:txBody>
        </p:sp>
        <p:sp>
          <p:nvSpPr>
            <p:cNvPr id="335" name="Line 73">
              <a:extLst>
                <a:ext uri="{FF2B5EF4-FFF2-40B4-BE49-F238E27FC236}">
                  <a16:creationId xmlns:a16="http://schemas.microsoft.com/office/drawing/2014/main" id="{D26656E4-C896-B27C-8F02-709DB96FBBC5}"/>
                </a:ext>
              </a:extLst>
            </p:cNvPr>
            <p:cNvSpPr>
              <a:spLocks noChangeShapeType="1"/>
            </p:cNvSpPr>
            <p:nvPr/>
          </p:nvSpPr>
          <p:spPr bwMode="auto">
            <a:xfrm flipH="1">
              <a:off x="5726113" y="3276600"/>
              <a:ext cx="6350" cy="146050"/>
            </a:xfrm>
            <a:prstGeom prst="line">
              <a:avLst/>
            </a:prstGeom>
            <a:noFill/>
            <a:ln w="9525">
              <a:solidFill>
                <a:srgbClr val="FFFF00"/>
              </a:solidFill>
              <a:round/>
              <a:headEnd/>
              <a:tailEnd/>
            </a:ln>
            <a:extLst>
              <a:ext uri="{909E8E84-426E-40DD-AFC4-6F175D3DCCD1}">
                <a14:hiddenFill xmlns:a14="http://schemas.microsoft.com/office/drawing/2010/main">
                  <a:noFill/>
                </a14:hiddenFill>
              </a:ext>
            </a:extLst>
          </p:spPr>
          <p:txBody>
            <a:bodyPr/>
            <a:lstStyle/>
            <a:p>
              <a:endParaRPr lang="en-US" sz="1802">
                <a:latin typeface="Arial" panose="020B0604020202020204" pitchFamily="34" charset="0"/>
                <a:cs typeface="Arial" panose="020B0604020202020204" pitchFamily="34" charset="0"/>
              </a:endParaRPr>
            </a:p>
          </p:txBody>
        </p:sp>
        <p:sp>
          <p:nvSpPr>
            <p:cNvPr id="336" name="Line 74">
              <a:extLst>
                <a:ext uri="{FF2B5EF4-FFF2-40B4-BE49-F238E27FC236}">
                  <a16:creationId xmlns:a16="http://schemas.microsoft.com/office/drawing/2014/main" id="{184B275A-AD0C-9CAD-1CC6-955FB6D59DE7}"/>
                </a:ext>
              </a:extLst>
            </p:cNvPr>
            <p:cNvSpPr>
              <a:spLocks noChangeShapeType="1"/>
            </p:cNvSpPr>
            <p:nvPr/>
          </p:nvSpPr>
          <p:spPr bwMode="auto">
            <a:xfrm flipH="1">
              <a:off x="5807075" y="3367088"/>
              <a:ext cx="6350" cy="146050"/>
            </a:xfrm>
            <a:prstGeom prst="line">
              <a:avLst/>
            </a:prstGeom>
            <a:noFill/>
            <a:ln w="9525">
              <a:solidFill>
                <a:srgbClr val="FFFF00"/>
              </a:solidFill>
              <a:round/>
              <a:headEnd/>
              <a:tailEnd/>
            </a:ln>
            <a:extLst>
              <a:ext uri="{909E8E84-426E-40DD-AFC4-6F175D3DCCD1}">
                <a14:hiddenFill xmlns:a14="http://schemas.microsoft.com/office/drawing/2010/main">
                  <a:noFill/>
                </a14:hiddenFill>
              </a:ext>
            </a:extLst>
          </p:spPr>
          <p:txBody>
            <a:bodyPr/>
            <a:lstStyle/>
            <a:p>
              <a:endParaRPr lang="en-US" sz="1802">
                <a:latin typeface="Arial" panose="020B0604020202020204" pitchFamily="34" charset="0"/>
                <a:cs typeface="Arial" panose="020B0604020202020204" pitchFamily="34" charset="0"/>
              </a:endParaRPr>
            </a:p>
          </p:txBody>
        </p:sp>
        <p:sp>
          <p:nvSpPr>
            <p:cNvPr id="337" name="Line 75">
              <a:extLst>
                <a:ext uri="{FF2B5EF4-FFF2-40B4-BE49-F238E27FC236}">
                  <a16:creationId xmlns:a16="http://schemas.microsoft.com/office/drawing/2014/main" id="{1BA8A423-EF7F-9D0B-C68A-1BE4ACCEC26E}"/>
                </a:ext>
              </a:extLst>
            </p:cNvPr>
            <p:cNvSpPr>
              <a:spLocks noChangeShapeType="1"/>
            </p:cNvSpPr>
            <p:nvPr/>
          </p:nvSpPr>
          <p:spPr bwMode="auto">
            <a:xfrm flipH="1">
              <a:off x="6110288" y="3367088"/>
              <a:ext cx="6350" cy="146050"/>
            </a:xfrm>
            <a:prstGeom prst="line">
              <a:avLst/>
            </a:prstGeom>
            <a:noFill/>
            <a:ln w="9525">
              <a:solidFill>
                <a:srgbClr val="FFFF00"/>
              </a:solidFill>
              <a:round/>
              <a:headEnd/>
              <a:tailEnd/>
            </a:ln>
            <a:extLst>
              <a:ext uri="{909E8E84-426E-40DD-AFC4-6F175D3DCCD1}">
                <a14:hiddenFill xmlns:a14="http://schemas.microsoft.com/office/drawing/2010/main">
                  <a:noFill/>
                </a14:hiddenFill>
              </a:ext>
            </a:extLst>
          </p:spPr>
          <p:txBody>
            <a:bodyPr/>
            <a:lstStyle/>
            <a:p>
              <a:endParaRPr lang="en-US" sz="1802">
                <a:latin typeface="Arial" panose="020B0604020202020204" pitchFamily="34" charset="0"/>
                <a:cs typeface="Arial" panose="020B0604020202020204" pitchFamily="34" charset="0"/>
              </a:endParaRPr>
            </a:p>
          </p:txBody>
        </p:sp>
        <p:sp>
          <p:nvSpPr>
            <p:cNvPr id="338" name="Line 76">
              <a:extLst>
                <a:ext uri="{FF2B5EF4-FFF2-40B4-BE49-F238E27FC236}">
                  <a16:creationId xmlns:a16="http://schemas.microsoft.com/office/drawing/2014/main" id="{14CE0F78-5B7F-D36D-3FD1-F7BC435C9BEF}"/>
                </a:ext>
              </a:extLst>
            </p:cNvPr>
            <p:cNvSpPr>
              <a:spLocks noChangeShapeType="1"/>
            </p:cNvSpPr>
            <p:nvPr/>
          </p:nvSpPr>
          <p:spPr bwMode="auto">
            <a:xfrm flipH="1">
              <a:off x="5745163" y="4024313"/>
              <a:ext cx="6350" cy="147637"/>
            </a:xfrm>
            <a:prstGeom prst="line">
              <a:avLst/>
            </a:prstGeom>
            <a:noFill/>
            <a:ln w="9525">
              <a:solidFill>
                <a:srgbClr val="33CCCC"/>
              </a:solidFill>
              <a:round/>
              <a:headEnd/>
              <a:tailEnd/>
            </a:ln>
            <a:extLst>
              <a:ext uri="{909E8E84-426E-40DD-AFC4-6F175D3DCCD1}">
                <a14:hiddenFill xmlns:a14="http://schemas.microsoft.com/office/drawing/2010/main">
                  <a:noFill/>
                </a14:hiddenFill>
              </a:ext>
            </a:extLst>
          </p:spPr>
          <p:txBody>
            <a:bodyPr/>
            <a:lstStyle/>
            <a:p>
              <a:endParaRPr lang="en-US" sz="1802">
                <a:latin typeface="Arial" panose="020B0604020202020204" pitchFamily="34" charset="0"/>
                <a:cs typeface="Arial" panose="020B0604020202020204" pitchFamily="34" charset="0"/>
              </a:endParaRPr>
            </a:p>
          </p:txBody>
        </p:sp>
        <p:sp>
          <p:nvSpPr>
            <p:cNvPr id="339" name="Line 77">
              <a:extLst>
                <a:ext uri="{FF2B5EF4-FFF2-40B4-BE49-F238E27FC236}">
                  <a16:creationId xmlns:a16="http://schemas.microsoft.com/office/drawing/2014/main" id="{B45CE5D1-B680-8866-2E5B-D7A05BD915BA}"/>
                </a:ext>
              </a:extLst>
            </p:cNvPr>
            <p:cNvSpPr>
              <a:spLocks noChangeShapeType="1"/>
            </p:cNvSpPr>
            <p:nvPr/>
          </p:nvSpPr>
          <p:spPr bwMode="auto">
            <a:xfrm flipH="1">
              <a:off x="5761038" y="4095750"/>
              <a:ext cx="6350" cy="147638"/>
            </a:xfrm>
            <a:prstGeom prst="line">
              <a:avLst/>
            </a:prstGeom>
            <a:noFill/>
            <a:ln w="9525">
              <a:solidFill>
                <a:srgbClr val="33CCCC"/>
              </a:solidFill>
              <a:round/>
              <a:headEnd/>
              <a:tailEnd/>
            </a:ln>
            <a:extLst>
              <a:ext uri="{909E8E84-426E-40DD-AFC4-6F175D3DCCD1}">
                <a14:hiddenFill xmlns:a14="http://schemas.microsoft.com/office/drawing/2010/main">
                  <a:noFill/>
                </a14:hiddenFill>
              </a:ext>
            </a:extLst>
          </p:spPr>
          <p:txBody>
            <a:bodyPr/>
            <a:lstStyle/>
            <a:p>
              <a:endParaRPr lang="en-US" sz="1802">
                <a:latin typeface="Arial" panose="020B0604020202020204" pitchFamily="34" charset="0"/>
                <a:cs typeface="Arial" panose="020B0604020202020204" pitchFamily="34" charset="0"/>
              </a:endParaRPr>
            </a:p>
          </p:txBody>
        </p:sp>
        <p:sp>
          <p:nvSpPr>
            <p:cNvPr id="340" name="Line 78">
              <a:extLst>
                <a:ext uri="{FF2B5EF4-FFF2-40B4-BE49-F238E27FC236}">
                  <a16:creationId xmlns:a16="http://schemas.microsoft.com/office/drawing/2014/main" id="{35478B99-927E-D4AC-8FF4-2DEA2DADDE8C}"/>
                </a:ext>
              </a:extLst>
            </p:cNvPr>
            <p:cNvSpPr>
              <a:spLocks noChangeShapeType="1"/>
            </p:cNvSpPr>
            <p:nvPr/>
          </p:nvSpPr>
          <p:spPr bwMode="auto">
            <a:xfrm flipH="1">
              <a:off x="6892925" y="4192588"/>
              <a:ext cx="4763" cy="147637"/>
            </a:xfrm>
            <a:prstGeom prst="line">
              <a:avLst/>
            </a:prstGeom>
            <a:noFill/>
            <a:ln w="9525">
              <a:solidFill>
                <a:srgbClr val="33CCCC"/>
              </a:solidFill>
              <a:round/>
              <a:headEnd/>
              <a:tailEnd/>
            </a:ln>
            <a:extLst>
              <a:ext uri="{909E8E84-426E-40DD-AFC4-6F175D3DCCD1}">
                <a14:hiddenFill xmlns:a14="http://schemas.microsoft.com/office/drawing/2010/main">
                  <a:noFill/>
                </a14:hiddenFill>
              </a:ext>
            </a:extLst>
          </p:spPr>
          <p:txBody>
            <a:bodyPr/>
            <a:lstStyle/>
            <a:p>
              <a:endParaRPr lang="en-US" sz="1802">
                <a:latin typeface="Arial" panose="020B0604020202020204" pitchFamily="34" charset="0"/>
                <a:cs typeface="Arial" panose="020B0604020202020204" pitchFamily="34" charset="0"/>
              </a:endParaRPr>
            </a:p>
          </p:txBody>
        </p:sp>
        <p:sp>
          <p:nvSpPr>
            <p:cNvPr id="341" name="Line 79">
              <a:extLst>
                <a:ext uri="{FF2B5EF4-FFF2-40B4-BE49-F238E27FC236}">
                  <a16:creationId xmlns:a16="http://schemas.microsoft.com/office/drawing/2014/main" id="{B9EF0A91-08E1-9E9C-D2A7-53530ED72134}"/>
                </a:ext>
              </a:extLst>
            </p:cNvPr>
            <p:cNvSpPr>
              <a:spLocks noChangeShapeType="1"/>
            </p:cNvSpPr>
            <p:nvPr/>
          </p:nvSpPr>
          <p:spPr bwMode="auto">
            <a:xfrm flipH="1">
              <a:off x="6664325" y="3724275"/>
              <a:ext cx="6350" cy="146050"/>
            </a:xfrm>
            <a:prstGeom prst="line">
              <a:avLst/>
            </a:prstGeom>
            <a:noFill/>
            <a:ln w="9525">
              <a:solidFill>
                <a:srgbClr val="FFFF00"/>
              </a:solidFill>
              <a:round/>
              <a:headEnd/>
              <a:tailEnd/>
            </a:ln>
            <a:extLst>
              <a:ext uri="{909E8E84-426E-40DD-AFC4-6F175D3DCCD1}">
                <a14:hiddenFill xmlns:a14="http://schemas.microsoft.com/office/drawing/2010/main">
                  <a:noFill/>
                </a14:hiddenFill>
              </a:ext>
            </a:extLst>
          </p:spPr>
          <p:txBody>
            <a:bodyPr/>
            <a:lstStyle/>
            <a:p>
              <a:endParaRPr lang="en-US" sz="1802">
                <a:latin typeface="Arial" panose="020B0604020202020204" pitchFamily="34" charset="0"/>
                <a:cs typeface="Arial" panose="020B0604020202020204" pitchFamily="34" charset="0"/>
              </a:endParaRPr>
            </a:p>
          </p:txBody>
        </p:sp>
        <p:sp>
          <p:nvSpPr>
            <p:cNvPr id="342" name="Line 80">
              <a:extLst>
                <a:ext uri="{FF2B5EF4-FFF2-40B4-BE49-F238E27FC236}">
                  <a16:creationId xmlns:a16="http://schemas.microsoft.com/office/drawing/2014/main" id="{822BF701-98D8-7F4C-BECB-F32991C59614}"/>
                </a:ext>
              </a:extLst>
            </p:cNvPr>
            <p:cNvSpPr>
              <a:spLocks noChangeShapeType="1"/>
            </p:cNvSpPr>
            <p:nvPr/>
          </p:nvSpPr>
          <p:spPr bwMode="auto">
            <a:xfrm flipH="1">
              <a:off x="6894513" y="3724275"/>
              <a:ext cx="6350" cy="146050"/>
            </a:xfrm>
            <a:prstGeom prst="line">
              <a:avLst/>
            </a:prstGeom>
            <a:noFill/>
            <a:ln w="9525">
              <a:solidFill>
                <a:srgbClr val="FFFF00"/>
              </a:solidFill>
              <a:round/>
              <a:headEnd/>
              <a:tailEnd/>
            </a:ln>
            <a:extLst>
              <a:ext uri="{909E8E84-426E-40DD-AFC4-6F175D3DCCD1}">
                <a14:hiddenFill xmlns:a14="http://schemas.microsoft.com/office/drawing/2010/main">
                  <a:noFill/>
                </a14:hiddenFill>
              </a:ext>
            </a:extLst>
          </p:spPr>
          <p:txBody>
            <a:bodyPr/>
            <a:lstStyle/>
            <a:p>
              <a:endParaRPr lang="en-US" sz="1802">
                <a:latin typeface="Arial" panose="020B0604020202020204" pitchFamily="34" charset="0"/>
                <a:cs typeface="Arial" panose="020B0604020202020204" pitchFamily="34" charset="0"/>
              </a:endParaRPr>
            </a:p>
          </p:txBody>
        </p:sp>
        <p:sp>
          <p:nvSpPr>
            <p:cNvPr id="343" name="Line 81">
              <a:extLst>
                <a:ext uri="{FF2B5EF4-FFF2-40B4-BE49-F238E27FC236}">
                  <a16:creationId xmlns:a16="http://schemas.microsoft.com/office/drawing/2014/main" id="{851C4D27-1C41-37CE-DEC2-5ACBD1931CB1}"/>
                </a:ext>
              </a:extLst>
            </p:cNvPr>
            <p:cNvSpPr>
              <a:spLocks noChangeShapeType="1"/>
            </p:cNvSpPr>
            <p:nvPr/>
          </p:nvSpPr>
          <p:spPr bwMode="auto">
            <a:xfrm flipH="1">
              <a:off x="7504113" y="4005263"/>
              <a:ext cx="4762" cy="146050"/>
            </a:xfrm>
            <a:prstGeom prst="line">
              <a:avLst/>
            </a:prstGeom>
            <a:noFill/>
            <a:ln w="9525">
              <a:solidFill>
                <a:srgbClr val="FFFF00"/>
              </a:solidFill>
              <a:round/>
              <a:headEnd/>
              <a:tailEnd/>
            </a:ln>
            <a:extLst>
              <a:ext uri="{909E8E84-426E-40DD-AFC4-6F175D3DCCD1}">
                <a14:hiddenFill xmlns:a14="http://schemas.microsoft.com/office/drawing/2010/main">
                  <a:noFill/>
                </a14:hiddenFill>
              </a:ext>
            </a:extLst>
          </p:spPr>
          <p:txBody>
            <a:bodyPr/>
            <a:lstStyle/>
            <a:p>
              <a:endParaRPr lang="en-US" sz="1802">
                <a:latin typeface="Arial" panose="020B0604020202020204" pitchFamily="34" charset="0"/>
                <a:cs typeface="Arial" panose="020B0604020202020204" pitchFamily="34" charset="0"/>
              </a:endParaRPr>
            </a:p>
          </p:txBody>
        </p:sp>
        <p:sp>
          <p:nvSpPr>
            <p:cNvPr id="344" name="Freeform 82">
              <a:extLst>
                <a:ext uri="{FF2B5EF4-FFF2-40B4-BE49-F238E27FC236}">
                  <a16:creationId xmlns:a16="http://schemas.microsoft.com/office/drawing/2014/main" id="{71324C85-F33D-0021-509E-FC82E78E3751}"/>
                </a:ext>
              </a:extLst>
            </p:cNvPr>
            <p:cNvSpPr>
              <a:spLocks/>
            </p:cNvSpPr>
            <p:nvPr/>
          </p:nvSpPr>
          <p:spPr bwMode="auto">
            <a:xfrm>
              <a:off x="3498850" y="2686050"/>
              <a:ext cx="4008438" cy="1393825"/>
            </a:xfrm>
            <a:custGeom>
              <a:avLst/>
              <a:gdLst>
                <a:gd name="T0" fmla="*/ 2147483647 w 2021"/>
                <a:gd name="T1" fmla="*/ 2147483647 h 761"/>
                <a:gd name="T2" fmla="*/ 2147483647 w 2021"/>
                <a:gd name="T3" fmla="*/ 2147483647 h 761"/>
                <a:gd name="T4" fmla="*/ 2147483647 w 2021"/>
                <a:gd name="T5" fmla="*/ 2147483647 h 761"/>
                <a:gd name="T6" fmla="*/ 2147483647 w 2021"/>
                <a:gd name="T7" fmla="*/ 2147483647 h 761"/>
                <a:gd name="T8" fmla="*/ 2147483647 w 2021"/>
                <a:gd name="T9" fmla="*/ 2147483647 h 761"/>
                <a:gd name="T10" fmla="*/ 2147483647 w 2021"/>
                <a:gd name="T11" fmla="*/ 2147483647 h 761"/>
                <a:gd name="T12" fmla="*/ 2147483647 w 2021"/>
                <a:gd name="T13" fmla="*/ 2147483647 h 761"/>
                <a:gd name="T14" fmla="*/ 2147483647 w 2021"/>
                <a:gd name="T15" fmla="*/ 2147483647 h 761"/>
                <a:gd name="T16" fmla="*/ 2147483647 w 2021"/>
                <a:gd name="T17" fmla="*/ 2147483647 h 761"/>
                <a:gd name="T18" fmla="*/ 2147483647 w 2021"/>
                <a:gd name="T19" fmla="*/ 2147483647 h 761"/>
                <a:gd name="T20" fmla="*/ 2147483647 w 2021"/>
                <a:gd name="T21" fmla="*/ 2147483647 h 761"/>
                <a:gd name="T22" fmla="*/ 2147483647 w 2021"/>
                <a:gd name="T23" fmla="*/ 2147483647 h 761"/>
                <a:gd name="T24" fmla="*/ 2147483647 w 2021"/>
                <a:gd name="T25" fmla="*/ 2147483647 h 761"/>
                <a:gd name="T26" fmla="*/ 2147483647 w 2021"/>
                <a:gd name="T27" fmla="*/ 2147483647 h 761"/>
                <a:gd name="T28" fmla="*/ 2147483647 w 2021"/>
                <a:gd name="T29" fmla="*/ 2147483647 h 761"/>
                <a:gd name="T30" fmla="*/ 2147483647 w 2021"/>
                <a:gd name="T31" fmla="*/ 2147483647 h 761"/>
                <a:gd name="T32" fmla="*/ 2147483647 w 2021"/>
                <a:gd name="T33" fmla="*/ 2147483647 h 761"/>
                <a:gd name="T34" fmla="*/ 2147483647 w 2021"/>
                <a:gd name="T35" fmla="*/ 2147483647 h 761"/>
                <a:gd name="T36" fmla="*/ 2147483647 w 2021"/>
                <a:gd name="T37" fmla="*/ 2147483647 h 761"/>
                <a:gd name="T38" fmla="*/ 2147483647 w 2021"/>
                <a:gd name="T39" fmla="*/ 2147483647 h 761"/>
                <a:gd name="T40" fmla="*/ 2147483647 w 2021"/>
                <a:gd name="T41" fmla="*/ 2147483647 h 761"/>
                <a:gd name="T42" fmla="*/ 2147483647 w 2021"/>
                <a:gd name="T43" fmla="*/ 2147483647 h 761"/>
                <a:gd name="T44" fmla="*/ 2147483647 w 2021"/>
                <a:gd name="T45" fmla="*/ 2147483647 h 761"/>
                <a:gd name="T46" fmla="*/ 2147483647 w 2021"/>
                <a:gd name="T47" fmla="*/ 2147483647 h 761"/>
                <a:gd name="T48" fmla="*/ 2147483647 w 2021"/>
                <a:gd name="T49" fmla="*/ 2147483647 h 761"/>
                <a:gd name="T50" fmla="*/ 2147483647 w 2021"/>
                <a:gd name="T51" fmla="*/ 2147483647 h 761"/>
                <a:gd name="T52" fmla="*/ 2147483647 w 2021"/>
                <a:gd name="T53" fmla="*/ 2147483647 h 761"/>
                <a:gd name="T54" fmla="*/ 2147483647 w 2021"/>
                <a:gd name="T55" fmla="*/ 2147483647 h 761"/>
                <a:gd name="T56" fmla="*/ 2147483647 w 2021"/>
                <a:gd name="T57" fmla="*/ 2147483647 h 761"/>
                <a:gd name="T58" fmla="*/ 2147483647 w 2021"/>
                <a:gd name="T59" fmla="*/ 2147483647 h 761"/>
                <a:gd name="T60" fmla="*/ 2147483647 w 2021"/>
                <a:gd name="T61" fmla="*/ 2147483647 h 761"/>
                <a:gd name="T62" fmla="*/ 2147483647 w 2021"/>
                <a:gd name="T63" fmla="*/ 2147483647 h 761"/>
                <a:gd name="T64" fmla="*/ 2147483647 w 2021"/>
                <a:gd name="T65" fmla="*/ 0 h 761"/>
                <a:gd name="T66" fmla="*/ 0 w 2021"/>
                <a:gd name="T67" fmla="*/ 2147483647 h 76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021"/>
                <a:gd name="T103" fmla="*/ 0 h 761"/>
                <a:gd name="T104" fmla="*/ 2021 w 2021"/>
                <a:gd name="T105" fmla="*/ 761 h 76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021" h="761">
                  <a:moveTo>
                    <a:pt x="2021" y="761"/>
                  </a:moveTo>
                  <a:lnTo>
                    <a:pt x="1727" y="761"/>
                  </a:lnTo>
                  <a:lnTo>
                    <a:pt x="1727" y="606"/>
                  </a:lnTo>
                  <a:lnTo>
                    <a:pt x="1577" y="606"/>
                  </a:lnTo>
                  <a:lnTo>
                    <a:pt x="1577" y="540"/>
                  </a:lnTo>
                  <a:lnTo>
                    <a:pt x="1565" y="542"/>
                  </a:lnTo>
                  <a:lnTo>
                    <a:pt x="1565" y="480"/>
                  </a:lnTo>
                  <a:lnTo>
                    <a:pt x="1370" y="480"/>
                  </a:lnTo>
                  <a:lnTo>
                    <a:pt x="1370" y="414"/>
                  </a:lnTo>
                  <a:lnTo>
                    <a:pt x="1124" y="414"/>
                  </a:lnTo>
                  <a:lnTo>
                    <a:pt x="1124" y="362"/>
                  </a:lnTo>
                  <a:lnTo>
                    <a:pt x="1046" y="362"/>
                  </a:lnTo>
                  <a:lnTo>
                    <a:pt x="1046" y="315"/>
                  </a:lnTo>
                  <a:lnTo>
                    <a:pt x="758" y="315"/>
                  </a:lnTo>
                  <a:lnTo>
                    <a:pt x="758" y="279"/>
                  </a:lnTo>
                  <a:lnTo>
                    <a:pt x="669" y="279"/>
                  </a:lnTo>
                  <a:lnTo>
                    <a:pt x="669" y="251"/>
                  </a:lnTo>
                  <a:lnTo>
                    <a:pt x="654" y="251"/>
                  </a:lnTo>
                  <a:lnTo>
                    <a:pt x="654" y="219"/>
                  </a:lnTo>
                  <a:lnTo>
                    <a:pt x="620" y="219"/>
                  </a:lnTo>
                  <a:lnTo>
                    <a:pt x="620" y="186"/>
                  </a:lnTo>
                  <a:lnTo>
                    <a:pt x="503" y="186"/>
                  </a:lnTo>
                  <a:lnTo>
                    <a:pt x="503" y="159"/>
                  </a:lnTo>
                  <a:lnTo>
                    <a:pt x="476" y="159"/>
                  </a:lnTo>
                  <a:lnTo>
                    <a:pt x="476" y="125"/>
                  </a:lnTo>
                  <a:lnTo>
                    <a:pt x="347" y="125"/>
                  </a:lnTo>
                  <a:lnTo>
                    <a:pt x="344" y="93"/>
                  </a:lnTo>
                  <a:lnTo>
                    <a:pt x="108" y="93"/>
                  </a:lnTo>
                  <a:lnTo>
                    <a:pt x="105" y="62"/>
                  </a:lnTo>
                  <a:lnTo>
                    <a:pt x="89" y="62"/>
                  </a:lnTo>
                  <a:lnTo>
                    <a:pt x="84" y="32"/>
                  </a:lnTo>
                  <a:lnTo>
                    <a:pt x="17" y="30"/>
                  </a:lnTo>
                  <a:lnTo>
                    <a:pt x="15" y="0"/>
                  </a:lnTo>
                  <a:lnTo>
                    <a:pt x="0" y="2"/>
                  </a:lnTo>
                </a:path>
              </a:pathLst>
            </a:custGeom>
            <a:noFill/>
            <a:ln w="28575">
              <a:solidFill>
                <a:srgbClr val="FF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sz="1802">
                <a:latin typeface="Arial" panose="020B0604020202020204" pitchFamily="34" charset="0"/>
                <a:cs typeface="Arial" panose="020B0604020202020204" pitchFamily="34" charset="0"/>
              </a:endParaRPr>
            </a:p>
          </p:txBody>
        </p:sp>
        <p:sp>
          <p:nvSpPr>
            <p:cNvPr id="345" name="Freeform 83">
              <a:extLst>
                <a:ext uri="{FF2B5EF4-FFF2-40B4-BE49-F238E27FC236}">
                  <a16:creationId xmlns:a16="http://schemas.microsoft.com/office/drawing/2014/main" id="{C397D6FE-9BBB-FD94-8BB3-B840FA0CB5BB}"/>
                </a:ext>
              </a:extLst>
            </p:cNvPr>
            <p:cNvSpPr>
              <a:spLocks/>
            </p:cNvSpPr>
            <p:nvPr/>
          </p:nvSpPr>
          <p:spPr bwMode="auto">
            <a:xfrm>
              <a:off x="3008313" y="2944813"/>
              <a:ext cx="3886200" cy="1323975"/>
            </a:xfrm>
            <a:custGeom>
              <a:avLst/>
              <a:gdLst>
                <a:gd name="T0" fmla="*/ 2147483647 w 1959"/>
                <a:gd name="T1" fmla="*/ 2147483647 h 723"/>
                <a:gd name="T2" fmla="*/ 2147483647 w 1959"/>
                <a:gd name="T3" fmla="*/ 2147483647 h 723"/>
                <a:gd name="T4" fmla="*/ 2147483647 w 1959"/>
                <a:gd name="T5" fmla="*/ 2147483647 h 723"/>
                <a:gd name="T6" fmla="*/ 2147483647 w 1959"/>
                <a:gd name="T7" fmla="*/ 2147483647 h 723"/>
                <a:gd name="T8" fmla="*/ 2147483647 w 1959"/>
                <a:gd name="T9" fmla="*/ 2147483647 h 723"/>
                <a:gd name="T10" fmla="*/ 2147483647 w 1959"/>
                <a:gd name="T11" fmla="*/ 2147483647 h 723"/>
                <a:gd name="T12" fmla="*/ 2147483647 w 1959"/>
                <a:gd name="T13" fmla="*/ 2147483647 h 723"/>
                <a:gd name="T14" fmla="*/ 2147483647 w 1959"/>
                <a:gd name="T15" fmla="*/ 2147483647 h 723"/>
                <a:gd name="T16" fmla="*/ 2147483647 w 1959"/>
                <a:gd name="T17" fmla="*/ 2147483647 h 723"/>
                <a:gd name="T18" fmla="*/ 2147483647 w 1959"/>
                <a:gd name="T19" fmla="*/ 2147483647 h 723"/>
                <a:gd name="T20" fmla="*/ 2147483647 w 1959"/>
                <a:gd name="T21" fmla="*/ 2147483647 h 723"/>
                <a:gd name="T22" fmla="*/ 2147483647 w 1959"/>
                <a:gd name="T23" fmla="*/ 2147483647 h 723"/>
                <a:gd name="T24" fmla="*/ 2147483647 w 1959"/>
                <a:gd name="T25" fmla="*/ 2147483647 h 723"/>
                <a:gd name="T26" fmla="*/ 2147483647 w 1959"/>
                <a:gd name="T27" fmla="*/ 2147483647 h 723"/>
                <a:gd name="T28" fmla="*/ 2147483647 w 1959"/>
                <a:gd name="T29" fmla="*/ 2147483647 h 723"/>
                <a:gd name="T30" fmla="*/ 2147483647 w 1959"/>
                <a:gd name="T31" fmla="*/ 2147483647 h 723"/>
                <a:gd name="T32" fmla="*/ 2147483647 w 1959"/>
                <a:gd name="T33" fmla="*/ 2147483647 h 723"/>
                <a:gd name="T34" fmla="*/ 2147483647 w 1959"/>
                <a:gd name="T35" fmla="*/ 2147483647 h 723"/>
                <a:gd name="T36" fmla="*/ 2147483647 w 1959"/>
                <a:gd name="T37" fmla="*/ 2147483647 h 723"/>
                <a:gd name="T38" fmla="*/ 2147483647 w 1959"/>
                <a:gd name="T39" fmla="*/ 2147483647 h 723"/>
                <a:gd name="T40" fmla="*/ 2147483647 w 1959"/>
                <a:gd name="T41" fmla="*/ 2147483647 h 723"/>
                <a:gd name="T42" fmla="*/ 2147483647 w 1959"/>
                <a:gd name="T43" fmla="*/ 2147483647 h 723"/>
                <a:gd name="T44" fmla="*/ 2147483647 w 1959"/>
                <a:gd name="T45" fmla="*/ 2147483647 h 723"/>
                <a:gd name="T46" fmla="*/ 2147483647 w 1959"/>
                <a:gd name="T47" fmla="*/ 2147483647 h 723"/>
                <a:gd name="T48" fmla="*/ 2147483647 w 1959"/>
                <a:gd name="T49" fmla="*/ 2147483647 h 723"/>
                <a:gd name="T50" fmla="*/ 2147483647 w 1959"/>
                <a:gd name="T51" fmla="*/ 2147483647 h 723"/>
                <a:gd name="T52" fmla="*/ 2147483647 w 1959"/>
                <a:gd name="T53" fmla="*/ 2147483647 h 723"/>
                <a:gd name="T54" fmla="*/ 2147483647 w 1959"/>
                <a:gd name="T55" fmla="*/ 2147483647 h 723"/>
                <a:gd name="T56" fmla="*/ 2147483647 w 1959"/>
                <a:gd name="T57" fmla="*/ 2147483647 h 723"/>
                <a:gd name="T58" fmla="*/ 2147483647 w 1959"/>
                <a:gd name="T59" fmla="*/ 2147483647 h 723"/>
                <a:gd name="T60" fmla="*/ 2147483647 w 1959"/>
                <a:gd name="T61" fmla="*/ 2147483647 h 723"/>
                <a:gd name="T62" fmla="*/ 2147483647 w 1959"/>
                <a:gd name="T63" fmla="*/ 2147483647 h 723"/>
                <a:gd name="T64" fmla="*/ 2147483647 w 1959"/>
                <a:gd name="T65" fmla="*/ 2147483647 h 723"/>
                <a:gd name="T66" fmla="*/ 2147483647 w 1959"/>
                <a:gd name="T67" fmla="*/ 2147483647 h 723"/>
                <a:gd name="T68" fmla="*/ 2147483647 w 1959"/>
                <a:gd name="T69" fmla="*/ 2147483647 h 723"/>
                <a:gd name="T70" fmla="*/ 2147483647 w 1959"/>
                <a:gd name="T71" fmla="*/ 2147483647 h 723"/>
                <a:gd name="T72" fmla="*/ 2147483647 w 1959"/>
                <a:gd name="T73" fmla="*/ 2147483647 h 723"/>
                <a:gd name="T74" fmla="*/ 2147483647 w 1959"/>
                <a:gd name="T75" fmla="*/ 2147483647 h 723"/>
                <a:gd name="T76" fmla="*/ 2147483647 w 1959"/>
                <a:gd name="T77" fmla="*/ 2147483647 h 723"/>
                <a:gd name="T78" fmla="*/ 2147483647 w 1959"/>
                <a:gd name="T79" fmla="*/ 2147483647 h 723"/>
                <a:gd name="T80" fmla="*/ 2147483647 w 1959"/>
                <a:gd name="T81" fmla="*/ 2147483647 h 723"/>
                <a:gd name="T82" fmla="*/ 2147483647 w 1959"/>
                <a:gd name="T83" fmla="*/ 2147483647 h 723"/>
                <a:gd name="T84" fmla="*/ 2147483647 w 1959"/>
                <a:gd name="T85" fmla="*/ 2147483647 h 723"/>
                <a:gd name="T86" fmla="*/ 2147483647 w 1959"/>
                <a:gd name="T87" fmla="*/ 2147483647 h 723"/>
                <a:gd name="T88" fmla="*/ 2147483647 w 1959"/>
                <a:gd name="T89" fmla="*/ 2147483647 h 723"/>
                <a:gd name="T90" fmla="*/ 0 w 1959"/>
                <a:gd name="T91" fmla="*/ 2147483647 h 723"/>
                <a:gd name="T92" fmla="*/ 2147483647 w 1959"/>
                <a:gd name="T93" fmla="*/ 0 h 72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959"/>
                <a:gd name="T142" fmla="*/ 0 h 723"/>
                <a:gd name="T143" fmla="*/ 1959 w 1959"/>
                <a:gd name="T144" fmla="*/ 723 h 723"/>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959" h="723">
                  <a:moveTo>
                    <a:pt x="1959" y="723"/>
                  </a:moveTo>
                  <a:lnTo>
                    <a:pt x="1621" y="723"/>
                  </a:lnTo>
                  <a:lnTo>
                    <a:pt x="1621" y="666"/>
                  </a:lnTo>
                  <a:lnTo>
                    <a:pt x="1387" y="666"/>
                  </a:lnTo>
                  <a:lnTo>
                    <a:pt x="1387" y="626"/>
                  </a:lnTo>
                  <a:lnTo>
                    <a:pt x="1371" y="626"/>
                  </a:lnTo>
                  <a:lnTo>
                    <a:pt x="1371" y="591"/>
                  </a:lnTo>
                  <a:lnTo>
                    <a:pt x="1324" y="591"/>
                  </a:lnTo>
                  <a:lnTo>
                    <a:pt x="1324" y="564"/>
                  </a:lnTo>
                  <a:lnTo>
                    <a:pt x="1084" y="564"/>
                  </a:lnTo>
                  <a:lnTo>
                    <a:pt x="1084" y="539"/>
                  </a:lnTo>
                  <a:lnTo>
                    <a:pt x="1069" y="542"/>
                  </a:lnTo>
                  <a:lnTo>
                    <a:pt x="1069" y="506"/>
                  </a:lnTo>
                  <a:lnTo>
                    <a:pt x="1018" y="506"/>
                  </a:lnTo>
                  <a:lnTo>
                    <a:pt x="1018" y="473"/>
                  </a:lnTo>
                  <a:lnTo>
                    <a:pt x="951" y="473"/>
                  </a:lnTo>
                  <a:lnTo>
                    <a:pt x="951" y="444"/>
                  </a:lnTo>
                  <a:lnTo>
                    <a:pt x="766" y="444"/>
                  </a:lnTo>
                  <a:lnTo>
                    <a:pt x="766" y="416"/>
                  </a:lnTo>
                  <a:lnTo>
                    <a:pt x="742" y="416"/>
                  </a:lnTo>
                  <a:lnTo>
                    <a:pt x="742" y="383"/>
                  </a:lnTo>
                  <a:lnTo>
                    <a:pt x="633" y="383"/>
                  </a:lnTo>
                  <a:lnTo>
                    <a:pt x="633" y="357"/>
                  </a:lnTo>
                  <a:lnTo>
                    <a:pt x="547" y="357"/>
                  </a:lnTo>
                  <a:lnTo>
                    <a:pt x="547" y="329"/>
                  </a:lnTo>
                  <a:lnTo>
                    <a:pt x="513" y="329"/>
                  </a:lnTo>
                  <a:lnTo>
                    <a:pt x="513" y="297"/>
                  </a:lnTo>
                  <a:lnTo>
                    <a:pt x="451" y="297"/>
                  </a:lnTo>
                  <a:lnTo>
                    <a:pt x="451" y="270"/>
                  </a:lnTo>
                  <a:lnTo>
                    <a:pt x="427" y="270"/>
                  </a:lnTo>
                  <a:lnTo>
                    <a:pt x="427" y="234"/>
                  </a:lnTo>
                  <a:lnTo>
                    <a:pt x="414" y="234"/>
                  </a:lnTo>
                  <a:lnTo>
                    <a:pt x="414" y="210"/>
                  </a:lnTo>
                  <a:lnTo>
                    <a:pt x="396" y="207"/>
                  </a:lnTo>
                  <a:lnTo>
                    <a:pt x="394" y="176"/>
                  </a:lnTo>
                  <a:lnTo>
                    <a:pt x="372" y="174"/>
                  </a:lnTo>
                  <a:lnTo>
                    <a:pt x="370" y="150"/>
                  </a:lnTo>
                  <a:lnTo>
                    <a:pt x="352" y="149"/>
                  </a:lnTo>
                  <a:lnTo>
                    <a:pt x="352" y="120"/>
                  </a:lnTo>
                  <a:lnTo>
                    <a:pt x="163" y="119"/>
                  </a:lnTo>
                  <a:lnTo>
                    <a:pt x="160" y="89"/>
                  </a:lnTo>
                  <a:lnTo>
                    <a:pt x="102" y="86"/>
                  </a:lnTo>
                  <a:lnTo>
                    <a:pt x="97" y="54"/>
                  </a:lnTo>
                  <a:lnTo>
                    <a:pt x="15" y="54"/>
                  </a:lnTo>
                  <a:lnTo>
                    <a:pt x="12" y="29"/>
                  </a:lnTo>
                  <a:lnTo>
                    <a:pt x="0" y="27"/>
                  </a:lnTo>
                  <a:lnTo>
                    <a:pt x="1" y="0"/>
                  </a:lnTo>
                </a:path>
              </a:pathLst>
            </a:custGeom>
            <a:noFill/>
            <a:ln w="28575">
              <a:solidFill>
                <a:schemeClr val="hlink"/>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sz="1802">
                <a:latin typeface="Arial" panose="020B0604020202020204" pitchFamily="34" charset="0"/>
                <a:cs typeface="Arial" panose="020B0604020202020204" pitchFamily="34" charset="0"/>
              </a:endParaRPr>
            </a:p>
          </p:txBody>
        </p:sp>
        <p:sp>
          <p:nvSpPr>
            <p:cNvPr id="346" name="Freeform 84">
              <a:extLst>
                <a:ext uri="{FF2B5EF4-FFF2-40B4-BE49-F238E27FC236}">
                  <a16:creationId xmlns:a16="http://schemas.microsoft.com/office/drawing/2014/main" id="{809A5E34-F6D5-2EF3-34C9-A2478E68E580}"/>
                </a:ext>
              </a:extLst>
            </p:cNvPr>
            <p:cNvSpPr>
              <a:spLocks/>
            </p:cNvSpPr>
            <p:nvPr/>
          </p:nvSpPr>
          <p:spPr bwMode="auto">
            <a:xfrm>
              <a:off x="1866900" y="1244600"/>
              <a:ext cx="1658938" cy="1447800"/>
            </a:xfrm>
            <a:custGeom>
              <a:avLst/>
              <a:gdLst>
                <a:gd name="T0" fmla="*/ 2147483647 w 836"/>
                <a:gd name="T1" fmla="*/ 2147483647 h 790"/>
                <a:gd name="T2" fmla="*/ 2147483647 w 836"/>
                <a:gd name="T3" fmla="*/ 2147483647 h 790"/>
                <a:gd name="T4" fmla="*/ 2147483647 w 836"/>
                <a:gd name="T5" fmla="*/ 2147483647 h 790"/>
                <a:gd name="T6" fmla="*/ 2147483647 w 836"/>
                <a:gd name="T7" fmla="*/ 2147483647 h 790"/>
                <a:gd name="T8" fmla="*/ 2147483647 w 836"/>
                <a:gd name="T9" fmla="*/ 2147483647 h 790"/>
                <a:gd name="T10" fmla="*/ 2147483647 w 836"/>
                <a:gd name="T11" fmla="*/ 2147483647 h 790"/>
                <a:gd name="T12" fmla="*/ 2147483647 w 836"/>
                <a:gd name="T13" fmla="*/ 2147483647 h 790"/>
                <a:gd name="T14" fmla="*/ 2147483647 w 836"/>
                <a:gd name="T15" fmla="*/ 2147483647 h 790"/>
                <a:gd name="T16" fmla="*/ 2147483647 w 836"/>
                <a:gd name="T17" fmla="*/ 2147483647 h 790"/>
                <a:gd name="T18" fmla="*/ 2147483647 w 836"/>
                <a:gd name="T19" fmla="*/ 2147483647 h 790"/>
                <a:gd name="T20" fmla="*/ 2147483647 w 836"/>
                <a:gd name="T21" fmla="*/ 2147483647 h 790"/>
                <a:gd name="T22" fmla="*/ 2147483647 w 836"/>
                <a:gd name="T23" fmla="*/ 2147483647 h 790"/>
                <a:gd name="T24" fmla="*/ 2147483647 w 836"/>
                <a:gd name="T25" fmla="*/ 2147483647 h 790"/>
                <a:gd name="T26" fmla="*/ 2147483647 w 836"/>
                <a:gd name="T27" fmla="*/ 2147483647 h 790"/>
                <a:gd name="T28" fmla="*/ 2147483647 w 836"/>
                <a:gd name="T29" fmla="*/ 2147483647 h 790"/>
                <a:gd name="T30" fmla="*/ 2147483647 w 836"/>
                <a:gd name="T31" fmla="*/ 2147483647 h 790"/>
                <a:gd name="T32" fmla="*/ 2147483647 w 836"/>
                <a:gd name="T33" fmla="*/ 2147483647 h 790"/>
                <a:gd name="T34" fmla="*/ 2147483647 w 836"/>
                <a:gd name="T35" fmla="*/ 2147483647 h 790"/>
                <a:gd name="T36" fmla="*/ 2147483647 w 836"/>
                <a:gd name="T37" fmla="*/ 2147483647 h 790"/>
                <a:gd name="T38" fmla="*/ 2147483647 w 836"/>
                <a:gd name="T39" fmla="*/ 2147483647 h 790"/>
                <a:gd name="T40" fmla="*/ 2147483647 w 836"/>
                <a:gd name="T41" fmla="*/ 2147483647 h 790"/>
                <a:gd name="T42" fmla="*/ 2147483647 w 836"/>
                <a:gd name="T43" fmla="*/ 2147483647 h 790"/>
                <a:gd name="T44" fmla="*/ 2147483647 w 836"/>
                <a:gd name="T45" fmla="*/ 2147483647 h 790"/>
                <a:gd name="T46" fmla="*/ 2147483647 w 836"/>
                <a:gd name="T47" fmla="*/ 2147483647 h 790"/>
                <a:gd name="T48" fmla="*/ 2147483647 w 836"/>
                <a:gd name="T49" fmla="*/ 2147483647 h 790"/>
                <a:gd name="T50" fmla="*/ 2147483647 w 836"/>
                <a:gd name="T51" fmla="*/ 2147483647 h 790"/>
                <a:gd name="T52" fmla="*/ 2147483647 w 836"/>
                <a:gd name="T53" fmla="*/ 2147483647 h 790"/>
                <a:gd name="T54" fmla="*/ 2147483647 w 836"/>
                <a:gd name="T55" fmla="*/ 2147483647 h 790"/>
                <a:gd name="T56" fmla="*/ 2147483647 w 836"/>
                <a:gd name="T57" fmla="*/ 2147483647 h 790"/>
                <a:gd name="T58" fmla="*/ 2147483647 w 836"/>
                <a:gd name="T59" fmla="*/ 2147483647 h 790"/>
                <a:gd name="T60" fmla="*/ 2147483647 w 836"/>
                <a:gd name="T61" fmla="*/ 2147483647 h 790"/>
                <a:gd name="T62" fmla="*/ 2147483647 w 836"/>
                <a:gd name="T63" fmla="*/ 2147483647 h 790"/>
                <a:gd name="T64" fmla="*/ 2147483647 w 836"/>
                <a:gd name="T65" fmla="*/ 2147483647 h 790"/>
                <a:gd name="T66" fmla="*/ 2147483647 w 836"/>
                <a:gd name="T67" fmla="*/ 2147483647 h 790"/>
                <a:gd name="T68" fmla="*/ 2147483647 w 836"/>
                <a:gd name="T69" fmla="*/ 2147483647 h 790"/>
                <a:gd name="T70" fmla="*/ 2147483647 w 836"/>
                <a:gd name="T71" fmla="*/ 2147483647 h 790"/>
                <a:gd name="T72" fmla="*/ 2147483647 w 836"/>
                <a:gd name="T73" fmla="*/ 2147483647 h 790"/>
                <a:gd name="T74" fmla="*/ 2147483647 w 836"/>
                <a:gd name="T75" fmla="*/ 2147483647 h 790"/>
                <a:gd name="T76" fmla="*/ 2147483647 w 836"/>
                <a:gd name="T77" fmla="*/ 2147483647 h 790"/>
                <a:gd name="T78" fmla="*/ 2147483647 w 836"/>
                <a:gd name="T79" fmla="*/ 2147483647 h 790"/>
                <a:gd name="T80" fmla="*/ 2147483647 w 836"/>
                <a:gd name="T81" fmla="*/ 2147483647 h 790"/>
                <a:gd name="T82" fmla="*/ 2147483647 w 836"/>
                <a:gd name="T83" fmla="*/ 2147483647 h 790"/>
                <a:gd name="T84" fmla="*/ 2147483647 w 836"/>
                <a:gd name="T85" fmla="*/ 2147483647 h 790"/>
                <a:gd name="T86" fmla="*/ 2147483647 w 836"/>
                <a:gd name="T87" fmla="*/ 2147483647 h 790"/>
                <a:gd name="T88" fmla="*/ 2147483647 w 836"/>
                <a:gd name="T89" fmla="*/ 2147483647 h 790"/>
                <a:gd name="T90" fmla="*/ 2147483647 w 836"/>
                <a:gd name="T91" fmla="*/ 2147483647 h 790"/>
                <a:gd name="T92" fmla="*/ 2147483647 w 836"/>
                <a:gd name="T93" fmla="*/ 0 h 790"/>
                <a:gd name="T94" fmla="*/ 0 w 836"/>
                <a:gd name="T95" fmla="*/ 0 h 79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836"/>
                <a:gd name="T145" fmla="*/ 0 h 790"/>
                <a:gd name="T146" fmla="*/ 836 w 836"/>
                <a:gd name="T147" fmla="*/ 790 h 79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836" h="790">
                  <a:moveTo>
                    <a:pt x="836" y="790"/>
                  </a:moveTo>
                  <a:lnTo>
                    <a:pt x="795" y="790"/>
                  </a:lnTo>
                  <a:lnTo>
                    <a:pt x="795" y="754"/>
                  </a:lnTo>
                  <a:lnTo>
                    <a:pt x="710" y="754"/>
                  </a:lnTo>
                  <a:lnTo>
                    <a:pt x="710" y="726"/>
                  </a:lnTo>
                  <a:lnTo>
                    <a:pt x="686" y="726"/>
                  </a:lnTo>
                  <a:lnTo>
                    <a:pt x="686" y="693"/>
                  </a:lnTo>
                  <a:lnTo>
                    <a:pt x="665" y="693"/>
                  </a:lnTo>
                  <a:lnTo>
                    <a:pt x="665" y="658"/>
                  </a:lnTo>
                  <a:lnTo>
                    <a:pt x="638" y="658"/>
                  </a:lnTo>
                  <a:lnTo>
                    <a:pt x="638" y="627"/>
                  </a:lnTo>
                  <a:lnTo>
                    <a:pt x="624" y="627"/>
                  </a:lnTo>
                  <a:lnTo>
                    <a:pt x="624" y="595"/>
                  </a:lnTo>
                  <a:lnTo>
                    <a:pt x="584" y="595"/>
                  </a:lnTo>
                  <a:lnTo>
                    <a:pt x="584" y="568"/>
                  </a:lnTo>
                  <a:lnTo>
                    <a:pt x="557" y="568"/>
                  </a:lnTo>
                  <a:lnTo>
                    <a:pt x="557" y="534"/>
                  </a:lnTo>
                  <a:lnTo>
                    <a:pt x="450" y="534"/>
                  </a:lnTo>
                  <a:lnTo>
                    <a:pt x="450" y="501"/>
                  </a:lnTo>
                  <a:lnTo>
                    <a:pt x="426" y="501"/>
                  </a:lnTo>
                  <a:lnTo>
                    <a:pt x="426" y="472"/>
                  </a:lnTo>
                  <a:lnTo>
                    <a:pt x="413" y="472"/>
                  </a:lnTo>
                  <a:lnTo>
                    <a:pt x="413" y="406"/>
                  </a:lnTo>
                  <a:lnTo>
                    <a:pt x="335" y="406"/>
                  </a:lnTo>
                  <a:lnTo>
                    <a:pt x="335" y="378"/>
                  </a:lnTo>
                  <a:lnTo>
                    <a:pt x="284" y="378"/>
                  </a:lnTo>
                  <a:lnTo>
                    <a:pt x="284" y="349"/>
                  </a:lnTo>
                  <a:lnTo>
                    <a:pt x="257" y="349"/>
                  </a:lnTo>
                  <a:lnTo>
                    <a:pt x="257" y="315"/>
                  </a:lnTo>
                  <a:lnTo>
                    <a:pt x="239" y="315"/>
                  </a:lnTo>
                  <a:lnTo>
                    <a:pt x="239" y="280"/>
                  </a:lnTo>
                  <a:lnTo>
                    <a:pt x="207" y="280"/>
                  </a:lnTo>
                  <a:lnTo>
                    <a:pt x="207" y="244"/>
                  </a:lnTo>
                  <a:lnTo>
                    <a:pt x="201" y="235"/>
                  </a:lnTo>
                  <a:lnTo>
                    <a:pt x="201" y="213"/>
                  </a:lnTo>
                  <a:lnTo>
                    <a:pt x="200" y="198"/>
                  </a:lnTo>
                  <a:lnTo>
                    <a:pt x="200" y="184"/>
                  </a:lnTo>
                  <a:lnTo>
                    <a:pt x="183" y="184"/>
                  </a:lnTo>
                  <a:lnTo>
                    <a:pt x="183" y="118"/>
                  </a:lnTo>
                  <a:lnTo>
                    <a:pt x="174" y="114"/>
                  </a:lnTo>
                  <a:lnTo>
                    <a:pt x="174" y="90"/>
                  </a:lnTo>
                  <a:lnTo>
                    <a:pt x="123" y="90"/>
                  </a:lnTo>
                  <a:lnTo>
                    <a:pt x="123" y="55"/>
                  </a:lnTo>
                  <a:lnTo>
                    <a:pt x="107" y="55"/>
                  </a:lnTo>
                  <a:lnTo>
                    <a:pt x="107" y="30"/>
                  </a:lnTo>
                  <a:lnTo>
                    <a:pt x="96" y="30"/>
                  </a:lnTo>
                  <a:lnTo>
                    <a:pt x="96" y="0"/>
                  </a:lnTo>
                  <a:lnTo>
                    <a:pt x="0" y="0"/>
                  </a:lnTo>
                </a:path>
              </a:pathLst>
            </a:custGeom>
            <a:noFill/>
            <a:ln w="28575">
              <a:solidFill>
                <a:srgbClr val="FF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sz="1802">
                <a:latin typeface="Arial" panose="020B0604020202020204" pitchFamily="34" charset="0"/>
                <a:cs typeface="Arial" panose="020B0604020202020204" pitchFamily="34" charset="0"/>
              </a:endParaRPr>
            </a:p>
          </p:txBody>
        </p:sp>
        <p:sp>
          <p:nvSpPr>
            <p:cNvPr id="347" name="Freeform 85">
              <a:extLst>
                <a:ext uri="{FF2B5EF4-FFF2-40B4-BE49-F238E27FC236}">
                  <a16:creationId xmlns:a16="http://schemas.microsoft.com/office/drawing/2014/main" id="{EB450053-4DFC-C248-7197-D513DAE22442}"/>
                </a:ext>
              </a:extLst>
            </p:cNvPr>
            <p:cNvSpPr>
              <a:spLocks/>
            </p:cNvSpPr>
            <p:nvPr/>
          </p:nvSpPr>
          <p:spPr bwMode="auto">
            <a:xfrm>
              <a:off x="2005013" y="1247775"/>
              <a:ext cx="1003300" cy="1706563"/>
            </a:xfrm>
            <a:custGeom>
              <a:avLst/>
              <a:gdLst>
                <a:gd name="T0" fmla="*/ 0 w 506"/>
                <a:gd name="T1" fmla="*/ 0 h 932"/>
                <a:gd name="T2" fmla="*/ 0 w 506"/>
                <a:gd name="T3" fmla="*/ 2147483647 h 932"/>
                <a:gd name="T4" fmla="*/ 2147483647 w 506"/>
                <a:gd name="T5" fmla="*/ 2147483647 h 932"/>
                <a:gd name="T6" fmla="*/ 2147483647 w 506"/>
                <a:gd name="T7" fmla="*/ 2147483647 h 932"/>
                <a:gd name="T8" fmla="*/ 2147483647 w 506"/>
                <a:gd name="T9" fmla="*/ 2147483647 h 932"/>
                <a:gd name="T10" fmla="*/ 2147483647 w 506"/>
                <a:gd name="T11" fmla="*/ 2147483647 h 932"/>
                <a:gd name="T12" fmla="*/ 2147483647 w 506"/>
                <a:gd name="T13" fmla="*/ 2147483647 h 932"/>
                <a:gd name="T14" fmla="*/ 2147483647 w 506"/>
                <a:gd name="T15" fmla="*/ 2147483647 h 932"/>
                <a:gd name="T16" fmla="*/ 2147483647 w 506"/>
                <a:gd name="T17" fmla="*/ 2147483647 h 932"/>
                <a:gd name="T18" fmla="*/ 2147483647 w 506"/>
                <a:gd name="T19" fmla="*/ 2147483647 h 932"/>
                <a:gd name="T20" fmla="*/ 2147483647 w 506"/>
                <a:gd name="T21" fmla="*/ 2147483647 h 932"/>
                <a:gd name="T22" fmla="*/ 2147483647 w 506"/>
                <a:gd name="T23" fmla="*/ 2147483647 h 932"/>
                <a:gd name="T24" fmla="*/ 2147483647 w 506"/>
                <a:gd name="T25" fmla="*/ 2147483647 h 932"/>
                <a:gd name="T26" fmla="*/ 2147483647 w 506"/>
                <a:gd name="T27" fmla="*/ 2147483647 h 932"/>
                <a:gd name="T28" fmla="*/ 2147483647 w 506"/>
                <a:gd name="T29" fmla="*/ 2147483647 h 932"/>
                <a:gd name="T30" fmla="*/ 2147483647 w 506"/>
                <a:gd name="T31" fmla="*/ 2147483647 h 932"/>
                <a:gd name="T32" fmla="*/ 2147483647 w 506"/>
                <a:gd name="T33" fmla="*/ 2147483647 h 932"/>
                <a:gd name="T34" fmla="*/ 2147483647 w 506"/>
                <a:gd name="T35" fmla="*/ 2147483647 h 932"/>
                <a:gd name="T36" fmla="*/ 2147483647 w 506"/>
                <a:gd name="T37" fmla="*/ 2147483647 h 932"/>
                <a:gd name="T38" fmla="*/ 2147483647 w 506"/>
                <a:gd name="T39" fmla="*/ 2147483647 h 932"/>
                <a:gd name="T40" fmla="*/ 2147483647 w 506"/>
                <a:gd name="T41" fmla="*/ 2147483647 h 932"/>
                <a:gd name="T42" fmla="*/ 2147483647 w 506"/>
                <a:gd name="T43" fmla="*/ 2147483647 h 932"/>
                <a:gd name="T44" fmla="*/ 2147483647 w 506"/>
                <a:gd name="T45" fmla="*/ 2147483647 h 932"/>
                <a:gd name="T46" fmla="*/ 2147483647 w 506"/>
                <a:gd name="T47" fmla="*/ 2147483647 h 932"/>
                <a:gd name="T48" fmla="*/ 2147483647 w 506"/>
                <a:gd name="T49" fmla="*/ 2147483647 h 932"/>
                <a:gd name="T50" fmla="*/ 2147483647 w 506"/>
                <a:gd name="T51" fmla="*/ 2147483647 h 932"/>
                <a:gd name="T52" fmla="*/ 2147483647 w 506"/>
                <a:gd name="T53" fmla="*/ 2147483647 h 932"/>
                <a:gd name="T54" fmla="*/ 2147483647 w 506"/>
                <a:gd name="T55" fmla="*/ 2147483647 h 932"/>
                <a:gd name="T56" fmla="*/ 2147483647 w 506"/>
                <a:gd name="T57" fmla="*/ 2147483647 h 932"/>
                <a:gd name="T58" fmla="*/ 2147483647 w 506"/>
                <a:gd name="T59" fmla="*/ 2147483647 h 932"/>
                <a:gd name="T60" fmla="*/ 2147483647 w 506"/>
                <a:gd name="T61" fmla="*/ 2147483647 h 932"/>
                <a:gd name="T62" fmla="*/ 2147483647 w 506"/>
                <a:gd name="T63" fmla="*/ 2147483647 h 932"/>
                <a:gd name="T64" fmla="*/ 2147483647 w 506"/>
                <a:gd name="T65" fmla="*/ 2147483647 h 932"/>
                <a:gd name="T66" fmla="*/ 2147483647 w 506"/>
                <a:gd name="T67" fmla="*/ 2147483647 h 932"/>
                <a:gd name="T68" fmla="*/ 2147483647 w 506"/>
                <a:gd name="T69" fmla="*/ 2147483647 h 932"/>
                <a:gd name="T70" fmla="*/ 2147483647 w 506"/>
                <a:gd name="T71" fmla="*/ 2147483647 h 932"/>
                <a:gd name="T72" fmla="*/ 2147483647 w 506"/>
                <a:gd name="T73" fmla="*/ 2147483647 h 932"/>
                <a:gd name="T74" fmla="*/ 2147483647 w 506"/>
                <a:gd name="T75" fmla="*/ 2147483647 h 932"/>
                <a:gd name="T76" fmla="*/ 2147483647 w 506"/>
                <a:gd name="T77" fmla="*/ 2147483647 h 932"/>
                <a:gd name="T78" fmla="*/ 2147483647 w 506"/>
                <a:gd name="T79" fmla="*/ 2147483647 h 932"/>
                <a:gd name="T80" fmla="*/ 2147483647 w 506"/>
                <a:gd name="T81" fmla="*/ 2147483647 h 932"/>
                <a:gd name="T82" fmla="*/ 2147483647 w 506"/>
                <a:gd name="T83" fmla="*/ 2147483647 h 932"/>
                <a:gd name="T84" fmla="*/ 2147483647 w 506"/>
                <a:gd name="T85" fmla="*/ 2147483647 h 932"/>
                <a:gd name="T86" fmla="*/ 2147483647 w 506"/>
                <a:gd name="T87" fmla="*/ 2147483647 h 932"/>
                <a:gd name="T88" fmla="*/ 2147483647 w 506"/>
                <a:gd name="T89" fmla="*/ 2147483647 h 932"/>
                <a:gd name="T90" fmla="*/ 2147483647 w 506"/>
                <a:gd name="T91" fmla="*/ 2147483647 h 932"/>
                <a:gd name="T92" fmla="*/ 2147483647 w 506"/>
                <a:gd name="T93" fmla="*/ 2147483647 h 932"/>
                <a:gd name="T94" fmla="*/ 2147483647 w 506"/>
                <a:gd name="T95" fmla="*/ 2147483647 h 932"/>
                <a:gd name="T96" fmla="*/ 2147483647 w 506"/>
                <a:gd name="T97" fmla="*/ 2147483647 h 932"/>
                <a:gd name="T98" fmla="*/ 2147483647 w 506"/>
                <a:gd name="T99" fmla="*/ 2147483647 h 932"/>
                <a:gd name="T100" fmla="*/ 2147483647 w 506"/>
                <a:gd name="T101" fmla="*/ 2147483647 h 932"/>
                <a:gd name="T102" fmla="*/ 2147483647 w 506"/>
                <a:gd name="T103" fmla="*/ 2147483647 h 93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06"/>
                <a:gd name="T157" fmla="*/ 0 h 932"/>
                <a:gd name="T158" fmla="*/ 506 w 506"/>
                <a:gd name="T159" fmla="*/ 932 h 93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06" h="932">
                  <a:moveTo>
                    <a:pt x="0" y="0"/>
                  </a:moveTo>
                  <a:lnTo>
                    <a:pt x="0" y="27"/>
                  </a:lnTo>
                  <a:lnTo>
                    <a:pt x="17" y="27"/>
                  </a:lnTo>
                  <a:lnTo>
                    <a:pt x="17" y="53"/>
                  </a:lnTo>
                  <a:lnTo>
                    <a:pt x="28" y="56"/>
                  </a:lnTo>
                  <a:lnTo>
                    <a:pt x="35" y="82"/>
                  </a:lnTo>
                  <a:lnTo>
                    <a:pt x="51" y="86"/>
                  </a:lnTo>
                  <a:lnTo>
                    <a:pt x="51" y="114"/>
                  </a:lnTo>
                  <a:lnTo>
                    <a:pt x="66" y="114"/>
                  </a:lnTo>
                  <a:lnTo>
                    <a:pt x="66" y="143"/>
                  </a:lnTo>
                  <a:lnTo>
                    <a:pt x="81" y="146"/>
                  </a:lnTo>
                  <a:lnTo>
                    <a:pt x="81" y="173"/>
                  </a:lnTo>
                  <a:lnTo>
                    <a:pt x="89" y="174"/>
                  </a:lnTo>
                  <a:lnTo>
                    <a:pt x="87" y="206"/>
                  </a:lnTo>
                  <a:lnTo>
                    <a:pt x="96" y="209"/>
                  </a:lnTo>
                  <a:lnTo>
                    <a:pt x="93" y="273"/>
                  </a:lnTo>
                  <a:lnTo>
                    <a:pt x="108" y="276"/>
                  </a:lnTo>
                  <a:lnTo>
                    <a:pt x="107" y="296"/>
                  </a:lnTo>
                  <a:lnTo>
                    <a:pt x="119" y="296"/>
                  </a:lnTo>
                  <a:lnTo>
                    <a:pt x="119" y="327"/>
                  </a:lnTo>
                  <a:lnTo>
                    <a:pt x="130" y="330"/>
                  </a:lnTo>
                  <a:lnTo>
                    <a:pt x="130" y="384"/>
                  </a:lnTo>
                  <a:lnTo>
                    <a:pt x="153" y="387"/>
                  </a:lnTo>
                  <a:lnTo>
                    <a:pt x="152" y="446"/>
                  </a:lnTo>
                  <a:lnTo>
                    <a:pt x="164" y="446"/>
                  </a:lnTo>
                  <a:lnTo>
                    <a:pt x="164" y="480"/>
                  </a:lnTo>
                  <a:lnTo>
                    <a:pt x="174" y="482"/>
                  </a:lnTo>
                  <a:lnTo>
                    <a:pt x="176" y="504"/>
                  </a:lnTo>
                  <a:lnTo>
                    <a:pt x="188" y="507"/>
                  </a:lnTo>
                  <a:lnTo>
                    <a:pt x="188" y="537"/>
                  </a:lnTo>
                  <a:lnTo>
                    <a:pt x="201" y="540"/>
                  </a:lnTo>
                  <a:lnTo>
                    <a:pt x="201" y="566"/>
                  </a:lnTo>
                  <a:lnTo>
                    <a:pt x="221" y="566"/>
                  </a:lnTo>
                  <a:lnTo>
                    <a:pt x="221" y="594"/>
                  </a:lnTo>
                  <a:lnTo>
                    <a:pt x="311" y="594"/>
                  </a:lnTo>
                  <a:lnTo>
                    <a:pt x="311" y="630"/>
                  </a:lnTo>
                  <a:lnTo>
                    <a:pt x="326" y="630"/>
                  </a:lnTo>
                  <a:lnTo>
                    <a:pt x="326" y="689"/>
                  </a:lnTo>
                  <a:lnTo>
                    <a:pt x="336" y="689"/>
                  </a:lnTo>
                  <a:lnTo>
                    <a:pt x="335" y="717"/>
                  </a:lnTo>
                  <a:lnTo>
                    <a:pt x="351" y="717"/>
                  </a:lnTo>
                  <a:lnTo>
                    <a:pt x="351" y="798"/>
                  </a:lnTo>
                  <a:lnTo>
                    <a:pt x="387" y="798"/>
                  </a:lnTo>
                  <a:lnTo>
                    <a:pt x="387" y="833"/>
                  </a:lnTo>
                  <a:lnTo>
                    <a:pt x="417" y="833"/>
                  </a:lnTo>
                  <a:lnTo>
                    <a:pt x="417" y="864"/>
                  </a:lnTo>
                  <a:lnTo>
                    <a:pt x="443" y="864"/>
                  </a:lnTo>
                  <a:lnTo>
                    <a:pt x="443" y="893"/>
                  </a:lnTo>
                  <a:lnTo>
                    <a:pt x="465" y="893"/>
                  </a:lnTo>
                  <a:lnTo>
                    <a:pt x="464" y="918"/>
                  </a:lnTo>
                  <a:lnTo>
                    <a:pt x="503" y="921"/>
                  </a:lnTo>
                  <a:lnTo>
                    <a:pt x="506" y="932"/>
                  </a:lnTo>
                </a:path>
              </a:pathLst>
            </a:custGeom>
            <a:noFill/>
            <a:ln w="28575">
              <a:solidFill>
                <a:schemeClr val="hlink"/>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sz="1802">
                <a:latin typeface="Arial" panose="020B0604020202020204" pitchFamily="34" charset="0"/>
                <a:cs typeface="Arial" panose="020B0604020202020204" pitchFamily="34" charset="0"/>
              </a:endParaRPr>
            </a:p>
          </p:txBody>
        </p:sp>
        <p:sp>
          <p:nvSpPr>
            <p:cNvPr id="348" name="Text Box 86">
              <a:extLst>
                <a:ext uri="{FF2B5EF4-FFF2-40B4-BE49-F238E27FC236}">
                  <a16:creationId xmlns:a16="http://schemas.microsoft.com/office/drawing/2014/main" id="{4B7924BA-F36E-CCCA-EB01-DDBBB8A7C64F}"/>
                </a:ext>
              </a:extLst>
            </p:cNvPr>
            <p:cNvSpPr txBox="1">
              <a:spLocks noChangeArrowheads="1"/>
            </p:cNvSpPr>
            <p:nvPr/>
          </p:nvSpPr>
          <p:spPr bwMode="auto">
            <a:xfrm>
              <a:off x="3768372" y="4829576"/>
              <a:ext cx="2016157" cy="6352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800">
                  <a:solidFill>
                    <a:schemeClr val="bg1"/>
                  </a:solidFill>
                  <a:latin typeface="Comic Sans MS" charset="0"/>
                  <a:ea typeface="ＭＳ Ｐゴシック" charset="0"/>
                  <a:cs typeface="ＭＳ Ｐゴシック" charset="0"/>
                </a:defRPr>
              </a:lvl1pPr>
              <a:lvl2pPr marL="742950" indent="-285750">
                <a:defRPr sz="2800">
                  <a:solidFill>
                    <a:schemeClr val="bg1"/>
                  </a:solidFill>
                  <a:latin typeface="Comic Sans MS" charset="0"/>
                  <a:ea typeface="ＭＳ Ｐゴシック" charset="0"/>
                </a:defRPr>
              </a:lvl2pPr>
              <a:lvl3pPr marL="1143000" indent="-228600">
                <a:defRPr sz="2800">
                  <a:solidFill>
                    <a:schemeClr val="bg1"/>
                  </a:solidFill>
                  <a:latin typeface="Comic Sans MS" charset="0"/>
                  <a:ea typeface="ＭＳ Ｐゴシック" charset="0"/>
                </a:defRPr>
              </a:lvl3pPr>
              <a:lvl4pPr marL="1600200" indent="-228600">
                <a:defRPr sz="2800">
                  <a:solidFill>
                    <a:schemeClr val="bg1"/>
                  </a:solidFill>
                  <a:latin typeface="Comic Sans MS" charset="0"/>
                  <a:ea typeface="ＭＳ Ｐゴシック" charset="0"/>
                </a:defRPr>
              </a:lvl4pPr>
              <a:lvl5pPr marL="2057400" indent="-228600">
                <a:defRPr sz="2800">
                  <a:solidFill>
                    <a:schemeClr val="bg1"/>
                  </a:solidFill>
                  <a:latin typeface="Comic Sans MS" charset="0"/>
                  <a:ea typeface="ＭＳ Ｐゴシック" charset="0"/>
                </a:defRPr>
              </a:lvl5pPr>
              <a:lvl6pPr marL="2514600" indent="-228600" eaLnBrk="0" fontAlgn="base" hangingPunct="0">
                <a:spcBef>
                  <a:spcPct val="0"/>
                </a:spcBef>
                <a:spcAft>
                  <a:spcPct val="0"/>
                </a:spcAft>
                <a:defRPr sz="2800">
                  <a:solidFill>
                    <a:schemeClr val="bg1"/>
                  </a:solidFill>
                  <a:latin typeface="Comic Sans MS" charset="0"/>
                  <a:ea typeface="ＭＳ Ｐゴシック" charset="0"/>
                </a:defRPr>
              </a:lvl6pPr>
              <a:lvl7pPr marL="2971800" indent="-228600" eaLnBrk="0" fontAlgn="base" hangingPunct="0">
                <a:spcBef>
                  <a:spcPct val="0"/>
                </a:spcBef>
                <a:spcAft>
                  <a:spcPct val="0"/>
                </a:spcAft>
                <a:defRPr sz="2800">
                  <a:solidFill>
                    <a:schemeClr val="bg1"/>
                  </a:solidFill>
                  <a:latin typeface="Comic Sans MS" charset="0"/>
                  <a:ea typeface="ＭＳ Ｐゴシック" charset="0"/>
                </a:defRPr>
              </a:lvl7pPr>
              <a:lvl8pPr marL="3429000" indent="-228600" eaLnBrk="0" fontAlgn="base" hangingPunct="0">
                <a:spcBef>
                  <a:spcPct val="0"/>
                </a:spcBef>
                <a:spcAft>
                  <a:spcPct val="0"/>
                </a:spcAft>
                <a:defRPr sz="2800">
                  <a:solidFill>
                    <a:schemeClr val="bg1"/>
                  </a:solidFill>
                  <a:latin typeface="Comic Sans MS" charset="0"/>
                  <a:ea typeface="ＭＳ Ｐゴシック" charset="0"/>
                </a:defRPr>
              </a:lvl8pPr>
              <a:lvl9pPr marL="3886200" indent="-228600" eaLnBrk="0" fontAlgn="base" hangingPunct="0">
                <a:spcBef>
                  <a:spcPct val="0"/>
                </a:spcBef>
                <a:spcAft>
                  <a:spcPct val="0"/>
                </a:spcAft>
                <a:defRPr sz="2800">
                  <a:solidFill>
                    <a:schemeClr val="bg1"/>
                  </a:solidFill>
                  <a:latin typeface="Comic Sans MS" charset="0"/>
                  <a:ea typeface="ＭＳ Ｐゴシック" charset="0"/>
                </a:defRPr>
              </a:lvl9pPr>
            </a:lstStyle>
            <a:p>
              <a:pPr algn="ctr" eaLnBrk="1" hangingPunct="1"/>
              <a:r>
                <a:rPr lang="en-US" sz="1201" dirty="0">
                  <a:solidFill>
                    <a:srgbClr val="000000"/>
                  </a:solidFill>
                  <a:latin typeface="Arial" panose="020B0604020202020204" pitchFamily="34" charset="0"/>
                  <a:cs typeface="Arial" panose="020B0604020202020204" pitchFamily="34" charset="0"/>
                </a:rPr>
                <a:t>Time (Months)</a:t>
              </a:r>
            </a:p>
          </p:txBody>
        </p:sp>
      </p:grpSp>
      <p:sp>
        <p:nvSpPr>
          <p:cNvPr id="364" name="TextBox 363">
            <a:extLst>
              <a:ext uri="{FF2B5EF4-FFF2-40B4-BE49-F238E27FC236}">
                <a16:creationId xmlns:a16="http://schemas.microsoft.com/office/drawing/2014/main" id="{F4D0CFC5-9944-4C44-104F-9C57B9E3EE48}"/>
              </a:ext>
            </a:extLst>
          </p:cNvPr>
          <p:cNvSpPr txBox="1"/>
          <p:nvPr/>
        </p:nvSpPr>
        <p:spPr>
          <a:xfrm>
            <a:off x="3526809" y="4436682"/>
            <a:ext cx="2733184" cy="738664"/>
          </a:xfrm>
          <a:prstGeom prst="rect">
            <a:avLst/>
          </a:prstGeom>
          <a:noFill/>
        </p:spPr>
        <p:txBody>
          <a:bodyPr wrap="none" rtlCol="0">
            <a:spAutoFit/>
          </a:bodyPr>
          <a:lstStyle/>
          <a:p>
            <a:r>
              <a:rPr lang="en-US" sz="1400" dirty="0" err="1"/>
              <a:t>Bachelot</a:t>
            </a:r>
            <a:r>
              <a:rPr lang="en-US" sz="1400" dirty="0"/>
              <a:t> et al JCO 2012</a:t>
            </a:r>
          </a:p>
          <a:p>
            <a:r>
              <a:rPr lang="en-US" sz="1400" dirty="0" err="1"/>
              <a:t>Baselga</a:t>
            </a:r>
            <a:r>
              <a:rPr lang="en-US" sz="1400" dirty="0"/>
              <a:t> et al NEJM 2012</a:t>
            </a:r>
          </a:p>
          <a:p>
            <a:r>
              <a:rPr lang="en-US" sz="1400" dirty="0" err="1"/>
              <a:t>Piccart</a:t>
            </a:r>
            <a:r>
              <a:rPr lang="en-US" sz="1400" dirty="0"/>
              <a:t> et al Ann Oncology 2014</a:t>
            </a:r>
          </a:p>
        </p:txBody>
      </p:sp>
      <p:sp>
        <p:nvSpPr>
          <p:cNvPr id="365" name="TextBox 364">
            <a:extLst>
              <a:ext uri="{FF2B5EF4-FFF2-40B4-BE49-F238E27FC236}">
                <a16:creationId xmlns:a16="http://schemas.microsoft.com/office/drawing/2014/main" id="{F46F2175-5381-3DC1-5937-4E8D53D401BE}"/>
              </a:ext>
            </a:extLst>
          </p:cNvPr>
          <p:cNvSpPr txBox="1"/>
          <p:nvPr/>
        </p:nvSpPr>
        <p:spPr>
          <a:xfrm>
            <a:off x="4982018" y="922777"/>
            <a:ext cx="3092513" cy="461665"/>
          </a:xfrm>
          <a:prstGeom prst="rect">
            <a:avLst/>
          </a:prstGeom>
          <a:noFill/>
        </p:spPr>
        <p:txBody>
          <a:bodyPr wrap="none" rtlCol="0">
            <a:spAutoFit/>
          </a:bodyPr>
          <a:lstStyle/>
          <a:p>
            <a:r>
              <a:rPr lang="en-US" dirty="0"/>
              <a:t>BOLERO-2: phase 3</a:t>
            </a:r>
          </a:p>
        </p:txBody>
      </p:sp>
      <p:sp>
        <p:nvSpPr>
          <p:cNvPr id="366" name="TextBox 365">
            <a:extLst>
              <a:ext uri="{FF2B5EF4-FFF2-40B4-BE49-F238E27FC236}">
                <a16:creationId xmlns:a16="http://schemas.microsoft.com/office/drawing/2014/main" id="{23556916-FEEE-9252-F7CE-76D3304BE0A6}"/>
              </a:ext>
            </a:extLst>
          </p:cNvPr>
          <p:cNvSpPr txBox="1"/>
          <p:nvPr/>
        </p:nvSpPr>
        <p:spPr>
          <a:xfrm>
            <a:off x="998107" y="1291688"/>
            <a:ext cx="2598340" cy="461665"/>
          </a:xfrm>
          <a:prstGeom prst="rect">
            <a:avLst/>
          </a:prstGeom>
          <a:noFill/>
        </p:spPr>
        <p:txBody>
          <a:bodyPr wrap="none" rtlCol="0">
            <a:spAutoFit/>
          </a:bodyPr>
          <a:lstStyle/>
          <a:p>
            <a:r>
              <a:rPr lang="en-US" dirty="0" err="1"/>
              <a:t>TamRad</a:t>
            </a:r>
            <a:r>
              <a:rPr lang="en-US" dirty="0"/>
              <a:t>: phase 2</a:t>
            </a:r>
          </a:p>
        </p:txBody>
      </p:sp>
      <p:pic>
        <p:nvPicPr>
          <p:cNvPr id="1026" name="Picture 2">
            <a:extLst>
              <a:ext uri="{FF2B5EF4-FFF2-40B4-BE49-F238E27FC236}">
                <a16:creationId xmlns:a16="http://schemas.microsoft.com/office/drawing/2014/main" id="{6CA620B1-E4AB-3040-5356-2CD22AAF38D3}"/>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b="50187"/>
          <a:stretch/>
        </p:blipFill>
        <p:spPr bwMode="auto">
          <a:xfrm>
            <a:off x="4826259" y="1338566"/>
            <a:ext cx="3549650" cy="2564500"/>
          </a:xfrm>
          <a:prstGeom prst="rect">
            <a:avLst/>
          </a:prstGeom>
          <a:noFill/>
          <a:extLst>
            <a:ext uri="{909E8E84-426E-40DD-AFC4-6F175D3DCCD1}">
              <a14:hiddenFill xmlns:a14="http://schemas.microsoft.com/office/drawing/2010/main">
                <a:solidFill>
                  <a:srgbClr val="FFFFFF"/>
                </a:solidFill>
              </a14:hiddenFill>
            </a:ext>
          </a:extLst>
        </p:spPr>
      </p:pic>
      <p:sp>
        <p:nvSpPr>
          <p:cNvPr id="367" name="TextBox 366">
            <a:extLst>
              <a:ext uri="{FF2B5EF4-FFF2-40B4-BE49-F238E27FC236}">
                <a16:creationId xmlns:a16="http://schemas.microsoft.com/office/drawing/2014/main" id="{168DF217-D143-529D-557D-217EF94BB524}"/>
              </a:ext>
            </a:extLst>
          </p:cNvPr>
          <p:cNvSpPr txBox="1"/>
          <p:nvPr/>
        </p:nvSpPr>
        <p:spPr>
          <a:xfrm>
            <a:off x="4070165" y="3896860"/>
            <a:ext cx="4916221" cy="523220"/>
          </a:xfrm>
          <a:prstGeom prst="rect">
            <a:avLst/>
          </a:prstGeom>
          <a:noFill/>
        </p:spPr>
        <p:txBody>
          <a:bodyPr wrap="square" rtlCol="0">
            <a:spAutoFit/>
          </a:bodyPr>
          <a:lstStyle/>
          <a:p>
            <a:pPr algn="ctr"/>
            <a:r>
              <a:rPr lang="en-US" sz="1400" b="0" i="0" dirty="0">
                <a:solidFill>
                  <a:srgbClr val="212121"/>
                </a:solidFill>
                <a:effectLst/>
                <a:latin typeface="+mn-lt"/>
              </a:rPr>
              <a:t>Median OS not met: 31 vs 26.6 </a:t>
            </a:r>
            <a:r>
              <a:rPr lang="en-US" sz="1400" b="0" i="0" dirty="0" err="1">
                <a:solidFill>
                  <a:srgbClr val="212121"/>
                </a:solidFill>
                <a:effectLst/>
                <a:latin typeface="+mn-lt"/>
              </a:rPr>
              <a:t>mo</a:t>
            </a:r>
            <a:r>
              <a:rPr lang="en-US" sz="1400" b="0" i="0" dirty="0">
                <a:solidFill>
                  <a:srgbClr val="212121"/>
                </a:solidFill>
                <a:effectLst/>
                <a:latin typeface="+mn-lt"/>
              </a:rPr>
              <a:t> (HR = 0.89; 95% CI 0.73–1.10; stratified log-rank </a:t>
            </a:r>
            <a:r>
              <a:rPr lang="en-US" sz="1400" b="0" i="1" dirty="0">
                <a:solidFill>
                  <a:srgbClr val="212121"/>
                </a:solidFill>
                <a:effectLst/>
                <a:latin typeface="+mn-lt"/>
              </a:rPr>
              <a:t>P</a:t>
            </a:r>
            <a:r>
              <a:rPr lang="en-US" sz="1400" b="0" i="0" dirty="0">
                <a:solidFill>
                  <a:srgbClr val="212121"/>
                </a:solidFill>
                <a:effectLst/>
                <a:latin typeface="+mn-lt"/>
              </a:rPr>
              <a:t> = 0.1426).</a:t>
            </a:r>
            <a:endParaRPr lang="en-US" sz="1400" dirty="0">
              <a:latin typeface="+mn-lt"/>
            </a:endParaRPr>
          </a:p>
        </p:txBody>
      </p:sp>
    </p:spTree>
    <p:extLst>
      <p:ext uri="{BB962C8B-B14F-4D97-AF65-F5344CB8AC3E}">
        <p14:creationId xmlns:p14="http://schemas.microsoft.com/office/powerpoint/2010/main" val="401722351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9802241-7DE4-D84F-BF1F-BE11315685B9}"/>
              </a:ext>
            </a:extLst>
          </p:cNvPr>
          <p:cNvPicPr>
            <a:picLocks noChangeAspect="1"/>
          </p:cNvPicPr>
          <p:nvPr/>
        </p:nvPicPr>
        <p:blipFill rotWithShape="1">
          <a:blip r:embed="rId2"/>
          <a:srcRect t="21589"/>
          <a:stretch/>
        </p:blipFill>
        <p:spPr>
          <a:xfrm>
            <a:off x="1187899" y="698740"/>
            <a:ext cx="6583748" cy="3450300"/>
          </a:xfrm>
          <a:prstGeom prst="rect">
            <a:avLst/>
          </a:prstGeom>
        </p:spPr>
      </p:pic>
      <p:sp>
        <p:nvSpPr>
          <p:cNvPr id="4" name="TextBox 3">
            <a:extLst>
              <a:ext uri="{FF2B5EF4-FFF2-40B4-BE49-F238E27FC236}">
                <a16:creationId xmlns:a16="http://schemas.microsoft.com/office/drawing/2014/main" id="{E1F9FDAA-EFB2-D749-B06C-71B1D22B3687}"/>
              </a:ext>
            </a:extLst>
          </p:cNvPr>
          <p:cNvSpPr txBox="1"/>
          <p:nvPr/>
        </p:nvSpPr>
        <p:spPr>
          <a:xfrm>
            <a:off x="3485035" y="4776509"/>
            <a:ext cx="3111749" cy="307777"/>
          </a:xfrm>
          <a:prstGeom prst="rect">
            <a:avLst/>
          </a:prstGeom>
          <a:noFill/>
        </p:spPr>
        <p:txBody>
          <a:bodyPr wrap="none" rtlCol="0">
            <a:spAutoFit/>
          </a:bodyPr>
          <a:lstStyle/>
          <a:p>
            <a:r>
              <a:rPr lang="en-US" sz="1400" dirty="0">
                <a:latin typeface="+mn-lt"/>
              </a:rPr>
              <a:t>Andre et al ESMO 2018; NEJM 2019</a:t>
            </a:r>
          </a:p>
        </p:txBody>
      </p:sp>
      <p:sp>
        <p:nvSpPr>
          <p:cNvPr id="5" name="Title 4">
            <a:extLst>
              <a:ext uri="{FF2B5EF4-FFF2-40B4-BE49-F238E27FC236}">
                <a16:creationId xmlns:a16="http://schemas.microsoft.com/office/drawing/2014/main" id="{8A84B38A-D135-1D27-9CD7-C1912147E805}"/>
              </a:ext>
            </a:extLst>
          </p:cNvPr>
          <p:cNvSpPr>
            <a:spLocks noGrp="1"/>
          </p:cNvSpPr>
          <p:nvPr>
            <p:ph type="title"/>
          </p:nvPr>
        </p:nvSpPr>
        <p:spPr/>
        <p:txBody>
          <a:bodyPr/>
          <a:lstStyle/>
          <a:p>
            <a:r>
              <a:rPr lang="en-US" sz="3200" b="1" dirty="0"/>
              <a:t>SOLAR-1: PI3K Inhibition with </a:t>
            </a:r>
            <a:r>
              <a:rPr lang="en-US" sz="3200" b="1" dirty="0" err="1"/>
              <a:t>Fulvestrant</a:t>
            </a:r>
            <a:endParaRPr lang="en-US" sz="3200" b="1" dirty="0"/>
          </a:p>
        </p:txBody>
      </p:sp>
    </p:spTree>
    <p:extLst>
      <p:ext uri="{BB962C8B-B14F-4D97-AF65-F5344CB8AC3E}">
        <p14:creationId xmlns:p14="http://schemas.microsoft.com/office/powerpoint/2010/main" val="249706140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C3D0FE97-FF08-90DD-2071-F83AF85CCB08}"/>
              </a:ext>
            </a:extLst>
          </p:cNvPr>
          <p:cNvSpPr txBox="1"/>
          <p:nvPr/>
        </p:nvSpPr>
        <p:spPr>
          <a:xfrm>
            <a:off x="3747517" y="4706058"/>
            <a:ext cx="2036135" cy="307777"/>
          </a:xfrm>
          <a:prstGeom prst="rect">
            <a:avLst/>
          </a:prstGeom>
          <a:noFill/>
        </p:spPr>
        <p:txBody>
          <a:bodyPr wrap="none" rtlCol="0">
            <a:spAutoFit/>
          </a:bodyPr>
          <a:lstStyle/>
          <a:p>
            <a:r>
              <a:rPr lang="en-US" sz="1400" dirty="0">
                <a:latin typeface="+mn-lt"/>
              </a:rPr>
              <a:t>Andre et al NEJM 2019</a:t>
            </a:r>
          </a:p>
        </p:txBody>
      </p:sp>
      <p:pic>
        <p:nvPicPr>
          <p:cNvPr id="2050" name="Picture 2">
            <a:extLst>
              <a:ext uri="{FF2B5EF4-FFF2-40B4-BE49-F238E27FC236}">
                <a16:creationId xmlns:a16="http://schemas.microsoft.com/office/drawing/2014/main" id="{28B06BE8-BF69-885B-27C4-D0B156DD595C}"/>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b="48727"/>
          <a:stretch/>
        </p:blipFill>
        <p:spPr bwMode="auto">
          <a:xfrm>
            <a:off x="0" y="1117426"/>
            <a:ext cx="5043947" cy="2842100"/>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9E6BE8D6-CD60-6372-BD04-AE0D8756410A}"/>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50248"/>
          <a:stretch/>
        </p:blipFill>
        <p:spPr bwMode="auto">
          <a:xfrm>
            <a:off x="5138941" y="1755058"/>
            <a:ext cx="3974622" cy="2173116"/>
          </a:xfrm>
          <a:prstGeom prst="rect">
            <a:avLst/>
          </a:prstGeom>
          <a:noFill/>
          <a:extLst>
            <a:ext uri="{909E8E84-426E-40DD-AFC4-6F175D3DCCD1}">
              <a14:hiddenFill xmlns:a14="http://schemas.microsoft.com/office/drawing/2010/main">
                <a:solidFill>
                  <a:srgbClr val="FFFFFF"/>
                </a:solidFill>
              </a14:hiddenFill>
            </a:ext>
          </a:extLst>
        </p:spPr>
      </p:pic>
      <p:sp>
        <p:nvSpPr>
          <p:cNvPr id="5" name="Title 4">
            <a:extLst>
              <a:ext uri="{FF2B5EF4-FFF2-40B4-BE49-F238E27FC236}">
                <a16:creationId xmlns:a16="http://schemas.microsoft.com/office/drawing/2014/main" id="{CB779C48-40E8-F8C9-8910-F1BE3C418B3F}"/>
              </a:ext>
            </a:extLst>
          </p:cNvPr>
          <p:cNvSpPr>
            <a:spLocks noGrp="1"/>
          </p:cNvSpPr>
          <p:nvPr>
            <p:ph type="title"/>
          </p:nvPr>
        </p:nvSpPr>
        <p:spPr/>
        <p:txBody>
          <a:bodyPr/>
          <a:lstStyle/>
          <a:p>
            <a:r>
              <a:rPr lang="en-US" b="1" dirty="0"/>
              <a:t>PFS improved in PI3K mutant cohort</a:t>
            </a:r>
          </a:p>
        </p:txBody>
      </p:sp>
    </p:spTree>
    <p:extLst>
      <p:ext uri="{BB962C8B-B14F-4D97-AF65-F5344CB8AC3E}">
        <p14:creationId xmlns:p14="http://schemas.microsoft.com/office/powerpoint/2010/main" val="200621888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C3D0FE97-FF08-90DD-2071-F83AF85CCB08}"/>
              </a:ext>
            </a:extLst>
          </p:cNvPr>
          <p:cNvSpPr txBox="1"/>
          <p:nvPr/>
        </p:nvSpPr>
        <p:spPr>
          <a:xfrm>
            <a:off x="3747517" y="4706058"/>
            <a:ext cx="1997406" cy="307777"/>
          </a:xfrm>
          <a:prstGeom prst="rect">
            <a:avLst/>
          </a:prstGeom>
          <a:noFill/>
        </p:spPr>
        <p:txBody>
          <a:bodyPr wrap="none" rtlCol="0">
            <a:spAutoFit/>
          </a:bodyPr>
          <a:lstStyle/>
          <a:p>
            <a:r>
              <a:rPr lang="en-US" sz="1400" dirty="0" err="1">
                <a:latin typeface="+mn-lt"/>
              </a:rPr>
              <a:t>Rugo</a:t>
            </a:r>
            <a:r>
              <a:rPr lang="en-US" sz="1400" dirty="0">
                <a:latin typeface="+mn-lt"/>
              </a:rPr>
              <a:t> et al ASCO 2020</a:t>
            </a:r>
          </a:p>
        </p:txBody>
      </p:sp>
      <p:sp>
        <p:nvSpPr>
          <p:cNvPr id="5" name="Title 4">
            <a:extLst>
              <a:ext uri="{FF2B5EF4-FFF2-40B4-BE49-F238E27FC236}">
                <a16:creationId xmlns:a16="http://schemas.microsoft.com/office/drawing/2014/main" id="{CB779C48-40E8-F8C9-8910-F1BE3C418B3F}"/>
              </a:ext>
            </a:extLst>
          </p:cNvPr>
          <p:cNvSpPr>
            <a:spLocks noGrp="1"/>
          </p:cNvSpPr>
          <p:nvPr>
            <p:ph type="title"/>
          </p:nvPr>
        </p:nvSpPr>
        <p:spPr/>
        <p:txBody>
          <a:bodyPr/>
          <a:lstStyle/>
          <a:p>
            <a:r>
              <a:rPr lang="en-US" sz="3200" b="1" dirty="0" err="1"/>
              <a:t>BYLieve</a:t>
            </a:r>
            <a:r>
              <a:rPr lang="en-US" sz="3200" b="1" dirty="0"/>
              <a:t>: PI3K inhibition after CDK4/6i</a:t>
            </a:r>
          </a:p>
        </p:txBody>
      </p:sp>
      <p:pic>
        <p:nvPicPr>
          <p:cNvPr id="2" name="Picture 2">
            <a:extLst>
              <a:ext uri="{FF2B5EF4-FFF2-40B4-BE49-F238E27FC236}">
                <a16:creationId xmlns:a16="http://schemas.microsoft.com/office/drawing/2014/main" id="{39F1558F-24DF-FCF2-57AE-49A667AE9774}"/>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21127" b="20307"/>
          <a:stretch/>
        </p:blipFill>
        <p:spPr bwMode="auto">
          <a:xfrm>
            <a:off x="1264517" y="900404"/>
            <a:ext cx="6864349" cy="29400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4945731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73BB96-06F6-84B7-61A6-F008D7A1CE5F}"/>
              </a:ext>
            </a:extLst>
          </p:cNvPr>
          <p:cNvSpPr>
            <a:spLocks noGrp="1"/>
          </p:cNvSpPr>
          <p:nvPr>
            <p:ph type="title"/>
          </p:nvPr>
        </p:nvSpPr>
        <p:spPr>
          <a:xfrm>
            <a:off x="-186431" y="1459114"/>
            <a:ext cx="9144000" cy="1006507"/>
          </a:xfrm>
        </p:spPr>
        <p:txBody>
          <a:bodyPr/>
          <a:lstStyle/>
          <a:p>
            <a:r>
              <a:rPr lang="en-US" b="1" dirty="0"/>
              <a:t>Program Chair</a:t>
            </a:r>
          </a:p>
        </p:txBody>
      </p:sp>
      <p:pic>
        <p:nvPicPr>
          <p:cNvPr id="3" name="Picture 2">
            <a:extLst>
              <a:ext uri="{FF2B5EF4-FFF2-40B4-BE49-F238E27FC236}">
                <a16:creationId xmlns:a16="http://schemas.microsoft.com/office/drawing/2014/main" id="{99B7CFF6-DB4F-C6AE-4076-D1B67D8F05CF}"/>
              </a:ext>
            </a:extLst>
          </p:cNvPr>
          <p:cNvPicPr>
            <a:picLocks noChangeAspect="1"/>
          </p:cNvPicPr>
          <p:nvPr/>
        </p:nvPicPr>
        <p:blipFill>
          <a:blip r:embed="rId2"/>
          <a:stretch>
            <a:fillRect/>
          </a:stretch>
        </p:blipFill>
        <p:spPr>
          <a:xfrm>
            <a:off x="-60233" y="-53788"/>
            <a:ext cx="9582898" cy="4341479"/>
          </a:xfrm>
          <a:prstGeom prst="rect">
            <a:avLst/>
          </a:prstGeom>
        </p:spPr>
      </p:pic>
    </p:spTree>
    <p:extLst>
      <p:ext uri="{BB962C8B-B14F-4D97-AF65-F5344CB8AC3E}">
        <p14:creationId xmlns:p14="http://schemas.microsoft.com/office/powerpoint/2010/main" val="361818875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b="1" kern="1200" dirty="0">
                <a:solidFill>
                  <a:schemeClr val="tx1"/>
                </a:solidFill>
                <a:latin typeface="Arial" charset="0"/>
                <a:ea typeface="+mn-ea"/>
                <a:cs typeface="+mn-cs"/>
              </a:rPr>
              <a:t>Primary Endpoint and PFS Results</a:t>
            </a:r>
          </a:p>
        </p:txBody>
      </p:sp>
      <p:pic>
        <p:nvPicPr>
          <p:cNvPr id="1026"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t="15591" b="12338"/>
          <a:stretch/>
        </p:blipFill>
        <p:spPr bwMode="auto">
          <a:xfrm>
            <a:off x="1048386" y="745331"/>
            <a:ext cx="6864349" cy="3657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extBox 2">
            <a:extLst>
              <a:ext uri="{FF2B5EF4-FFF2-40B4-BE49-F238E27FC236}">
                <a16:creationId xmlns:a16="http://schemas.microsoft.com/office/drawing/2014/main" id="{BA063216-30E9-CB9B-05FA-6B549E4ACACE}"/>
              </a:ext>
            </a:extLst>
          </p:cNvPr>
          <p:cNvSpPr txBox="1"/>
          <p:nvPr/>
        </p:nvSpPr>
        <p:spPr>
          <a:xfrm>
            <a:off x="3747517" y="4706058"/>
            <a:ext cx="1997406" cy="307777"/>
          </a:xfrm>
          <a:prstGeom prst="rect">
            <a:avLst/>
          </a:prstGeom>
          <a:noFill/>
        </p:spPr>
        <p:txBody>
          <a:bodyPr wrap="none" rtlCol="0">
            <a:spAutoFit/>
          </a:bodyPr>
          <a:lstStyle/>
          <a:p>
            <a:r>
              <a:rPr lang="en-US" sz="1400" dirty="0" err="1">
                <a:latin typeface="+mn-lt"/>
              </a:rPr>
              <a:t>Rugo</a:t>
            </a:r>
            <a:r>
              <a:rPr lang="en-US" sz="1400" dirty="0">
                <a:latin typeface="+mn-lt"/>
              </a:rPr>
              <a:t> et al ASCO 2020</a:t>
            </a:r>
          </a:p>
        </p:txBody>
      </p:sp>
    </p:spTree>
    <p:extLst>
      <p:ext uri="{BB962C8B-B14F-4D97-AF65-F5344CB8AC3E}">
        <p14:creationId xmlns:p14="http://schemas.microsoft.com/office/powerpoint/2010/main" val="3226490260"/>
      </p:ext>
    </p:extLst>
  </p:cSld>
  <p:clrMapOvr>
    <a:masterClrMapping/>
  </p:clrMapOvr>
  <p:transition spd="med"/>
</p:sld>
</file>

<file path=ppt/slides/slide7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0" y="-17821"/>
            <a:ext cx="9144000" cy="849925"/>
          </a:xfrm>
        </p:spPr>
        <p:txBody>
          <a:bodyPr/>
          <a:lstStyle/>
          <a:p>
            <a:r>
              <a:rPr lang="en-US" sz="3200" b="1" dirty="0">
                <a:latin typeface="Arial" charset="0"/>
                <a:ea typeface="+mn-ea"/>
                <a:cs typeface="+mn-cs"/>
              </a:rPr>
              <a:t>FAKTION: Phase 2 of AKT Inhibitor: </a:t>
            </a:r>
            <a:r>
              <a:rPr lang="en-US" sz="3200" b="1" dirty="0" err="1">
                <a:latin typeface="Arial" charset="0"/>
                <a:ea typeface="+mn-ea"/>
                <a:cs typeface="+mn-cs"/>
              </a:rPr>
              <a:t>Capivasertib</a:t>
            </a:r>
            <a:r>
              <a:rPr lang="en-US" sz="3200" b="1" dirty="0">
                <a:latin typeface="Arial" charset="0"/>
                <a:ea typeface="+mn-ea"/>
                <a:cs typeface="+mn-cs"/>
              </a:rPr>
              <a:t> </a:t>
            </a:r>
          </a:p>
        </p:txBody>
      </p:sp>
      <p:pic>
        <p:nvPicPr>
          <p:cNvPr id="1026"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t="16566" b="18878"/>
          <a:stretch/>
        </p:blipFill>
        <p:spPr bwMode="auto">
          <a:xfrm>
            <a:off x="1139825" y="1087784"/>
            <a:ext cx="6821448" cy="33234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extBox 2">
            <a:extLst>
              <a:ext uri="{FF2B5EF4-FFF2-40B4-BE49-F238E27FC236}">
                <a16:creationId xmlns:a16="http://schemas.microsoft.com/office/drawing/2014/main" id="{D13A3F07-DCA7-C6B3-5A27-40AEE5A443EC}"/>
              </a:ext>
            </a:extLst>
          </p:cNvPr>
          <p:cNvSpPr txBox="1"/>
          <p:nvPr/>
        </p:nvSpPr>
        <p:spPr>
          <a:xfrm>
            <a:off x="3387032" y="4706058"/>
            <a:ext cx="3199915" cy="307777"/>
          </a:xfrm>
          <a:prstGeom prst="rect">
            <a:avLst/>
          </a:prstGeom>
          <a:noFill/>
        </p:spPr>
        <p:txBody>
          <a:bodyPr wrap="none" rtlCol="0">
            <a:spAutoFit/>
          </a:bodyPr>
          <a:lstStyle/>
          <a:p>
            <a:r>
              <a:rPr lang="en-US" sz="1400" dirty="0">
                <a:latin typeface="+mn-lt"/>
              </a:rPr>
              <a:t>RH Jones et al Lancet Oncology 2020</a:t>
            </a:r>
          </a:p>
        </p:txBody>
      </p:sp>
    </p:spTree>
    <p:extLst>
      <p:ext uri="{BB962C8B-B14F-4D97-AF65-F5344CB8AC3E}">
        <p14:creationId xmlns:p14="http://schemas.microsoft.com/office/powerpoint/2010/main" val="988129983"/>
      </p:ext>
    </p:extLst>
  </p:cSld>
  <p:clrMapOvr>
    <a:masterClrMapping/>
  </p:clrMapOvr>
  <p:transition spd="med"/>
</p:sld>
</file>

<file path=ppt/slides/slide7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b="1" kern="1200" dirty="0">
                <a:solidFill>
                  <a:schemeClr val="tx1"/>
                </a:solidFill>
                <a:latin typeface="Arial" charset="0"/>
                <a:ea typeface="+mn-ea"/>
                <a:cs typeface="+mn-cs"/>
              </a:rPr>
              <a:t>FAKTION: PFS/OS (ITT population)</a:t>
            </a:r>
          </a:p>
        </p:txBody>
      </p:sp>
      <p:pic>
        <p:nvPicPr>
          <p:cNvPr id="1026"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t="16528" b="8198"/>
          <a:stretch/>
        </p:blipFill>
        <p:spPr bwMode="auto">
          <a:xfrm>
            <a:off x="91440" y="756427"/>
            <a:ext cx="4206240" cy="19899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extBox 2">
            <a:extLst>
              <a:ext uri="{FF2B5EF4-FFF2-40B4-BE49-F238E27FC236}">
                <a16:creationId xmlns:a16="http://schemas.microsoft.com/office/drawing/2014/main" id="{A4F28224-462A-04C2-A77A-115CC1FE1625}"/>
              </a:ext>
            </a:extLst>
          </p:cNvPr>
          <p:cNvSpPr txBox="1"/>
          <p:nvPr/>
        </p:nvSpPr>
        <p:spPr>
          <a:xfrm>
            <a:off x="3589255" y="4718863"/>
            <a:ext cx="2356479" cy="307777"/>
          </a:xfrm>
          <a:prstGeom prst="rect">
            <a:avLst/>
          </a:prstGeom>
          <a:noFill/>
        </p:spPr>
        <p:txBody>
          <a:bodyPr wrap="none" rtlCol="0">
            <a:spAutoFit/>
          </a:bodyPr>
          <a:lstStyle/>
          <a:p>
            <a:r>
              <a:rPr lang="en-US" sz="1400" dirty="0">
                <a:latin typeface="+mn-lt"/>
              </a:rPr>
              <a:t>RH Jones et al ASCO 2022</a:t>
            </a:r>
          </a:p>
        </p:txBody>
      </p:sp>
      <p:pic>
        <p:nvPicPr>
          <p:cNvPr id="4" name="Picture 2">
            <a:extLst>
              <a:ext uri="{FF2B5EF4-FFF2-40B4-BE49-F238E27FC236}">
                <a16:creationId xmlns:a16="http://schemas.microsoft.com/office/drawing/2014/main" id="{9D8BA8FB-1167-625A-0489-FE1312176AE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834" t="16004" r="3858" b="13574"/>
          <a:stretch/>
        </p:blipFill>
        <p:spPr bwMode="auto">
          <a:xfrm>
            <a:off x="3582178" y="1751395"/>
            <a:ext cx="5561822" cy="26102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extBox 4">
            <a:extLst>
              <a:ext uri="{FF2B5EF4-FFF2-40B4-BE49-F238E27FC236}">
                <a16:creationId xmlns:a16="http://schemas.microsoft.com/office/drawing/2014/main" id="{858FDE83-760B-34ED-8C73-B0E7533EE1AB}"/>
              </a:ext>
            </a:extLst>
          </p:cNvPr>
          <p:cNvSpPr txBox="1"/>
          <p:nvPr/>
        </p:nvSpPr>
        <p:spPr>
          <a:xfrm>
            <a:off x="2809702" y="1751395"/>
            <a:ext cx="1205345" cy="742423"/>
          </a:xfrm>
          <a:prstGeom prst="rect">
            <a:avLst/>
          </a:prstGeom>
          <a:solidFill>
            <a:schemeClr val="bg1"/>
          </a:solidFill>
        </p:spPr>
        <p:txBody>
          <a:bodyPr wrap="square" rtlCol="0">
            <a:spAutoFit/>
          </a:bodyPr>
          <a:lstStyle/>
          <a:p>
            <a:endParaRPr lang="en-US" dirty="0"/>
          </a:p>
        </p:txBody>
      </p:sp>
    </p:spTree>
    <p:extLst>
      <p:ext uri="{BB962C8B-B14F-4D97-AF65-F5344CB8AC3E}">
        <p14:creationId xmlns:p14="http://schemas.microsoft.com/office/powerpoint/2010/main" val="2838359159"/>
      </p:ext>
    </p:extLst>
  </p:cSld>
  <p:clrMapOvr>
    <a:masterClrMapping/>
  </p:clrMapOvr>
  <p:transition spd="med"/>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6166"/>
            <a:ext cx="9144000" cy="1006507"/>
          </a:xfrm>
        </p:spPr>
        <p:txBody>
          <a:bodyPr/>
          <a:lstStyle/>
          <a:p>
            <a:r>
              <a:rPr lang="en-US" sz="3200" b="1" kern="1200" dirty="0">
                <a:solidFill>
                  <a:schemeClr val="tx1"/>
                </a:solidFill>
                <a:latin typeface="Arial" charset="0"/>
                <a:ea typeface="+mn-ea"/>
                <a:cs typeface="+mn-cs"/>
              </a:rPr>
              <a:t>CAPItello-291: Randomized Phase 3 of </a:t>
            </a:r>
            <a:r>
              <a:rPr lang="en-US" sz="3200" b="1" kern="1200" dirty="0" err="1">
                <a:solidFill>
                  <a:schemeClr val="tx1"/>
                </a:solidFill>
                <a:latin typeface="Arial" charset="0"/>
                <a:ea typeface="+mn-ea"/>
                <a:cs typeface="+mn-cs"/>
              </a:rPr>
              <a:t>Fulvestrant</a:t>
            </a:r>
            <a:r>
              <a:rPr lang="en-US" sz="3200" b="1" kern="1200" dirty="0">
                <a:solidFill>
                  <a:schemeClr val="tx1"/>
                </a:solidFill>
                <a:latin typeface="Arial" charset="0"/>
                <a:ea typeface="+mn-ea"/>
                <a:cs typeface="+mn-cs"/>
              </a:rPr>
              <a:t> +/- </a:t>
            </a:r>
            <a:r>
              <a:rPr lang="en-US" sz="3200" b="1" kern="1200" dirty="0" err="1">
                <a:solidFill>
                  <a:schemeClr val="tx1"/>
                </a:solidFill>
                <a:latin typeface="Arial" charset="0"/>
                <a:ea typeface="+mn-ea"/>
                <a:cs typeface="+mn-cs"/>
              </a:rPr>
              <a:t>Capivasertib</a:t>
            </a:r>
            <a:r>
              <a:rPr lang="en-US" sz="3200" b="1" kern="1200" dirty="0">
                <a:solidFill>
                  <a:schemeClr val="tx1"/>
                </a:solidFill>
                <a:latin typeface="Arial" charset="0"/>
                <a:ea typeface="+mn-ea"/>
                <a:cs typeface="+mn-cs"/>
              </a:rPr>
              <a:t> </a:t>
            </a:r>
          </a:p>
        </p:txBody>
      </p:sp>
      <p:sp>
        <p:nvSpPr>
          <p:cNvPr id="3" name="TextBox 2">
            <a:extLst>
              <a:ext uri="{FF2B5EF4-FFF2-40B4-BE49-F238E27FC236}">
                <a16:creationId xmlns:a16="http://schemas.microsoft.com/office/drawing/2014/main" id="{A4F28224-462A-04C2-A77A-115CC1FE1625}"/>
              </a:ext>
            </a:extLst>
          </p:cNvPr>
          <p:cNvSpPr txBox="1"/>
          <p:nvPr/>
        </p:nvSpPr>
        <p:spPr>
          <a:xfrm>
            <a:off x="3305169" y="4682332"/>
            <a:ext cx="3533083" cy="307777"/>
          </a:xfrm>
          <a:prstGeom prst="rect">
            <a:avLst/>
          </a:prstGeom>
          <a:noFill/>
        </p:spPr>
        <p:txBody>
          <a:bodyPr wrap="none" rtlCol="0">
            <a:spAutoFit/>
          </a:bodyPr>
          <a:lstStyle/>
          <a:p>
            <a:r>
              <a:rPr lang="en-US" sz="1400" dirty="0">
                <a:latin typeface="+mn-lt"/>
              </a:rPr>
              <a:t>Turner et al SABCS 2022 and NEJM 2023</a:t>
            </a:r>
          </a:p>
        </p:txBody>
      </p:sp>
      <p:sp>
        <p:nvSpPr>
          <p:cNvPr id="5" name="TextBox 4">
            <a:extLst>
              <a:ext uri="{FF2B5EF4-FFF2-40B4-BE49-F238E27FC236}">
                <a16:creationId xmlns:a16="http://schemas.microsoft.com/office/drawing/2014/main" id="{858FDE83-760B-34ED-8C73-B0E7533EE1AB}"/>
              </a:ext>
            </a:extLst>
          </p:cNvPr>
          <p:cNvSpPr txBox="1"/>
          <p:nvPr/>
        </p:nvSpPr>
        <p:spPr>
          <a:xfrm>
            <a:off x="2809702" y="1751395"/>
            <a:ext cx="1205345" cy="742423"/>
          </a:xfrm>
          <a:prstGeom prst="rect">
            <a:avLst/>
          </a:prstGeom>
          <a:solidFill>
            <a:schemeClr val="bg1"/>
          </a:solidFill>
        </p:spPr>
        <p:txBody>
          <a:bodyPr wrap="square" rtlCol="0">
            <a:spAutoFit/>
          </a:bodyPr>
          <a:lstStyle/>
          <a:p>
            <a:endParaRPr lang="en-US" dirty="0"/>
          </a:p>
        </p:txBody>
      </p:sp>
      <p:pic>
        <p:nvPicPr>
          <p:cNvPr id="6" name="Picture 5">
            <a:extLst>
              <a:ext uri="{FF2B5EF4-FFF2-40B4-BE49-F238E27FC236}">
                <a16:creationId xmlns:a16="http://schemas.microsoft.com/office/drawing/2014/main" id="{21B339C4-F112-F36A-D8DB-EFE874561488}"/>
              </a:ext>
            </a:extLst>
          </p:cNvPr>
          <p:cNvPicPr>
            <a:picLocks noChangeAspect="1"/>
          </p:cNvPicPr>
          <p:nvPr/>
        </p:nvPicPr>
        <p:blipFill rotWithShape="1">
          <a:blip r:embed="rId2"/>
          <a:srcRect t="15420" b="3162"/>
          <a:stretch/>
        </p:blipFill>
        <p:spPr>
          <a:xfrm>
            <a:off x="503853" y="1012673"/>
            <a:ext cx="8136294" cy="3340359"/>
          </a:xfrm>
          <a:prstGeom prst="rect">
            <a:avLst/>
          </a:prstGeom>
        </p:spPr>
      </p:pic>
    </p:spTree>
    <p:extLst>
      <p:ext uri="{BB962C8B-B14F-4D97-AF65-F5344CB8AC3E}">
        <p14:creationId xmlns:p14="http://schemas.microsoft.com/office/powerpoint/2010/main" val="4190856772"/>
      </p:ext>
    </p:extLst>
  </p:cSld>
  <p:clrMapOvr>
    <a:masterClrMapping/>
  </p:clrMapOvr>
  <p:transition spd="med"/>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96142E-0B4F-A36C-0C81-7D7E6C459611}"/>
              </a:ext>
            </a:extLst>
          </p:cNvPr>
          <p:cNvSpPr>
            <a:spLocks noGrp="1"/>
          </p:cNvSpPr>
          <p:nvPr>
            <p:ph type="title"/>
          </p:nvPr>
        </p:nvSpPr>
        <p:spPr>
          <a:xfrm>
            <a:off x="0" y="127465"/>
            <a:ext cx="9144000" cy="507018"/>
          </a:xfrm>
        </p:spPr>
        <p:txBody>
          <a:bodyPr/>
          <a:lstStyle/>
          <a:p>
            <a:r>
              <a:rPr lang="en-US" sz="3200" b="1" dirty="0">
                <a:solidFill>
                  <a:schemeClr val="tx1"/>
                </a:solidFill>
              </a:rPr>
              <a:t>Patient and Tumor Characteristics</a:t>
            </a:r>
          </a:p>
        </p:txBody>
      </p:sp>
      <p:pic>
        <p:nvPicPr>
          <p:cNvPr id="4" name="Picture 3">
            <a:extLst>
              <a:ext uri="{FF2B5EF4-FFF2-40B4-BE49-F238E27FC236}">
                <a16:creationId xmlns:a16="http://schemas.microsoft.com/office/drawing/2014/main" id="{0A23E1ED-D595-3D11-52A6-7F01E17E0B17}"/>
              </a:ext>
            </a:extLst>
          </p:cNvPr>
          <p:cNvPicPr>
            <a:picLocks noChangeAspect="1"/>
          </p:cNvPicPr>
          <p:nvPr/>
        </p:nvPicPr>
        <p:blipFill rotWithShape="1">
          <a:blip r:embed="rId2"/>
          <a:srcRect t="12162" b="7932"/>
          <a:stretch/>
        </p:blipFill>
        <p:spPr>
          <a:xfrm>
            <a:off x="0" y="655246"/>
            <a:ext cx="7415179" cy="3321697"/>
          </a:xfrm>
          <a:prstGeom prst="rect">
            <a:avLst/>
          </a:prstGeom>
        </p:spPr>
      </p:pic>
      <p:pic>
        <p:nvPicPr>
          <p:cNvPr id="6" name="Picture 5">
            <a:extLst>
              <a:ext uri="{FF2B5EF4-FFF2-40B4-BE49-F238E27FC236}">
                <a16:creationId xmlns:a16="http://schemas.microsoft.com/office/drawing/2014/main" id="{8A0F8A7E-4AB3-9E12-36B7-1C2680AC1417}"/>
              </a:ext>
            </a:extLst>
          </p:cNvPr>
          <p:cNvPicPr>
            <a:picLocks noChangeAspect="1"/>
          </p:cNvPicPr>
          <p:nvPr/>
        </p:nvPicPr>
        <p:blipFill rotWithShape="1">
          <a:blip r:embed="rId3"/>
          <a:srcRect t="23236"/>
          <a:stretch/>
        </p:blipFill>
        <p:spPr>
          <a:xfrm>
            <a:off x="99012" y="3976943"/>
            <a:ext cx="7206857" cy="1171320"/>
          </a:xfrm>
          <a:prstGeom prst="rect">
            <a:avLst/>
          </a:prstGeom>
        </p:spPr>
      </p:pic>
      <p:sp>
        <p:nvSpPr>
          <p:cNvPr id="3" name="Rectangle 2">
            <a:extLst>
              <a:ext uri="{FF2B5EF4-FFF2-40B4-BE49-F238E27FC236}">
                <a16:creationId xmlns:a16="http://schemas.microsoft.com/office/drawing/2014/main" id="{404E32D5-0109-08F2-254A-B1B5D591BC13}"/>
              </a:ext>
            </a:extLst>
          </p:cNvPr>
          <p:cNvSpPr/>
          <p:nvPr/>
        </p:nvSpPr>
        <p:spPr bwMode="auto">
          <a:xfrm>
            <a:off x="0" y="3675887"/>
            <a:ext cx="7493565" cy="321819"/>
          </a:xfrm>
          <a:prstGeom prst="rect">
            <a:avLst/>
          </a:prstGeom>
          <a:noFill/>
          <a:ln w="1905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
        <p:nvSpPr>
          <p:cNvPr id="5" name="Rectangle 4">
            <a:extLst>
              <a:ext uri="{FF2B5EF4-FFF2-40B4-BE49-F238E27FC236}">
                <a16:creationId xmlns:a16="http://schemas.microsoft.com/office/drawing/2014/main" id="{69C607AC-0EB3-82D9-F768-00CA8B2BEF8A}"/>
              </a:ext>
            </a:extLst>
          </p:cNvPr>
          <p:cNvSpPr/>
          <p:nvPr/>
        </p:nvSpPr>
        <p:spPr bwMode="auto">
          <a:xfrm>
            <a:off x="-1" y="4380898"/>
            <a:ext cx="7493565" cy="321819"/>
          </a:xfrm>
          <a:prstGeom prst="rect">
            <a:avLst/>
          </a:prstGeom>
          <a:noFill/>
          <a:ln w="1905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Tree>
    <p:extLst>
      <p:ext uri="{BB962C8B-B14F-4D97-AF65-F5344CB8AC3E}">
        <p14:creationId xmlns:p14="http://schemas.microsoft.com/office/powerpoint/2010/main" val="4255489301"/>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0BBBED-3E5B-5F66-9415-E694FFAC7FDB}"/>
              </a:ext>
            </a:extLst>
          </p:cNvPr>
          <p:cNvSpPr>
            <a:spLocks noGrp="1"/>
          </p:cNvSpPr>
          <p:nvPr>
            <p:ph type="title"/>
          </p:nvPr>
        </p:nvSpPr>
        <p:spPr/>
        <p:txBody>
          <a:bodyPr/>
          <a:lstStyle/>
          <a:p>
            <a:endParaRPr lang="en-US"/>
          </a:p>
        </p:txBody>
      </p:sp>
      <p:pic>
        <p:nvPicPr>
          <p:cNvPr id="4" name="Picture 3">
            <a:extLst>
              <a:ext uri="{FF2B5EF4-FFF2-40B4-BE49-F238E27FC236}">
                <a16:creationId xmlns:a16="http://schemas.microsoft.com/office/drawing/2014/main" id="{3C554913-B758-2D8D-850B-8CB4FC9EC479}"/>
              </a:ext>
            </a:extLst>
          </p:cNvPr>
          <p:cNvPicPr>
            <a:picLocks noChangeAspect="1"/>
          </p:cNvPicPr>
          <p:nvPr/>
        </p:nvPicPr>
        <p:blipFill rotWithShape="1">
          <a:blip r:embed="rId2"/>
          <a:srcRect t="3204"/>
          <a:stretch/>
        </p:blipFill>
        <p:spPr>
          <a:xfrm>
            <a:off x="356991" y="31347"/>
            <a:ext cx="8605381" cy="4328111"/>
          </a:xfrm>
          <a:prstGeom prst="rect">
            <a:avLst/>
          </a:prstGeom>
        </p:spPr>
      </p:pic>
    </p:spTree>
    <p:extLst>
      <p:ext uri="{BB962C8B-B14F-4D97-AF65-F5344CB8AC3E}">
        <p14:creationId xmlns:p14="http://schemas.microsoft.com/office/powerpoint/2010/main" val="2524822269"/>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D1BEA453-AA6A-E118-6E20-2DF2EEC651D4}"/>
              </a:ext>
            </a:extLst>
          </p:cNvPr>
          <p:cNvPicPr>
            <a:picLocks noGrp="1" noChangeAspect="1"/>
          </p:cNvPicPr>
          <p:nvPr>
            <p:ph idx="1"/>
          </p:nvPr>
        </p:nvPicPr>
        <p:blipFill>
          <a:blip r:embed="rId2"/>
          <a:stretch>
            <a:fillRect/>
          </a:stretch>
        </p:blipFill>
        <p:spPr>
          <a:xfrm>
            <a:off x="438411" y="112734"/>
            <a:ext cx="8342334" cy="4174659"/>
          </a:xfrm>
        </p:spPr>
      </p:pic>
    </p:spTree>
    <p:extLst>
      <p:ext uri="{BB962C8B-B14F-4D97-AF65-F5344CB8AC3E}">
        <p14:creationId xmlns:p14="http://schemas.microsoft.com/office/powerpoint/2010/main" val="92857555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4D563A-9206-861E-AEBE-B9E25419DECB}"/>
              </a:ext>
            </a:extLst>
          </p:cNvPr>
          <p:cNvSpPr>
            <a:spLocks noGrp="1"/>
          </p:cNvSpPr>
          <p:nvPr>
            <p:ph type="title"/>
          </p:nvPr>
        </p:nvSpPr>
        <p:spPr/>
        <p:txBody>
          <a:bodyPr/>
          <a:lstStyle/>
          <a:p>
            <a:endParaRPr lang="en-US"/>
          </a:p>
        </p:txBody>
      </p:sp>
      <p:pic>
        <p:nvPicPr>
          <p:cNvPr id="4" name="Picture 3">
            <a:extLst>
              <a:ext uri="{FF2B5EF4-FFF2-40B4-BE49-F238E27FC236}">
                <a16:creationId xmlns:a16="http://schemas.microsoft.com/office/drawing/2014/main" id="{E7CD57B5-1AEC-EF96-E437-2D4EC0ED6BCF}"/>
              </a:ext>
            </a:extLst>
          </p:cNvPr>
          <p:cNvPicPr>
            <a:picLocks noChangeAspect="1"/>
          </p:cNvPicPr>
          <p:nvPr/>
        </p:nvPicPr>
        <p:blipFill>
          <a:blip r:embed="rId2"/>
          <a:stretch>
            <a:fillRect/>
          </a:stretch>
        </p:blipFill>
        <p:spPr>
          <a:xfrm>
            <a:off x="368559" y="0"/>
            <a:ext cx="8406882" cy="4563336"/>
          </a:xfrm>
          <a:prstGeom prst="rect">
            <a:avLst/>
          </a:prstGeom>
        </p:spPr>
      </p:pic>
    </p:spTree>
    <p:extLst>
      <p:ext uri="{BB962C8B-B14F-4D97-AF65-F5344CB8AC3E}">
        <p14:creationId xmlns:p14="http://schemas.microsoft.com/office/powerpoint/2010/main" val="1586560606"/>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73BB96-06F6-84B7-61A6-F008D7A1CE5F}"/>
              </a:ext>
            </a:extLst>
          </p:cNvPr>
          <p:cNvSpPr>
            <a:spLocks noGrp="1"/>
          </p:cNvSpPr>
          <p:nvPr>
            <p:ph type="title"/>
          </p:nvPr>
        </p:nvSpPr>
        <p:spPr>
          <a:xfrm>
            <a:off x="-186431" y="1459114"/>
            <a:ext cx="9144000" cy="1006507"/>
          </a:xfrm>
        </p:spPr>
        <p:txBody>
          <a:bodyPr/>
          <a:lstStyle/>
          <a:p>
            <a:r>
              <a:rPr lang="en-US" b="1" dirty="0"/>
              <a:t>HER2 and other pathways</a:t>
            </a:r>
          </a:p>
        </p:txBody>
      </p:sp>
    </p:spTree>
    <p:extLst>
      <p:ext uri="{BB962C8B-B14F-4D97-AF65-F5344CB8AC3E}">
        <p14:creationId xmlns:p14="http://schemas.microsoft.com/office/powerpoint/2010/main" val="3624056741"/>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D9ADDD7-E87F-5DCD-D274-2213359E6C7B}"/>
              </a:ext>
            </a:extLst>
          </p:cNvPr>
          <p:cNvSpPr>
            <a:spLocks noGrp="1"/>
          </p:cNvSpPr>
          <p:nvPr>
            <p:ph idx="1"/>
          </p:nvPr>
        </p:nvSpPr>
        <p:spPr>
          <a:xfrm>
            <a:off x="339131" y="1274298"/>
            <a:ext cx="3606063" cy="3147278"/>
          </a:xfrm>
        </p:spPr>
        <p:txBody>
          <a:bodyPr/>
          <a:lstStyle/>
          <a:p>
            <a:r>
              <a:rPr lang="en-US" dirty="0"/>
              <a:t>HER2 mutations</a:t>
            </a:r>
          </a:p>
          <a:p>
            <a:pPr lvl="1"/>
            <a:r>
              <a:rPr lang="en-US" dirty="0"/>
              <a:t>2-4% all MBC</a:t>
            </a:r>
          </a:p>
          <a:p>
            <a:pPr lvl="1"/>
            <a:r>
              <a:rPr lang="en-US" dirty="0"/>
              <a:t>8% HR+ MBC</a:t>
            </a:r>
          </a:p>
          <a:p>
            <a:pPr lvl="1"/>
            <a:r>
              <a:rPr lang="en-US" dirty="0"/>
              <a:t>Enriched in lobular  </a:t>
            </a:r>
          </a:p>
          <a:p>
            <a:r>
              <a:rPr lang="en-US" dirty="0"/>
              <a:t>Neratinib: oral, irreversible, pan-HER tyrosine kinase inhibitor </a:t>
            </a:r>
          </a:p>
        </p:txBody>
      </p:sp>
      <p:sp>
        <p:nvSpPr>
          <p:cNvPr id="3" name="Title 1">
            <a:extLst>
              <a:ext uri="{FF2B5EF4-FFF2-40B4-BE49-F238E27FC236}">
                <a16:creationId xmlns:a16="http://schemas.microsoft.com/office/drawing/2014/main" id="{B7C508A3-E86E-65B4-9702-F849EE5693BF}"/>
              </a:ext>
            </a:extLst>
          </p:cNvPr>
          <p:cNvSpPr txBox="1">
            <a:spLocks/>
          </p:cNvSpPr>
          <p:nvPr/>
        </p:nvSpPr>
        <p:spPr>
          <a:xfrm>
            <a:off x="0" y="127464"/>
            <a:ext cx="9144000" cy="1006507"/>
          </a:xfrm>
          <a:prstGeom prst="rect">
            <a:avLst/>
          </a:prstGeom>
        </p:spPr>
        <p:txBody>
          <a:bodyPr/>
          <a:lstStyle>
            <a:lvl1pPr algn="ctr" rtl="0" eaLnBrk="1" fontAlgn="base" hangingPunct="1">
              <a:spcBef>
                <a:spcPct val="0"/>
              </a:spcBef>
              <a:spcAft>
                <a:spcPct val="0"/>
              </a:spcAft>
              <a:defRPr sz="3600" i="0">
                <a:solidFill>
                  <a:schemeClr val="bg1"/>
                </a:solidFill>
                <a:latin typeface="+mn-lt"/>
                <a:ea typeface="+mj-ea"/>
                <a:cs typeface="+mj-cs"/>
              </a:defRPr>
            </a:lvl1pPr>
            <a:lvl2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2pPr>
            <a:lvl3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3pPr>
            <a:lvl4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4pPr>
            <a:lvl5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5pPr>
            <a:lvl6pPr marL="4572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6pPr>
            <a:lvl7pPr marL="9144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7pPr>
            <a:lvl8pPr marL="13716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8pPr>
            <a:lvl9pPr marL="18288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9pPr>
          </a:lstStyle>
          <a:p>
            <a:r>
              <a:rPr lang="en-US" sz="3200" b="1" kern="0" spc="-1" dirty="0">
                <a:solidFill>
                  <a:schemeClr val="tx1"/>
                </a:solidFill>
                <a:latin typeface="Arial"/>
              </a:rPr>
              <a:t>SUMMIT Basket Study: HER2 mutant HR+ MBC Neratinib + </a:t>
            </a:r>
            <a:r>
              <a:rPr lang="en-US" sz="3200" b="1" kern="0" spc="-1" dirty="0" err="1">
                <a:solidFill>
                  <a:schemeClr val="tx1"/>
                </a:solidFill>
                <a:latin typeface="Arial"/>
              </a:rPr>
              <a:t>Fulvestrant</a:t>
            </a:r>
            <a:r>
              <a:rPr lang="en-US" sz="3200" b="1" kern="0" spc="-1" dirty="0">
                <a:solidFill>
                  <a:schemeClr val="tx1"/>
                </a:solidFill>
                <a:latin typeface="Arial"/>
              </a:rPr>
              <a:t> + Trastuzumab</a:t>
            </a:r>
            <a:endParaRPr lang="en-US" kern="0" dirty="0"/>
          </a:p>
        </p:txBody>
      </p:sp>
      <p:pic>
        <p:nvPicPr>
          <p:cNvPr id="5" name="Picture 4">
            <a:extLst>
              <a:ext uri="{FF2B5EF4-FFF2-40B4-BE49-F238E27FC236}">
                <a16:creationId xmlns:a16="http://schemas.microsoft.com/office/drawing/2014/main" id="{6B2B976D-85ED-A1F6-5ADA-07ECFA89785A}"/>
              </a:ext>
            </a:extLst>
          </p:cNvPr>
          <p:cNvPicPr>
            <a:picLocks noChangeAspect="1"/>
          </p:cNvPicPr>
          <p:nvPr/>
        </p:nvPicPr>
        <p:blipFill rotWithShape="1">
          <a:blip r:embed="rId2"/>
          <a:srcRect l="19705"/>
          <a:stretch/>
        </p:blipFill>
        <p:spPr>
          <a:xfrm>
            <a:off x="3856703" y="1634252"/>
            <a:ext cx="5217520" cy="2239713"/>
          </a:xfrm>
          <a:prstGeom prst="rect">
            <a:avLst/>
          </a:prstGeom>
        </p:spPr>
      </p:pic>
    </p:spTree>
    <p:extLst>
      <p:ext uri="{BB962C8B-B14F-4D97-AF65-F5344CB8AC3E}">
        <p14:creationId xmlns:p14="http://schemas.microsoft.com/office/powerpoint/2010/main" val="352110515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73BB96-06F6-84B7-61A6-F008D7A1CE5F}"/>
              </a:ext>
            </a:extLst>
          </p:cNvPr>
          <p:cNvSpPr>
            <a:spLocks noGrp="1"/>
          </p:cNvSpPr>
          <p:nvPr>
            <p:ph type="title"/>
          </p:nvPr>
        </p:nvSpPr>
        <p:spPr>
          <a:xfrm>
            <a:off x="0" y="274370"/>
            <a:ext cx="9144000" cy="1006507"/>
          </a:xfrm>
        </p:spPr>
        <p:txBody>
          <a:bodyPr/>
          <a:lstStyle/>
          <a:p>
            <a:r>
              <a:rPr lang="en-US" b="1" dirty="0"/>
              <a:t>Program Chair</a:t>
            </a:r>
          </a:p>
        </p:txBody>
      </p:sp>
      <p:sp>
        <p:nvSpPr>
          <p:cNvPr id="4" name="TextBox 3">
            <a:extLst>
              <a:ext uri="{FF2B5EF4-FFF2-40B4-BE49-F238E27FC236}">
                <a16:creationId xmlns:a16="http://schemas.microsoft.com/office/drawing/2014/main" id="{21DC2327-9A42-E4D1-7ED8-AAD234B217EA}"/>
              </a:ext>
            </a:extLst>
          </p:cNvPr>
          <p:cNvSpPr txBox="1"/>
          <p:nvPr/>
        </p:nvSpPr>
        <p:spPr>
          <a:xfrm>
            <a:off x="-699714" y="1113184"/>
            <a:ext cx="10772212" cy="3293209"/>
          </a:xfrm>
          <a:prstGeom prst="rect">
            <a:avLst/>
          </a:prstGeom>
          <a:noFill/>
        </p:spPr>
        <p:txBody>
          <a:bodyPr wrap="square" rtlCol="0">
            <a:spAutoFit/>
          </a:bodyPr>
          <a:lstStyle/>
          <a:p>
            <a:pPr algn="ctr"/>
            <a:r>
              <a:rPr lang="en-US" sz="2800" dirty="0"/>
              <a:t>Kari </a:t>
            </a:r>
            <a:r>
              <a:rPr lang="en-US" sz="2800" dirty="0" err="1"/>
              <a:t>Wisinski</a:t>
            </a:r>
            <a:r>
              <a:rPr lang="en-US" sz="2800" dirty="0"/>
              <a:t>, MD</a:t>
            </a:r>
          </a:p>
          <a:p>
            <a:pPr algn="ctr"/>
            <a:endParaRPr lang="en-US" sz="2000" dirty="0"/>
          </a:p>
          <a:p>
            <a:pPr algn="ctr"/>
            <a:r>
              <a:rPr lang="en-US" sz="2000" dirty="0"/>
              <a:t>Professor of Hematology and Oncology</a:t>
            </a:r>
          </a:p>
          <a:p>
            <a:pPr algn="ctr"/>
            <a:r>
              <a:rPr lang="en-US" sz="2000" dirty="0"/>
              <a:t>Chief of Division of Hematology, Medical Oncology, Palliative Care</a:t>
            </a:r>
          </a:p>
          <a:p>
            <a:pPr algn="ctr"/>
            <a:r>
              <a:rPr lang="en-US" sz="2000" dirty="0"/>
              <a:t>Associate Director of Clinical Research</a:t>
            </a:r>
          </a:p>
          <a:p>
            <a:pPr algn="ctr"/>
            <a:r>
              <a:rPr lang="en-US" sz="2000" dirty="0"/>
              <a:t>Co-Lead of Breast Cancer Disease Oriented Team</a:t>
            </a:r>
          </a:p>
          <a:p>
            <a:pPr algn="ctr"/>
            <a:r>
              <a:rPr lang="en-US" sz="2000" dirty="0"/>
              <a:t>Deputy Editor of </a:t>
            </a:r>
            <a:r>
              <a:rPr lang="en-US" sz="2000" i="1" dirty="0"/>
              <a:t>Clinical Breast Cancer</a:t>
            </a:r>
          </a:p>
          <a:p>
            <a:pPr algn="ctr"/>
            <a:endParaRPr lang="en-US" sz="2000" i="1" dirty="0"/>
          </a:p>
          <a:p>
            <a:pPr algn="ctr"/>
            <a:r>
              <a:rPr lang="en-US" sz="2000" dirty="0"/>
              <a:t>UW Carbone Cancer Center</a:t>
            </a:r>
          </a:p>
          <a:p>
            <a:pPr algn="ctr"/>
            <a:endParaRPr lang="en-US" sz="2000" i="1" dirty="0"/>
          </a:p>
        </p:txBody>
      </p:sp>
    </p:spTree>
    <p:extLst>
      <p:ext uri="{BB962C8B-B14F-4D97-AF65-F5344CB8AC3E}">
        <p14:creationId xmlns:p14="http://schemas.microsoft.com/office/powerpoint/2010/main" val="2065792551"/>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312197-7DC6-2D10-E391-EA4755A22775}"/>
              </a:ext>
            </a:extLst>
          </p:cNvPr>
          <p:cNvSpPr>
            <a:spLocks noGrp="1"/>
          </p:cNvSpPr>
          <p:nvPr>
            <p:ph type="title"/>
          </p:nvPr>
        </p:nvSpPr>
        <p:spPr>
          <a:xfrm>
            <a:off x="0" y="127464"/>
            <a:ext cx="9144000" cy="646259"/>
          </a:xfrm>
        </p:spPr>
        <p:txBody>
          <a:bodyPr/>
          <a:lstStyle/>
          <a:p>
            <a:r>
              <a:rPr lang="en-US" sz="3200" b="1" dirty="0">
                <a:effectLst/>
                <a:latin typeface="Arial" panose="020B0604020202020204" pitchFamily="34" charset="0"/>
                <a:ea typeface="Calibri" panose="020F0502020204030204" pitchFamily="34" charset="0"/>
              </a:rPr>
              <a:t>Efficacy in Patients Treated with N+F+T</a:t>
            </a:r>
            <a:endParaRPr lang="en-US" sz="3200" b="1" dirty="0"/>
          </a:p>
        </p:txBody>
      </p:sp>
      <p:pic>
        <p:nvPicPr>
          <p:cNvPr id="4" name="Picture 3">
            <a:extLst>
              <a:ext uri="{FF2B5EF4-FFF2-40B4-BE49-F238E27FC236}">
                <a16:creationId xmlns:a16="http://schemas.microsoft.com/office/drawing/2014/main" id="{1220176A-8C69-9F75-BA58-B88DC43D347F}"/>
              </a:ext>
            </a:extLst>
          </p:cNvPr>
          <p:cNvPicPr>
            <a:picLocks noChangeAspect="1"/>
          </p:cNvPicPr>
          <p:nvPr/>
        </p:nvPicPr>
        <p:blipFill rotWithShape="1">
          <a:blip r:embed="rId2"/>
          <a:srcRect b="9866"/>
          <a:stretch/>
        </p:blipFill>
        <p:spPr>
          <a:xfrm>
            <a:off x="622356" y="641444"/>
            <a:ext cx="7744998" cy="3717890"/>
          </a:xfrm>
          <a:prstGeom prst="rect">
            <a:avLst/>
          </a:prstGeom>
        </p:spPr>
      </p:pic>
      <p:sp>
        <p:nvSpPr>
          <p:cNvPr id="3" name="Rectangle 2">
            <a:extLst>
              <a:ext uri="{FF2B5EF4-FFF2-40B4-BE49-F238E27FC236}">
                <a16:creationId xmlns:a16="http://schemas.microsoft.com/office/drawing/2014/main" id="{C127E17C-7659-E425-D24B-E17CF239AB35}"/>
              </a:ext>
            </a:extLst>
          </p:cNvPr>
          <p:cNvSpPr/>
          <p:nvPr/>
        </p:nvSpPr>
        <p:spPr bwMode="auto">
          <a:xfrm>
            <a:off x="622356" y="1581911"/>
            <a:ext cx="7579812" cy="321819"/>
          </a:xfrm>
          <a:prstGeom prst="rect">
            <a:avLst/>
          </a:prstGeom>
          <a:noFill/>
          <a:ln w="1905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
        <p:nvSpPr>
          <p:cNvPr id="5" name="Rectangle 4">
            <a:extLst>
              <a:ext uri="{FF2B5EF4-FFF2-40B4-BE49-F238E27FC236}">
                <a16:creationId xmlns:a16="http://schemas.microsoft.com/office/drawing/2014/main" id="{A202B1DF-4B64-DE86-ECEB-865C247D92EF}"/>
              </a:ext>
            </a:extLst>
          </p:cNvPr>
          <p:cNvSpPr/>
          <p:nvPr/>
        </p:nvSpPr>
        <p:spPr bwMode="auto">
          <a:xfrm>
            <a:off x="708603" y="3913632"/>
            <a:ext cx="7493565" cy="247488"/>
          </a:xfrm>
          <a:prstGeom prst="rect">
            <a:avLst/>
          </a:prstGeom>
          <a:noFill/>
          <a:ln w="1905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Tree>
    <p:extLst>
      <p:ext uri="{BB962C8B-B14F-4D97-AF65-F5344CB8AC3E}">
        <p14:creationId xmlns:p14="http://schemas.microsoft.com/office/powerpoint/2010/main" val="1107145962"/>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590FFC-050C-62DD-9D91-11981425FBD9}"/>
              </a:ext>
            </a:extLst>
          </p:cNvPr>
          <p:cNvSpPr>
            <a:spLocks noGrp="1"/>
          </p:cNvSpPr>
          <p:nvPr>
            <p:ph type="title"/>
          </p:nvPr>
        </p:nvSpPr>
        <p:spPr/>
        <p:txBody>
          <a:bodyPr/>
          <a:lstStyle/>
          <a:p>
            <a:r>
              <a:rPr lang="en-US" sz="3200" b="1" strike="noStrike" spc="-1" dirty="0">
                <a:solidFill>
                  <a:schemeClr val="tx1"/>
                </a:solidFill>
                <a:latin typeface="Arial"/>
              </a:rPr>
              <a:t>Best change in tumor from baseline</a:t>
            </a:r>
            <a:r>
              <a:rPr lang="en-US" sz="3200" b="0" strike="noStrike" spc="-1" dirty="0">
                <a:latin typeface="Arial"/>
              </a:rPr>
              <a:t> </a:t>
            </a:r>
            <a:r>
              <a:rPr lang="en-US" sz="3600" b="0" strike="noStrike" spc="-1" dirty="0">
                <a:latin typeface="Arial"/>
              </a:rPr>
              <a:t>corresponding histology and central biomarker analysis</a:t>
            </a:r>
            <a:endParaRPr lang="en-US" dirty="0"/>
          </a:p>
        </p:txBody>
      </p:sp>
      <p:pic>
        <p:nvPicPr>
          <p:cNvPr id="4" name="Picture 3">
            <a:extLst>
              <a:ext uri="{FF2B5EF4-FFF2-40B4-BE49-F238E27FC236}">
                <a16:creationId xmlns:a16="http://schemas.microsoft.com/office/drawing/2014/main" id="{D09FEE7E-9129-D7B8-0494-D04CCE3ED22F}"/>
              </a:ext>
            </a:extLst>
          </p:cNvPr>
          <p:cNvPicPr>
            <a:picLocks noChangeAspect="1"/>
          </p:cNvPicPr>
          <p:nvPr/>
        </p:nvPicPr>
        <p:blipFill>
          <a:blip r:embed="rId2"/>
          <a:stretch>
            <a:fillRect/>
          </a:stretch>
        </p:blipFill>
        <p:spPr>
          <a:xfrm>
            <a:off x="900112" y="654843"/>
            <a:ext cx="7343775" cy="3838575"/>
          </a:xfrm>
          <a:prstGeom prst="rect">
            <a:avLst/>
          </a:prstGeom>
        </p:spPr>
      </p:pic>
      <p:sp>
        <p:nvSpPr>
          <p:cNvPr id="5" name="TextBox 4">
            <a:extLst>
              <a:ext uri="{FF2B5EF4-FFF2-40B4-BE49-F238E27FC236}">
                <a16:creationId xmlns:a16="http://schemas.microsoft.com/office/drawing/2014/main" id="{1C873D70-5FDD-80A6-9AF2-E649B466EFA4}"/>
              </a:ext>
            </a:extLst>
          </p:cNvPr>
          <p:cNvSpPr txBox="1"/>
          <p:nvPr/>
        </p:nvSpPr>
        <p:spPr>
          <a:xfrm>
            <a:off x="3456633" y="4493419"/>
            <a:ext cx="2991268" cy="307777"/>
          </a:xfrm>
          <a:prstGeom prst="rect">
            <a:avLst/>
          </a:prstGeom>
          <a:noFill/>
        </p:spPr>
        <p:txBody>
          <a:bodyPr wrap="none" rtlCol="0">
            <a:spAutoFit/>
          </a:bodyPr>
          <a:lstStyle/>
          <a:p>
            <a:r>
              <a:rPr lang="en-US" sz="1400" dirty="0" err="1"/>
              <a:t>Jhaveri</a:t>
            </a:r>
            <a:r>
              <a:rPr lang="en-US" sz="1400" dirty="0"/>
              <a:t> et al Annals Oncology 2023</a:t>
            </a:r>
          </a:p>
        </p:txBody>
      </p:sp>
    </p:spTree>
    <p:extLst>
      <p:ext uri="{BB962C8B-B14F-4D97-AF65-F5344CB8AC3E}">
        <p14:creationId xmlns:p14="http://schemas.microsoft.com/office/powerpoint/2010/main" val="23794161"/>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114B5A9-8753-F4F4-1F17-8A48C1B0E53D}"/>
              </a:ext>
            </a:extLst>
          </p:cNvPr>
          <p:cNvSpPr/>
          <p:nvPr/>
        </p:nvSpPr>
        <p:spPr>
          <a:xfrm>
            <a:off x="6364706" y="4626991"/>
            <a:ext cx="2719827" cy="445143"/>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4" name="Picture 3" descr="Diagram&#10;&#10;Description automatically generated">
            <a:extLst>
              <a:ext uri="{FF2B5EF4-FFF2-40B4-BE49-F238E27FC236}">
                <a16:creationId xmlns:a16="http://schemas.microsoft.com/office/drawing/2014/main" id="{67C6AC03-5A54-43FB-41CC-A2A52F4901B7}"/>
              </a:ext>
            </a:extLst>
          </p:cNvPr>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61884" y="842139"/>
            <a:ext cx="7948820" cy="3770969"/>
          </a:xfrm>
          <a:prstGeom prst="rect">
            <a:avLst/>
          </a:prstGeom>
          <a:noFill/>
          <a:ln>
            <a:noFill/>
          </a:ln>
        </p:spPr>
      </p:pic>
      <p:sp>
        <p:nvSpPr>
          <p:cNvPr id="3" name="Title 1">
            <a:extLst>
              <a:ext uri="{FF2B5EF4-FFF2-40B4-BE49-F238E27FC236}">
                <a16:creationId xmlns:a16="http://schemas.microsoft.com/office/drawing/2014/main" id="{720741EC-DCCE-BB68-8082-D16DDE4A0ED1}"/>
              </a:ext>
            </a:extLst>
          </p:cNvPr>
          <p:cNvSpPr txBox="1">
            <a:spLocks/>
          </p:cNvSpPr>
          <p:nvPr/>
        </p:nvSpPr>
        <p:spPr>
          <a:xfrm>
            <a:off x="974570" y="115276"/>
            <a:ext cx="7966298" cy="839758"/>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4400" kern="1200">
                <a:solidFill>
                  <a:schemeClr val="accent1"/>
                </a:solidFill>
                <a:latin typeface="Arial" panose="020B0604020202020204" pitchFamily="34" charset="0"/>
                <a:ea typeface="+mj-ea"/>
                <a:cs typeface="Arial" panose="020B0604020202020204" pitchFamily="34" charset="0"/>
              </a:defRPr>
            </a:lvl1pPr>
          </a:lstStyle>
          <a:p>
            <a:pPr algn="ctr"/>
            <a:r>
              <a:rPr lang="en-US" sz="2700" b="1" dirty="0">
                <a:solidFill>
                  <a:srgbClr val="000000"/>
                </a:solidFill>
                <a:latin typeface="Calibri" panose="020F0502020204030204" pitchFamily="34" charset="0"/>
                <a:cs typeface="Calibri" panose="020F0502020204030204" pitchFamily="34" charset="0"/>
              </a:rPr>
              <a:t>N2: </a:t>
            </a:r>
            <a:r>
              <a:rPr lang="en-US" sz="2700" b="1" dirty="0" err="1">
                <a:solidFill>
                  <a:srgbClr val="000000"/>
                </a:solidFill>
                <a:latin typeface="Calibri" panose="020F0502020204030204" pitchFamily="34" charset="0"/>
                <a:cs typeface="Calibri" panose="020F0502020204030204" pitchFamily="34" charset="0"/>
              </a:rPr>
              <a:t>Fulvestrant</a:t>
            </a:r>
            <a:r>
              <a:rPr lang="en-US" sz="2700" b="1" dirty="0">
                <a:solidFill>
                  <a:srgbClr val="000000"/>
                </a:solidFill>
                <a:latin typeface="Calibri" panose="020F0502020204030204" pitchFamily="34" charset="0"/>
                <a:cs typeface="Calibri" panose="020F0502020204030204" pitchFamily="34" charset="0"/>
              </a:rPr>
              <a:t> and </a:t>
            </a:r>
            <a:r>
              <a:rPr lang="en-US" sz="2700" b="1" dirty="0" err="1">
                <a:solidFill>
                  <a:srgbClr val="000000"/>
                </a:solidFill>
                <a:latin typeface="Calibri" panose="020F0502020204030204" pitchFamily="34" charset="0"/>
                <a:cs typeface="Calibri" panose="020F0502020204030204" pitchFamily="34" charset="0"/>
              </a:rPr>
              <a:t>Binimetinib</a:t>
            </a:r>
            <a:r>
              <a:rPr lang="en-US" sz="2700" b="1" dirty="0">
                <a:solidFill>
                  <a:srgbClr val="000000"/>
                </a:solidFill>
                <a:latin typeface="Calibri" panose="020F0502020204030204" pitchFamily="34" charset="0"/>
                <a:cs typeface="Calibri" panose="020F0502020204030204" pitchFamily="34" charset="0"/>
              </a:rPr>
              <a:t> in HR+/HER2neg MBC with NF1 alteration</a:t>
            </a:r>
          </a:p>
        </p:txBody>
      </p:sp>
      <p:sp>
        <p:nvSpPr>
          <p:cNvPr id="7" name="TextBox 6">
            <a:extLst>
              <a:ext uri="{FF2B5EF4-FFF2-40B4-BE49-F238E27FC236}">
                <a16:creationId xmlns:a16="http://schemas.microsoft.com/office/drawing/2014/main" id="{8A7ACDB1-DDC8-1CD2-2220-98127F8808E1}"/>
              </a:ext>
            </a:extLst>
          </p:cNvPr>
          <p:cNvSpPr txBox="1"/>
          <p:nvPr/>
        </p:nvSpPr>
        <p:spPr>
          <a:xfrm>
            <a:off x="78085" y="4795135"/>
            <a:ext cx="4602041" cy="300082"/>
          </a:xfrm>
          <a:prstGeom prst="rect">
            <a:avLst/>
          </a:prstGeom>
          <a:noFill/>
        </p:spPr>
        <p:txBody>
          <a:bodyPr wrap="square" rtlCol="0">
            <a:spAutoFit/>
          </a:bodyPr>
          <a:lstStyle/>
          <a:p>
            <a:pPr eaLnBrk="1" hangingPunct="1">
              <a:spcBef>
                <a:spcPct val="0"/>
              </a:spcBef>
              <a:buFontTx/>
              <a:buNone/>
            </a:pPr>
            <a:r>
              <a:rPr lang="en-US" altLang="en-US" sz="1350" dirty="0">
                <a:solidFill>
                  <a:srgbClr val="000000"/>
                </a:solidFill>
                <a:cs typeface="Arial" panose="020B0604020202020204" pitchFamily="34" charset="0"/>
              </a:rPr>
              <a:t>PI: Bora Lim, MD </a:t>
            </a:r>
            <a:r>
              <a:rPr lang="en-US" sz="1350" dirty="0">
                <a:solidFill>
                  <a:srgbClr val="000000"/>
                </a:solidFill>
                <a:ea typeface="Calibri" panose="020F0502020204030204" pitchFamily="34" charset="0"/>
                <a:cs typeface="Arial" panose="020B0604020202020204" pitchFamily="34" charset="0"/>
              </a:rPr>
              <a:t>Dan L. Duncan Cancer Center</a:t>
            </a:r>
            <a:endParaRPr lang="en-US" sz="1350" dirty="0">
              <a:solidFill>
                <a:srgbClr val="000000"/>
              </a:solidFill>
              <a:cs typeface="Arial" panose="020B0604020202020204" pitchFamily="34" charset="0"/>
            </a:endParaRPr>
          </a:p>
        </p:txBody>
      </p:sp>
      <p:sp>
        <p:nvSpPr>
          <p:cNvPr id="8" name="TextBox 7">
            <a:extLst>
              <a:ext uri="{FF2B5EF4-FFF2-40B4-BE49-F238E27FC236}">
                <a16:creationId xmlns:a16="http://schemas.microsoft.com/office/drawing/2014/main" id="{E935D335-B28F-C005-208B-40DCCF2C11FE}"/>
              </a:ext>
            </a:extLst>
          </p:cNvPr>
          <p:cNvSpPr txBox="1"/>
          <p:nvPr/>
        </p:nvSpPr>
        <p:spPr>
          <a:xfrm>
            <a:off x="4068040" y="3962178"/>
            <a:ext cx="4757306" cy="1131079"/>
          </a:xfrm>
          <a:prstGeom prst="rect">
            <a:avLst/>
          </a:prstGeom>
          <a:noFill/>
        </p:spPr>
        <p:txBody>
          <a:bodyPr wrap="square" rtlCol="0">
            <a:spAutoFit/>
          </a:bodyPr>
          <a:lstStyle/>
          <a:p>
            <a:r>
              <a:rPr lang="en-US" sz="1350" u="sng" dirty="0">
                <a:latin typeface="+mn-lt"/>
              </a:rPr>
              <a:t>Key Inclusion/Exclusion </a:t>
            </a:r>
          </a:p>
          <a:p>
            <a:pPr marL="128588" indent="-128588">
              <a:buFont typeface="Arial" panose="020B0604020202020204" pitchFamily="34" charset="0"/>
              <a:buChar char="•"/>
            </a:pPr>
            <a:r>
              <a:rPr lang="en-US" sz="1350" dirty="0">
                <a:latin typeface="+mn-lt"/>
              </a:rPr>
              <a:t>Measurable disease by RECIST 1.1 and one additional lesion that can be biopsied </a:t>
            </a:r>
          </a:p>
          <a:p>
            <a:pPr marL="128588" indent="-128588">
              <a:buFont typeface="Arial" panose="020B0604020202020204" pitchFamily="34" charset="0"/>
              <a:buChar char="•"/>
            </a:pPr>
            <a:r>
              <a:rPr lang="en-US" sz="1350" dirty="0">
                <a:latin typeface="+mn-lt"/>
              </a:rPr>
              <a:t>Prior therapy: Prior use of CDK4/6i is required, Up to one line of chemotherapy in a metastatic setting is permitted.</a:t>
            </a:r>
          </a:p>
        </p:txBody>
      </p:sp>
      <p:sp>
        <p:nvSpPr>
          <p:cNvPr id="10" name="TextBox 9">
            <a:extLst>
              <a:ext uri="{FF2B5EF4-FFF2-40B4-BE49-F238E27FC236}">
                <a16:creationId xmlns:a16="http://schemas.microsoft.com/office/drawing/2014/main" id="{F840B9F3-BD3B-D880-8D2F-7906F72DBD9A}"/>
              </a:ext>
            </a:extLst>
          </p:cNvPr>
          <p:cNvSpPr txBox="1"/>
          <p:nvPr/>
        </p:nvSpPr>
        <p:spPr>
          <a:xfrm>
            <a:off x="721519" y="3148165"/>
            <a:ext cx="2235994" cy="646331"/>
          </a:xfrm>
          <a:prstGeom prst="rect">
            <a:avLst/>
          </a:prstGeom>
          <a:noFill/>
        </p:spPr>
        <p:txBody>
          <a:bodyPr wrap="square">
            <a:spAutoFit/>
          </a:bodyPr>
          <a:lstStyle/>
          <a:p>
            <a:r>
              <a:rPr lang="en-US" sz="1200" i="1" dirty="0">
                <a:latin typeface="+mn-lt"/>
              </a:rPr>
              <a:t>Disrupting mutations: frame shift or nonsense or genomic deletion</a:t>
            </a:r>
          </a:p>
        </p:txBody>
      </p:sp>
    </p:spTree>
    <p:extLst>
      <p:ext uri="{BB962C8B-B14F-4D97-AF65-F5344CB8AC3E}">
        <p14:creationId xmlns:p14="http://schemas.microsoft.com/office/powerpoint/2010/main" val="9988873"/>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1279BC-39A3-0314-AC0F-CF58FDA3B36C}"/>
              </a:ext>
            </a:extLst>
          </p:cNvPr>
          <p:cNvSpPr>
            <a:spLocks noGrp="1"/>
          </p:cNvSpPr>
          <p:nvPr>
            <p:ph type="title"/>
          </p:nvPr>
        </p:nvSpPr>
        <p:spPr>
          <a:xfrm>
            <a:off x="905923" y="78069"/>
            <a:ext cx="7539990" cy="449651"/>
          </a:xfrm>
        </p:spPr>
        <p:txBody>
          <a:bodyPr>
            <a:noAutofit/>
          </a:bodyPr>
          <a:lstStyle/>
          <a:p>
            <a:r>
              <a:rPr lang="en-US" sz="3200" b="1" dirty="0">
                <a:solidFill>
                  <a:srgbClr val="000000"/>
                </a:solidFill>
                <a:latin typeface="+mn-lt"/>
                <a:cs typeface="Calibri" panose="020F0502020204030204" pitchFamily="34" charset="0"/>
              </a:rPr>
              <a:t>Rationale for combination </a:t>
            </a:r>
          </a:p>
        </p:txBody>
      </p:sp>
      <p:sp>
        <p:nvSpPr>
          <p:cNvPr id="3" name="Text Placeholder 2">
            <a:extLst>
              <a:ext uri="{FF2B5EF4-FFF2-40B4-BE49-F238E27FC236}">
                <a16:creationId xmlns:a16="http://schemas.microsoft.com/office/drawing/2014/main" id="{24361C62-9659-4B7F-1228-0A3060DDCC44}"/>
              </a:ext>
            </a:extLst>
          </p:cNvPr>
          <p:cNvSpPr>
            <a:spLocks noGrp="1"/>
          </p:cNvSpPr>
          <p:nvPr>
            <p:ph type="body" sz="quarter" idx="11"/>
          </p:nvPr>
        </p:nvSpPr>
        <p:spPr>
          <a:xfrm>
            <a:off x="-114126" y="667324"/>
            <a:ext cx="9144001" cy="449651"/>
          </a:xfrm>
        </p:spPr>
        <p:txBody>
          <a:bodyPr>
            <a:normAutofit fontScale="25000" lnSpcReduction="20000"/>
          </a:bodyPr>
          <a:lstStyle/>
          <a:p>
            <a:pPr marL="342900" indent="-342900"/>
            <a:r>
              <a:rPr lang="en-US" sz="6000" dirty="0">
                <a:latin typeface="+mn-lt"/>
              </a:rPr>
              <a:t>NF1 functions as ERα transcriptional co-repressor- loss leads to estradiol hypersensitivity </a:t>
            </a:r>
          </a:p>
          <a:p>
            <a:pPr marL="342900" indent="-342900"/>
            <a:r>
              <a:rPr lang="en-US" sz="6000" dirty="0">
                <a:latin typeface="+mn-lt"/>
              </a:rPr>
              <a:t>Initially retain sensitivity to SERDs, but RAS-Raf-MEK-ERK pathway leads to resistance-&gt;</a:t>
            </a:r>
            <a:r>
              <a:rPr lang="en-US" sz="6000" dirty="0" err="1">
                <a:latin typeface="+mn-lt"/>
              </a:rPr>
              <a:t>MEKi</a:t>
            </a:r>
            <a:r>
              <a:rPr lang="en-US" sz="6000" dirty="0">
                <a:latin typeface="+mn-lt"/>
              </a:rPr>
              <a:t>)</a:t>
            </a:r>
          </a:p>
          <a:p>
            <a:endParaRPr lang="en-US" dirty="0"/>
          </a:p>
        </p:txBody>
      </p:sp>
      <p:pic>
        <p:nvPicPr>
          <p:cNvPr id="4" name="Picture 3">
            <a:extLst>
              <a:ext uri="{FF2B5EF4-FFF2-40B4-BE49-F238E27FC236}">
                <a16:creationId xmlns:a16="http://schemas.microsoft.com/office/drawing/2014/main" id="{976787DB-07E6-A891-62EB-A5EADC840A3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13892" y="1312001"/>
            <a:ext cx="2996292" cy="2951633"/>
          </a:xfrm>
          <a:prstGeom prst="rect">
            <a:avLst/>
          </a:prstGeom>
        </p:spPr>
      </p:pic>
      <p:sp>
        <p:nvSpPr>
          <p:cNvPr id="6" name="TextBox 5">
            <a:extLst>
              <a:ext uri="{FF2B5EF4-FFF2-40B4-BE49-F238E27FC236}">
                <a16:creationId xmlns:a16="http://schemas.microsoft.com/office/drawing/2014/main" id="{A7D31188-18BC-EDA2-78A8-B28AEA49D6DC}"/>
              </a:ext>
            </a:extLst>
          </p:cNvPr>
          <p:cNvSpPr txBox="1"/>
          <p:nvPr/>
        </p:nvSpPr>
        <p:spPr>
          <a:xfrm>
            <a:off x="3621025" y="4463091"/>
            <a:ext cx="3620280" cy="646331"/>
          </a:xfrm>
          <a:prstGeom prst="rect">
            <a:avLst/>
          </a:prstGeom>
          <a:noFill/>
        </p:spPr>
        <p:txBody>
          <a:bodyPr wrap="square" rtlCol="0">
            <a:spAutoFit/>
          </a:bodyPr>
          <a:lstStyle/>
          <a:p>
            <a:r>
              <a:rPr lang="en-US" sz="1200" dirty="0"/>
              <a:t>Zheng et al 2020, Cancer Cell</a:t>
            </a:r>
          </a:p>
          <a:p>
            <a:r>
              <a:rPr lang="en-US" sz="1200" dirty="0"/>
              <a:t>Chang et al 2018 Ca Research</a:t>
            </a:r>
          </a:p>
          <a:p>
            <a:r>
              <a:rPr lang="en-US" sz="1200" dirty="0"/>
              <a:t>Data from protocol</a:t>
            </a:r>
          </a:p>
        </p:txBody>
      </p:sp>
      <p:sp>
        <p:nvSpPr>
          <p:cNvPr id="11" name="TextBox 10">
            <a:extLst>
              <a:ext uri="{FF2B5EF4-FFF2-40B4-BE49-F238E27FC236}">
                <a16:creationId xmlns:a16="http://schemas.microsoft.com/office/drawing/2014/main" id="{03CE900F-9EFE-A91A-BD24-89C5FEA498A9}"/>
              </a:ext>
            </a:extLst>
          </p:cNvPr>
          <p:cNvSpPr txBox="1"/>
          <p:nvPr/>
        </p:nvSpPr>
        <p:spPr>
          <a:xfrm>
            <a:off x="2286000" y="1860657"/>
            <a:ext cx="4572000" cy="369332"/>
          </a:xfrm>
          <a:prstGeom prst="rect">
            <a:avLst/>
          </a:prstGeom>
          <a:noFill/>
        </p:spPr>
        <p:txBody>
          <a:bodyPr wrap="square">
            <a:spAutoFit/>
          </a:bodyPr>
          <a:lstStyle/>
          <a:p>
            <a:endParaRPr lang="en-US" sz="1800" dirty="0"/>
          </a:p>
        </p:txBody>
      </p:sp>
      <p:sp>
        <p:nvSpPr>
          <p:cNvPr id="16" name="TextBox 15">
            <a:extLst>
              <a:ext uri="{FF2B5EF4-FFF2-40B4-BE49-F238E27FC236}">
                <a16:creationId xmlns:a16="http://schemas.microsoft.com/office/drawing/2014/main" id="{52D960A3-4A34-E3CA-D360-C87C9B48074A}"/>
              </a:ext>
            </a:extLst>
          </p:cNvPr>
          <p:cNvSpPr txBox="1"/>
          <p:nvPr/>
        </p:nvSpPr>
        <p:spPr>
          <a:xfrm>
            <a:off x="6773483" y="2176830"/>
            <a:ext cx="1979058" cy="784830"/>
          </a:xfrm>
          <a:prstGeom prst="rect">
            <a:avLst/>
          </a:prstGeom>
          <a:noFill/>
        </p:spPr>
        <p:txBody>
          <a:bodyPr wrap="square" rtlCol="0">
            <a:spAutoFit/>
          </a:bodyPr>
          <a:lstStyle/>
          <a:p>
            <a:r>
              <a:rPr lang="en-US" sz="1500" i="1" dirty="0"/>
              <a:t>WHIM16: NF1-deficent ER+ PDX mouse model </a:t>
            </a:r>
          </a:p>
        </p:txBody>
      </p:sp>
      <p:pic>
        <p:nvPicPr>
          <p:cNvPr id="18" name="Picture 17">
            <a:extLst>
              <a:ext uri="{FF2B5EF4-FFF2-40B4-BE49-F238E27FC236}">
                <a16:creationId xmlns:a16="http://schemas.microsoft.com/office/drawing/2014/main" id="{AC4AB92D-02FE-E857-1AEA-81BBA442420A}"/>
              </a:ext>
            </a:extLst>
          </p:cNvPr>
          <p:cNvPicPr>
            <a:picLocks noChangeAspect="1"/>
          </p:cNvPicPr>
          <p:nvPr/>
        </p:nvPicPr>
        <p:blipFill>
          <a:blip r:embed="rId3"/>
          <a:stretch>
            <a:fillRect/>
          </a:stretch>
        </p:blipFill>
        <p:spPr>
          <a:xfrm>
            <a:off x="3621025" y="1455629"/>
            <a:ext cx="3082387" cy="2664375"/>
          </a:xfrm>
          <a:prstGeom prst="rect">
            <a:avLst/>
          </a:prstGeom>
        </p:spPr>
      </p:pic>
    </p:spTree>
    <p:extLst>
      <p:ext uri="{BB962C8B-B14F-4D97-AF65-F5344CB8AC3E}">
        <p14:creationId xmlns:p14="http://schemas.microsoft.com/office/powerpoint/2010/main" val="640821786"/>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00B2B7-7BC2-2E10-7FA7-903114EEADC4}"/>
              </a:ext>
            </a:extLst>
          </p:cNvPr>
          <p:cNvSpPr>
            <a:spLocks noGrp="1"/>
          </p:cNvSpPr>
          <p:nvPr>
            <p:ph type="title"/>
          </p:nvPr>
        </p:nvSpPr>
        <p:spPr/>
        <p:txBody>
          <a:bodyPr/>
          <a:lstStyle/>
          <a:p>
            <a:r>
              <a:rPr lang="en-US" b="1" dirty="0"/>
              <a:t>Summary</a:t>
            </a:r>
          </a:p>
        </p:txBody>
      </p:sp>
      <p:sp>
        <p:nvSpPr>
          <p:cNvPr id="4" name="Content Placeholder 1">
            <a:extLst>
              <a:ext uri="{FF2B5EF4-FFF2-40B4-BE49-F238E27FC236}">
                <a16:creationId xmlns:a16="http://schemas.microsoft.com/office/drawing/2014/main" id="{2A967773-3581-05D8-A8FB-1573D6680E37}"/>
              </a:ext>
            </a:extLst>
          </p:cNvPr>
          <p:cNvSpPr txBox="1">
            <a:spLocks/>
          </p:cNvSpPr>
          <p:nvPr/>
        </p:nvSpPr>
        <p:spPr>
          <a:xfrm>
            <a:off x="224429" y="853008"/>
            <a:ext cx="8695141" cy="3147278"/>
          </a:xfrm>
          <a:prstGeom prst="rect">
            <a:avLst/>
          </a:prstGeom>
        </p:spPr>
        <p:txBody>
          <a:bodyPr/>
          <a:lstStyle>
            <a:lvl1pPr marL="342900" indent="-342900" algn="l" rtl="0" eaLnBrk="1" fontAlgn="base" hangingPunct="1">
              <a:spcBef>
                <a:spcPct val="20000"/>
              </a:spcBef>
              <a:spcAft>
                <a:spcPct val="0"/>
              </a:spcAft>
              <a:buChar char="•"/>
              <a:defRPr sz="2400">
                <a:solidFill>
                  <a:schemeClr val="tx1"/>
                </a:solidFill>
                <a:latin typeface="+mn-lt"/>
                <a:ea typeface="+mn-ea"/>
                <a:cs typeface="+mn-cs"/>
              </a:defRPr>
            </a:lvl1pPr>
            <a:lvl2pPr marL="742950" indent="-285750" algn="l" rtl="0" eaLnBrk="1" fontAlgn="base" hangingPunct="1">
              <a:spcBef>
                <a:spcPct val="20000"/>
              </a:spcBef>
              <a:spcAft>
                <a:spcPct val="0"/>
              </a:spcAft>
              <a:buChar char="–"/>
              <a:defRPr sz="2000">
                <a:solidFill>
                  <a:schemeClr val="tx1"/>
                </a:solidFill>
                <a:latin typeface="+mn-lt"/>
                <a:ea typeface="+mn-ea"/>
              </a:defRPr>
            </a:lvl2pPr>
            <a:lvl3pPr marL="1143000" indent="-228600" algn="l" rtl="0" eaLnBrk="1" fontAlgn="base" hangingPunct="1">
              <a:spcBef>
                <a:spcPct val="20000"/>
              </a:spcBef>
              <a:spcAft>
                <a:spcPct val="0"/>
              </a:spcAft>
              <a:buChar char="•"/>
              <a:defRPr>
                <a:solidFill>
                  <a:schemeClr val="tx1"/>
                </a:solidFill>
                <a:latin typeface="+mn-lt"/>
                <a:ea typeface="+mn-ea"/>
              </a:defRPr>
            </a:lvl3pPr>
            <a:lvl4pPr marL="1600200" indent="-228600" algn="l" rtl="0" eaLnBrk="1" fontAlgn="base" hangingPunct="1">
              <a:spcBef>
                <a:spcPct val="20000"/>
              </a:spcBef>
              <a:spcAft>
                <a:spcPct val="0"/>
              </a:spcAft>
              <a:defRPr sz="2000">
                <a:solidFill>
                  <a:schemeClr val="tx1"/>
                </a:solidFill>
                <a:latin typeface="+mn-lt"/>
                <a:ea typeface="+mn-ea"/>
              </a:defRPr>
            </a:lvl4pPr>
            <a:lvl5pPr marL="2057400" indent="-228600" algn="l" rtl="0" eaLnBrk="1" fontAlgn="base" hangingPunct="1">
              <a:spcBef>
                <a:spcPct val="20000"/>
              </a:spcBef>
              <a:spcAft>
                <a:spcPct val="0"/>
              </a:spcAft>
              <a:buChar char="»"/>
              <a:defRPr sz="2000">
                <a:solidFill>
                  <a:schemeClr val="tx1"/>
                </a:solidFill>
                <a:latin typeface="+mn-lt"/>
                <a:ea typeface="+mn-ea"/>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r>
              <a:rPr lang="en-US" sz="2000" kern="0" dirty="0"/>
              <a:t>Genomic testing for ESR1, PIK3CA, ERBB2 (HER2) and other mutations can aid in treatment recommendations.</a:t>
            </a:r>
          </a:p>
          <a:p>
            <a:pPr lvl="1"/>
            <a:r>
              <a:rPr lang="en-US" kern="0" dirty="0"/>
              <a:t>Some mutations emerge during treatment and repeat testing may need to be considered </a:t>
            </a:r>
          </a:p>
          <a:p>
            <a:r>
              <a:rPr lang="en-US" sz="2000" kern="0" dirty="0"/>
              <a:t>Multiple agents available after first line CDK4/6i in the metastatic setting</a:t>
            </a:r>
          </a:p>
          <a:p>
            <a:pPr lvl="1"/>
            <a:r>
              <a:rPr lang="en-US" kern="0" dirty="0" err="1"/>
              <a:t>Alpeslisib</a:t>
            </a:r>
            <a:r>
              <a:rPr lang="en-US" kern="0" dirty="0"/>
              <a:t> for mutant </a:t>
            </a:r>
            <a:r>
              <a:rPr lang="en-US" i="1" kern="0" dirty="0"/>
              <a:t>PIK3CA</a:t>
            </a:r>
          </a:p>
          <a:p>
            <a:pPr lvl="1"/>
            <a:r>
              <a:rPr lang="en-US" kern="0" dirty="0" err="1"/>
              <a:t>Elascestrant</a:t>
            </a:r>
            <a:r>
              <a:rPr lang="en-US" kern="0" dirty="0"/>
              <a:t> for mutant </a:t>
            </a:r>
            <a:r>
              <a:rPr lang="en-US" i="1" kern="0" dirty="0"/>
              <a:t>ESR1 </a:t>
            </a:r>
          </a:p>
          <a:p>
            <a:pPr lvl="1"/>
            <a:r>
              <a:rPr lang="en-US" kern="0" dirty="0"/>
              <a:t>Neratinib + trastuzumab for mutant HER2 (ERBB2)</a:t>
            </a:r>
          </a:p>
          <a:p>
            <a:pPr lvl="1"/>
            <a:r>
              <a:rPr lang="en-US" kern="0" dirty="0"/>
              <a:t>Further CDK4/6i, </a:t>
            </a:r>
            <a:r>
              <a:rPr lang="en-US" kern="0" dirty="0" err="1"/>
              <a:t>capivasertib</a:t>
            </a:r>
            <a:r>
              <a:rPr lang="en-US" kern="0" dirty="0"/>
              <a:t>, </a:t>
            </a:r>
            <a:r>
              <a:rPr lang="en-US" kern="0" dirty="0" err="1"/>
              <a:t>everolimus</a:t>
            </a:r>
            <a:r>
              <a:rPr lang="en-US" kern="0" dirty="0"/>
              <a:t> also potential options </a:t>
            </a:r>
          </a:p>
          <a:p>
            <a:pPr lvl="1"/>
            <a:r>
              <a:rPr lang="en-US" kern="0" dirty="0"/>
              <a:t>Still many opportunities for improvement-&gt;ongoing clinical trials </a:t>
            </a:r>
          </a:p>
          <a:p>
            <a:pPr marL="457200" lvl="1" indent="0">
              <a:buNone/>
            </a:pPr>
            <a:endParaRPr lang="en-US" kern="0" dirty="0"/>
          </a:p>
        </p:txBody>
      </p:sp>
    </p:spTree>
    <p:extLst>
      <p:ext uri="{BB962C8B-B14F-4D97-AF65-F5344CB8AC3E}">
        <p14:creationId xmlns:p14="http://schemas.microsoft.com/office/powerpoint/2010/main" val="4087567005"/>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Calendar&#10;&#10;Description automatically generated">
            <a:extLst>
              <a:ext uri="{FF2B5EF4-FFF2-40B4-BE49-F238E27FC236}">
                <a16:creationId xmlns:a16="http://schemas.microsoft.com/office/drawing/2014/main" id="{13805364-3E24-344F-95DA-43DA6B97ACDC}"/>
              </a:ext>
            </a:extLst>
          </p:cNvPr>
          <p:cNvPicPr>
            <a:picLocks noChangeAspect="1"/>
          </p:cNvPicPr>
          <p:nvPr/>
        </p:nvPicPr>
        <p:blipFill>
          <a:blip r:embed="rId3"/>
          <a:stretch>
            <a:fillRect/>
          </a:stretch>
        </p:blipFill>
        <p:spPr>
          <a:xfrm>
            <a:off x="7037" y="0"/>
            <a:ext cx="9129925" cy="5148263"/>
          </a:xfrm>
          <a:prstGeom prst="rect">
            <a:avLst/>
          </a:prstGeom>
        </p:spPr>
      </p:pic>
      <p:pic>
        <p:nvPicPr>
          <p:cNvPr id="15" name="Picture 14" descr="Graphical user interface, website&#10;&#10;Description automatically generated">
            <a:extLst>
              <a:ext uri="{FF2B5EF4-FFF2-40B4-BE49-F238E27FC236}">
                <a16:creationId xmlns:a16="http://schemas.microsoft.com/office/drawing/2014/main" id="{80727F13-6791-5B49-9F46-3BF36290A24F}"/>
              </a:ext>
            </a:extLst>
          </p:cNvPr>
          <p:cNvPicPr>
            <a:picLocks noChangeAspect="1"/>
          </p:cNvPicPr>
          <p:nvPr/>
        </p:nvPicPr>
        <p:blipFill>
          <a:blip r:embed="rId4"/>
          <a:stretch>
            <a:fillRect/>
          </a:stretch>
        </p:blipFill>
        <p:spPr>
          <a:xfrm>
            <a:off x="7037" y="0"/>
            <a:ext cx="9129925" cy="5148263"/>
          </a:xfrm>
          <a:prstGeom prst="rect">
            <a:avLst/>
          </a:prstGeom>
        </p:spPr>
      </p:pic>
      <p:pic>
        <p:nvPicPr>
          <p:cNvPr id="17" name="Picture 16" descr="Graphical user interface&#10;&#10;Description automatically generated">
            <a:extLst>
              <a:ext uri="{FF2B5EF4-FFF2-40B4-BE49-F238E27FC236}">
                <a16:creationId xmlns:a16="http://schemas.microsoft.com/office/drawing/2014/main" id="{F0D5927F-FD5E-F648-9B5E-758022183824}"/>
              </a:ext>
            </a:extLst>
          </p:cNvPr>
          <p:cNvPicPr>
            <a:picLocks noChangeAspect="1"/>
          </p:cNvPicPr>
          <p:nvPr/>
        </p:nvPicPr>
        <p:blipFill>
          <a:blip r:embed="rId5"/>
          <a:stretch>
            <a:fillRect/>
          </a:stretch>
        </p:blipFill>
        <p:spPr>
          <a:xfrm>
            <a:off x="7037" y="0"/>
            <a:ext cx="9129925" cy="5148263"/>
          </a:xfrm>
          <a:prstGeom prst="rect">
            <a:avLst/>
          </a:prstGeom>
        </p:spPr>
      </p:pic>
      <p:pic>
        <p:nvPicPr>
          <p:cNvPr id="10" name="Picture 9" descr="A picture containing text&#10;&#10;Description automatically generated">
            <a:extLst>
              <a:ext uri="{FF2B5EF4-FFF2-40B4-BE49-F238E27FC236}">
                <a16:creationId xmlns:a16="http://schemas.microsoft.com/office/drawing/2014/main" id="{9661F0C6-188E-94BA-269D-24C866E23D00}"/>
              </a:ext>
            </a:extLst>
          </p:cNvPr>
          <p:cNvPicPr>
            <a:picLocks noChangeAspect="1"/>
          </p:cNvPicPr>
          <p:nvPr/>
        </p:nvPicPr>
        <p:blipFill>
          <a:blip r:embed="rId6"/>
          <a:stretch>
            <a:fillRect/>
          </a:stretch>
        </p:blipFill>
        <p:spPr>
          <a:xfrm>
            <a:off x="-1" y="-12701"/>
            <a:ext cx="9129925" cy="5148263"/>
          </a:xfrm>
          <a:prstGeom prst="rect">
            <a:avLst/>
          </a:prstGeom>
        </p:spPr>
      </p:pic>
      <p:pic>
        <p:nvPicPr>
          <p:cNvPr id="5" name="Picture 4" descr="A picture containing graphical user interface&#10;&#10;Description automatically generated">
            <a:extLst>
              <a:ext uri="{FF2B5EF4-FFF2-40B4-BE49-F238E27FC236}">
                <a16:creationId xmlns:a16="http://schemas.microsoft.com/office/drawing/2014/main" id="{AE206FA8-1ADF-6743-B3FD-1CA6C6C63ADB}"/>
              </a:ext>
            </a:extLst>
          </p:cNvPr>
          <p:cNvPicPr>
            <a:picLocks noChangeAspect="1"/>
          </p:cNvPicPr>
          <p:nvPr/>
        </p:nvPicPr>
        <p:blipFill>
          <a:blip r:embed="rId7"/>
          <a:stretch>
            <a:fillRect/>
          </a:stretch>
        </p:blipFill>
        <p:spPr>
          <a:xfrm>
            <a:off x="-1" y="0"/>
            <a:ext cx="9144001" cy="5148263"/>
          </a:xfrm>
          <a:prstGeom prst="rect">
            <a:avLst/>
          </a:prstGeom>
        </p:spPr>
      </p:pic>
      <p:pic>
        <p:nvPicPr>
          <p:cNvPr id="3" name="Picture 2" descr="Graphical user interface&#10;&#10;Description automatically generated with medium confidence">
            <a:extLst>
              <a:ext uri="{FF2B5EF4-FFF2-40B4-BE49-F238E27FC236}">
                <a16:creationId xmlns:a16="http://schemas.microsoft.com/office/drawing/2014/main" id="{427AC361-97E5-DB4A-97F9-E64F0D38923A}"/>
              </a:ext>
            </a:extLst>
          </p:cNvPr>
          <p:cNvPicPr>
            <a:picLocks noChangeAspect="1"/>
          </p:cNvPicPr>
          <p:nvPr/>
        </p:nvPicPr>
        <p:blipFill>
          <a:blip r:embed="rId8"/>
          <a:stretch>
            <a:fillRect/>
          </a:stretch>
        </p:blipFill>
        <p:spPr>
          <a:xfrm>
            <a:off x="-1276" y="0"/>
            <a:ext cx="9129925" cy="5148263"/>
          </a:xfrm>
          <a:prstGeom prst="rect">
            <a:avLst/>
          </a:prstGeom>
        </p:spPr>
      </p:pic>
      <p:pic>
        <p:nvPicPr>
          <p:cNvPr id="13" name="Picture 12" descr="Graphical user interface&#10;&#10;Description automatically generated with medium confidence">
            <a:extLst>
              <a:ext uri="{FF2B5EF4-FFF2-40B4-BE49-F238E27FC236}">
                <a16:creationId xmlns:a16="http://schemas.microsoft.com/office/drawing/2014/main" id="{74C209DA-DD76-F140-A409-CC2B6FB9E380}"/>
              </a:ext>
            </a:extLst>
          </p:cNvPr>
          <p:cNvPicPr>
            <a:picLocks noChangeAspect="1"/>
          </p:cNvPicPr>
          <p:nvPr/>
        </p:nvPicPr>
        <p:blipFill>
          <a:blip r:embed="rId9"/>
          <a:stretch>
            <a:fillRect/>
          </a:stretch>
        </p:blipFill>
        <p:spPr>
          <a:xfrm>
            <a:off x="7037" y="91440"/>
            <a:ext cx="9129925" cy="5148263"/>
          </a:xfrm>
          <a:prstGeom prst="rect">
            <a:avLst/>
          </a:prstGeom>
        </p:spPr>
      </p:pic>
      <p:pic>
        <p:nvPicPr>
          <p:cNvPr id="11" name="Picture 10" descr="Graphical user interface&#10;&#10;Description automatically generated">
            <a:extLst>
              <a:ext uri="{FF2B5EF4-FFF2-40B4-BE49-F238E27FC236}">
                <a16:creationId xmlns:a16="http://schemas.microsoft.com/office/drawing/2014/main" id="{39E371F3-F698-6E43-9AF5-D6112EDA06B4}"/>
              </a:ext>
            </a:extLst>
          </p:cNvPr>
          <p:cNvPicPr>
            <a:picLocks noChangeAspect="1"/>
          </p:cNvPicPr>
          <p:nvPr/>
        </p:nvPicPr>
        <p:blipFill>
          <a:blip r:embed="rId10"/>
          <a:stretch>
            <a:fillRect/>
          </a:stretch>
        </p:blipFill>
        <p:spPr>
          <a:xfrm>
            <a:off x="7037" y="0"/>
            <a:ext cx="9129925" cy="5148263"/>
          </a:xfrm>
          <a:prstGeom prst="rect">
            <a:avLst/>
          </a:prstGeom>
        </p:spPr>
      </p:pic>
      <p:pic>
        <p:nvPicPr>
          <p:cNvPr id="7" name="Picture 6" descr="Graphical user interface&#10;&#10;Description automatically generated">
            <a:extLst>
              <a:ext uri="{FF2B5EF4-FFF2-40B4-BE49-F238E27FC236}">
                <a16:creationId xmlns:a16="http://schemas.microsoft.com/office/drawing/2014/main" id="{7ECE685F-3E0A-4645-A5C2-F8F5499F2E26}"/>
              </a:ext>
            </a:extLst>
          </p:cNvPr>
          <p:cNvPicPr>
            <a:picLocks noChangeAspect="1"/>
          </p:cNvPicPr>
          <p:nvPr/>
        </p:nvPicPr>
        <p:blipFill>
          <a:blip r:embed="rId11"/>
          <a:stretch>
            <a:fillRect/>
          </a:stretch>
        </p:blipFill>
        <p:spPr>
          <a:xfrm>
            <a:off x="14075" y="12699"/>
            <a:ext cx="9129925" cy="5148263"/>
          </a:xfrm>
          <a:prstGeom prst="rect">
            <a:avLst/>
          </a:prstGeom>
        </p:spPr>
      </p:pic>
      <p:sp>
        <p:nvSpPr>
          <p:cNvPr id="36" name="Rectangle 35">
            <a:extLst>
              <a:ext uri="{FF2B5EF4-FFF2-40B4-BE49-F238E27FC236}">
                <a16:creationId xmlns:a16="http://schemas.microsoft.com/office/drawing/2014/main" id="{A1B4A22D-3BE1-6C4A-812D-C1E98E8E0076}"/>
              </a:ext>
            </a:extLst>
          </p:cNvPr>
          <p:cNvSpPr/>
          <p:nvPr/>
        </p:nvSpPr>
        <p:spPr>
          <a:xfrm>
            <a:off x="0" y="2586831"/>
            <a:ext cx="9129925" cy="461665"/>
          </a:xfrm>
          <a:prstGeom prst="rect">
            <a:avLst/>
          </a:prstGeom>
        </p:spPr>
        <p:txBody>
          <a:bodyPr wrap="square">
            <a:spAutoFit/>
          </a:bodyPr>
          <a:lstStyle/>
          <a:p>
            <a:pPr algn="ctr"/>
            <a:r>
              <a:rPr lang="en-US" spc="600" dirty="0">
                <a:solidFill>
                  <a:srgbClr val="FFC82C"/>
                </a:solidFill>
                <a:latin typeface="Corporate A Medium" panose="02000503080000020004" pitchFamily="2" charset="0"/>
              </a:rPr>
              <a:t>BREAST CANCER</a:t>
            </a:r>
          </a:p>
        </p:txBody>
      </p:sp>
      <p:sp>
        <p:nvSpPr>
          <p:cNvPr id="37" name="Rectangle 36">
            <a:extLst>
              <a:ext uri="{FF2B5EF4-FFF2-40B4-BE49-F238E27FC236}">
                <a16:creationId xmlns:a16="http://schemas.microsoft.com/office/drawing/2014/main" id="{136DD176-7412-694A-BED9-E7F8655CA44E}"/>
              </a:ext>
            </a:extLst>
          </p:cNvPr>
          <p:cNvSpPr/>
          <p:nvPr/>
        </p:nvSpPr>
        <p:spPr>
          <a:xfrm>
            <a:off x="14075" y="3073896"/>
            <a:ext cx="9129925" cy="338554"/>
          </a:xfrm>
          <a:prstGeom prst="rect">
            <a:avLst/>
          </a:prstGeom>
        </p:spPr>
        <p:txBody>
          <a:bodyPr wrap="square">
            <a:spAutoFit/>
          </a:bodyPr>
          <a:lstStyle/>
          <a:p>
            <a:pPr algn="ctr"/>
            <a:r>
              <a:rPr lang="en-US" sz="1600" dirty="0">
                <a:solidFill>
                  <a:schemeClr val="bg1"/>
                </a:solidFill>
                <a:latin typeface="Corporate S Demi" panose="02020500000000000000" pitchFamily="18" charset="0"/>
              </a:rPr>
              <a:t>Wednesday, September 6, 2023</a:t>
            </a:r>
          </a:p>
        </p:txBody>
      </p:sp>
      <p:pic>
        <p:nvPicPr>
          <p:cNvPr id="12" name="Picture 11" descr="A close-up of a sign&#10;&#10;Description automatically generated">
            <a:extLst>
              <a:ext uri="{FF2B5EF4-FFF2-40B4-BE49-F238E27FC236}">
                <a16:creationId xmlns:a16="http://schemas.microsoft.com/office/drawing/2014/main" id="{77D2A35E-AD54-5045-1134-B3EC9C729BA1}"/>
              </a:ext>
            </a:extLst>
          </p:cNvPr>
          <p:cNvPicPr>
            <a:picLocks noChangeAspect="1"/>
          </p:cNvPicPr>
          <p:nvPr/>
        </p:nvPicPr>
        <p:blipFill>
          <a:blip r:embed="rId12"/>
          <a:stretch>
            <a:fillRect/>
          </a:stretch>
        </p:blipFill>
        <p:spPr>
          <a:xfrm>
            <a:off x="7044266" y="4416631"/>
            <a:ext cx="1790699" cy="444928"/>
          </a:xfrm>
          <a:prstGeom prst="rect">
            <a:avLst/>
          </a:prstGeom>
        </p:spPr>
      </p:pic>
    </p:spTree>
    <p:extLst>
      <p:ext uri="{BB962C8B-B14F-4D97-AF65-F5344CB8AC3E}">
        <p14:creationId xmlns:p14="http://schemas.microsoft.com/office/powerpoint/2010/main" val="3189950419"/>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a:xfrm>
            <a:off x="1371600" y="1656935"/>
            <a:ext cx="6400800" cy="2204975"/>
          </a:xfrm>
        </p:spPr>
        <p:txBody>
          <a:bodyPr/>
          <a:lstStyle/>
          <a:p>
            <a:r>
              <a:rPr lang="en-US" b="1" dirty="0">
                <a:solidFill>
                  <a:srgbClr val="002E51"/>
                </a:solidFill>
              </a:rPr>
              <a:t>Yee Chung Cheng, MD</a:t>
            </a:r>
          </a:p>
          <a:p>
            <a:r>
              <a:rPr lang="en-US" dirty="0">
                <a:solidFill>
                  <a:srgbClr val="002E51"/>
                </a:solidFill>
              </a:rPr>
              <a:t>Associate Professor</a:t>
            </a:r>
          </a:p>
          <a:p>
            <a:r>
              <a:rPr lang="en-US" dirty="0">
                <a:solidFill>
                  <a:srgbClr val="002E51"/>
                </a:solidFill>
              </a:rPr>
              <a:t>Division of Hematology and Oncology</a:t>
            </a:r>
          </a:p>
          <a:p>
            <a:r>
              <a:rPr lang="en-US" dirty="0">
                <a:solidFill>
                  <a:srgbClr val="002E51"/>
                </a:solidFill>
              </a:rPr>
              <a:t>Department of Medicine</a:t>
            </a:r>
          </a:p>
          <a:p>
            <a:r>
              <a:rPr lang="en-US" dirty="0">
                <a:solidFill>
                  <a:srgbClr val="002E51"/>
                </a:solidFill>
              </a:rPr>
              <a:t>Medical College of Wisconsin</a:t>
            </a:r>
          </a:p>
          <a:p>
            <a:r>
              <a:rPr lang="en-US" dirty="0">
                <a:solidFill>
                  <a:srgbClr val="002E51"/>
                </a:solidFill>
              </a:rPr>
              <a:t>Milwaukee, Wisconsin</a:t>
            </a:r>
          </a:p>
        </p:txBody>
      </p:sp>
      <p:sp>
        <p:nvSpPr>
          <p:cNvPr id="4" name="Title 3"/>
          <p:cNvSpPr>
            <a:spLocks noGrp="1"/>
          </p:cNvSpPr>
          <p:nvPr>
            <p:ph type="title"/>
          </p:nvPr>
        </p:nvSpPr>
        <p:spPr>
          <a:xfrm>
            <a:off x="0" y="127465"/>
            <a:ext cx="9144000" cy="786936"/>
          </a:xfrm>
        </p:spPr>
        <p:txBody>
          <a:bodyPr/>
          <a:lstStyle/>
          <a:p>
            <a:r>
              <a:rPr lang="en-US" b="1" dirty="0">
                <a:solidFill>
                  <a:srgbClr val="002E51"/>
                </a:solidFill>
              </a:rPr>
              <a:t>Antibody-Drug Conjugates in </a:t>
            </a:r>
            <a:br>
              <a:rPr lang="en-US" b="1" dirty="0">
                <a:solidFill>
                  <a:srgbClr val="002E51"/>
                </a:solidFill>
              </a:rPr>
            </a:br>
            <a:r>
              <a:rPr lang="en-US" b="1" dirty="0">
                <a:solidFill>
                  <a:srgbClr val="002E51"/>
                </a:solidFill>
              </a:rPr>
              <a:t>HER2-negative Breast Cancer</a:t>
            </a:r>
          </a:p>
        </p:txBody>
      </p:sp>
    </p:spTree>
    <p:extLst>
      <p:ext uri="{BB962C8B-B14F-4D97-AF65-F5344CB8AC3E}">
        <p14:creationId xmlns:p14="http://schemas.microsoft.com/office/powerpoint/2010/main" val="3129121712"/>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a:xfrm>
            <a:off x="708586" y="1168401"/>
            <a:ext cx="7618040" cy="2915920"/>
          </a:xfrm>
        </p:spPr>
        <p:txBody>
          <a:bodyPr/>
          <a:lstStyle/>
          <a:p>
            <a:pPr algn="l"/>
            <a:r>
              <a:rPr lang="en-US" b="1" dirty="0"/>
              <a:t>I have no financial relationships to disclose</a:t>
            </a:r>
          </a:p>
          <a:p>
            <a:endParaRPr lang="en-US" dirty="0">
              <a:solidFill>
                <a:srgbClr val="002E51"/>
              </a:solidFill>
            </a:endParaRPr>
          </a:p>
        </p:txBody>
      </p:sp>
      <p:sp>
        <p:nvSpPr>
          <p:cNvPr id="4" name="Title 3"/>
          <p:cNvSpPr>
            <a:spLocks noGrp="1"/>
          </p:cNvSpPr>
          <p:nvPr>
            <p:ph type="title"/>
          </p:nvPr>
        </p:nvSpPr>
        <p:spPr>
          <a:xfrm>
            <a:off x="655664" y="127465"/>
            <a:ext cx="7750348" cy="807256"/>
          </a:xfrm>
        </p:spPr>
        <p:txBody>
          <a:bodyPr/>
          <a:lstStyle/>
          <a:p>
            <a:pPr algn="l"/>
            <a:r>
              <a:rPr lang="en-US" b="1" dirty="0"/>
              <a:t>Disclosure Information</a:t>
            </a:r>
          </a:p>
        </p:txBody>
      </p:sp>
    </p:spTree>
    <p:extLst>
      <p:ext uri="{BB962C8B-B14F-4D97-AF65-F5344CB8AC3E}">
        <p14:creationId xmlns:p14="http://schemas.microsoft.com/office/powerpoint/2010/main" val="501416357"/>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7">
            <a:extLst>
              <a:ext uri="{FF2B5EF4-FFF2-40B4-BE49-F238E27FC236}">
                <a16:creationId xmlns:a16="http://schemas.microsoft.com/office/drawing/2014/main" id="{CD810BF8-70CD-04AE-9366-BDCFD1F48AFC}"/>
              </a:ext>
            </a:extLst>
          </p:cNvPr>
          <p:cNvGraphicFramePr>
            <a:graphicFrameLocks noGrp="1"/>
          </p:cNvGraphicFramePr>
          <p:nvPr>
            <p:ph sz="half" idx="1"/>
            <p:extLst>
              <p:ext uri="{D42A27DB-BD31-4B8C-83A1-F6EECF244321}">
                <p14:modId xmlns:p14="http://schemas.microsoft.com/office/powerpoint/2010/main" val="1247487968"/>
              </p:ext>
            </p:extLst>
          </p:nvPr>
        </p:nvGraphicFramePr>
        <p:xfrm>
          <a:off x="685800" y="1335169"/>
          <a:ext cx="7420310" cy="2834020"/>
        </p:xfrm>
        <a:graphic>
          <a:graphicData uri="http://schemas.openxmlformats.org/drawingml/2006/table">
            <a:tbl>
              <a:tblPr firstRow="1" bandRow="1">
                <a:tableStyleId>{5C22544A-7EE6-4342-B048-85BDC9FD1C3A}</a:tableStyleId>
              </a:tblPr>
              <a:tblGrid>
                <a:gridCol w="1625192">
                  <a:extLst>
                    <a:ext uri="{9D8B030D-6E8A-4147-A177-3AD203B41FA5}">
                      <a16:colId xmlns:a16="http://schemas.microsoft.com/office/drawing/2014/main" val="3730140757"/>
                    </a:ext>
                  </a:extLst>
                </a:gridCol>
                <a:gridCol w="1188852">
                  <a:extLst>
                    <a:ext uri="{9D8B030D-6E8A-4147-A177-3AD203B41FA5}">
                      <a16:colId xmlns:a16="http://schemas.microsoft.com/office/drawing/2014/main" val="940051910"/>
                    </a:ext>
                  </a:extLst>
                </a:gridCol>
                <a:gridCol w="1739580">
                  <a:extLst>
                    <a:ext uri="{9D8B030D-6E8A-4147-A177-3AD203B41FA5}">
                      <a16:colId xmlns:a16="http://schemas.microsoft.com/office/drawing/2014/main" val="2842238834"/>
                    </a:ext>
                  </a:extLst>
                </a:gridCol>
                <a:gridCol w="1382624">
                  <a:extLst>
                    <a:ext uri="{9D8B030D-6E8A-4147-A177-3AD203B41FA5}">
                      <a16:colId xmlns:a16="http://schemas.microsoft.com/office/drawing/2014/main" val="3264329045"/>
                    </a:ext>
                  </a:extLst>
                </a:gridCol>
                <a:gridCol w="1484062">
                  <a:extLst>
                    <a:ext uri="{9D8B030D-6E8A-4147-A177-3AD203B41FA5}">
                      <a16:colId xmlns:a16="http://schemas.microsoft.com/office/drawing/2014/main" val="2427615995"/>
                    </a:ext>
                  </a:extLst>
                </a:gridCol>
              </a:tblGrid>
              <a:tr h="708505">
                <a:tc>
                  <a:txBody>
                    <a:bodyPr/>
                    <a:lstStyle/>
                    <a:p>
                      <a:r>
                        <a:rPr lang="en-US" b="1" dirty="0">
                          <a:solidFill>
                            <a:srgbClr val="FF0000"/>
                          </a:solidFill>
                        </a:rPr>
                        <a:t>ADC</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b="1" dirty="0">
                          <a:solidFill>
                            <a:srgbClr val="FF0000"/>
                          </a:solidFill>
                        </a:rPr>
                        <a:t>Targe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b="1" dirty="0">
                          <a:solidFill>
                            <a:srgbClr val="FF0000"/>
                          </a:solidFill>
                        </a:rPr>
                        <a:t>Antibod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b="1" dirty="0">
                          <a:solidFill>
                            <a:srgbClr val="FF0000"/>
                          </a:solidFill>
                        </a:rPr>
                        <a:t>Payloa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b="1" dirty="0">
                          <a:solidFill>
                            <a:srgbClr val="FF0000"/>
                          </a:solidFill>
                        </a:rPr>
                        <a:t>Approva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54378535"/>
                  </a:ext>
                </a:extLst>
              </a:tr>
              <a:tr h="708505">
                <a:tc>
                  <a:txBody>
                    <a:bodyPr/>
                    <a:lstStyle/>
                    <a:p>
                      <a:r>
                        <a:rPr lang="en-US" b="1" dirty="0"/>
                        <a:t>Trastuzumab emtansin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b="1" dirty="0"/>
                        <a:t>HER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b="1" dirty="0"/>
                        <a:t>Trastuzumab</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b="1" dirty="0"/>
                        <a:t>DM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b="1" dirty="0"/>
                        <a:t>201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94902434"/>
                  </a:ext>
                </a:extLst>
              </a:tr>
              <a:tr h="708505">
                <a:tc>
                  <a:txBody>
                    <a:bodyPr/>
                    <a:lstStyle/>
                    <a:p>
                      <a:r>
                        <a:rPr lang="en-US" b="1" dirty="0"/>
                        <a:t>Trastuzumab </a:t>
                      </a:r>
                      <a:r>
                        <a:rPr lang="en-US" b="1" dirty="0" err="1"/>
                        <a:t>deruxtecan</a:t>
                      </a:r>
                      <a:endParaRPr lang="en-US"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b="1" dirty="0"/>
                        <a:t>HER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b="1" dirty="0"/>
                        <a:t>Trastuzumab</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b="1" dirty="0" err="1"/>
                        <a:t>DXd</a:t>
                      </a:r>
                      <a:endParaRPr lang="en-US"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b="1" dirty="0"/>
                        <a:t>201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55925026"/>
                  </a:ext>
                </a:extLst>
              </a:tr>
              <a:tr h="708505">
                <a:tc>
                  <a:txBody>
                    <a:bodyPr/>
                    <a:lstStyle/>
                    <a:p>
                      <a:r>
                        <a:rPr lang="en-US" b="1" dirty="0"/>
                        <a:t>Sacituzumab </a:t>
                      </a:r>
                      <a:r>
                        <a:rPr lang="en-US" b="1" dirty="0" err="1"/>
                        <a:t>govitecan</a:t>
                      </a:r>
                      <a:endParaRPr lang="en-US"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b="1" dirty="0"/>
                        <a:t>TROP-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b="1" dirty="0"/>
                        <a:t>Sacituzumab</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b="1" dirty="0"/>
                        <a:t>SN-38</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b="1" dirty="0"/>
                        <a:t>202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538056300"/>
                  </a:ext>
                </a:extLst>
              </a:tr>
            </a:tbl>
          </a:graphicData>
        </a:graphic>
      </p:graphicFrame>
      <p:sp>
        <p:nvSpPr>
          <p:cNvPr id="6" name="Title 3">
            <a:extLst>
              <a:ext uri="{FF2B5EF4-FFF2-40B4-BE49-F238E27FC236}">
                <a16:creationId xmlns:a16="http://schemas.microsoft.com/office/drawing/2014/main" id="{F01E930D-031E-1D03-CF5D-71F34A5A9B9E}"/>
              </a:ext>
            </a:extLst>
          </p:cNvPr>
          <p:cNvSpPr>
            <a:spLocks noGrp="1"/>
          </p:cNvSpPr>
          <p:nvPr>
            <p:ph type="title"/>
          </p:nvPr>
        </p:nvSpPr>
        <p:spPr>
          <a:xfrm>
            <a:off x="655664" y="127465"/>
            <a:ext cx="7750348" cy="807256"/>
          </a:xfrm>
        </p:spPr>
        <p:txBody>
          <a:bodyPr/>
          <a:lstStyle/>
          <a:p>
            <a:pPr algn="l"/>
            <a:r>
              <a:rPr lang="en-US" b="1" dirty="0"/>
              <a:t>Antibody-Drug Conjugates in Breast Cancer</a:t>
            </a:r>
          </a:p>
        </p:txBody>
      </p:sp>
    </p:spTree>
    <p:extLst>
      <p:ext uri="{BB962C8B-B14F-4D97-AF65-F5344CB8AC3E}">
        <p14:creationId xmlns:p14="http://schemas.microsoft.com/office/powerpoint/2010/main" val="72585209"/>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55664" y="127465"/>
            <a:ext cx="7750348" cy="807256"/>
          </a:xfrm>
        </p:spPr>
        <p:txBody>
          <a:bodyPr/>
          <a:lstStyle/>
          <a:p>
            <a:pPr algn="l"/>
            <a:r>
              <a:rPr lang="en-US" b="1" dirty="0"/>
              <a:t>Sacituzumab </a:t>
            </a:r>
            <a:r>
              <a:rPr lang="en-US" b="1" dirty="0" err="1"/>
              <a:t>govitecan</a:t>
            </a:r>
            <a:endParaRPr lang="en-US" b="1" dirty="0"/>
          </a:p>
        </p:txBody>
      </p:sp>
      <p:pic>
        <p:nvPicPr>
          <p:cNvPr id="1026" name="Picture 2">
            <a:extLst>
              <a:ext uri="{FF2B5EF4-FFF2-40B4-BE49-F238E27FC236}">
                <a16:creationId xmlns:a16="http://schemas.microsoft.com/office/drawing/2014/main" id="{B1546989-A2B9-FA8C-3256-1C6AC94F87B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58370" y="776999"/>
            <a:ext cx="4487010" cy="3453923"/>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310ADC0D-D5BB-5A67-CC5F-5AAFDCF0786E}"/>
              </a:ext>
            </a:extLst>
          </p:cNvPr>
          <p:cNvSpPr txBox="1"/>
          <p:nvPr/>
        </p:nvSpPr>
        <p:spPr>
          <a:xfrm>
            <a:off x="6380218" y="4072167"/>
            <a:ext cx="1405412" cy="215444"/>
          </a:xfrm>
          <a:prstGeom prst="rect">
            <a:avLst/>
          </a:prstGeom>
          <a:noFill/>
        </p:spPr>
        <p:txBody>
          <a:bodyPr wrap="square" rtlCol="0">
            <a:spAutoFit/>
          </a:bodyPr>
          <a:lstStyle/>
          <a:p>
            <a:r>
              <a:rPr lang="en-US" sz="800" b="0" i="0" dirty="0">
                <a:solidFill>
                  <a:srgbClr val="1B1B1B"/>
                </a:solidFill>
                <a:effectLst/>
                <a:latin typeface="+mn-lt"/>
              </a:rPr>
              <a:t>Future Medicine. 2020 Mar</a:t>
            </a:r>
            <a:endParaRPr lang="en-US" sz="800" dirty="0">
              <a:latin typeface="+mn-lt"/>
            </a:endParaRPr>
          </a:p>
        </p:txBody>
      </p:sp>
    </p:spTree>
    <p:extLst>
      <p:ext uri="{BB962C8B-B14F-4D97-AF65-F5344CB8AC3E}">
        <p14:creationId xmlns:p14="http://schemas.microsoft.com/office/powerpoint/2010/main" val="25014578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Calendar&#10;&#10;Description automatically generated">
            <a:extLst>
              <a:ext uri="{FF2B5EF4-FFF2-40B4-BE49-F238E27FC236}">
                <a16:creationId xmlns:a16="http://schemas.microsoft.com/office/drawing/2014/main" id="{13805364-3E24-344F-95DA-43DA6B97ACDC}"/>
              </a:ext>
            </a:extLst>
          </p:cNvPr>
          <p:cNvPicPr>
            <a:picLocks noChangeAspect="1"/>
          </p:cNvPicPr>
          <p:nvPr/>
        </p:nvPicPr>
        <p:blipFill>
          <a:blip r:embed="rId3"/>
          <a:stretch>
            <a:fillRect/>
          </a:stretch>
        </p:blipFill>
        <p:spPr>
          <a:xfrm>
            <a:off x="7037" y="0"/>
            <a:ext cx="9129925" cy="5148263"/>
          </a:xfrm>
          <a:prstGeom prst="rect">
            <a:avLst/>
          </a:prstGeom>
        </p:spPr>
      </p:pic>
      <p:pic>
        <p:nvPicPr>
          <p:cNvPr id="15" name="Picture 14" descr="Graphical user interface, website&#10;&#10;Description automatically generated">
            <a:extLst>
              <a:ext uri="{FF2B5EF4-FFF2-40B4-BE49-F238E27FC236}">
                <a16:creationId xmlns:a16="http://schemas.microsoft.com/office/drawing/2014/main" id="{80727F13-6791-5B49-9F46-3BF36290A24F}"/>
              </a:ext>
            </a:extLst>
          </p:cNvPr>
          <p:cNvPicPr>
            <a:picLocks noChangeAspect="1"/>
          </p:cNvPicPr>
          <p:nvPr/>
        </p:nvPicPr>
        <p:blipFill>
          <a:blip r:embed="rId4"/>
          <a:stretch>
            <a:fillRect/>
          </a:stretch>
        </p:blipFill>
        <p:spPr>
          <a:xfrm>
            <a:off x="7037" y="0"/>
            <a:ext cx="9129925" cy="5148263"/>
          </a:xfrm>
          <a:prstGeom prst="rect">
            <a:avLst/>
          </a:prstGeom>
        </p:spPr>
      </p:pic>
      <p:pic>
        <p:nvPicPr>
          <p:cNvPr id="17" name="Picture 16" descr="Graphical user interface&#10;&#10;Description automatically generated">
            <a:extLst>
              <a:ext uri="{FF2B5EF4-FFF2-40B4-BE49-F238E27FC236}">
                <a16:creationId xmlns:a16="http://schemas.microsoft.com/office/drawing/2014/main" id="{F0D5927F-FD5E-F648-9B5E-758022183824}"/>
              </a:ext>
            </a:extLst>
          </p:cNvPr>
          <p:cNvPicPr>
            <a:picLocks noChangeAspect="1"/>
          </p:cNvPicPr>
          <p:nvPr/>
        </p:nvPicPr>
        <p:blipFill>
          <a:blip r:embed="rId5"/>
          <a:stretch>
            <a:fillRect/>
          </a:stretch>
        </p:blipFill>
        <p:spPr>
          <a:xfrm>
            <a:off x="7037" y="0"/>
            <a:ext cx="9129925" cy="5148263"/>
          </a:xfrm>
          <a:prstGeom prst="rect">
            <a:avLst/>
          </a:prstGeom>
        </p:spPr>
      </p:pic>
      <p:pic>
        <p:nvPicPr>
          <p:cNvPr id="10" name="Picture 9" descr="A picture containing text&#10;&#10;Description automatically generated">
            <a:extLst>
              <a:ext uri="{FF2B5EF4-FFF2-40B4-BE49-F238E27FC236}">
                <a16:creationId xmlns:a16="http://schemas.microsoft.com/office/drawing/2014/main" id="{9661F0C6-188E-94BA-269D-24C866E23D00}"/>
              </a:ext>
            </a:extLst>
          </p:cNvPr>
          <p:cNvPicPr>
            <a:picLocks noChangeAspect="1"/>
          </p:cNvPicPr>
          <p:nvPr/>
        </p:nvPicPr>
        <p:blipFill>
          <a:blip r:embed="rId6"/>
          <a:stretch>
            <a:fillRect/>
          </a:stretch>
        </p:blipFill>
        <p:spPr>
          <a:xfrm>
            <a:off x="-1" y="-12701"/>
            <a:ext cx="9129925" cy="5148263"/>
          </a:xfrm>
          <a:prstGeom prst="rect">
            <a:avLst/>
          </a:prstGeom>
        </p:spPr>
      </p:pic>
      <p:pic>
        <p:nvPicPr>
          <p:cNvPr id="5" name="Picture 4" descr="A picture containing graphical user interface&#10;&#10;Description automatically generated">
            <a:extLst>
              <a:ext uri="{FF2B5EF4-FFF2-40B4-BE49-F238E27FC236}">
                <a16:creationId xmlns:a16="http://schemas.microsoft.com/office/drawing/2014/main" id="{AE206FA8-1ADF-6743-B3FD-1CA6C6C63ADB}"/>
              </a:ext>
            </a:extLst>
          </p:cNvPr>
          <p:cNvPicPr>
            <a:picLocks noChangeAspect="1"/>
          </p:cNvPicPr>
          <p:nvPr/>
        </p:nvPicPr>
        <p:blipFill>
          <a:blip r:embed="rId7"/>
          <a:stretch>
            <a:fillRect/>
          </a:stretch>
        </p:blipFill>
        <p:spPr>
          <a:xfrm>
            <a:off x="-1" y="0"/>
            <a:ext cx="9144001" cy="5148263"/>
          </a:xfrm>
          <a:prstGeom prst="rect">
            <a:avLst/>
          </a:prstGeom>
        </p:spPr>
      </p:pic>
      <p:pic>
        <p:nvPicPr>
          <p:cNvPr id="3" name="Picture 2" descr="Graphical user interface&#10;&#10;Description automatically generated with medium confidence">
            <a:extLst>
              <a:ext uri="{FF2B5EF4-FFF2-40B4-BE49-F238E27FC236}">
                <a16:creationId xmlns:a16="http://schemas.microsoft.com/office/drawing/2014/main" id="{427AC361-97E5-DB4A-97F9-E64F0D38923A}"/>
              </a:ext>
            </a:extLst>
          </p:cNvPr>
          <p:cNvPicPr>
            <a:picLocks noChangeAspect="1"/>
          </p:cNvPicPr>
          <p:nvPr/>
        </p:nvPicPr>
        <p:blipFill>
          <a:blip r:embed="rId8"/>
          <a:stretch>
            <a:fillRect/>
          </a:stretch>
        </p:blipFill>
        <p:spPr>
          <a:xfrm>
            <a:off x="-1276" y="0"/>
            <a:ext cx="9129925" cy="5148263"/>
          </a:xfrm>
          <a:prstGeom prst="rect">
            <a:avLst/>
          </a:prstGeom>
        </p:spPr>
      </p:pic>
      <p:pic>
        <p:nvPicPr>
          <p:cNvPr id="13" name="Picture 12" descr="Graphical user interface&#10;&#10;Description automatically generated with medium confidence">
            <a:extLst>
              <a:ext uri="{FF2B5EF4-FFF2-40B4-BE49-F238E27FC236}">
                <a16:creationId xmlns:a16="http://schemas.microsoft.com/office/drawing/2014/main" id="{74C209DA-DD76-F140-A409-CC2B6FB9E380}"/>
              </a:ext>
            </a:extLst>
          </p:cNvPr>
          <p:cNvPicPr>
            <a:picLocks noChangeAspect="1"/>
          </p:cNvPicPr>
          <p:nvPr/>
        </p:nvPicPr>
        <p:blipFill>
          <a:blip r:embed="rId9"/>
          <a:stretch>
            <a:fillRect/>
          </a:stretch>
        </p:blipFill>
        <p:spPr>
          <a:xfrm>
            <a:off x="7037" y="91440"/>
            <a:ext cx="9129925" cy="5148263"/>
          </a:xfrm>
          <a:prstGeom prst="rect">
            <a:avLst/>
          </a:prstGeom>
        </p:spPr>
      </p:pic>
      <p:pic>
        <p:nvPicPr>
          <p:cNvPr id="11" name="Picture 10" descr="Graphical user interface&#10;&#10;Description automatically generated">
            <a:extLst>
              <a:ext uri="{FF2B5EF4-FFF2-40B4-BE49-F238E27FC236}">
                <a16:creationId xmlns:a16="http://schemas.microsoft.com/office/drawing/2014/main" id="{39E371F3-F698-6E43-9AF5-D6112EDA06B4}"/>
              </a:ext>
            </a:extLst>
          </p:cNvPr>
          <p:cNvPicPr>
            <a:picLocks noChangeAspect="1"/>
          </p:cNvPicPr>
          <p:nvPr/>
        </p:nvPicPr>
        <p:blipFill>
          <a:blip r:embed="rId10"/>
          <a:stretch>
            <a:fillRect/>
          </a:stretch>
        </p:blipFill>
        <p:spPr>
          <a:xfrm>
            <a:off x="7037" y="0"/>
            <a:ext cx="9129925" cy="5148263"/>
          </a:xfrm>
          <a:prstGeom prst="rect">
            <a:avLst/>
          </a:prstGeom>
        </p:spPr>
      </p:pic>
      <p:pic>
        <p:nvPicPr>
          <p:cNvPr id="7" name="Picture 6" descr="Graphical user interface&#10;&#10;Description automatically generated">
            <a:extLst>
              <a:ext uri="{FF2B5EF4-FFF2-40B4-BE49-F238E27FC236}">
                <a16:creationId xmlns:a16="http://schemas.microsoft.com/office/drawing/2014/main" id="{7ECE685F-3E0A-4645-A5C2-F8F5499F2E26}"/>
              </a:ext>
            </a:extLst>
          </p:cNvPr>
          <p:cNvPicPr>
            <a:picLocks noChangeAspect="1"/>
          </p:cNvPicPr>
          <p:nvPr/>
        </p:nvPicPr>
        <p:blipFill>
          <a:blip r:embed="rId11"/>
          <a:stretch>
            <a:fillRect/>
          </a:stretch>
        </p:blipFill>
        <p:spPr>
          <a:xfrm>
            <a:off x="14075" y="12699"/>
            <a:ext cx="9129925" cy="5148263"/>
          </a:xfrm>
          <a:prstGeom prst="rect">
            <a:avLst/>
          </a:prstGeom>
        </p:spPr>
      </p:pic>
      <p:sp>
        <p:nvSpPr>
          <p:cNvPr id="36" name="Rectangle 35">
            <a:extLst>
              <a:ext uri="{FF2B5EF4-FFF2-40B4-BE49-F238E27FC236}">
                <a16:creationId xmlns:a16="http://schemas.microsoft.com/office/drawing/2014/main" id="{A1B4A22D-3BE1-6C4A-812D-C1E98E8E0076}"/>
              </a:ext>
            </a:extLst>
          </p:cNvPr>
          <p:cNvSpPr/>
          <p:nvPr/>
        </p:nvSpPr>
        <p:spPr>
          <a:xfrm>
            <a:off x="0" y="2586831"/>
            <a:ext cx="9129925" cy="461665"/>
          </a:xfrm>
          <a:prstGeom prst="rect">
            <a:avLst/>
          </a:prstGeom>
        </p:spPr>
        <p:txBody>
          <a:bodyPr wrap="square">
            <a:spAutoFit/>
          </a:bodyPr>
          <a:lstStyle/>
          <a:p>
            <a:pPr algn="ctr"/>
            <a:r>
              <a:rPr lang="en-US" spc="600" dirty="0">
                <a:solidFill>
                  <a:srgbClr val="FFC82C"/>
                </a:solidFill>
                <a:latin typeface="Corporate A Medium" panose="02000503080000020004" pitchFamily="2" charset="0"/>
              </a:rPr>
              <a:t>BREAST CANCER</a:t>
            </a:r>
          </a:p>
        </p:txBody>
      </p:sp>
      <p:sp>
        <p:nvSpPr>
          <p:cNvPr id="37" name="Rectangle 36">
            <a:extLst>
              <a:ext uri="{FF2B5EF4-FFF2-40B4-BE49-F238E27FC236}">
                <a16:creationId xmlns:a16="http://schemas.microsoft.com/office/drawing/2014/main" id="{136DD176-7412-694A-BED9-E7F8655CA44E}"/>
              </a:ext>
            </a:extLst>
          </p:cNvPr>
          <p:cNvSpPr/>
          <p:nvPr/>
        </p:nvSpPr>
        <p:spPr>
          <a:xfrm>
            <a:off x="14075" y="3073896"/>
            <a:ext cx="9129925" cy="338554"/>
          </a:xfrm>
          <a:prstGeom prst="rect">
            <a:avLst/>
          </a:prstGeom>
        </p:spPr>
        <p:txBody>
          <a:bodyPr wrap="square">
            <a:spAutoFit/>
          </a:bodyPr>
          <a:lstStyle/>
          <a:p>
            <a:pPr algn="ctr"/>
            <a:r>
              <a:rPr lang="en-US" sz="1600" dirty="0">
                <a:solidFill>
                  <a:schemeClr val="bg1"/>
                </a:solidFill>
                <a:latin typeface="Corporate S Demi" panose="02020500000000000000" pitchFamily="18" charset="0"/>
              </a:rPr>
              <a:t>Wednesday, September 6, 2023</a:t>
            </a:r>
          </a:p>
        </p:txBody>
      </p:sp>
      <p:pic>
        <p:nvPicPr>
          <p:cNvPr id="12" name="Picture 11" descr="A close-up of a sign&#10;&#10;Description automatically generated">
            <a:extLst>
              <a:ext uri="{FF2B5EF4-FFF2-40B4-BE49-F238E27FC236}">
                <a16:creationId xmlns:a16="http://schemas.microsoft.com/office/drawing/2014/main" id="{77D2A35E-AD54-5045-1134-B3EC9C729BA1}"/>
              </a:ext>
            </a:extLst>
          </p:cNvPr>
          <p:cNvPicPr>
            <a:picLocks noChangeAspect="1"/>
          </p:cNvPicPr>
          <p:nvPr/>
        </p:nvPicPr>
        <p:blipFill>
          <a:blip r:embed="rId12"/>
          <a:stretch>
            <a:fillRect/>
          </a:stretch>
        </p:blipFill>
        <p:spPr>
          <a:xfrm>
            <a:off x="7044266" y="4416631"/>
            <a:ext cx="1790699" cy="444928"/>
          </a:xfrm>
          <a:prstGeom prst="rect">
            <a:avLst/>
          </a:prstGeom>
        </p:spPr>
      </p:pic>
    </p:spTree>
    <p:extLst>
      <p:ext uri="{BB962C8B-B14F-4D97-AF65-F5344CB8AC3E}">
        <p14:creationId xmlns:p14="http://schemas.microsoft.com/office/powerpoint/2010/main" val="1155464355"/>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79351" y="127465"/>
            <a:ext cx="8550081" cy="807256"/>
          </a:xfrm>
        </p:spPr>
        <p:txBody>
          <a:bodyPr/>
          <a:lstStyle/>
          <a:p>
            <a:pPr algn="l"/>
            <a:r>
              <a:rPr lang="en-US" altLang="en-US" sz="2400" b="1" dirty="0"/>
              <a:t>ASCENT: Phase III Sacituzumab </a:t>
            </a:r>
            <a:r>
              <a:rPr lang="en-US" altLang="en-US" sz="2400" b="1" dirty="0" err="1"/>
              <a:t>Govitecan</a:t>
            </a:r>
            <a:r>
              <a:rPr lang="en-US" altLang="en-US" sz="2400" b="1" dirty="0"/>
              <a:t> vs Single-Agent CT in Metastatic TNBC After ≥ 2 Prior CT Regimens</a:t>
            </a:r>
            <a:endParaRPr lang="en-US" sz="2400" b="1" dirty="0"/>
          </a:p>
        </p:txBody>
      </p:sp>
      <p:sp>
        <p:nvSpPr>
          <p:cNvPr id="41" name="Text Box 45">
            <a:extLst>
              <a:ext uri="{FF2B5EF4-FFF2-40B4-BE49-F238E27FC236}">
                <a16:creationId xmlns:a16="http://schemas.microsoft.com/office/drawing/2014/main" id="{33C00302-9BEE-AC71-493E-BF5767832C8B}"/>
              </a:ext>
            </a:extLst>
          </p:cNvPr>
          <p:cNvSpPr txBox="1">
            <a:spLocks noChangeArrowheads="1"/>
          </p:cNvSpPr>
          <p:nvPr/>
        </p:nvSpPr>
        <p:spPr bwMode="auto">
          <a:xfrm>
            <a:off x="243858" y="1485110"/>
            <a:ext cx="1840739" cy="2123658"/>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algn="ctr">
              <a:lnSpc>
                <a:spcPct val="100000"/>
              </a:lnSpc>
              <a:spcBef>
                <a:spcPct val="0"/>
              </a:spcBef>
              <a:spcAft>
                <a:spcPct val="0"/>
              </a:spcAft>
              <a:buClrTx/>
              <a:buFontTx/>
              <a:buNone/>
            </a:pPr>
            <a:r>
              <a:rPr lang="en-GB" altLang="en-US" sz="1200" b="0" dirty="0">
                <a:solidFill>
                  <a:schemeClr val="tx1"/>
                </a:solidFill>
                <a:latin typeface="Calibri" panose="020F0502020204030204" pitchFamily="34" charset="0"/>
              </a:rPr>
              <a:t>Patients with mTNBC and ≥ 2 prior CT (no upper limit; could include PD within 12 mo of [neo]adjuvant tx); prior taxane; RECIST v1.1 measurable disease; permitted brain mets if stable ≥4 wk before tx; ECOG PS 0/1</a:t>
            </a:r>
          </a:p>
          <a:p>
            <a:pPr algn="ctr">
              <a:lnSpc>
                <a:spcPct val="100000"/>
              </a:lnSpc>
              <a:spcBef>
                <a:spcPct val="0"/>
              </a:spcBef>
              <a:spcAft>
                <a:spcPct val="0"/>
              </a:spcAft>
              <a:buClrTx/>
              <a:buFontTx/>
              <a:buNone/>
            </a:pPr>
            <a:r>
              <a:rPr lang="en-GB" altLang="en-US" sz="1200" b="0" dirty="0">
                <a:solidFill>
                  <a:schemeClr val="tx1"/>
                </a:solidFill>
                <a:latin typeface="Calibri" panose="020F0502020204030204" pitchFamily="34" charset="0"/>
              </a:rPr>
              <a:t>(N = 529)</a:t>
            </a:r>
            <a:endParaRPr lang="en-US" altLang="en-US" sz="1200" b="0" dirty="0">
              <a:solidFill>
                <a:schemeClr val="tx1"/>
              </a:solidFill>
              <a:latin typeface="Calibri" panose="020F0502020204030204" pitchFamily="34" charset="0"/>
            </a:endParaRPr>
          </a:p>
        </p:txBody>
      </p:sp>
      <p:sp>
        <p:nvSpPr>
          <p:cNvPr id="45" name="Rectangle 49">
            <a:extLst>
              <a:ext uri="{FF2B5EF4-FFF2-40B4-BE49-F238E27FC236}">
                <a16:creationId xmlns:a16="http://schemas.microsoft.com/office/drawing/2014/main" id="{4385F744-0425-BE8D-A98D-EFEB45917FB0}"/>
              </a:ext>
            </a:extLst>
          </p:cNvPr>
          <p:cNvSpPr>
            <a:spLocks noChangeArrowheads="1"/>
          </p:cNvSpPr>
          <p:nvPr/>
        </p:nvSpPr>
        <p:spPr bwMode="auto">
          <a:xfrm>
            <a:off x="2677882" y="1485110"/>
            <a:ext cx="1980875" cy="813257"/>
          </a:xfrm>
          <a:prstGeom prst="rect">
            <a:avLst/>
          </a:prstGeom>
          <a:solidFill>
            <a:schemeClr val="accent5">
              <a:lumMod val="75000"/>
            </a:schemeClr>
          </a:solidFill>
          <a:ln>
            <a:noFill/>
          </a:ln>
        </p:spPr>
        <p:txBody>
          <a:bodyPr wrap="square" anchor="ctr" anchorCtr="1"/>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algn="ctr">
              <a:lnSpc>
                <a:spcPct val="100000"/>
              </a:lnSpc>
              <a:spcBef>
                <a:spcPct val="0"/>
              </a:spcBef>
              <a:spcAft>
                <a:spcPct val="0"/>
              </a:spcAft>
              <a:buClrTx/>
              <a:buFontTx/>
              <a:buNone/>
            </a:pPr>
            <a:r>
              <a:rPr lang="en-US" altLang="en-US" sz="1200" b="1" dirty="0">
                <a:solidFill>
                  <a:schemeClr val="tx1"/>
                </a:solidFill>
                <a:latin typeface="Calibri" panose="020F0502020204030204" pitchFamily="34" charset="0"/>
              </a:rPr>
              <a:t>Sacituzumab govitecan</a:t>
            </a:r>
            <a:r>
              <a:rPr lang="en-US" altLang="en-US" sz="1200" dirty="0">
                <a:solidFill>
                  <a:schemeClr val="tx1"/>
                </a:solidFill>
                <a:latin typeface="Calibri" panose="020F0502020204030204" pitchFamily="34" charset="0"/>
              </a:rPr>
              <a:t> </a:t>
            </a:r>
            <a:br>
              <a:rPr lang="en-US" altLang="en-US" sz="1200" dirty="0">
                <a:solidFill>
                  <a:schemeClr val="tx1"/>
                </a:solidFill>
                <a:latin typeface="Calibri" panose="020F0502020204030204" pitchFamily="34" charset="0"/>
              </a:rPr>
            </a:br>
            <a:r>
              <a:rPr lang="en-US" altLang="en-US" sz="1200" b="0" dirty="0">
                <a:solidFill>
                  <a:schemeClr val="tx1"/>
                </a:solidFill>
                <a:latin typeface="Calibri" panose="020F0502020204030204" pitchFamily="34" charset="0"/>
              </a:rPr>
              <a:t>10 mg/kg IV on Days 1, 8 every 21 days </a:t>
            </a:r>
          </a:p>
          <a:p>
            <a:pPr algn="ctr">
              <a:lnSpc>
                <a:spcPct val="100000"/>
              </a:lnSpc>
              <a:spcBef>
                <a:spcPct val="0"/>
              </a:spcBef>
              <a:spcAft>
                <a:spcPct val="0"/>
              </a:spcAft>
              <a:buClrTx/>
              <a:buFontTx/>
              <a:buNone/>
            </a:pPr>
            <a:r>
              <a:rPr lang="en-US" altLang="en-US" sz="1200" b="0" dirty="0">
                <a:solidFill>
                  <a:schemeClr val="tx1"/>
                </a:solidFill>
                <a:latin typeface="Calibri" panose="020F0502020204030204" pitchFamily="34" charset="0"/>
              </a:rPr>
              <a:t>(n = 267)</a:t>
            </a:r>
          </a:p>
        </p:txBody>
      </p:sp>
      <p:sp>
        <p:nvSpPr>
          <p:cNvPr id="46" name="Rectangle 50">
            <a:extLst>
              <a:ext uri="{FF2B5EF4-FFF2-40B4-BE49-F238E27FC236}">
                <a16:creationId xmlns:a16="http://schemas.microsoft.com/office/drawing/2014/main" id="{CE3A6B9C-AFFC-302E-2168-5F86D616BAE0}"/>
              </a:ext>
            </a:extLst>
          </p:cNvPr>
          <p:cNvSpPr>
            <a:spLocks noChangeArrowheads="1"/>
          </p:cNvSpPr>
          <p:nvPr/>
        </p:nvSpPr>
        <p:spPr bwMode="auto">
          <a:xfrm>
            <a:off x="2677883" y="2561224"/>
            <a:ext cx="1980875" cy="813257"/>
          </a:xfrm>
          <a:prstGeom prst="rect">
            <a:avLst/>
          </a:prstGeom>
          <a:solidFill>
            <a:schemeClr val="accent2">
              <a:lumMod val="40000"/>
              <a:lumOff val="60000"/>
            </a:schemeClr>
          </a:solidFill>
          <a:ln>
            <a:noFill/>
          </a:ln>
        </p:spPr>
        <p:txBody>
          <a:bodyPr wrap="square" anchor="ctr" anchorCtr="1"/>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algn="ctr">
              <a:lnSpc>
                <a:spcPct val="100000"/>
              </a:lnSpc>
              <a:spcBef>
                <a:spcPct val="0"/>
              </a:spcBef>
              <a:spcAft>
                <a:spcPct val="0"/>
              </a:spcAft>
              <a:buClrTx/>
              <a:buFontTx/>
              <a:buNone/>
            </a:pPr>
            <a:r>
              <a:rPr lang="en-US" altLang="en-US" sz="1200" b="1" dirty="0">
                <a:solidFill>
                  <a:schemeClr val="tx1"/>
                </a:solidFill>
                <a:latin typeface="Calibri" panose="020F0502020204030204" pitchFamily="34" charset="0"/>
              </a:rPr>
              <a:t>Physician’s choice of single-agent CT*</a:t>
            </a:r>
          </a:p>
          <a:p>
            <a:pPr algn="ctr">
              <a:lnSpc>
                <a:spcPct val="100000"/>
              </a:lnSpc>
              <a:spcBef>
                <a:spcPct val="0"/>
              </a:spcBef>
              <a:spcAft>
                <a:spcPct val="0"/>
              </a:spcAft>
              <a:buClrTx/>
              <a:buFontTx/>
              <a:buNone/>
            </a:pPr>
            <a:r>
              <a:rPr lang="en-US" altLang="en-US" sz="1200" b="0" dirty="0">
                <a:solidFill>
                  <a:schemeClr val="tx1"/>
                </a:solidFill>
                <a:latin typeface="Calibri" panose="020F0502020204030204" pitchFamily="34" charset="0"/>
              </a:rPr>
              <a:t>(n = 262)</a:t>
            </a:r>
          </a:p>
        </p:txBody>
      </p:sp>
      <p:sp>
        <p:nvSpPr>
          <p:cNvPr id="47" name="TextBox 46">
            <a:extLst>
              <a:ext uri="{FF2B5EF4-FFF2-40B4-BE49-F238E27FC236}">
                <a16:creationId xmlns:a16="http://schemas.microsoft.com/office/drawing/2014/main" id="{294343B9-F805-24B3-8B6B-1E0088D989EC}"/>
              </a:ext>
            </a:extLst>
          </p:cNvPr>
          <p:cNvSpPr txBox="1"/>
          <p:nvPr/>
        </p:nvSpPr>
        <p:spPr bwMode="auto">
          <a:xfrm>
            <a:off x="6509146" y="1579514"/>
            <a:ext cx="1840739" cy="1846659"/>
          </a:xfrm>
          <a:prstGeom prst="rect">
            <a:avLst/>
          </a:prstGeom>
          <a:noFill/>
          <a:ln w="9525" algn="ctr">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wrap="square" rtlCol="0">
            <a:spAutoFit/>
          </a:bodyPr>
          <a:lstStyle/>
          <a:p>
            <a:pPr marL="342900" indent="-342900" algn="l">
              <a:lnSpc>
                <a:spcPct val="100000"/>
              </a:lnSpc>
              <a:spcBef>
                <a:spcPct val="50000"/>
              </a:spcBef>
              <a:spcAft>
                <a:spcPct val="0"/>
              </a:spcAft>
              <a:buClrTx/>
              <a:buFont typeface="Wingdings" panose="05000000000000000000" pitchFamily="2" charset="2"/>
              <a:buChar char="§"/>
            </a:pPr>
            <a:r>
              <a:rPr lang="en-US" sz="1200" dirty="0">
                <a:latin typeface="Calibri" panose="020F0502020204030204" pitchFamily="34" charset="0"/>
              </a:rPr>
              <a:t>Primary endpoint: </a:t>
            </a:r>
            <a:r>
              <a:rPr lang="en-US" sz="1200" b="0" dirty="0">
                <a:latin typeface="Calibri" panose="020F0502020204030204" pitchFamily="34" charset="0"/>
              </a:rPr>
              <a:t>PFS by BICR in patients without brain mets</a:t>
            </a:r>
          </a:p>
          <a:p>
            <a:pPr marL="342900" indent="-342900" algn="l">
              <a:lnSpc>
                <a:spcPct val="100000"/>
              </a:lnSpc>
              <a:spcBef>
                <a:spcPct val="50000"/>
              </a:spcBef>
              <a:spcAft>
                <a:spcPct val="0"/>
              </a:spcAft>
              <a:buClrTx/>
              <a:buFont typeface="Wingdings" panose="05000000000000000000" pitchFamily="2" charset="2"/>
              <a:buChar char="§"/>
            </a:pPr>
            <a:r>
              <a:rPr lang="en-US" sz="1200" dirty="0">
                <a:latin typeface="Calibri" panose="020F0502020204030204" pitchFamily="34" charset="0"/>
              </a:rPr>
              <a:t>Secondary endpoints:</a:t>
            </a:r>
            <a:r>
              <a:rPr lang="en-US" sz="1200" b="0" dirty="0">
                <a:latin typeface="Calibri" panose="020F0502020204030204" pitchFamily="34" charset="0"/>
              </a:rPr>
              <a:t> investigator-assessed PFS, OS, ORR, DoR, TTR, safety</a:t>
            </a:r>
          </a:p>
        </p:txBody>
      </p:sp>
      <p:sp>
        <p:nvSpPr>
          <p:cNvPr id="52" name="TextBox 51">
            <a:extLst>
              <a:ext uri="{FF2B5EF4-FFF2-40B4-BE49-F238E27FC236}">
                <a16:creationId xmlns:a16="http://schemas.microsoft.com/office/drawing/2014/main" id="{B9EEC7A0-F123-D745-152C-F583EFA65C9D}"/>
              </a:ext>
            </a:extLst>
          </p:cNvPr>
          <p:cNvSpPr txBox="1"/>
          <p:nvPr/>
        </p:nvSpPr>
        <p:spPr bwMode="auto">
          <a:xfrm>
            <a:off x="2475400" y="3391117"/>
            <a:ext cx="300964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algn="ctr">
              <a:spcBef>
                <a:spcPts val="0"/>
              </a:spcBef>
            </a:pPr>
            <a:r>
              <a:rPr lang="en-US" sz="1000" b="0" dirty="0">
                <a:latin typeface="Calibri" panose="020F0502020204030204" pitchFamily="34" charset="0"/>
              </a:rPr>
              <a:t>*Capecitabine, eribulin, gemcitabine, or vinorelbine</a:t>
            </a:r>
            <a:r>
              <a:rPr lang="en-US" sz="800" b="0" dirty="0">
                <a:solidFill>
                  <a:schemeClr val="bg1"/>
                </a:solidFill>
                <a:latin typeface="Calibri" panose="020F0502020204030204" pitchFamily="34" charset="0"/>
              </a:rPr>
              <a:t>.</a:t>
            </a:r>
          </a:p>
        </p:txBody>
      </p:sp>
      <p:cxnSp>
        <p:nvCxnSpPr>
          <p:cNvPr id="54" name="Straight Connector 53">
            <a:extLst>
              <a:ext uri="{FF2B5EF4-FFF2-40B4-BE49-F238E27FC236}">
                <a16:creationId xmlns:a16="http://schemas.microsoft.com/office/drawing/2014/main" id="{91F86D1A-65E8-5614-61CA-77219B162B66}"/>
              </a:ext>
            </a:extLst>
          </p:cNvPr>
          <p:cNvCxnSpPr>
            <a:stCxn id="41" idx="3"/>
          </p:cNvCxnSpPr>
          <p:nvPr/>
        </p:nvCxnSpPr>
        <p:spPr bwMode="auto">
          <a:xfrm>
            <a:off x="2084597" y="2546939"/>
            <a:ext cx="264987"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56" name="Straight Connector 55">
            <a:extLst>
              <a:ext uri="{FF2B5EF4-FFF2-40B4-BE49-F238E27FC236}">
                <a16:creationId xmlns:a16="http://schemas.microsoft.com/office/drawing/2014/main" id="{288545AF-AD7B-9E7D-A2C6-505C8A980F35}"/>
              </a:ext>
            </a:extLst>
          </p:cNvPr>
          <p:cNvCxnSpPr/>
          <p:nvPr/>
        </p:nvCxnSpPr>
        <p:spPr bwMode="auto">
          <a:xfrm>
            <a:off x="2361695" y="1913579"/>
            <a:ext cx="0" cy="1265626"/>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58" name="Straight Arrow Connector 57">
            <a:extLst>
              <a:ext uri="{FF2B5EF4-FFF2-40B4-BE49-F238E27FC236}">
                <a16:creationId xmlns:a16="http://schemas.microsoft.com/office/drawing/2014/main" id="{97DC877E-02C8-B86F-C15D-D97676A1001A}"/>
              </a:ext>
            </a:extLst>
          </p:cNvPr>
          <p:cNvCxnSpPr>
            <a:cxnSpLocks/>
          </p:cNvCxnSpPr>
          <p:nvPr/>
        </p:nvCxnSpPr>
        <p:spPr bwMode="auto">
          <a:xfrm>
            <a:off x="2361695" y="1913579"/>
            <a:ext cx="281587" cy="0"/>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cxnSp>
        <p:nvCxnSpPr>
          <p:cNvPr id="59" name="Straight Arrow Connector 58">
            <a:extLst>
              <a:ext uri="{FF2B5EF4-FFF2-40B4-BE49-F238E27FC236}">
                <a16:creationId xmlns:a16="http://schemas.microsoft.com/office/drawing/2014/main" id="{09C85AF5-27F3-2732-5619-0C67B90B0D58}"/>
              </a:ext>
            </a:extLst>
          </p:cNvPr>
          <p:cNvCxnSpPr>
            <a:cxnSpLocks/>
          </p:cNvCxnSpPr>
          <p:nvPr/>
        </p:nvCxnSpPr>
        <p:spPr bwMode="auto">
          <a:xfrm>
            <a:off x="2350593" y="3180214"/>
            <a:ext cx="292689" cy="0"/>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cxnSp>
        <p:nvCxnSpPr>
          <p:cNvPr id="60" name="Straight Connector 59">
            <a:extLst>
              <a:ext uri="{FF2B5EF4-FFF2-40B4-BE49-F238E27FC236}">
                <a16:creationId xmlns:a16="http://schemas.microsoft.com/office/drawing/2014/main" id="{2DEE0516-CEB6-3DDA-B3DB-F2FD6FBEEC81}"/>
              </a:ext>
            </a:extLst>
          </p:cNvPr>
          <p:cNvCxnSpPr/>
          <p:nvPr/>
        </p:nvCxnSpPr>
        <p:spPr bwMode="auto">
          <a:xfrm>
            <a:off x="4641942" y="1887263"/>
            <a:ext cx="264987"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61" name="Straight Connector 60">
            <a:extLst>
              <a:ext uri="{FF2B5EF4-FFF2-40B4-BE49-F238E27FC236}">
                <a16:creationId xmlns:a16="http://schemas.microsoft.com/office/drawing/2014/main" id="{9ADE9B47-FBD0-42A2-12E4-9C0F3968DC1C}"/>
              </a:ext>
            </a:extLst>
          </p:cNvPr>
          <p:cNvCxnSpPr/>
          <p:nvPr/>
        </p:nvCxnSpPr>
        <p:spPr bwMode="auto">
          <a:xfrm>
            <a:off x="4641941" y="3139308"/>
            <a:ext cx="264987"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62" name="Straight Connector 61">
            <a:extLst>
              <a:ext uri="{FF2B5EF4-FFF2-40B4-BE49-F238E27FC236}">
                <a16:creationId xmlns:a16="http://schemas.microsoft.com/office/drawing/2014/main" id="{5DD812BA-2465-9E2F-6D78-6AD00EC81272}"/>
              </a:ext>
            </a:extLst>
          </p:cNvPr>
          <p:cNvCxnSpPr/>
          <p:nvPr/>
        </p:nvCxnSpPr>
        <p:spPr bwMode="auto">
          <a:xfrm>
            <a:off x="4906928" y="1878179"/>
            <a:ext cx="0" cy="1265626"/>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63" name="Straight Arrow Connector 62">
            <a:extLst>
              <a:ext uri="{FF2B5EF4-FFF2-40B4-BE49-F238E27FC236}">
                <a16:creationId xmlns:a16="http://schemas.microsoft.com/office/drawing/2014/main" id="{00D70E65-994D-1854-E3FC-3B5C8C05BD00}"/>
              </a:ext>
            </a:extLst>
          </p:cNvPr>
          <p:cNvCxnSpPr>
            <a:cxnSpLocks/>
          </p:cNvCxnSpPr>
          <p:nvPr/>
        </p:nvCxnSpPr>
        <p:spPr bwMode="auto">
          <a:xfrm>
            <a:off x="4906928" y="2484676"/>
            <a:ext cx="252468" cy="0"/>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sp>
        <p:nvSpPr>
          <p:cNvPr id="2" name="Text Box 45">
            <a:extLst>
              <a:ext uri="{FF2B5EF4-FFF2-40B4-BE49-F238E27FC236}">
                <a16:creationId xmlns:a16="http://schemas.microsoft.com/office/drawing/2014/main" id="{C8AD1207-2B68-803D-940F-7BBC224CCA6F}"/>
              </a:ext>
            </a:extLst>
          </p:cNvPr>
          <p:cNvSpPr txBox="1">
            <a:spLocks noChangeArrowheads="1"/>
          </p:cNvSpPr>
          <p:nvPr/>
        </p:nvSpPr>
        <p:spPr bwMode="auto">
          <a:xfrm>
            <a:off x="5188129" y="1887263"/>
            <a:ext cx="1034729" cy="138499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algn="ctr">
              <a:lnSpc>
                <a:spcPct val="100000"/>
              </a:lnSpc>
              <a:spcBef>
                <a:spcPct val="0"/>
              </a:spcBef>
              <a:spcAft>
                <a:spcPct val="0"/>
              </a:spcAft>
              <a:buClrTx/>
              <a:buFontTx/>
              <a:buNone/>
            </a:pPr>
            <a:r>
              <a:rPr lang="en-GB" altLang="en-US" sz="1200" b="0" dirty="0">
                <a:solidFill>
                  <a:schemeClr val="tx1"/>
                </a:solidFill>
                <a:latin typeface="Calibri" panose="020F0502020204030204" pitchFamily="34" charset="0"/>
              </a:rPr>
              <a:t>Continue treatment until progression or unacceptable toxicity</a:t>
            </a:r>
            <a:endParaRPr lang="en-US" altLang="en-US" sz="1200" b="0" dirty="0">
              <a:solidFill>
                <a:schemeClr val="tx1"/>
              </a:solidFill>
              <a:latin typeface="Calibri" panose="020F0502020204030204" pitchFamily="34" charset="0"/>
            </a:endParaRPr>
          </a:p>
        </p:txBody>
      </p:sp>
      <p:cxnSp>
        <p:nvCxnSpPr>
          <p:cNvPr id="10" name="Straight Arrow Connector 9">
            <a:extLst>
              <a:ext uri="{FF2B5EF4-FFF2-40B4-BE49-F238E27FC236}">
                <a16:creationId xmlns:a16="http://schemas.microsoft.com/office/drawing/2014/main" id="{4E3EE15D-9F2F-07E5-E6A7-C67E7B8548AB}"/>
              </a:ext>
            </a:extLst>
          </p:cNvPr>
          <p:cNvCxnSpPr>
            <a:cxnSpLocks/>
          </p:cNvCxnSpPr>
          <p:nvPr/>
        </p:nvCxnSpPr>
        <p:spPr bwMode="auto">
          <a:xfrm>
            <a:off x="6230079" y="2510992"/>
            <a:ext cx="252468" cy="0"/>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sp>
        <p:nvSpPr>
          <p:cNvPr id="12" name="Text Box 15">
            <a:extLst>
              <a:ext uri="{FF2B5EF4-FFF2-40B4-BE49-F238E27FC236}">
                <a16:creationId xmlns:a16="http://schemas.microsoft.com/office/drawing/2014/main" id="{C1F51BCC-893D-AB6B-C56A-69D3DFCA431A}"/>
              </a:ext>
            </a:extLst>
          </p:cNvPr>
          <p:cNvSpPr txBox="1">
            <a:spLocks noChangeArrowheads="1"/>
          </p:cNvSpPr>
          <p:nvPr/>
        </p:nvSpPr>
        <p:spPr bwMode="auto">
          <a:xfrm>
            <a:off x="6579574" y="4108670"/>
            <a:ext cx="2122021" cy="215444"/>
          </a:xfrm>
          <a:prstGeom prst="rect">
            <a:avLst/>
          </a:prstGeom>
          <a:noFill/>
          <a:ln>
            <a:noFill/>
          </a:ln>
        </p:spPr>
        <p:txBody>
          <a:bodyPr wrap="square" anchor="b">
            <a:spAutoFit/>
          </a:bodyPr>
          <a:lstStyle>
            <a:lvl1pPr>
              <a:defRPr b="1">
                <a:solidFill>
                  <a:schemeClr val="tx1"/>
                </a:solidFill>
                <a:latin typeface="Arial" charset="0"/>
              </a:defRPr>
            </a:lvl1pPr>
            <a:lvl2pPr marL="742950" indent="-285750">
              <a:defRPr b="1">
                <a:solidFill>
                  <a:schemeClr val="tx1"/>
                </a:solidFill>
                <a:latin typeface="Arial" charset="0"/>
              </a:defRPr>
            </a:lvl2pPr>
            <a:lvl3pPr marL="1143000" indent="-228600">
              <a:defRPr b="1">
                <a:solidFill>
                  <a:schemeClr val="tx1"/>
                </a:solidFill>
                <a:latin typeface="Arial" charset="0"/>
              </a:defRPr>
            </a:lvl3pPr>
            <a:lvl4pPr marL="1600200" indent="-228600">
              <a:defRPr b="1">
                <a:solidFill>
                  <a:schemeClr val="tx1"/>
                </a:solidFill>
                <a:latin typeface="Arial" charset="0"/>
              </a:defRPr>
            </a:lvl4pPr>
            <a:lvl5pPr marL="2057400" indent="-228600">
              <a:defRPr b="1">
                <a:solidFill>
                  <a:schemeClr val="tx1"/>
                </a:solidFill>
                <a:latin typeface="Arial" charset="0"/>
              </a:defRPr>
            </a:lvl5pPr>
            <a:lvl6pPr marL="2514600" indent="-228600" eaLnBrk="0" fontAlgn="base" hangingPunct="0">
              <a:spcBef>
                <a:spcPct val="0"/>
              </a:spcBef>
              <a:spcAft>
                <a:spcPct val="0"/>
              </a:spcAft>
              <a:defRPr b="1">
                <a:solidFill>
                  <a:schemeClr val="tx1"/>
                </a:solidFill>
                <a:latin typeface="Arial" charset="0"/>
              </a:defRPr>
            </a:lvl6pPr>
            <a:lvl7pPr marL="2971800" indent="-228600" eaLnBrk="0" fontAlgn="base" hangingPunct="0">
              <a:spcBef>
                <a:spcPct val="0"/>
              </a:spcBef>
              <a:spcAft>
                <a:spcPct val="0"/>
              </a:spcAft>
              <a:defRPr b="1">
                <a:solidFill>
                  <a:schemeClr val="tx1"/>
                </a:solidFill>
                <a:latin typeface="Arial" charset="0"/>
              </a:defRPr>
            </a:lvl7pPr>
            <a:lvl8pPr marL="3429000" indent="-228600" eaLnBrk="0" fontAlgn="base" hangingPunct="0">
              <a:spcBef>
                <a:spcPct val="0"/>
              </a:spcBef>
              <a:spcAft>
                <a:spcPct val="0"/>
              </a:spcAft>
              <a:defRPr b="1">
                <a:solidFill>
                  <a:schemeClr val="tx1"/>
                </a:solidFill>
                <a:latin typeface="Arial" charset="0"/>
              </a:defRPr>
            </a:lvl8pPr>
            <a:lvl9pPr marL="3886200" indent="-228600" eaLnBrk="0" fontAlgn="base" hangingPunct="0">
              <a:spcBef>
                <a:spcPct val="0"/>
              </a:spcBef>
              <a:spcAft>
                <a:spcPct val="0"/>
              </a:spcAft>
              <a:defRPr b="1">
                <a:solidFill>
                  <a:schemeClr val="tx1"/>
                </a:solidFill>
                <a:latin typeface="Arial" charset="0"/>
              </a:defRPr>
            </a:lvl9pPr>
          </a:lstStyle>
          <a:p>
            <a:pPr>
              <a:defRPr/>
            </a:pPr>
            <a:r>
              <a:rPr lang="en-US" altLang="en-US" sz="800" b="0" spc="-10" dirty="0">
                <a:solidFill>
                  <a:srgbClr val="455560"/>
                </a:solidFill>
                <a:latin typeface="Calibri" panose="020F0502020204030204" pitchFamily="34" charset="0"/>
                <a:ea typeface="+mn-ea"/>
                <a:cs typeface="Arial" panose="020B0604020202020204" pitchFamily="34" charset="0"/>
              </a:rPr>
              <a:t>Bardia. NEJM. 2021, 384:1529 </a:t>
            </a:r>
            <a:endParaRPr lang="en-US" altLang="en-US" sz="800" b="0" dirty="0">
              <a:solidFill>
                <a:srgbClr val="455560"/>
              </a:solidFill>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828883664"/>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Title 3">
            <a:extLst>
              <a:ext uri="{FF2B5EF4-FFF2-40B4-BE49-F238E27FC236}">
                <a16:creationId xmlns:a16="http://schemas.microsoft.com/office/drawing/2014/main" id="{A77FF3FD-499A-98B3-122D-66FDCDA0C90C}"/>
              </a:ext>
            </a:extLst>
          </p:cNvPr>
          <p:cNvSpPr txBox="1">
            <a:spLocks/>
          </p:cNvSpPr>
          <p:nvPr/>
        </p:nvSpPr>
        <p:spPr>
          <a:xfrm>
            <a:off x="179351" y="127465"/>
            <a:ext cx="8550081" cy="807256"/>
          </a:xfrm>
          <a:prstGeom prst="rect">
            <a:avLst/>
          </a:prstGeom>
          <a:noFill/>
        </p:spPr>
        <p:txBody>
          <a:bodyPr/>
          <a:lstStyle>
            <a:lvl1pPr algn="ctr" rtl="0" eaLnBrk="1" fontAlgn="base" hangingPunct="1">
              <a:spcBef>
                <a:spcPct val="0"/>
              </a:spcBef>
              <a:spcAft>
                <a:spcPct val="0"/>
              </a:spcAft>
              <a:defRPr sz="3600" i="0">
                <a:solidFill>
                  <a:srgbClr val="002450"/>
                </a:solidFill>
                <a:latin typeface="+mn-lt"/>
                <a:ea typeface="+mj-ea"/>
                <a:cs typeface="+mj-cs"/>
              </a:defRPr>
            </a:lvl1pPr>
            <a:lvl2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2pPr>
            <a:lvl3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3pPr>
            <a:lvl4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4pPr>
            <a:lvl5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5pPr>
            <a:lvl6pPr marL="4572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6pPr>
            <a:lvl7pPr marL="9144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7pPr>
            <a:lvl8pPr marL="13716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8pPr>
            <a:lvl9pPr marL="18288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9pPr>
          </a:lstStyle>
          <a:p>
            <a:pPr algn="l"/>
            <a:r>
              <a:rPr lang="en-US" altLang="en-US" sz="2400" b="1" kern="0" dirty="0"/>
              <a:t>ASCENT: </a:t>
            </a:r>
            <a:r>
              <a:rPr lang="en-US" sz="2400" b="1" kern="0" dirty="0"/>
              <a:t>Baseline Characteristics of Patients Without Brain Metastasis</a:t>
            </a:r>
          </a:p>
        </p:txBody>
      </p:sp>
      <p:graphicFrame>
        <p:nvGraphicFramePr>
          <p:cNvPr id="67" name="Group 32">
            <a:extLst>
              <a:ext uri="{FF2B5EF4-FFF2-40B4-BE49-F238E27FC236}">
                <a16:creationId xmlns:a16="http://schemas.microsoft.com/office/drawing/2014/main" id="{102FAF6F-A0E9-84FC-48B5-CF98FB1326E4}"/>
              </a:ext>
            </a:extLst>
          </p:cNvPr>
          <p:cNvGraphicFramePr>
            <a:graphicFrameLocks noGrp="1"/>
          </p:cNvGraphicFramePr>
          <p:nvPr>
            <p:extLst>
              <p:ext uri="{D42A27DB-BD31-4B8C-83A1-F6EECF244321}">
                <p14:modId xmlns:p14="http://schemas.microsoft.com/office/powerpoint/2010/main" val="1907823903"/>
              </p:ext>
            </p:extLst>
          </p:nvPr>
        </p:nvGraphicFramePr>
        <p:xfrm>
          <a:off x="298788" y="934721"/>
          <a:ext cx="3720455" cy="3067787"/>
        </p:xfrm>
        <a:graphic>
          <a:graphicData uri="http://schemas.openxmlformats.org/drawingml/2006/table">
            <a:tbl>
              <a:tblPr>
                <a:tableStyleId>{073A0DAA-6AF3-43AB-8588-CEC1D06C72B9}</a:tableStyleId>
              </a:tblPr>
              <a:tblGrid>
                <a:gridCol w="1771647">
                  <a:extLst>
                    <a:ext uri="{9D8B030D-6E8A-4147-A177-3AD203B41FA5}">
                      <a16:colId xmlns:a16="http://schemas.microsoft.com/office/drawing/2014/main" val="2570165244"/>
                    </a:ext>
                  </a:extLst>
                </a:gridCol>
                <a:gridCol w="974404">
                  <a:extLst>
                    <a:ext uri="{9D8B030D-6E8A-4147-A177-3AD203B41FA5}">
                      <a16:colId xmlns:a16="http://schemas.microsoft.com/office/drawing/2014/main" val="20001"/>
                    </a:ext>
                  </a:extLst>
                </a:gridCol>
                <a:gridCol w="974404">
                  <a:extLst>
                    <a:ext uri="{9D8B030D-6E8A-4147-A177-3AD203B41FA5}">
                      <a16:colId xmlns:a16="http://schemas.microsoft.com/office/drawing/2014/main" val="20002"/>
                    </a:ext>
                  </a:extLst>
                </a:gridCol>
              </a:tblGrid>
              <a:tr h="484117">
                <a:tc>
                  <a:txBody>
                    <a:bodyPr/>
                    <a:lstStyle/>
                    <a:p>
                      <a:pPr marL="0" marR="0" lvl="0" indent="0" algn="l" defTabSz="914400" rtl="0" eaLnBrk="1" fontAlgn="base" latinLnBrk="0" hangingPunct="1">
                        <a:lnSpc>
                          <a:spcPct val="100000"/>
                        </a:lnSpc>
                        <a:spcBef>
                          <a:spcPct val="35000"/>
                        </a:spcBef>
                        <a:spcAft>
                          <a:spcPts val="0"/>
                        </a:spcAft>
                        <a:buClr>
                          <a:schemeClr val="accent2"/>
                        </a:buClr>
                        <a:buSzTx/>
                        <a:buFont typeface="Wingdings" pitchFamily="2" charset="2"/>
                        <a:buNone/>
                        <a:tabLst/>
                      </a:pPr>
                      <a:r>
                        <a:rPr kumimoji="0" lang="en-US" sz="1200" b="1" u="none" strike="noStrike" cap="none" normalizeH="0" baseline="0" dirty="0">
                          <a:ln>
                            <a:noFill/>
                          </a:ln>
                          <a:solidFill>
                            <a:schemeClr val="tx1"/>
                          </a:solidFill>
                          <a:effectLst/>
                        </a:rPr>
                        <a:t>Characteristic, n (%)</a:t>
                      </a:r>
                      <a:endParaRPr kumimoji="0" lang="en-US" sz="1200" b="1" i="0" u="none" strike="noStrike" cap="none" normalizeH="0" baseline="0" dirty="0">
                        <a:ln>
                          <a:noFill/>
                        </a:ln>
                        <a:solidFill>
                          <a:schemeClr val="tx1"/>
                        </a:solidFill>
                        <a:effectLst/>
                        <a:latin typeface="Calibri" panose="020F0502020204030204" pitchFamily="34" charset="0"/>
                      </a:endParaRP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schemeClr>
                    </a:solidFill>
                  </a:tcPr>
                </a:tc>
                <a:tc>
                  <a:txBody>
                    <a:bodyPr/>
                    <a:lstStyle/>
                    <a:p>
                      <a:pPr marL="0" marR="0" lvl="0" indent="0" algn="ctr" defTabSz="914400" rtl="0" eaLnBrk="1" fontAlgn="base" latinLnBrk="0" hangingPunct="1">
                        <a:lnSpc>
                          <a:spcPct val="100000"/>
                        </a:lnSpc>
                        <a:spcBef>
                          <a:spcPct val="0"/>
                        </a:spcBef>
                        <a:spcAft>
                          <a:spcPts val="0"/>
                        </a:spcAft>
                        <a:buClrTx/>
                        <a:buSzTx/>
                        <a:buFontTx/>
                        <a:buNone/>
                        <a:tabLst/>
                      </a:pPr>
                      <a:r>
                        <a:rPr kumimoji="0" lang="en-US" sz="1200" b="1" u="none" strike="noStrike" cap="none" normalizeH="0" baseline="0" dirty="0">
                          <a:ln>
                            <a:noFill/>
                          </a:ln>
                          <a:solidFill>
                            <a:schemeClr val="tx1"/>
                          </a:solidFill>
                          <a:effectLst/>
                        </a:rPr>
                        <a:t>SG</a:t>
                      </a:r>
                    </a:p>
                    <a:p>
                      <a:pPr marL="0" marR="0" lvl="0" indent="0" algn="ctr" defTabSz="914400" rtl="0" eaLnBrk="1" fontAlgn="base" latinLnBrk="0" hangingPunct="1">
                        <a:lnSpc>
                          <a:spcPct val="100000"/>
                        </a:lnSpc>
                        <a:spcBef>
                          <a:spcPct val="0"/>
                        </a:spcBef>
                        <a:spcAft>
                          <a:spcPts val="0"/>
                        </a:spcAft>
                        <a:buClrTx/>
                        <a:buSzTx/>
                        <a:buFontTx/>
                        <a:buNone/>
                        <a:tabLst/>
                      </a:pPr>
                      <a:r>
                        <a:rPr kumimoji="0" lang="en-US" sz="1200" b="1" u="none" strike="noStrike" cap="none" normalizeH="0" baseline="0" dirty="0">
                          <a:ln>
                            <a:noFill/>
                          </a:ln>
                          <a:solidFill>
                            <a:schemeClr val="tx1"/>
                          </a:solidFill>
                          <a:effectLst/>
                        </a:rPr>
                        <a:t>(n = 235)</a:t>
                      </a:r>
                      <a:endParaRPr kumimoji="0" lang="en-US" sz="1200" b="1" i="0" u="none" strike="noStrike" cap="none" normalizeH="0" baseline="0" dirty="0">
                        <a:ln>
                          <a:noFill/>
                        </a:ln>
                        <a:solidFill>
                          <a:schemeClr val="tx1"/>
                        </a:solidFill>
                        <a:effectLst/>
                        <a:latin typeface="Calibri" panose="020F0502020204030204" pitchFamily="34" charset="0"/>
                      </a:endParaRP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schemeClr>
                    </a:solidFill>
                  </a:tcPr>
                </a:tc>
                <a:tc>
                  <a:txBody>
                    <a:bodyPr/>
                    <a:lstStyle/>
                    <a:p>
                      <a:pPr marL="0" marR="0" lvl="0" indent="0" algn="ctr" defTabSz="914400" rtl="0" eaLnBrk="1" fontAlgn="base" latinLnBrk="0" hangingPunct="1">
                        <a:lnSpc>
                          <a:spcPct val="100000"/>
                        </a:lnSpc>
                        <a:spcBef>
                          <a:spcPct val="0"/>
                        </a:spcBef>
                        <a:spcAft>
                          <a:spcPts val="0"/>
                        </a:spcAft>
                        <a:buClrTx/>
                        <a:buSzTx/>
                        <a:buFontTx/>
                        <a:buNone/>
                        <a:tabLst/>
                      </a:pPr>
                      <a:r>
                        <a:rPr kumimoji="0" lang="en-US" sz="1200" b="1" u="none" strike="noStrike" cap="none" normalizeH="0" baseline="0" dirty="0">
                          <a:ln>
                            <a:noFill/>
                          </a:ln>
                          <a:solidFill>
                            <a:schemeClr val="tx1"/>
                          </a:solidFill>
                          <a:effectLst/>
                        </a:rPr>
                        <a:t>CT</a:t>
                      </a:r>
                    </a:p>
                    <a:p>
                      <a:pPr marL="0" marR="0" lvl="0" indent="0" algn="ctr" defTabSz="914400" rtl="0" eaLnBrk="1" fontAlgn="base" latinLnBrk="0" hangingPunct="1">
                        <a:lnSpc>
                          <a:spcPct val="100000"/>
                        </a:lnSpc>
                        <a:spcBef>
                          <a:spcPct val="0"/>
                        </a:spcBef>
                        <a:spcAft>
                          <a:spcPts val="0"/>
                        </a:spcAft>
                        <a:buClrTx/>
                        <a:buSzTx/>
                        <a:buFontTx/>
                        <a:buNone/>
                        <a:tabLst/>
                      </a:pPr>
                      <a:r>
                        <a:rPr kumimoji="0" lang="en-US" sz="1200" b="1" u="none" strike="noStrike" cap="none" normalizeH="0" baseline="0" dirty="0">
                          <a:ln>
                            <a:noFill/>
                          </a:ln>
                          <a:solidFill>
                            <a:schemeClr val="tx1"/>
                          </a:solidFill>
                          <a:effectLst/>
                        </a:rPr>
                        <a:t>(n = 233)</a:t>
                      </a:r>
                      <a:endParaRPr kumimoji="0" lang="en-US" sz="1200" b="1" i="0" u="none" strike="noStrike" cap="none" normalizeH="0" baseline="0" dirty="0">
                        <a:ln>
                          <a:noFill/>
                        </a:ln>
                        <a:solidFill>
                          <a:schemeClr val="tx1"/>
                        </a:solidFill>
                        <a:effectLst/>
                        <a:latin typeface="Calibri" panose="020F0502020204030204" pitchFamily="34" charset="0"/>
                      </a:endParaRP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10000"/>
                  </a:ext>
                </a:extLst>
              </a:tr>
              <a:tr h="333974">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200" b="0" u="none" strike="noStrike" kern="1200" cap="none" normalizeH="0" baseline="0" dirty="0">
                          <a:ln>
                            <a:noFill/>
                          </a:ln>
                          <a:solidFill>
                            <a:schemeClr val="bg2">
                              <a:lumMod val="10000"/>
                            </a:schemeClr>
                          </a:solidFill>
                          <a:effectLst/>
                        </a:rPr>
                        <a:t>Female</a:t>
                      </a:r>
                      <a:endParaRPr kumimoji="0" lang="en-US" sz="1200" b="0" i="0" u="none" strike="noStrike" kern="1200" cap="none" normalizeH="0" baseline="0" dirty="0">
                        <a:ln>
                          <a:noFill/>
                        </a:ln>
                        <a:solidFill>
                          <a:schemeClr val="bg2">
                            <a:lumMod val="10000"/>
                          </a:schemeClr>
                        </a:solidFill>
                        <a:effectLst/>
                        <a:latin typeface="Calibri" panose="020F0502020204030204" pitchFamily="34" charset="0"/>
                        <a:ea typeface="+mn-ea"/>
                        <a:cs typeface="+mn-cs"/>
                      </a:endParaRP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200" b="0" u="none" strike="noStrike" cap="none" normalizeH="0" baseline="0" dirty="0">
                          <a:ln>
                            <a:noFill/>
                          </a:ln>
                          <a:solidFill>
                            <a:schemeClr val="bg2">
                              <a:lumMod val="10000"/>
                            </a:schemeClr>
                          </a:solidFill>
                          <a:effectLst/>
                        </a:rPr>
                        <a:t>233 (99)</a:t>
                      </a:r>
                      <a:endParaRPr kumimoji="0" lang="en-US" sz="1200" b="0" i="0" u="none" strike="noStrike" cap="none" normalizeH="0" baseline="0" dirty="0">
                        <a:ln>
                          <a:noFill/>
                        </a:ln>
                        <a:solidFill>
                          <a:schemeClr val="bg2">
                            <a:lumMod val="10000"/>
                          </a:schemeClr>
                        </a:solidFill>
                        <a:effectLst/>
                        <a:latin typeface="Calibri" panose="020F0502020204030204" pitchFamily="34" charset="0"/>
                      </a:endParaRP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200" b="0" u="none" strike="noStrike" cap="none" normalizeH="0" baseline="0" dirty="0">
                          <a:ln>
                            <a:noFill/>
                          </a:ln>
                          <a:solidFill>
                            <a:schemeClr val="bg2">
                              <a:lumMod val="10000"/>
                            </a:schemeClr>
                          </a:solidFill>
                          <a:effectLst/>
                        </a:rPr>
                        <a:t>233 (100)</a:t>
                      </a:r>
                      <a:endParaRPr kumimoji="0" lang="en-US" sz="1200" b="0" i="0" u="none" strike="noStrike" cap="none" normalizeH="0" baseline="0" dirty="0">
                        <a:ln>
                          <a:noFill/>
                        </a:ln>
                        <a:solidFill>
                          <a:schemeClr val="bg2">
                            <a:lumMod val="10000"/>
                          </a:schemeClr>
                        </a:solidFill>
                        <a:effectLst/>
                        <a:latin typeface="Calibri" panose="020F0502020204030204" pitchFamily="34" charset="0"/>
                      </a:endParaRP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484117">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200" b="0" u="none" strike="noStrike" kern="1200" cap="none" normalizeH="0" baseline="0" dirty="0">
                          <a:ln>
                            <a:noFill/>
                          </a:ln>
                          <a:solidFill>
                            <a:schemeClr val="bg2">
                              <a:lumMod val="10000"/>
                            </a:schemeClr>
                          </a:solidFill>
                          <a:effectLst/>
                        </a:rPr>
                        <a:t>Median age, yr (range)</a:t>
                      </a:r>
                      <a:endParaRPr kumimoji="0" lang="en-US" sz="1200" b="0" i="0" u="none" strike="noStrike" kern="1200" cap="none" normalizeH="0" baseline="0" dirty="0">
                        <a:ln>
                          <a:noFill/>
                        </a:ln>
                        <a:solidFill>
                          <a:schemeClr val="bg2">
                            <a:lumMod val="10000"/>
                          </a:schemeClr>
                        </a:solidFill>
                        <a:effectLst/>
                        <a:latin typeface="Calibri" panose="020F0502020204030204" pitchFamily="34" charset="0"/>
                        <a:ea typeface="+mn-ea"/>
                        <a:cs typeface="+mn-cs"/>
                      </a:endParaRP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200" b="0" u="none" strike="noStrike" cap="none" normalizeH="0" baseline="0" dirty="0">
                          <a:ln>
                            <a:noFill/>
                          </a:ln>
                          <a:solidFill>
                            <a:schemeClr val="bg2">
                              <a:lumMod val="10000"/>
                            </a:schemeClr>
                          </a:solidFill>
                          <a:effectLst/>
                        </a:rPr>
                        <a:t>54 (29-82)</a:t>
                      </a:r>
                      <a:endParaRPr kumimoji="0" lang="en-US" sz="1200" b="0" i="0" u="none" strike="noStrike" cap="none" normalizeH="0" baseline="0" dirty="0">
                        <a:ln>
                          <a:noFill/>
                        </a:ln>
                        <a:solidFill>
                          <a:schemeClr val="bg2">
                            <a:lumMod val="10000"/>
                          </a:schemeClr>
                        </a:solidFill>
                        <a:effectLst/>
                        <a:latin typeface="Calibri" panose="020F0502020204030204" pitchFamily="34" charset="0"/>
                      </a:endParaRP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200" b="0" u="none" strike="noStrike" cap="none" normalizeH="0" baseline="0" dirty="0">
                          <a:ln>
                            <a:noFill/>
                          </a:ln>
                          <a:solidFill>
                            <a:schemeClr val="bg2">
                              <a:lumMod val="10000"/>
                            </a:schemeClr>
                          </a:solidFill>
                          <a:effectLst/>
                        </a:rPr>
                        <a:t>53 (27-81)</a:t>
                      </a:r>
                      <a:endParaRPr kumimoji="0" lang="en-US" sz="1200" b="0" i="0" u="none" strike="noStrike" cap="none" normalizeH="0" baseline="0" dirty="0">
                        <a:ln>
                          <a:noFill/>
                        </a:ln>
                        <a:solidFill>
                          <a:schemeClr val="bg2">
                            <a:lumMod val="10000"/>
                          </a:schemeClr>
                        </a:solidFill>
                        <a:effectLst/>
                        <a:latin typeface="Calibri" panose="020F0502020204030204" pitchFamily="34" charset="0"/>
                      </a:endParaRP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2"/>
                  </a:ext>
                </a:extLst>
              </a:tr>
              <a:tr h="683453">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200" b="0" u="none" strike="noStrike" cap="none" normalizeH="0" baseline="0" dirty="0">
                          <a:ln>
                            <a:noFill/>
                          </a:ln>
                          <a:solidFill>
                            <a:schemeClr val="bg2">
                              <a:lumMod val="10000"/>
                            </a:schemeClr>
                          </a:solidFill>
                          <a:effectLst/>
                        </a:rPr>
                        <a:t>ECOG PS</a:t>
                      </a:r>
                    </a:p>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pPr>
                      <a:r>
                        <a:rPr kumimoji="0" lang="en-US" sz="1200" b="0" u="none" strike="noStrike" cap="none" normalizeH="0" baseline="0" dirty="0">
                          <a:ln>
                            <a:noFill/>
                          </a:ln>
                          <a:solidFill>
                            <a:schemeClr val="bg2">
                              <a:lumMod val="10000"/>
                            </a:schemeClr>
                          </a:solidFill>
                          <a:effectLst/>
                        </a:rPr>
                        <a:t>0</a:t>
                      </a:r>
                    </a:p>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pPr>
                      <a:r>
                        <a:rPr kumimoji="0" lang="en-US" sz="1200" b="0" u="none" strike="noStrike" cap="none" normalizeH="0" baseline="0" dirty="0">
                          <a:ln>
                            <a:noFill/>
                          </a:ln>
                          <a:solidFill>
                            <a:schemeClr val="bg2">
                              <a:lumMod val="10000"/>
                            </a:schemeClr>
                          </a:solidFill>
                          <a:effectLst/>
                        </a:rPr>
                        <a:t>1</a:t>
                      </a:r>
                      <a:endParaRPr kumimoji="0" lang="en-US" sz="1200" b="0" i="0" u="none" strike="noStrike" cap="none" normalizeH="0" baseline="0" dirty="0">
                        <a:ln>
                          <a:noFill/>
                        </a:ln>
                        <a:solidFill>
                          <a:schemeClr val="bg2">
                            <a:lumMod val="10000"/>
                          </a:schemeClr>
                        </a:solidFill>
                        <a:effectLst/>
                        <a:latin typeface="Calibri" panose="020F0502020204030204" pitchFamily="34" charset="0"/>
                      </a:endParaRP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endParaRPr kumimoji="0" lang="en-US" sz="1200" b="0" u="none" strike="noStrike" cap="none" normalizeH="0" baseline="0" dirty="0">
                        <a:ln>
                          <a:noFill/>
                        </a:ln>
                        <a:solidFill>
                          <a:schemeClr val="bg2">
                            <a:lumMod val="10000"/>
                          </a:schemeClr>
                        </a:solidFill>
                        <a:effectLst/>
                      </a:endParaRPr>
                    </a:p>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200" b="0" u="none" strike="noStrike" cap="none" normalizeH="0" baseline="0" dirty="0">
                          <a:ln>
                            <a:noFill/>
                          </a:ln>
                          <a:solidFill>
                            <a:schemeClr val="bg2">
                              <a:lumMod val="10000"/>
                            </a:schemeClr>
                          </a:solidFill>
                          <a:effectLst/>
                        </a:rPr>
                        <a:t>108 (46)</a:t>
                      </a:r>
                    </a:p>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200" b="0" u="none" strike="noStrike" cap="none" normalizeH="0" baseline="0" dirty="0">
                          <a:ln>
                            <a:noFill/>
                          </a:ln>
                          <a:solidFill>
                            <a:schemeClr val="bg2">
                              <a:lumMod val="10000"/>
                            </a:schemeClr>
                          </a:solidFill>
                          <a:effectLst/>
                        </a:rPr>
                        <a:t>127 (54)</a:t>
                      </a:r>
                      <a:endParaRPr kumimoji="0" lang="en-US" sz="1200" b="0" i="0" u="none" strike="noStrike" cap="none" normalizeH="0" baseline="0" dirty="0">
                        <a:ln>
                          <a:noFill/>
                        </a:ln>
                        <a:solidFill>
                          <a:schemeClr val="bg2">
                            <a:lumMod val="10000"/>
                          </a:schemeClr>
                        </a:solidFill>
                        <a:effectLst/>
                        <a:latin typeface="Calibri" panose="020F0502020204030204" pitchFamily="34" charset="0"/>
                      </a:endParaRP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endParaRPr kumimoji="0" lang="en-US" sz="1200" b="0" u="none" strike="noStrike" cap="none" normalizeH="0" baseline="0" dirty="0">
                        <a:ln>
                          <a:noFill/>
                        </a:ln>
                        <a:solidFill>
                          <a:schemeClr val="bg2">
                            <a:lumMod val="10000"/>
                          </a:schemeClr>
                        </a:solidFill>
                        <a:effectLst/>
                      </a:endParaRPr>
                    </a:p>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200" b="0" u="none" strike="noStrike" cap="none" normalizeH="0" baseline="0" dirty="0">
                          <a:ln>
                            <a:noFill/>
                          </a:ln>
                          <a:solidFill>
                            <a:schemeClr val="bg2">
                              <a:lumMod val="10000"/>
                            </a:schemeClr>
                          </a:solidFill>
                          <a:effectLst/>
                        </a:rPr>
                        <a:t>98 (42)</a:t>
                      </a:r>
                    </a:p>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200" b="0" u="none" strike="noStrike" cap="none" normalizeH="0" baseline="0" dirty="0">
                          <a:ln>
                            <a:noFill/>
                          </a:ln>
                          <a:solidFill>
                            <a:schemeClr val="bg2">
                              <a:lumMod val="10000"/>
                            </a:schemeClr>
                          </a:solidFill>
                          <a:effectLst/>
                        </a:rPr>
                        <a:t>135 (58)</a:t>
                      </a:r>
                      <a:endParaRPr kumimoji="0" lang="en-US" sz="1200" b="0" i="0" u="none" strike="noStrike" cap="none" normalizeH="0" baseline="0" dirty="0">
                        <a:ln>
                          <a:noFill/>
                        </a:ln>
                        <a:solidFill>
                          <a:schemeClr val="bg2">
                            <a:lumMod val="10000"/>
                          </a:schemeClr>
                        </a:solidFill>
                        <a:effectLst/>
                        <a:latin typeface="Calibri" panose="020F0502020204030204" pitchFamily="34" charset="0"/>
                      </a:endParaRP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21981908"/>
                  </a:ext>
                </a:extLst>
              </a:tr>
              <a:tr h="1082126">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200" b="0" u="none" strike="noStrike" kern="1200" cap="none" normalizeH="0" baseline="0" dirty="0">
                          <a:ln>
                            <a:noFill/>
                          </a:ln>
                          <a:solidFill>
                            <a:schemeClr val="bg2">
                              <a:lumMod val="10000"/>
                            </a:schemeClr>
                          </a:solidFill>
                          <a:effectLst/>
                        </a:rPr>
                        <a:t>Race/ethnicity</a:t>
                      </a:r>
                    </a:p>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pPr>
                      <a:r>
                        <a:rPr kumimoji="0" lang="en-US" sz="1200" b="0" u="none" strike="noStrike" cap="none" normalizeH="0" baseline="0" dirty="0">
                          <a:ln>
                            <a:noFill/>
                          </a:ln>
                          <a:solidFill>
                            <a:schemeClr val="bg2">
                              <a:lumMod val="10000"/>
                            </a:schemeClr>
                          </a:solidFill>
                          <a:effectLst/>
                        </a:rPr>
                        <a:t>White</a:t>
                      </a:r>
                    </a:p>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pPr>
                      <a:r>
                        <a:rPr kumimoji="0" lang="en-US" sz="1200" b="0" u="none" strike="noStrike" cap="none" normalizeH="0" baseline="0" dirty="0">
                          <a:ln>
                            <a:noFill/>
                          </a:ln>
                          <a:solidFill>
                            <a:schemeClr val="bg2">
                              <a:lumMod val="10000"/>
                            </a:schemeClr>
                          </a:solidFill>
                          <a:effectLst/>
                        </a:rPr>
                        <a:t>Black</a:t>
                      </a:r>
                    </a:p>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pPr>
                      <a:r>
                        <a:rPr kumimoji="0" lang="en-US" sz="1200" b="0" u="none" strike="noStrike" cap="none" normalizeH="0" baseline="0" dirty="0">
                          <a:ln>
                            <a:noFill/>
                          </a:ln>
                          <a:solidFill>
                            <a:schemeClr val="bg2">
                              <a:lumMod val="10000"/>
                            </a:schemeClr>
                          </a:solidFill>
                          <a:effectLst/>
                        </a:rPr>
                        <a:t>Asian</a:t>
                      </a:r>
                    </a:p>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pPr>
                      <a:r>
                        <a:rPr kumimoji="0" lang="en-US" sz="1200" b="0" u="none" strike="noStrike" cap="none" normalizeH="0" baseline="0" dirty="0">
                          <a:ln>
                            <a:noFill/>
                          </a:ln>
                          <a:solidFill>
                            <a:schemeClr val="bg2">
                              <a:lumMod val="10000"/>
                            </a:schemeClr>
                          </a:solidFill>
                          <a:effectLst/>
                        </a:rPr>
                        <a:t>Other</a:t>
                      </a:r>
                      <a:endParaRPr kumimoji="0" lang="en-US" sz="1200" b="0" i="0" u="none" strike="noStrike" cap="none" normalizeH="0" baseline="0" dirty="0">
                        <a:ln>
                          <a:noFill/>
                        </a:ln>
                        <a:solidFill>
                          <a:schemeClr val="bg2">
                            <a:lumMod val="10000"/>
                          </a:schemeClr>
                        </a:solidFill>
                        <a:effectLst/>
                        <a:latin typeface="Calibri" panose="020F0502020204030204" pitchFamily="34" charset="0"/>
                      </a:endParaRP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endParaRPr kumimoji="0" lang="en-US" sz="1200" b="0" u="none" strike="noStrike" cap="none" normalizeH="0" baseline="0" dirty="0">
                        <a:ln>
                          <a:noFill/>
                        </a:ln>
                        <a:solidFill>
                          <a:schemeClr val="bg2">
                            <a:lumMod val="10000"/>
                          </a:schemeClr>
                        </a:solidFill>
                        <a:effectLst/>
                      </a:endParaRPr>
                    </a:p>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200" b="0" u="none" strike="noStrike" cap="none" normalizeH="0" baseline="0" dirty="0">
                          <a:ln>
                            <a:noFill/>
                          </a:ln>
                          <a:solidFill>
                            <a:schemeClr val="bg2">
                              <a:lumMod val="10000"/>
                            </a:schemeClr>
                          </a:solidFill>
                          <a:effectLst/>
                        </a:rPr>
                        <a:t>188 (80)</a:t>
                      </a:r>
                    </a:p>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200" b="0" u="none" strike="noStrike" cap="none" normalizeH="0" baseline="0" dirty="0">
                          <a:ln>
                            <a:noFill/>
                          </a:ln>
                          <a:solidFill>
                            <a:schemeClr val="bg2">
                              <a:lumMod val="10000"/>
                            </a:schemeClr>
                          </a:solidFill>
                          <a:effectLst/>
                        </a:rPr>
                        <a:t>28 (12)</a:t>
                      </a:r>
                    </a:p>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200" b="0" u="none" strike="noStrike" cap="none" normalizeH="0" baseline="0" dirty="0">
                          <a:ln>
                            <a:noFill/>
                          </a:ln>
                          <a:solidFill>
                            <a:schemeClr val="bg2">
                              <a:lumMod val="10000"/>
                            </a:schemeClr>
                          </a:solidFill>
                          <a:effectLst/>
                        </a:rPr>
                        <a:t>9 (4)</a:t>
                      </a:r>
                    </a:p>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200" b="0" u="none" strike="noStrike" cap="none" normalizeH="0" baseline="0" dirty="0">
                          <a:ln>
                            <a:noFill/>
                          </a:ln>
                          <a:solidFill>
                            <a:schemeClr val="bg2">
                              <a:lumMod val="10000"/>
                            </a:schemeClr>
                          </a:solidFill>
                          <a:effectLst/>
                        </a:rPr>
                        <a:t>10 (4)</a:t>
                      </a:r>
                      <a:endParaRPr kumimoji="0" lang="en-US" sz="1200" b="0" i="0" u="none" strike="noStrike" cap="none" normalizeH="0" baseline="0" dirty="0">
                        <a:ln>
                          <a:noFill/>
                        </a:ln>
                        <a:solidFill>
                          <a:schemeClr val="bg2">
                            <a:lumMod val="10000"/>
                          </a:schemeClr>
                        </a:solidFill>
                        <a:effectLst/>
                        <a:latin typeface="Calibri" panose="020F0502020204030204" pitchFamily="34" charset="0"/>
                      </a:endParaRP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endParaRPr kumimoji="0" lang="en-US" sz="1200" b="0" u="none" strike="noStrike" cap="none" normalizeH="0" baseline="0" dirty="0">
                        <a:ln>
                          <a:noFill/>
                        </a:ln>
                        <a:solidFill>
                          <a:schemeClr val="bg2">
                            <a:lumMod val="10000"/>
                          </a:schemeClr>
                        </a:solidFill>
                        <a:effectLst/>
                      </a:endParaRPr>
                    </a:p>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200" b="0" u="none" strike="noStrike" cap="none" normalizeH="0" baseline="0" dirty="0">
                          <a:ln>
                            <a:noFill/>
                          </a:ln>
                          <a:solidFill>
                            <a:schemeClr val="bg2">
                              <a:lumMod val="10000"/>
                            </a:schemeClr>
                          </a:solidFill>
                          <a:effectLst/>
                        </a:rPr>
                        <a:t>181 (78)</a:t>
                      </a:r>
                    </a:p>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200" b="0" u="none" strike="noStrike" cap="none" normalizeH="0" baseline="0" dirty="0">
                          <a:ln>
                            <a:noFill/>
                          </a:ln>
                          <a:solidFill>
                            <a:schemeClr val="bg2">
                              <a:lumMod val="10000"/>
                            </a:schemeClr>
                          </a:solidFill>
                          <a:effectLst/>
                        </a:rPr>
                        <a:t>28 (12)</a:t>
                      </a:r>
                    </a:p>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200" b="0" u="none" strike="noStrike" cap="none" normalizeH="0" baseline="0" dirty="0">
                          <a:ln>
                            <a:noFill/>
                          </a:ln>
                          <a:solidFill>
                            <a:schemeClr val="bg2">
                              <a:lumMod val="10000"/>
                            </a:schemeClr>
                          </a:solidFill>
                          <a:effectLst/>
                        </a:rPr>
                        <a:t>9 (4)</a:t>
                      </a:r>
                    </a:p>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200" b="0" u="none" strike="noStrike" cap="none" normalizeH="0" baseline="0" dirty="0">
                          <a:ln>
                            <a:noFill/>
                          </a:ln>
                          <a:solidFill>
                            <a:schemeClr val="bg2">
                              <a:lumMod val="10000"/>
                            </a:schemeClr>
                          </a:solidFill>
                          <a:effectLst/>
                        </a:rPr>
                        <a:t>15 (6)</a:t>
                      </a:r>
                      <a:endParaRPr kumimoji="0" lang="en-US" sz="1200" b="0" i="0" u="none" strike="noStrike" cap="none" normalizeH="0" baseline="0" dirty="0">
                        <a:ln>
                          <a:noFill/>
                        </a:ln>
                        <a:solidFill>
                          <a:schemeClr val="bg2">
                            <a:lumMod val="10000"/>
                          </a:schemeClr>
                        </a:solidFill>
                        <a:effectLst/>
                        <a:latin typeface="Calibri" panose="020F0502020204030204" pitchFamily="34" charset="0"/>
                      </a:endParaRP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70591704"/>
                  </a:ext>
                </a:extLst>
              </a:tr>
            </a:tbl>
          </a:graphicData>
        </a:graphic>
      </p:graphicFrame>
      <p:graphicFrame>
        <p:nvGraphicFramePr>
          <p:cNvPr id="68" name="Group 32">
            <a:extLst>
              <a:ext uri="{FF2B5EF4-FFF2-40B4-BE49-F238E27FC236}">
                <a16:creationId xmlns:a16="http://schemas.microsoft.com/office/drawing/2014/main" id="{FD73C5F0-1671-87D9-8A7E-59F10890D755}"/>
              </a:ext>
            </a:extLst>
          </p:cNvPr>
          <p:cNvGraphicFramePr>
            <a:graphicFrameLocks noGrp="1"/>
          </p:cNvGraphicFramePr>
          <p:nvPr>
            <p:extLst>
              <p:ext uri="{D42A27DB-BD31-4B8C-83A1-F6EECF244321}">
                <p14:modId xmlns:p14="http://schemas.microsoft.com/office/powerpoint/2010/main" val="488166044"/>
              </p:ext>
            </p:extLst>
          </p:nvPr>
        </p:nvGraphicFramePr>
        <p:xfrm>
          <a:off x="4427931" y="935507"/>
          <a:ext cx="4204477" cy="3067788"/>
        </p:xfrm>
        <a:graphic>
          <a:graphicData uri="http://schemas.openxmlformats.org/drawingml/2006/table">
            <a:tbl>
              <a:tblPr>
                <a:tableStyleId>{073A0DAA-6AF3-43AB-8588-CEC1D06C72B9}</a:tableStyleId>
              </a:tblPr>
              <a:tblGrid>
                <a:gridCol w="2000989">
                  <a:extLst>
                    <a:ext uri="{9D8B030D-6E8A-4147-A177-3AD203B41FA5}">
                      <a16:colId xmlns:a16="http://schemas.microsoft.com/office/drawing/2014/main" val="2570165244"/>
                    </a:ext>
                  </a:extLst>
                </a:gridCol>
                <a:gridCol w="1101744">
                  <a:extLst>
                    <a:ext uri="{9D8B030D-6E8A-4147-A177-3AD203B41FA5}">
                      <a16:colId xmlns:a16="http://schemas.microsoft.com/office/drawing/2014/main" val="20001"/>
                    </a:ext>
                  </a:extLst>
                </a:gridCol>
                <a:gridCol w="1101744">
                  <a:extLst>
                    <a:ext uri="{9D8B030D-6E8A-4147-A177-3AD203B41FA5}">
                      <a16:colId xmlns:a16="http://schemas.microsoft.com/office/drawing/2014/main" val="20002"/>
                    </a:ext>
                  </a:extLst>
                </a:gridCol>
              </a:tblGrid>
              <a:tr h="377330">
                <a:tc>
                  <a:txBody>
                    <a:bodyPr/>
                    <a:lstStyle/>
                    <a:p>
                      <a:pPr marL="0" marR="0" lvl="0" indent="0" algn="l" defTabSz="914400" rtl="0" eaLnBrk="1" fontAlgn="base" latinLnBrk="0" hangingPunct="1">
                        <a:lnSpc>
                          <a:spcPct val="100000"/>
                        </a:lnSpc>
                        <a:spcBef>
                          <a:spcPct val="35000"/>
                        </a:spcBef>
                        <a:spcAft>
                          <a:spcPts val="0"/>
                        </a:spcAft>
                        <a:buClr>
                          <a:schemeClr val="accent2"/>
                        </a:buClr>
                        <a:buSzTx/>
                        <a:buFont typeface="Wingdings" pitchFamily="2" charset="2"/>
                        <a:buNone/>
                        <a:tabLst/>
                      </a:pPr>
                      <a:r>
                        <a:rPr kumimoji="0" lang="en-US" sz="1200" b="1" u="none" strike="noStrike" cap="none" normalizeH="0" baseline="0" dirty="0">
                          <a:ln>
                            <a:noFill/>
                          </a:ln>
                          <a:solidFill>
                            <a:schemeClr val="tx1"/>
                          </a:solidFill>
                          <a:effectLst/>
                        </a:rPr>
                        <a:t>Characteristic, n (%)</a:t>
                      </a:r>
                      <a:endParaRPr kumimoji="0" lang="en-US" sz="1200" b="1" i="0" u="none" strike="noStrike" cap="none" normalizeH="0" baseline="0" dirty="0">
                        <a:ln>
                          <a:noFill/>
                        </a:ln>
                        <a:solidFill>
                          <a:schemeClr val="tx1"/>
                        </a:solidFill>
                        <a:effectLst/>
                        <a:latin typeface="Calibri" panose="020F0502020204030204" pitchFamily="34" charset="0"/>
                      </a:endParaRP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schemeClr>
                    </a:solidFill>
                  </a:tcPr>
                </a:tc>
                <a:tc>
                  <a:txBody>
                    <a:bodyPr/>
                    <a:lstStyle/>
                    <a:p>
                      <a:pPr marL="0" marR="0" lvl="0" indent="0" algn="ctr" defTabSz="914400" rtl="0" eaLnBrk="1" fontAlgn="base" latinLnBrk="0" hangingPunct="1">
                        <a:lnSpc>
                          <a:spcPct val="100000"/>
                        </a:lnSpc>
                        <a:spcBef>
                          <a:spcPct val="0"/>
                        </a:spcBef>
                        <a:spcAft>
                          <a:spcPts val="0"/>
                        </a:spcAft>
                        <a:buClrTx/>
                        <a:buSzTx/>
                        <a:buFontTx/>
                        <a:buNone/>
                        <a:tabLst/>
                      </a:pPr>
                      <a:r>
                        <a:rPr kumimoji="0" lang="en-US" sz="1200" b="1" u="none" strike="noStrike" cap="none" normalizeH="0" baseline="0" dirty="0">
                          <a:ln>
                            <a:noFill/>
                          </a:ln>
                          <a:solidFill>
                            <a:schemeClr val="tx1"/>
                          </a:solidFill>
                          <a:effectLst/>
                        </a:rPr>
                        <a:t>SG</a:t>
                      </a:r>
                    </a:p>
                    <a:p>
                      <a:pPr marL="0" marR="0" lvl="0" indent="0" algn="ctr" defTabSz="914400" rtl="0" eaLnBrk="1" fontAlgn="base" latinLnBrk="0" hangingPunct="1">
                        <a:lnSpc>
                          <a:spcPct val="100000"/>
                        </a:lnSpc>
                        <a:spcBef>
                          <a:spcPct val="0"/>
                        </a:spcBef>
                        <a:spcAft>
                          <a:spcPts val="0"/>
                        </a:spcAft>
                        <a:buClrTx/>
                        <a:buSzTx/>
                        <a:buFontTx/>
                        <a:buNone/>
                        <a:tabLst/>
                      </a:pPr>
                      <a:r>
                        <a:rPr kumimoji="0" lang="en-US" sz="1200" b="1" u="none" strike="noStrike" cap="none" normalizeH="0" baseline="0" dirty="0">
                          <a:ln>
                            <a:noFill/>
                          </a:ln>
                          <a:solidFill>
                            <a:schemeClr val="tx1"/>
                          </a:solidFill>
                          <a:effectLst/>
                        </a:rPr>
                        <a:t>(n = 235)</a:t>
                      </a:r>
                      <a:endParaRPr kumimoji="0" lang="en-US" sz="1200" b="1" i="0" u="none" strike="noStrike" cap="none" normalizeH="0" baseline="0" dirty="0">
                        <a:ln>
                          <a:noFill/>
                        </a:ln>
                        <a:solidFill>
                          <a:schemeClr val="tx1"/>
                        </a:solidFill>
                        <a:effectLst/>
                        <a:latin typeface="Calibri" panose="020F0502020204030204" pitchFamily="34" charset="0"/>
                      </a:endParaRP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schemeClr>
                    </a:solidFill>
                  </a:tcPr>
                </a:tc>
                <a:tc>
                  <a:txBody>
                    <a:bodyPr/>
                    <a:lstStyle/>
                    <a:p>
                      <a:pPr marL="0" marR="0" lvl="0" indent="0" algn="ctr" defTabSz="914400" rtl="0" eaLnBrk="1" fontAlgn="base" latinLnBrk="0" hangingPunct="1">
                        <a:lnSpc>
                          <a:spcPct val="100000"/>
                        </a:lnSpc>
                        <a:spcBef>
                          <a:spcPct val="0"/>
                        </a:spcBef>
                        <a:spcAft>
                          <a:spcPts val="0"/>
                        </a:spcAft>
                        <a:buClrTx/>
                        <a:buSzTx/>
                        <a:buFontTx/>
                        <a:buNone/>
                        <a:tabLst/>
                      </a:pPr>
                      <a:r>
                        <a:rPr kumimoji="0" lang="en-US" sz="1200" b="1" u="none" strike="noStrike" cap="none" normalizeH="0" baseline="0" dirty="0">
                          <a:ln>
                            <a:noFill/>
                          </a:ln>
                          <a:solidFill>
                            <a:schemeClr val="tx1"/>
                          </a:solidFill>
                          <a:effectLst/>
                        </a:rPr>
                        <a:t>CT</a:t>
                      </a:r>
                    </a:p>
                    <a:p>
                      <a:pPr marL="0" marR="0" lvl="0" indent="0" algn="ctr" defTabSz="914400" rtl="0" eaLnBrk="1" fontAlgn="base" latinLnBrk="0" hangingPunct="1">
                        <a:lnSpc>
                          <a:spcPct val="100000"/>
                        </a:lnSpc>
                        <a:spcBef>
                          <a:spcPct val="0"/>
                        </a:spcBef>
                        <a:spcAft>
                          <a:spcPts val="0"/>
                        </a:spcAft>
                        <a:buClrTx/>
                        <a:buSzTx/>
                        <a:buFontTx/>
                        <a:buNone/>
                        <a:tabLst/>
                      </a:pPr>
                      <a:r>
                        <a:rPr kumimoji="0" lang="en-US" sz="1200" b="1" u="none" strike="noStrike" cap="none" normalizeH="0" baseline="0" dirty="0">
                          <a:ln>
                            <a:noFill/>
                          </a:ln>
                          <a:solidFill>
                            <a:schemeClr val="tx1"/>
                          </a:solidFill>
                          <a:effectLst/>
                        </a:rPr>
                        <a:t>(n = 233)</a:t>
                      </a:r>
                      <a:endParaRPr kumimoji="0" lang="en-US" sz="1200" b="1" i="0" u="none" strike="noStrike" cap="none" normalizeH="0" baseline="0" dirty="0">
                        <a:ln>
                          <a:noFill/>
                        </a:ln>
                        <a:solidFill>
                          <a:schemeClr val="tx1"/>
                        </a:solidFill>
                        <a:effectLst/>
                        <a:latin typeface="Calibri" panose="020F0502020204030204" pitchFamily="34" charset="0"/>
                      </a:endParaRP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10000"/>
                  </a:ext>
                </a:extLst>
              </a:tr>
              <a:tr h="528256">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200" b="0" u="none" strike="noStrike" kern="1200" cap="none" normalizeH="0" baseline="0" dirty="0">
                          <a:ln>
                            <a:noFill/>
                          </a:ln>
                          <a:solidFill>
                            <a:schemeClr val="bg2">
                              <a:lumMod val="10000"/>
                            </a:schemeClr>
                          </a:solidFill>
                          <a:effectLst/>
                        </a:rPr>
                        <a:t>No. prior CT</a:t>
                      </a:r>
                    </a:p>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defRPr/>
                      </a:pPr>
                      <a:r>
                        <a:rPr kumimoji="0" lang="en-US" sz="1200" b="0" u="none" strike="noStrike" kern="1200" cap="none" spc="0" normalizeH="0" baseline="0" noProof="0" dirty="0">
                          <a:ln>
                            <a:noFill/>
                          </a:ln>
                          <a:solidFill>
                            <a:srgbClr val="455560">
                              <a:lumMod val="10000"/>
                            </a:srgbClr>
                          </a:solidFill>
                          <a:effectLst/>
                          <a:uLnTx/>
                          <a:uFillTx/>
                        </a:rPr>
                        <a:t>2-3</a:t>
                      </a:r>
                    </a:p>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defRPr/>
                      </a:pPr>
                      <a:r>
                        <a:rPr kumimoji="0" lang="en-US" sz="1200" b="0" u="none" strike="noStrike" kern="1200" cap="none" spc="0" normalizeH="0" baseline="0" noProof="0" dirty="0">
                          <a:ln>
                            <a:noFill/>
                          </a:ln>
                          <a:solidFill>
                            <a:srgbClr val="455560">
                              <a:lumMod val="10000"/>
                            </a:srgbClr>
                          </a:solidFill>
                          <a:effectLst/>
                          <a:uLnTx/>
                          <a:uFillTx/>
                        </a:rPr>
                        <a:t>&gt;3</a:t>
                      </a:r>
                      <a:endParaRPr kumimoji="0" lang="en-US" sz="1200" b="0" i="0" u="none" strike="noStrike" kern="1200" cap="none" spc="0" normalizeH="0" baseline="0" noProof="0" dirty="0">
                        <a:ln>
                          <a:noFill/>
                        </a:ln>
                        <a:solidFill>
                          <a:srgbClr val="455560">
                            <a:lumMod val="10000"/>
                          </a:srgbClr>
                        </a:solidFill>
                        <a:effectLst/>
                        <a:uLnTx/>
                        <a:uFillTx/>
                        <a:latin typeface="Calibri" panose="020F0502020204030204" pitchFamily="34" charset="0"/>
                        <a:ea typeface="+mn-ea"/>
                        <a:cs typeface="+mn-cs"/>
                      </a:endParaRP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endParaRPr kumimoji="0" lang="en-US" sz="1200" b="0" u="none" strike="noStrike" cap="none" normalizeH="0" baseline="0" dirty="0">
                        <a:ln>
                          <a:noFill/>
                        </a:ln>
                        <a:solidFill>
                          <a:schemeClr val="bg2">
                            <a:lumMod val="10000"/>
                          </a:schemeClr>
                        </a:solidFill>
                        <a:effectLst/>
                      </a:endParaRPr>
                    </a:p>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200" b="0" u="none" strike="noStrike" cap="none" normalizeH="0" baseline="0" dirty="0">
                          <a:ln>
                            <a:noFill/>
                          </a:ln>
                          <a:solidFill>
                            <a:schemeClr val="bg2">
                              <a:lumMod val="10000"/>
                            </a:schemeClr>
                          </a:solidFill>
                          <a:effectLst/>
                        </a:rPr>
                        <a:t>166 (71)</a:t>
                      </a:r>
                    </a:p>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200" b="0" u="none" strike="noStrike" cap="none" normalizeH="0" baseline="0" dirty="0">
                          <a:ln>
                            <a:noFill/>
                          </a:ln>
                          <a:solidFill>
                            <a:schemeClr val="bg2">
                              <a:lumMod val="10000"/>
                            </a:schemeClr>
                          </a:solidFill>
                          <a:effectLst/>
                        </a:rPr>
                        <a:t>69 (29)</a:t>
                      </a:r>
                      <a:endParaRPr kumimoji="0" lang="en-US" sz="1200" b="0" i="0" u="none" strike="noStrike" cap="none" normalizeH="0" baseline="0" dirty="0">
                        <a:ln>
                          <a:noFill/>
                        </a:ln>
                        <a:solidFill>
                          <a:schemeClr val="bg2">
                            <a:lumMod val="10000"/>
                          </a:schemeClr>
                        </a:solidFill>
                        <a:effectLst/>
                        <a:latin typeface="Calibri" panose="020F0502020204030204" pitchFamily="34" charset="0"/>
                      </a:endParaRP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endParaRPr kumimoji="0" lang="en-US" sz="1200" b="0" u="none" strike="noStrike" cap="none" normalizeH="0" baseline="0" dirty="0">
                        <a:ln>
                          <a:noFill/>
                        </a:ln>
                        <a:solidFill>
                          <a:schemeClr val="bg2">
                            <a:lumMod val="10000"/>
                          </a:schemeClr>
                        </a:solidFill>
                        <a:effectLst/>
                      </a:endParaRPr>
                    </a:p>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200" b="0" u="none" strike="noStrike" cap="none" normalizeH="0" baseline="0" dirty="0">
                          <a:ln>
                            <a:noFill/>
                          </a:ln>
                          <a:solidFill>
                            <a:schemeClr val="bg2">
                              <a:lumMod val="10000"/>
                            </a:schemeClr>
                          </a:solidFill>
                          <a:effectLst/>
                        </a:rPr>
                        <a:t>164 (70)</a:t>
                      </a:r>
                    </a:p>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200" b="0" u="none" strike="noStrike" cap="none" normalizeH="0" baseline="0" dirty="0">
                          <a:ln>
                            <a:noFill/>
                          </a:ln>
                          <a:solidFill>
                            <a:schemeClr val="bg2">
                              <a:lumMod val="10000"/>
                            </a:schemeClr>
                          </a:solidFill>
                          <a:effectLst/>
                        </a:rPr>
                        <a:t>69 (30)</a:t>
                      </a:r>
                      <a:endParaRPr kumimoji="0" lang="en-US" sz="1200" b="0" i="0" u="none" strike="noStrike" cap="none" normalizeH="0" baseline="0" dirty="0">
                        <a:ln>
                          <a:noFill/>
                        </a:ln>
                        <a:solidFill>
                          <a:schemeClr val="bg2">
                            <a:lumMod val="10000"/>
                          </a:schemeClr>
                        </a:solidFill>
                        <a:effectLst/>
                        <a:latin typeface="Calibri" panose="020F0502020204030204" pitchFamily="34" charset="0"/>
                      </a:endParaRP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514988">
                <a:tc>
                  <a:txBody>
                    <a:bodyPr/>
                    <a:lstStyle/>
                    <a:p>
                      <a:pPr marL="0" marR="0" lvl="0" indent="0" algn="l" defTabSz="914400" rtl="0" eaLnBrk="1" fontAlgn="base" latinLnBrk="0" hangingPunct="1">
                        <a:lnSpc>
                          <a:spcPct val="100000"/>
                        </a:lnSpc>
                        <a:spcBef>
                          <a:spcPct val="35000"/>
                        </a:spcBef>
                        <a:spcAft>
                          <a:spcPct val="25000"/>
                        </a:spcAft>
                        <a:buClr>
                          <a:schemeClr val="accent2"/>
                        </a:buClr>
                        <a:buSzTx/>
                        <a:buFont typeface="Wingdings" pitchFamily="2" charset="2"/>
                        <a:buNone/>
                        <a:tabLst/>
                      </a:pPr>
                      <a:r>
                        <a:rPr kumimoji="0" lang="en-US" sz="1200" b="0" u="none" strike="noStrike" cap="none" normalizeH="0" baseline="0" dirty="0">
                          <a:ln>
                            <a:noFill/>
                          </a:ln>
                          <a:solidFill>
                            <a:schemeClr val="bg2">
                              <a:lumMod val="10000"/>
                            </a:schemeClr>
                          </a:solidFill>
                          <a:effectLst/>
                        </a:rPr>
                        <a:t>Median no. prior anticancer regimens (range)</a:t>
                      </a:r>
                      <a:endParaRPr kumimoji="0" lang="en-US" sz="1200" b="0" i="0" u="none" strike="noStrike" cap="none" normalizeH="0" baseline="0" dirty="0">
                        <a:ln>
                          <a:noFill/>
                        </a:ln>
                        <a:solidFill>
                          <a:schemeClr val="bg2">
                            <a:lumMod val="10000"/>
                          </a:schemeClr>
                        </a:solidFill>
                        <a:effectLst/>
                        <a:latin typeface="Calibri" panose="020F0502020204030204" pitchFamily="34" charset="0"/>
                      </a:endParaRP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200" b="0" u="none" strike="noStrike" cap="none" normalizeH="0" baseline="0" dirty="0">
                          <a:ln>
                            <a:noFill/>
                          </a:ln>
                          <a:solidFill>
                            <a:schemeClr val="bg2">
                              <a:lumMod val="10000"/>
                            </a:schemeClr>
                          </a:solidFill>
                          <a:effectLst/>
                        </a:rPr>
                        <a:t>3 (1-16)</a:t>
                      </a:r>
                      <a:endParaRPr kumimoji="0" lang="en-US" sz="1200" b="0" i="0" u="none" strike="noStrike" cap="none" normalizeH="0" baseline="0" dirty="0">
                        <a:ln>
                          <a:noFill/>
                        </a:ln>
                        <a:solidFill>
                          <a:schemeClr val="bg2">
                            <a:lumMod val="10000"/>
                          </a:schemeClr>
                        </a:solidFill>
                        <a:effectLst/>
                        <a:latin typeface="Calibri" panose="020F0502020204030204" pitchFamily="34" charset="0"/>
                      </a:endParaRP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200" b="0" u="none" strike="noStrike" cap="none" normalizeH="0" baseline="0" dirty="0">
                          <a:ln>
                            <a:noFill/>
                          </a:ln>
                          <a:solidFill>
                            <a:schemeClr val="bg2">
                              <a:lumMod val="10000"/>
                            </a:schemeClr>
                          </a:solidFill>
                          <a:effectLst/>
                        </a:rPr>
                        <a:t>3 (1-12)</a:t>
                      </a:r>
                      <a:endParaRPr kumimoji="0" lang="en-US" sz="1200" b="0" i="0" u="none" strike="noStrike" cap="none" normalizeH="0" baseline="0" dirty="0">
                        <a:ln>
                          <a:noFill/>
                        </a:ln>
                        <a:solidFill>
                          <a:schemeClr val="bg2">
                            <a:lumMod val="10000"/>
                          </a:schemeClr>
                        </a:solidFill>
                        <a:effectLst/>
                        <a:latin typeface="Calibri" panose="020F0502020204030204" pitchFamily="34" charset="0"/>
                      </a:endParaRP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2"/>
                  </a:ext>
                </a:extLst>
              </a:tr>
              <a:tr h="665190">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200" b="0" u="none" strike="noStrike" kern="1200" cap="none" normalizeH="0" baseline="0" dirty="0">
                          <a:ln>
                            <a:noFill/>
                          </a:ln>
                          <a:solidFill>
                            <a:schemeClr val="bg2">
                              <a:lumMod val="10000"/>
                            </a:schemeClr>
                          </a:solidFill>
                          <a:effectLst/>
                        </a:rPr>
                        <a:t>Initial diagnosis of TNBC</a:t>
                      </a:r>
                    </a:p>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pPr>
                      <a:r>
                        <a:rPr kumimoji="0" lang="en-US" sz="1200" b="0" u="none" strike="noStrike" cap="none" normalizeH="0" baseline="0" dirty="0">
                          <a:ln>
                            <a:noFill/>
                          </a:ln>
                          <a:solidFill>
                            <a:schemeClr val="bg2">
                              <a:lumMod val="10000"/>
                            </a:schemeClr>
                          </a:solidFill>
                          <a:effectLst/>
                        </a:rPr>
                        <a:t>Yes</a:t>
                      </a:r>
                    </a:p>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pPr>
                      <a:r>
                        <a:rPr kumimoji="0" lang="en-US" sz="1200" b="0" u="none" strike="noStrike" cap="none" normalizeH="0" baseline="0" dirty="0">
                          <a:ln>
                            <a:noFill/>
                          </a:ln>
                          <a:solidFill>
                            <a:schemeClr val="bg2">
                              <a:lumMod val="10000"/>
                            </a:schemeClr>
                          </a:solidFill>
                          <a:effectLst/>
                        </a:rPr>
                        <a:t>No</a:t>
                      </a:r>
                      <a:endParaRPr kumimoji="0" lang="en-US" sz="1200" b="0" i="0" u="none" strike="noStrike" cap="none" normalizeH="0" baseline="0" dirty="0">
                        <a:ln>
                          <a:noFill/>
                        </a:ln>
                        <a:solidFill>
                          <a:schemeClr val="bg2">
                            <a:lumMod val="10000"/>
                          </a:schemeClr>
                        </a:solidFill>
                        <a:effectLst/>
                        <a:latin typeface="Calibri" panose="020F0502020204030204" pitchFamily="34" charset="0"/>
                      </a:endParaRP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endParaRPr kumimoji="0" lang="en-US" sz="1200" b="0" u="none" strike="noStrike" cap="none" normalizeH="0" baseline="0" dirty="0">
                        <a:ln>
                          <a:noFill/>
                        </a:ln>
                        <a:solidFill>
                          <a:schemeClr val="bg2">
                            <a:lumMod val="10000"/>
                          </a:schemeClr>
                        </a:solidFill>
                        <a:effectLst/>
                      </a:endParaRPr>
                    </a:p>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200" b="0" u="none" strike="noStrike" cap="none" normalizeH="0" baseline="0" dirty="0">
                          <a:ln>
                            <a:noFill/>
                          </a:ln>
                          <a:solidFill>
                            <a:schemeClr val="bg2">
                              <a:lumMod val="10000"/>
                            </a:schemeClr>
                          </a:solidFill>
                          <a:effectLst/>
                        </a:rPr>
                        <a:t>165 (70)</a:t>
                      </a:r>
                    </a:p>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200" b="0" u="none" strike="noStrike" cap="none" normalizeH="0" baseline="0" dirty="0">
                          <a:ln>
                            <a:noFill/>
                          </a:ln>
                          <a:solidFill>
                            <a:schemeClr val="bg2">
                              <a:lumMod val="10000"/>
                            </a:schemeClr>
                          </a:solidFill>
                          <a:effectLst/>
                        </a:rPr>
                        <a:t>70 (30)</a:t>
                      </a:r>
                      <a:endParaRPr kumimoji="0" lang="en-US" sz="1200" b="0" i="0" u="none" strike="noStrike" cap="none" normalizeH="0" baseline="0" dirty="0">
                        <a:ln>
                          <a:noFill/>
                        </a:ln>
                        <a:solidFill>
                          <a:schemeClr val="bg2">
                            <a:lumMod val="10000"/>
                          </a:schemeClr>
                        </a:solidFill>
                        <a:effectLst/>
                        <a:latin typeface="Calibri" panose="020F0502020204030204" pitchFamily="34" charset="0"/>
                      </a:endParaRP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endParaRPr kumimoji="0" lang="en-US" sz="1200" b="0" u="none" strike="noStrike" cap="none" normalizeH="0" baseline="0" dirty="0">
                        <a:ln>
                          <a:noFill/>
                        </a:ln>
                        <a:solidFill>
                          <a:schemeClr val="bg2">
                            <a:lumMod val="10000"/>
                          </a:schemeClr>
                        </a:solidFill>
                        <a:effectLst/>
                      </a:endParaRPr>
                    </a:p>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200" b="0" u="none" strike="noStrike" cap="none" normalizeH="0" baseline="0" dirty="0">
                          <a:ln>
                            <a:noFill/>
                          </a:ln>
                          <a:solidFill>
                            <a:schemeClr val="bg2">
                              <a:lumMod val="10000"/>
                            </a:schemeClr>
                          </a:solidFill>
                          <a:effectLst/>
                        </a:rPr>
                        <a:t>157 (67)</a:t>
                      </a:r>
                    </a:p>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200" b="0" u="none" strike="noStrike" cap="none" normalizeH="0" baseline="0" dirty="0">
                          <a:ln>
                            <a:noFill/>
                          </a:ln>
                          <a:solidFill>
                            <a:schemeClr val="bg2">
                              <a:lumMod val="10000"/>
                            </a:schemeClr>
                          </a:solidFill>
                          <a:effectLst/>
                        </a:rPr>
                        <a:t>76 (33)</a:t>
                      </a:r>
                      <a:endParaRPr kumimoji="0" lang="en-US" sz="1200" b="0" i="0" u="none" strike="noStrike" cap="none" normalizeH="0" baseline="0" dirty="0">
                        <a:ln>
                          <a:noFill/>
                        </a:ln>
                        <a:solidFill>
                          <a:schemeClr val="bg2">
                            <a:lumMod val="10000"/>
                          </a:schemeClr>
                        </a:solidFill>
                        <a:effectLst/>
                        <a:latin typeface="Calibri" panose="020F0502020204030204" pitchFamily="34" charset="0"/>
                      </a:endParaRP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21981908"/>
                  </a:ext>
                </a:extLst>
              </a:tr>
              <a:tr h="665190">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200" b="0" u="none" strike="noStrike" kern="1200" cap="none" normalizeH="0" baseline="0" dirty="0">
                          <a:ln>
                            <a:noFill/>
                          </a:ln>
                          <a:solidFill>
                            <a:schemeClr val="bg2">
                              <a:lumMod val="10000"/>
                            </a:schemeClr>
                          </a:solidFill>
                          <a:effectLst/>
                        </a:rPr>
                        <a:t>Germline BRCA1/2 status</a:t>
                      </a:r>
                    </a:p>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pPr>
                      <a:r>
                        <a:rPr kumimoji="0" lang="en-US" sz="1200" b="0" u="none" strike="noStrike" cap="none" normalizeH="0" baseline="0" dirty="0">
                          <a:ln>
                            <a:noFill/>
                          </a:ln>
                          <a:solidFill>
                            <a:schemeClr val="bg2">
                              <a:lumMod val="10000"/>
                            </a:schemeClr>
                          </a:solidFill>
                          <a:effectLst/>
                        </a:rPr>
                        <a:t>Negative</a:t>
                      </a:r>
                    </a:p>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pPr>
                      <a:r>
                        <a:rPr kumimoji="0" lang="en-US" sz="1200" b="0" u="none" strike="noStrike" cap="none" normalizeH="0" baseline="0" dirty="0">
                          <a:ln>
                            <a:noFill/>
                          </a:ln>
                          <a:solidFill>
                            <a:schemeClr val="bg2">
                              <a:lumMod val="10000"/>
                            </a:schemeClr>
                          </a:solidFill>
                          <a:effectLst/>
                        </a:rPr>
                        <a:t>Positive</a:t>
                      </a:r>
                      <a:endParaRPr kumimoji="0" lang="en-US" sz="1200" b="0" i="0" u="none" strike="noStrike" cap="none" normalizeH="0" baseline="0" dirty="0">
                        <a:ln>
                          <a:noFill/>
                        </a:ln>
                        <a:solidFill>
                          <a:schemeClr val="bg2">
                            <a:lumMod val="10000"/>
                          </a:schemeClr>
                        </a:solidFill>
                        <a:effectLst/>
                        <a:latin typeface="Calibri" panose="020F0502020204030204" pitchFamily="34" charset="0"/>
                      </a:endParaRP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endParaRPr kumimoji="0" lang="en-US" sz="1200" b="0" u="none" strike="noStrike" cap="none" normalizeH="0" baseline="0" dirty="0">
                        <a:ln>
                          <a:noFill/>
                        </a:ln>
                        <a:solidFill>
                          <a:schemeClr val="bg2">
                            <a:lumMod val="10000"/>
                          </a:schemeClr>
                        </a:solidFill>
                        <a:effectLst/>
                      </a:endParaRPr>
                    </a:p>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200" b="0" u="none" strike="noStrike" cap="none" normalizeH="0" baseline="0" dirty="0">
                          <a:ln>
                            <a:noFill/>
                          </a:ln>
                          <a:solidFill>
                            <a:schemeClr val="bg2">
                              <a:lumMod val="10000"/>
                            </a:schemeClr>
                          </a:solidFill>
                          <a:effectLst/>
                        </a:rPr>
                        <a:t>133 (57)</a:t>
                      </a:r>
                    </a:p>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200" b="0" u="none" strike="noStrike" cap="none" normalizeH="0" baseline="0" dirty="0">
                          <a:ln>
                            <a:noFill/>
                          </a:ln>
                          <a:solidFill>
                            <a:schemeClr val="bg2">
                              <a:lumMod val="10000"/>
                            </a:schemeClr>
                          </a:solidFill>
                          <a:effectLst/>
                        </a:rPr>
                        <a:t>16 (7)</a:t>
                      </a:r>
                      <a:endParaRPr kumimoji="0" lang="en-US" sz="1200" b="0" i="0" u="none" strike="noStrike" cap="none" normalizeH="0" baseline="0" dirty="0">
                        <a:ln>
                          <a:noFill/>
                        </a:ln>
                        <a:solidFill>
                          <a:schemeClr val="bg2">
                            <a:lumMod val="10000"/>
                          </a:schemeClr>
                        </a:solidFill>
                        <a:effectLst/>
                        <a:latin typeface="Calibri" panose="020F0502020204030204" pitchFamily="34" charset="0"/>
                      </a:endParaRP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endParaRPr kumimoji="0" lang="en-US" sz="1200" b="0" u="none" strike="noStrike" cap="none" normalizeH="0" baseline="0" dirty="0">
                        <a:ln>
                          <a:noFill/>
                        </a:ln>
                        <a:solidFill>
                          <a:schemeClr val="bg2">
                            <a:lumMod val="10000"/>
                          </a:schemeClr>
                        </a:solidFill>
                        <a:effectLst/>
                      </a:endParaRPr>
                    </a:p>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200" b="0" u="none" strike="noStrike" cap="none" normalizeH="0" baseline="0" dirty="0">
                          <a:ln>
                            <a:noFill/>
                          </a:ln>
                          <a:solidFill>
                            <a:schemeClr val="bg2">
                              <a:lumMod val="10000"/>
                            </a:schemeClr>
                          </a:solidFill>
                          <a:effectLst/>
                        </a:rPr>
                        <a:t>125 (54)</a:t>
                      </a:r>
                    </a:p>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200" b="0" u="none" strike="noStrike" cap="none" normalizeH="0" baseline="0" dirty="0">
                          <a:ln>
                            <a:noFill/>
                          </a:ln>
                          <a:solidFill>
                            <a:schemeClr val="bg2">
                              <a:lumMod val="10000"/>
                            </a:schemeClr>
                          </a:solidFill>
                          <a:effectLst/>
                        </a:rPr>
                        <a:t>18 (8)</a:t>
                      </a:r>
                      <a:endParaRPr kumimoji="0" lang="en-US" sz="1200" b="0" i="0" u="none" strike="noStrike" cap="none" normalizeH="0" baseline="0" dirty="0">
                        <a:ln>
                          <a:noFill/>
                        </a:ln>
                        <a:solidFill>
                          <a:schemeClr val="bg2">
                            <a:lumMod val="10000"/>
                          </a:schemeClr>
                        </a:solidFill>
                        <a:effectLst/>
                        <a:latin typeface="Calibri" panose="020F0502020204030204" pitchFamily="34" charset="0"/>
                      </a:endParaRP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70591704"/>
                  </a:ext>
                </a:extLst>
              </a:tr>
            </a:tbl>
          </a:graphicData>
        </a:graphic>
      </p:graphicFrame>
      <p:sp>
        <p:nvSpPr>
          <p:cNvPr id="2" name="Text Box 15">
            <a:extLst>
              <a:ext uri="{FF2B5EF4-FFF2-40B4-BE49-F238E27FC236}">
                <a16:creationId xmlns:a16="http://schemas.microsoft.com/office/drawing/2014/main" id="{55726B61-F946-DD37-C602-B7201ED76F85}"/>
              </a:ext>
            </a:extLst>
          </p:cNvPr>
          <p:cNvSpPr txBox="1">
            <a:spLocks noChangeArrowheads="1"/>
          </p:cNvSpPr>
          <p:nvPr/>
        </p:nvSpPr>
        <p:spPr bwMode="auto">
          <a:xfrm>
            <a:off x="6579574" y="4108670"/>
            <a:ext cx="2122021" cy="215444"/>
          </a:xfrm>
          <a:prstGeom prst="rect">
            <a:avLst/>
          </a:prstGeom>
          <a:noFill/>
          <a:ln>
            <a:noFill/>
          </a:ln>
        </p:spPr>
        <p:txBody>
          <a:bodyPr wrap="square" anchor="b">
            <a:spAutoFit/>
          </a:bodyPr>
          <a:lstStyle>
            <a:lvl1pPr>
              <a:defRPr b="1">
                <a:solidFill>
                  <a:schemeClr val="tx1"/>
                </a:solidFill>
                <a:latin typeface="Arial" charset="0"/>
              </a:defRPr>
            </a:lvl1pPr>
            <a:lvl2pPr marL="742950" indent="-285750">
              <a:defRPr b="1">
                <a:solidFill>
                  <a:schemeClr val="tx1"/>
                </a:solidFill>
                <a:latin typeface="Arial" charset="0"/>
              </a:defRPr>
            </a:lvl2pPr>
            <a:lvl3pPr marL="1143000" indent="-228600">
              <a:defRPr b="1">
                <a:solidFill>
                  <a:schemeClr val="tx1"/>
                </a:solidFill>
                <a:latin typeface="Arial" charset="0"/>
              </a:defRPr>
            </a:lvl3pPr>
            <a:lvl4pPr marL="1600200" indent="-228600">
              <a:defRPr b="1">
                <a:solidFill>
                  <a:schemeClr val="tx1"/>
                </a:solidFill>
                <a:latin typeface="Arial" charset="0"/>
              </a:defRPr>
            </a:lvl4pPr>
            <a:lvl5pPr marL="2057400" indent="-228600">
              <a:defRPr b="1">
                <a:solidFill>
                  <a:schemeClr val="tx1"/>
                </a:solidFill>
                <a:latin typeface="Arial" charset="0"/>
              </a:defRPr>
            </a:lvl5pPr>
            <a:lvl6pPr marL="2514600" indent="-228600" eaLnBrk="0" fontAlgn="base" hangingPunct="0">
              <a:spcBef>
                <a:spcPct val="0"/>
              </a:spcBef>
              <a:spcAft>
                <a:spcPct val="0"/>
              </a:spcAft>
              <a:defRPr b="1">
                <a:solidFill>
                  <a:schemeClr val="tx1"/>
                </a:solidFill>
                <a:latin typeface="Arial" charset="0"/>
              </a:defRPr>
            </a:lvl6pPr>
            <a:lvl7pPr marL="2971800" indent="-228600" eaLnBrk="0" fontAlgn="base" hangingPunct="0">
              <a:spcBef>
                <a:spcPct val="0"/>
              </a:spcBef>
              <a:spcAft>
                <a:spcPct val="0"/>
              </a:spcAft>
              <a:defRPr b="1">
                <a:solidFill>
                  <a:schemeClr val="tx1"/>
                </a:solidFill>
                <a:latin typeface="Arial" charset="0"/>
              </a:defRPr>
            </a:lvl7pPr>
            <a:lvl8pPr marL="3429000" indent="-228600" eaLnBrk="0" fontAlgn="base" hangingPunct="0">
              <a:spcBef>
                <a:spcPct val="0"/>
              </a:spcBef>
              <a:spcAft>
                <a:spcPct val="0"/>
              </a:spcAft>
              <a:defRPr b="1">
                <a:solidFill>
                  <a:schemeClr val="tx1"/>
                </a:solidFill>
                <a:latin typeface="Arial" charset="0"/>
              </a:defRPr>
            </a:lvl8pPr>
            <a:lvl9pPr marL="3886200" indent="-228600" eaLnBrk="0" fontAlgn="base" hangingPunct="0">
              <a:spcBef>
                <a:spcPct val="0"/>
              </a:spcBef>
              <a:spcAft>
                <a:spcPct val="0"/>
              </a:spcAft>
              <a:defRPr b="1">
                <a:solidFill>
                  <a:schemeClr val="tx1"/>
                </a:solidFill>
                <a:latin typeface="Arial" charset="0"/>
              </a:defRPr>
            </a:lvl9pPr>
          </a:lstStyle>
          <a:p>
            <a:pPr>
              <a:defRPr/>
            </a:pPr>
            <a:r>
              <a:rPr lang="en-US" altLang="en-US" sz="800" b="0" spc="-10" dirty="0">
                <a:solidFill>
                  <a:srgbClr val="455560"/>
                </a:solidFill>
                <a:latin typeface="Calibri" panose="020F0502020204030204" pitchFamily="34" charset="0"/>
                <a:ea typeface="+mn-ea"/>
                <a:cs typeface="Arial" panose="020B0604020202020204" pitchFamily="34" charset="0"/>
              </a:rPr>
              <a:t>Bardia. NEJM. 2021, 384:1529 </a:t>
            </a:r>
            <a:endParaRPr lang="en-US" altLang="en-US" sz="800" b="0" dirty="0">
              <a:solidFill>
                <a:srgbClr val="455560"/>
              </a:solidFill>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1729364629"/>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4FEE2C7F-078F-8012-24F2-A4C6E2C1ABFF}"/>
              </a:ext>
            </a:extLst>
          </p:cNvPr>
          <p:cNvSpPr txBox="1">
            <a:spLocks/>
          </p:cNvSpPr>
          <p:nvPr/>
        </p:nvSpPr>
        <p:spPr>
          <a:xfrm>
            <a:off x="179351" y="127465"/>
            <a:ext cx="8550081" cy="807256"/>
          </a:xfrm>
          <a:prstGeom prst="rect">
            <a:avLst/>
          </a:prstGeom>
          <a:noFill/>
        </p:spPr>
        <p:txBody>
          <a:bodyPr/>
          <a:lstStyle>
            <a:lvl1pPr algn="ctr" rtl="0" eaLnBrk="1" fontAlgn="base" hangingPunct="1">
              <a:spcBef>
                <a:spcPct val="0"/>
              </a:spcBef>
              <a:spcAft>
                <a:spcPct val="0"/>
              </a:spcAft>
              <a:defRPr sz="3600" i="0">
                <a:solidFill>
                  <a:srgbClr val="002450"/>
                </a:solidFill>
                <a:latin typeface="+mn-lt"/>
                <a:ea typeface="+mj-ea"/>
                <a:cs typeface="+mj-cs"/>
              </a:defRPr>
            </a:lvl1pPr>
            <a:lvl2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2pPr>
            <a:lvl3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3pPr>
            <a:lvl4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4pPr>
            <a:lvl5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5pPr>
            <a:lvl6pPr marL="4572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6pPr>
            <a:lvl7pPr marL="9144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7pPr>
            <a:lvl8pPr marL="13716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8pPr>
            <a:lvl9pPr marL="18288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9pPr>
          </a:lstStyle>
          <a:p>
            <a:pPr algn="l"/>
            <a:r>
              <a:rPr lang="en-US" altLang="en-US" sz="2400" b="1" dirty="0"/>
              <a:t>ASCENT: PFS in Patients Without Brain Metastasis (Primary Outcome)</a:t>
            </a:r>
            <a:endParaRPr lang="en-US" sz="2400" b="1" kern="0" dirty="0"/>
          </a:p>
        </p:txBody>
      </p:sp>
      <p:sp>
        <p:nvSpPr>
          <p:cNvPr id="5" name="TextBox 4">
            <a:extLst>
              <a:ext uri="{FF2B5EF4-FFF2-40B4-BE49-F238E27FC236}">
                <a16:creationId xmlns:a16="http://schemas.microsoft.com/office/drawing/2014/main" id="{EBED000C-D271-1828-F0DE-1ED1587CBC25}"/>
              </a:ext>
            </a:extLst>
          </p:cNvPr>
          <p:cNvSpPr txBox="1"/>
          <p:nvPr/>
        </p:nvSpPr>
        <p:spPr bwMode="auto">
          <a:xfrm>
            <a:off x="4322085" y="920605"/>
            <a:ext cx="146736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algn="ctr">
              <a:lnSpc>
                <a:spcPct val="100000"/>
              </a:lnSpc>
              <a:spcBef>
                <a:spcPct val="50000"/>
              </a:spcBef>
              <a:spcAft>
                <a:spcPct val="0"/>
              </a:spcAft>
              <a:buClrTx/>
              <a:buFontTx/>
              <a:buNone/>
            </a:pPr>
            <a:r>
              <a:rPr lang="en-US" sz="1200" b="1" dirty="0">
                <a:latin typeface="Calibri" panose="020F0502020204030204" pitchFamily="34" charset="0"/>
              </a:rPr>
              <a:t>PFS</a:t>
            </a:r>
          </a:p>
        </p:txBody>
      </p:sp>
      <p:graphicFrame>
        <p:nvGraphicFramePr>
          <p:cNvPr id="6" name="Table 10">
            <a:extLst>
              <a:ext uri="{FF2B5EF4-FFF2-40B4-BE49-F238E27FC236}">
                <a16:creationId xmlns:a16="http://schemas.microsoft.com/office/drawing/2014/main" id="{E248E1F7-BBBB-CDCE-85B9-CE234A451825}"/>
              </a:ext>
            </a:extLst>
          </p:cNvPr>
          <p:cNvGraphicFramePr>
            <a:graphicFrameLocks noGrp="1"/>
          </p:cNvGraphicFramePr>
          <p:nvPr>
            <p:extLst>
              <p:ext uri="{D42A27DB-BD31-4B8C-83A1-F6EECF244321}">
                <p14:modId xmlns:p14="http://schemas.microsoft.com/office/powerpoint/2010/main" val="357061135"/>
              </p:ext>
            </p:extLst>
          </p:nvPr>
        </p:nvGraphicFramePr>
        <p:xfrm>
          <a:off x="4389728" y="1197604"/>
          <a:ext cx="4263260" cy="1127760"/>
        </p:xfrm>
        <a:graphic>
          <a:graphicData uri="http://schemas.openxmlformats.org/drawingml/2006/table">
            <a:tbl>
              <a:tblPr firstRow="1" bandRow="1">
                <a:tableStyleId>{21E4AEA4-8DFA-4A89-87EB-49C32662AFE0}</a:tableStyleId>
              </a:tblPr>
              <a:tblGrid>
                <a:gridCol w="1662262">
                  <a:extLst>
                    <a:ext uri="{9D8B030D-6E8A-4147-A177-3AD203B41FA5}">
                      <a16:colId xmlns:a16="http://schemas.microsoft.com/office/drawing/2014/main" val="3564029696"/>
                    </a:ext>
                  </a:extLst>
                </a:gridCol>
                <a:gridCol w="1300499">
                  <a:extLst>
                    <a:ext uri="{9D8B030D-6E8A-4147-A177-3AD203B41FA5}">
                      <a16:colId xmlns:a16="http://schemas.microsoft.com/office/drawing/2014/main" val="1817542465"/>
                    </a:ext>
                  </a:extLst>
                </a:gridCol>
                <a:gridCol w="1300499">
                  <a:extLst>
                    <a:ext uri="{9D8B030D-6E8A-4147-A177-3AD203B41FA5}">
                      <a16:colId xmlns:a16="http://schemas.microsoft.com/office/drawing/2014/main" val="737870658"/>
                    </a:ext>
                  </a:extLst>
                </a:gridCol>
              </a:tblGrid>
              <a:tr h="0">
                <a:tc>
                  <a:txBody>
                    <a:bodyPr/>
                    <a:lstStyle/>
                    <a:p>
                      <a:r>
                        <a:rPr lang="en-US" sz="1000" dirty="0">
                          <a:latin typeface="Calibri" panose="020F0502020204030204" pitchFamily="34" charset="0"/>
                          <a:cs typeface="Calibri" panose="020F0502020204030204" pitchFamily="34" charset="0"/>
                        </a:rPr>
                        <a:t>BICR Analysis</a:t>
                      </a:r>
                    </a:p>
                  </a:txBody>
                  <a:tcPr/>
                </a:tc>
                <a:tc>
                  <a:txBody>
                    <a:bodyPr/>
                    <a:lstStyle/>
                    <a:p>
                      <a:pPr algn="ctr"/>
                      <a:r>
                        <a:rPr lang="en-US" sz="1000" dirty="0">
                          <a:latin typeface="Calibri" panose="020F0502020204030204" pitchFamily="34" charset="0"/>
                          <a:cs typeface="Calibri" panose="020F0502020204030204" pitchFamily="34" charset="0"/>
                        </a:rPr>
                        <a:t>SG (n = 235)</a:t>
                      </a:r>
                    </a:p>
                  </a:txBody>
                  <a:tcPr/>
                </a:tc>
                <a:tc>
                  <a:txBody>
                    <a:bodyPr/>
                    <a:lstStyle/>
                    <a:p>
                      <a:pPr algn="ctr"/>
                      <a:r>
                        <a:rPr lang="en-US" sz="1000" dirty="0">
                          <a:latin typeface="Calibri" panose="020F0502020204030204" pitchFamily="34" charset="0"/>
                          <a:cs typeface="Calibri" panose="020F0502020204030204" pitchFamily="34" charset="0"/>
                        </a:rPr>
                        <a:t>CT (n = 233)</a:t>
                      </a:r>
                    </a:p>
                  </a:txBody>
                  <a:tcPr/>
                </a:tc>
                <a:extLst>
                  <a:ext uri="{0D108BD9-81ED-4DB2-BD59-A6C34878D82A}">
                    <a16:rowId xmlns:a16="http://schemas.microsoft.com/office/drawing/2014/main" val="1024511832"/>
                  </a:ext>
                </a:extLst>
              </a:tr>
              <a:tr h="0">
                <a:tc>
                  <a:txBody>
                    <a:bodyPr/>
                    <a:lstStyle/>
                    <a:p>
                      <a:r>
                        <a:rPr lang="en-US" sz="1000" dirty="0">
                          <a:solidFill>
                            <a:schemeClr val="tx1"/>
                          </a:solidFill>
                          <a:latin typeface="Calibri" panose="020F0502020204030204" pitchFamily="34" charset="0"/>
                          <a:cs typeface="Calibri" panose="020F0502020204030204" pitchFamily="34" charset="0"/>
                        </a:rPr>
                        <a:t>No. of events</a:t>
                      </a:r>
                    </a:p>
                  </a:txBody>
                  <a:tcPr/>
                </a:tc>
                <a:tc>
                  <a:txBody>
                    <a:bodyPr/>
                    <a:lstStyle/>
                    <a:p>
                      <a:pPr algn="ctr"/>
                      <a:r>
                        <a:rPr lang="en-US" sz="1000" dirty="0">
                          <a:solidFill>
                            <a:schemeClr val="tx1"/>
                          </a:solidFill>
                          <a:latin typeface="Calibri" panose="020F0502020204030204" pitchFamily="34" charset="0"/>
                          <a:cs typeface="Calibri" panose="020F0502020204030204" pitchFamily="34" charset="0"/>
                        </a:rPr>
                        <a:t>166</a:t>
                      </a:r>
                    </a:p>
                  </a:txBody>
                  <a:tcPr/>
                </a:tc>
                <a:tc>
                  <a:txBody>
                    <a:bodyPr/>
                    <a:lstStyle/>
                    <a:p>
                      <a:pPr algn="ctr"/>
                      <a:r>
                        <a:rPr lang="en-US" sz="1000" dirty="0">
                          <a:solidFill>
                            <a:schemeClr val="tx1"/>
                          </a:solidFill>
                          <a:latin typeface="Calibri" panose="020F0502020204030204" pitchFamily="34" charset="0"/>
                          <a:cs typeface="Calibri" panose="020F0502020204030204" pitchFamily="34" charset="0"/>
                        </a:rPr>
                        <a:t>150</a:t>
                      </a:r>
                    </a:p>
                  </a:txBody>
                  <a:tcPr/>
                </a:tc>
                <a:extLst>
                  <a:ext uri="{0D108BD9-81ED-4DB2-BD59-A6C34878D82A}">
                    <a16:rowId xmlns:a16="http://schemas.microsoft.com/office/drawing/2014/main" val="376583089"/>
                  </a:ext>
                </a:extLst>
              </a:tr>
              <a:tr h="0">
                <a:tc>
                  <a:txBody>
                    <a:bodyPr/>
                    <a:lstStyle/>
                    <a:p>
                      <a:r>
                        <a:rPr lang="en-US" sz="1000" dirty="0">
                          <a:solidFill>
                            <a:schemeClr val="tx1"/>
                          </a:solidFill>
                          <a:latin typeface="Calibri" panose="020F0502020204030204" pitchFamily="34" charset="0"/>
                          <a:cs typeface="Calibri" panose="020F0502020204030204" pitchFamily="34" charset="0"/>
                        </a:rPr>
                        <a:t>Median PFS, mo (95% CI)</a:t>
                      </a:r>
                    </a:p>
                  </a:txBody>
                  <a:tcPr/>
                </a:tc>
                <a:tc>
                  <a:txBody>
                    <a:bodyPr/>
                    <a:lstStyle/>
                    <a:p>
                      <a:pPr algn="ctr"/>
                      <a:r>
                        <a:rPr lang="en-US" sz="1000" dirty="0">
                          <a:solidFill>
                            <a:schemeClr val="tx1"/>
                          </a:solidFill>
                          <a:latin typeface="Calibri" panose="020F0502020204030204" pitchFamily="34" charset="0"/>
                          <a:cs typeface="Calibri" panose="020F0502020204030204" pitchFamily="34" charset="0"/>
                        </a:rPr>
                        <a:t>5.6 (4.3-6.3)</a:t>
                      </a:r>
                    </a:p>
                  </a:txBody>
                  <a:tcPr/>
                </a:tc>
                <a:tc>
                  <a:txBody>
                    <a:bodyPr/>
                    <a:lstStyle/>
                    <a:p>
                      <a:pPr algn="ctr"/>
                      <a:r>
                        <a:rPr lang="en-US" sz="1000" dirty="0">
                          <a:solidFill>
                            <a:schemeClr val="tx1"/>
                          </a:solidFill>
                          <a:latin typeface="Calibri" panose="020F0502020204030204" pitchFamily="34" charset="0"/>
                          <a:cs typeface="Calibri" panose="020F0502020204030204" pitchFamily="34" charset="0"/>
                        </a:rPr>
                        <a:t>1.7 (1.5-2.6)</a:t>
                      </a:r>
                    </a:p>
                  </a:txBody>
                  <a:tcPr/>
                </a:tc>
                <a:extLst>
                  <a:ext uri="{0D108BD9-81ED-4DB2-BD59-A6C34878D82A}">
                    <a16:rowId xmlns:a16="http://schemas.microsoft.com/office/drawing/2014/main" val="3327329230"/>
                  </a:ext>
                </a:extLst>
              </a:tr>
              <a:tr h="0">
                <a:tc>
                  <a:txBody>
                    <a:bodyPr/>
                    <a:lstStyle/>
                    <a:p>
                      <a:endParaRPr lang="en-US" sz="1000" dirty="0">
                        <a:solidFill>
                          <a:schemeClr val="tx1"/>
                        </a:solidFill>
                        <a:latin typeface="Calibri" panose="020F0502020204030204" pitchFamily="34" charset="0"/>
                        <a:cs typeface="Calibri" panose="020F0502020204030204" pitchFamily="34" charset="0"/>
                      </a:endParaRPr>
                    </a:p>
                  </a:txBody>
                  <a:tcPr/>
                </a:tc>
                <a:tc gridSpan="2">
                  <a:txBody>
                    <a:bodyPr/>
                    <a:lstStyle/>
                    <a:p>
                      <a:pPr algn="ctr"/>
                      <a:r>
                        <a:rPr lang="en-US" sz="1000" b="0" dirty="0">
                          <a:solidFill>
                            <a:schemeClr val="tx1"/>
                          </a:solidFill>
                          <a:latin typeface="Calibri" panose="020F0502020204030204" pitchFamily="34" charset="0"/>
                          <a:cs typeface="Calibri" panose="020F0502020204030204" pitchFamily="34" charset="0"/>
                        </a:rPr>
                        <a:t>HR: 0.41 (95% CI: 0.32-0.52; </a:t>
                      </a:r>
                    </a:p>
                    <a:p>
                      <a:pPr algn="ctr"/>
                      <a:r>
                        <a:rPr lang="en-US" sz="1000" b="0" dirty="0">
                          <a:solidFill>
                            <a:schemeClr val="tx1"/>
                          </a:solidFill>
                          <a:latin typeface="Calibri" panose="020F0502020204030204" pitchFamily="34" charset="0"/>
                          <a:cs typeface="Calibri" panose="020F0502020204030204" pitchFamily="34" charset="0"/>
                        </a:rPr>
                        <a:t>P &lt;.001)</a:t>
                      </a:r>
                    </a:p>
                  </a:txBody>
                  <a:tcPr/>
                </a:tc>
                <a:tc hMerge="1">
                  <a:txBody>
                    <a:bodyPr/>
                    <a:lstStyle/>
                    <a:p>
                      <a:pPr algn="ctr"/>
                      <a:endParaRPr lang="en-US" sz="1600" dirty="0">
                        <a:solidFill>
                          <a:schemeClr val="bg1"/>
                        </a:solidFill>
                        <a:latin typeface="Calibri" panose="020F0502020204030204" pitchFamily="34" charset="0"/>
                        <a:cs typeface="Calibri" panose="020F050202020403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2249408915"/>
                  </a:ext>
                </a:extLst>
              </a:tr>
            </a:tbl>
          </a:graphicData>
        </a:graphic>
      </p:graphicFrame>
      <p:sp>
        <p:nvSpPr>
          <p:cNvPr id="11" name="Freeform: Shape 10">
            <a:extLst>
              <a:ext uri="{FF2B5EF4-FFF2-40B4-BE49-F238E27FC236}">
                <a16:creationId xmlns:a16="http://schemas.microsoft.com/office/drawing/2014/main" id="{6503123D-FEB8-A087-01CD-656C9E9EFB21}"/>
              </a:ext>
            </a:extLst>
          </p:cNvPr>
          <p:cNvSpPr/>
          <p:nvPr/>
        </p:nvSpPr>
        <p:spPr bwMode="auto">
          <a:xfrm>
            <a:off x="1111426" y="1248638"/>
            <a:ext cx="5158197" cy="2279582"/>
          </a:xfrm>
          <a:custGeom>
            <a:avLst/>
            <a:gdLst>
              <a:gd name="connsiteX0" fmla="*/ 6539948 w 6539948"/>
              <a:gd name="connsiteY0" fmla="*/ 2965836 h 2965836"/>
              <a:gd name="connsiteX1" fmla="*/ 5689159 w 6539948"/>
              <a:gd name="connsiteY1" fmla="*/ 2965836 h 2965836"/>
              <a:gd name="connsiteX2" fmla="*/ 5689159 w 6539948"/>
              <a:gd name="connsiteY2" fmla="*/ 2918129 h 2965836"/>
              <a:gd name="connsiteX3" fmla="*/ 5617597 w 6539948"/>
              <a:gd name="connsiteY3" fmla="*/ 2918129 h 2965836"/>
              <a:gd name="connsiteX4" fmla="*/ 5617597 w 6539948"/>
              <a:gd name="connsiteY4" fmla="*/ 2878372 h 2965836"/>
              <a:gd name="connsiteX5" fmla="*/ 4464658 w 6539948"/>
              <a:gd name="connsiteY5" fmla="*/ 2878372 h 2965836"/>
              <a:gd name="connsiteX6" fmla="*/ 4464658 w 6539948"/>
              <a:gd name="connsiteY6" fmla="*/ 2834640 h 2965836"/>
              <a:gd name="connsiteX7" fmla="*/ 4416950 w 6539948"/>
              <a:gd name="connsiteY7" fmla="*/ 2834640 h 2965836"/>
              <a:gd name="connsiteX8" fmla="*/ 4416950 w 6539948"/>
              <a:gd name="connsiteY8" fmla="*/ 2818737 h 2965836"/>
              <a:gd name="connsiteX9" fmla="*/ 4357315 w 6539948"/>
              <a:gd name="connsiteY9" fmla="*/ 2818737 h 2965836"/>
              <a:gd name="connsiteX10" fmla="*/ 4357315 w 6539948"/>
              <a:gd name="connsiteY10" fmla="*/ 2818737 h 2965836"/>
              <a:gd name="connsiteX11" fmla="*/ 4357315 w 6539948"/>
              <a:gd name="connsiteY11" fmla="*/ 2798859 h 2965836"/>
              <a:gd name="connsiteX12" fmla="*/ 3812651 w 6539948"/>
              <a:gd name="connsiteY12" fmla="*/ 2798859 h 2965836"/>
              <a:gd name="connsiteX13" fmla="*/ 3812651 w 6539948"/>
              <a:gd name="connsiteY13" fmla="*/ 2763078 h 2965836"/>
              <a:gd name="connsiteX14" fmla="*/ 3812651 w 6539948"/>
              <a:gd name="connsiteY14" fmla="*/ 2763078 h 2965836"/>
              <a:gd name="connsiteX15" fmla="*/ 3812651 w 6539948"/>
              <a:gd name="connsiteY15" fmla="*/ 2763078 h 2965836"/>
              <a:gd name="connsiteX16" fmla="*/ 3812651 w 6539948"/>
              <a:gd name="connsiteY16" fmla="*/ 2763078 h 2965836"/>
              <a:gd name="connsiteX17" fmla="*/ 3796748 w 6539948"/>
              <a:gd name="connsiteY17" fmla="*/ 2763078 h 2965836"/>
              <a:gd name="connsiteX18" fmla="*/ 3796748 w 6539948"/>
              <a:gd name="connsiteY18" fmla="*/ 2735249 h 2965836"/>
              <a:gd name="connsiteX19" fmla="*/ 3709284 w 6539948"/>
              <a:gd name="connsiteY19" fmla="*/ 2735249 h 2965836"/>
              <a:gd name="connsiteX20" fmla="*/ 3709284 w 6539948"/>
              <a:gd name="connsiteY20" fmla="*/ 2715370 h 2965836"/>
              <a:gd name="connsiteX21" fmla="*/ 3653625 w 6539948"/>
              <a:gd name="connsiteY21" fmla="*/ 2715370 h 2965836"/>
              <a:gd name="connsiteX22" fmla="*/ 3665552 w 6539948"/>
              <a:gd name="connsiteY22" fmla="*/ 2703443 h 2965836"/>
              <a:gd name="connsiteX23" fmla="*/ 3574112 w 6539948"/>
              <a:gd name="connsiteY23" fmla="*/ 2703443 h 2965836"/>
              <a:gd name="connsiteX24" fmla="*/ 3574112 w 6539948"/>
              <a:gd name="connsiteY24" fmla="*/ 2683565 h 2965836"/>
              <a:gd name="connsiteX25" fmla="*/ 3482672 w 6539948"/>
              <a:gd name="connsiteY25" fmla="*/ 2683565 h 2965836"/>
              <a:gd name="connsiteX26" fmla="*/ 3482672 w 6539948"/>
              <a:gd name="connsiteY26" fmla="*/ 2683565 h 2965836"/>
              <a:gd name="connsiteX27" fmla="*/ 3482672 w 6539948"/>
              <a:gd name="connsiteY27" fmla="*/ 2663687 h 2965836"/>
              <a:gd name="connsiteX28" fmla="*/ 3367378 w 6539948"/>
              <a:gd name="connsiteY28" fmla="*/ 2663687 h 2965836"/>
              <a:gd name="connsiteX29" fmla="*/ 3367378 w 6539948"/>
              <a:gd name="connsiteY29" fmla="*/ 2659711 h 2965836"/>
              <a:gd name="connsiteX30" fmla="*/ 3264011 w 6539948"/>
              <a:gd name="connsiteY30" fmla="*/ 2659711 h 2965836"/>
              <a:gd name="connsiteX31" fmla="*/ 3264011 w 6539948"/>
              <a:gd name="connsiteY31" fmla="*/ 2643809 h 2965836"/>
              <a:gd name="connsiteX32" fmla="*/ 3220279 w 6539948"/>
              <a:gd name="connsiteY32" fmla="*/ 2643809 h 2965836"/>
              <a:gd name="connsiteX33" fmla="*/ 3220279 w 6539948"/>
              <a:gd name="connsiteY33" fmla="*/ 2643809 h 2965836"/>
              <a:gd name="connsiteX34" fmla="*/ 3220279 w 6539948"/>
              <a:gd name="connsiteY34" fmla="*/ 2608028 h 2965836"/>
              <a:gd name="connsiteX35" fmla="*/ 3204376 w 6539948"/>
              <a:gd name="connsiteY35" fmla="*/ 2608028 h 2965836"/>
              <a:gd name="connsiteX36" fmla="*/ 3204376 w 6539948"/>
              <a:gd name="connsiteY36" fmla="*/ 2588150 h 2965836"/>
              <a:gd name="connsiteX37" fmla="*/ 3188473 w 6539948"/>
              <a:gd name="connsiteY37" fmla="*/ 2588150 h 2965836"/>
              <a:gd name="connsiteX38" fmla="*/ 3188473 w 6539948"/>
              <a:gd name="connsiteY38" fmla="*/ 2544417 h 2965836"/>
              <a:gd name="connsiteX39" fmla="*/ 3180522 w 6539948"/>
              <a:gd name="connsiteY39" fmla="*/ 2544417 h 2965836"/>
              <a:gd name="connsiteX40" fmla="*/ 3180522 w 6539948"/>
              <a:gd name="connsiteY40" fmla="*/ 2544417 h 2965836"/>
              <a:gd name="connsiteX41" fmla="*/ 3180522 w 6539948"/>
              <a:gd name="connsiteY41" fmla="*/ 2524539 h 2965836"/>
              <a:gd name="connsiteX42" fmla="*/ 3148717 w 6539948"/>
              <a:gd name="connsiteY42" fmla="*/ 2524539 h 2965836"/>
              <a:gd name="connsiteX43" fmla="*/ 3148717 w 6539948"/>
              <a:gd name="connsiteY43" fmla="*/ 2500685 h 2965836"/>
              <a:gd name="connsiteX44" fmla="*/ 3101009 w 6539948"/>
              <a:gd name="connsiteY44" fmla="*/ 2500685 h 2965836"/>
              <a:gd name="connsiteX45" fmla="*/ 3101009 w 6539948"/>
              <a:gd name="connsiteY45" fmla="*/ 2476831 h 2965836"/>
              <a:gd name="connsiteX46" fmla="*/ 2969813 w 6539948"/>
              <a:gd name="connsiteY46" fmla="*/ 2476831 h 2965836"/>
              <a:gd name="connsiteX47" fmla="*/ 2969813 w 6539948"/>
              <a:gd name="connsiteY47" fmla="*/ 2464904 h 2965836"/>
              <a:gd name="connsiteX48" fmla="*/ 2938007 w 6539948"/>
              <a:gd name="connsiteY48" fmla="*/ 2464904 h 2965836"/>
              <a:gd name="connsiteX49" fmla="*/ 2938007 w 6539948"/>
              <a:gd name="connsiteY49" fmla="*/ 2445026 h 2965836"/>
              <a:gd name="connsiteX50" fmla="*/ 2834640 w 6539948"/>
              <a:gd name="connsiteY50" fmla="*/ 2445026 h 2965836"/>
              <a:gd name="connsiteX51" fmla="*/ 2834640 w 6539948"/>
              <a:gd name="connsiteY51" fmla="*/ 2413221 h 2965836"/>
              <a:gd name="connsiteX52" fmla="*/ 2739225 w 6539948"/>
              <a:gd name="connsiteY52" fmla="*/ 2413221 h 2965836"/>
              <a:gd name="connsiteX53" fmla="*/ 2739225 w 6539948"/>
              <a:gd name="connsiteY53" fmla="*/ 2389367 h 2965836"/>
              <a:gd name="connsiteX54" fmla="*/ 2711395 w 6539948"/>
              <a:gd name="connsiteY54" fmla="*/ 2389367 h 2965836"/>
              <a:gd name="connsiteX55" fmla="*/ 2711395 w 6539948"/>
              <a:gd name="connsiteY55" fmla="*/ 2365513 h 2965836"/>
              <a:gd name="connsiteX56" fmla="*/ 2667663 w 6539948"/>
              <a:gd name="connsiteY56" fmla="*/ 2365513 h 2965836"/>
              <a:gd name="connsiteX57" fmla="*/ 2667663 w 6539948"/>
              <a:gd name="connsiteY57" fmla="*/ 2337683 h 2965836"/>
              <a:gd name="connsiteX58" fmla="*/ 2604053 w 6539948"/>
              <a:gd name="connsiteY58" fmla="*/ 2337683 h 2965836"/>
              <a:gd name="connsiteX59" fmla="*/ 2604053 w 6539948"/>
              <a:gd name="connsiteY59" fmla="*/ 2337683 h 2965836"/>
              <a:gd name="connsiteX60" fmla="*/ 2604053 w 6539948"/>
              <a:gd name="connsiteY60" fmla="*/ 2301903 h 2965836"/>
              <a:gd name="connsiteX61" fmla="*/ 2528515 w 6539948"/>
              <a:gd name="connsiteY61" fmla="*/ 2301903 h 2965836"/>
              <a:gd name="connsiteX62" fmla="*/ 2528515 w 6539948"/>
              <a:gd name="connsiteY62" fmla="*/ 2254195 h 2965836"/>
              <a:gd name="connsiteX63" fmla="*/ 2528515 w 6539948"/>
              <a:gd name="connsiteY63" fmla="*/ 2254195 h 2965836"/>
              <a:gd name="connsiteX64" fmla="*/ 2520564 w 6539948"/>
              <a:gd name="connsiteY64" fmla="*/ 2246244 h 2965836"/>
              <a:gd name="connsiteX65" fmla="*/ 2520564 w 6539948"/>
              <a:gd name="connsiteY65" fmla="*/ 2158779 h 2965836"/>
              <a:gd name="connsiteX66" fmla="*/ 2496710 w 6539948"/>
              <a:gd name="connsiteY66" fmla="*/ 2158779 h 2965836"/>
              <a:gd name="connsiteX67" fmla="*/ 2496710 w 6539948"/>
              <a:gd name="connsiteY67" fmla="*/ 2138901 h 2965836"/>
              <a:gd name="connsiteX68" fmla="*/ 2480807 w 6539948"/>
              <a:gd name="connsiteY68" fmla="*/ 2138901 h 2965836"/>
              <a:gd name="connsiteX69" fmla="*/ 2480807 w 6539948"/>
              <a:gd name="connsiteY69" fmla="*/ 2107096 h 2965836"/>
              <a:gd name="connsiteX70" fmla="*/ 2258171 w 6539948"/>
              <a:gd name="connsiteY70" fmla="*/ 2107096 h 2965836"/>
              <a:gd name="connsiteX71" fmla="*/ 2258171 w 6539948"/>
              <a:gd name="connsiteY71" fmla="*/ 2083242 h 2965836"/>
              <a:gd name="connsiteX72" fmla="*/ 2238293 w 6539948"/>
              <a:gd name="connsiteY72" fmla="*/ 2083242 h 2965836"/>
              <a:gd name="connsiteX73" fmla="*/ 2238293 w 6539948"/>
              <a:gd name="connsiteY73" fmla="*/ 2083242 h 2965836"/>
              <a:gd name="connsiteX74" fmla="*/ 2238293 w 6539948"/>
              <a:gd name="connsiteY74" fmla="*/ 2051436 h 2965836"/>
              <a:gd name="connsiteX75" fmla="*/ 2174682 w 6539948"/>
              <a:gd name="connsiteY75" fmla="*/ 2051436 h 2965836"/>
              <a:gd name="connsiteX76" fmla="*/ 2174682 w 6539948"/>
              <a:gd name="connsiteY76" fmla="*/ 2051436 h 2965836"/>
              <a:gd name="connsiteX77" fmla="*/ 2174682 w 6539948"/>
              <a:gd name="connsiteY77" fmla="*/ 2027583 h 2965836"/>
              <a:gd name="connsiteX78" fmla="*/ 2150828 w 6539948"/>
              <a:gd name="connsiteY78" fmla="*/ 2027583 h 2965836"/>
              <a:gd name="connsiteX79" fmla="*/ 2150828 w 6539948"/>
              <a:gd name="connsiteY79" fmla="*/ 2003729 h 2965836"/>
              <a:gd name="connsiteX80" fmla="*/ 2103120 w 6539948"/>
              <a:gd name="connsiteY80" fmla="*/ 2003729 h 2965836"/>
              <a:gd name="connsiteX81" fmla="*/ 2103120 w 6539948"/>
              <a:gd name="connsiteY81" fmla="*/ 1864581 h 2965836"/>
              <a:gd name="connsiteX82" fmla="*/ 2055413 w 6539948"/>
              <a:gd name="connsiteY82" fmla="*/ 1864581 h 2965836"/>
              <a:gd name="connsiteX83" fmla="*/ 2055413 w 6539948"/>
              <a:gd name="connsiteY83" fmla="*/ 1840727 h 2965836"/>
              <a:gd name="connsiteX84" fmla="*/ 2019632 w 6539948"/>
              <a:gd name="connsiteY84" fmla="*/ 1840727 h 2965836"/>
              <a:gd name="connsiteX85" fmla="*/ 2019632 w 6539948"/>
              <a:gd name="connsiteY85" fmla="*/ 1816873 h 2965836"/>
              <a:gd name="connsiteX86" fmla="*/ 1884459 w 6539948"/>
              <a:gd name="connsiteY86" fmla="*/ 1816873 h 2965836"/>
              <a:gd name="connsiteX87" fmla="*/ 1884459 w 6539948"/>
              <a:gd name="connsiteY87" fmla="*/ 1816873 h 2965836"/>
              <a:gd name="connsiteX88" fmla="*/ 1884459 w 6539948"/>
              <a:gd name="connsiteY88" fmla="*/ 1793019 h 2965836"/>
              <a:gd name="connsiteX89" fmla="*/ 1761214 w 6539948"/>
              <a:gd name="connsiteY89" fmla="*/ 1793019 h 2965836"/>
              <a:gd name="connsiteX90" fmla="*/ 1761214 w 6539948"/>
              <a:gd name="connsiteY90" fmla="*/ 1741336 h 2965836"/>
              <a:gd name="connsiteX91" fmla="*/ 1725433 w 6539948"/>
              <a:gd name="connsiteY91" fmla="*/ 1741336 h 2965836"/>
              <a:gd name="connsiteX92" fmla="*/ 1725433 w 6539948"/>
              <a:gd name="connsiteY92" fmla="*/ 1701579 h 2965836"/>
              <a:gd name="connsiteX93" fmla="*/ 1693628 w 6539948"/>
              <a:gd name="connsiteY93" fmla="*/ 1701579 h 2965836"/>
              <a:gd name="connsiteX94" fmla="*/ 1693628 w 6539948"/>
              <a:gd name="connsiteY94" fmla="*/ 1657847 h 2965836"/>
              <a:gd name="connsiteX95" fmla="*/ 1669774 w 6539948"/>
              <a:gd name="connsiteY95" fmla="*/ 1657847 h 2965836"/>
              <a:gd name="connsiteX96" fmla="*/ 1669774 w 6539948"/>
              <a:gd name="connsiteY96" fmla="*/ 1610139 h 2965836"/>
              <a:gd name="connsiteX97" fmla="*/ 1637969 w 6539948"/>
              <a:gd name="connsiteY97" fmla="*/ 1610139 h 2965836"/>
              <a:gd name="connsiteX98" fmla="*/ 1637969 w 6539948"/>
              <a:gd name="connsiteY98" fmla="*/ 1550504 h 2965836"/>
              <a:gd name="connsiteX99" fmla="*/ 1610139 w 6539948"/>
              <a:gd name="connsiteY99" fmla="*/ 1550504 h 2965836"/>
              <a:gd name="connsiteX100" fmla="*/ 1610139 w 6539948"/>
              <a:gd name="connsiteY100" fmla="*/ 1494845 h 2965836"/>
              <a:gd name="connsiteX101" fmla="*/ 1550505 w 6539948"/>
              <a:gd name="connsiteY101" fmla="*/ 1494845 h 2965836"/>
              <a:gd name="connsiteX102" fmla="*/ 1550505 w 6539948"/>
              <a:gd name="connsiteY102" fmla="*/ 1474967 h 2965836"/>
              <a:gd name="connsiteX103" fmla="*/ 1514724 w 6539948"/>
              <a:gd name="connsiteY103" fmla="*/ 1474967 h 2965836"/>
              <a:gd name="connsiteX104" fmla="*/ 1514724 w 6539948"/>
              <a:gd name="connsiteY104" fmla="*/ 1474967 h 2965836"/>
              <a:gd name="connsiteX105" fmla="*/ 1514724 w 6539948"/>
              <a:gd name="connsiteY105" fmla="*/ 1455089 h 2965836"/>
              <a:gd name="connsiteX106" fmla="*/ 1470992 w 6539948"/>
              <a:gd name="connsiteY106" fmla="*/ 1455089 h 2965836"/>
              <a:gd name="connsiteX107" fmla="*/ 1470992 w 6539948"/>
              <a:gd name="connsiteY107" fmla="*/ 1423283 h 2965836"/>
              <a:gd name="connsiteX108" fmla="*/ 1455089 w 6539948"/>
              <a:gd name="connsiteY108" fmla="*/ 1423283 h 2965836"/>
              <a:gd name="connsiteX109" fmla="*/ 1455089 w 6539948"/>
              <a:gd name="connsiteY109" fmla="*/ 1395454 h 2965836"/>
              <a:gd name="connsiteX110" fmla="*/ 1339795 w 6539948"/>
              <a:gd name="connsiteY110" fmla="*/ 1395454 h 2965836"/>
              <a:gd name="connsiteX111" fmla="*/ 1339795 w 6539948"/>
              <a:gd name="connsiteY111" fmla="*/ 1339795 h 2965836"/>
              <a:gd name="connsiteX112" fmla="*/ 1323893 w 6539948"/>
              <a:gd name="connsiteY112" fmla="*/ 1339795 h 2965836"/>
              <a:gd name="connsiteX113" fmla="*/ 1323893 w 6539948"/>
              <a:gd name="connsiteY113" fmla="*/ 1300038 h 2965836"/>
              <a:gd name="connsiteX114" fmla="*/ 1284136 w 6539948"/>
              <a:gd name="connsiteY114" fmla="*/ 1300038 h 2965836"/>
              <a:gd name="connsiteX115" fmla="*/ 1284136 w 6539948"/>
              <a:gd name="connsiteY115" fmla="*/ 1228476 h 2965836"/>
              <a:gd name="connsiteX116" fmla="*/ 1240404 w 6539948"/>
              <a:gd name="connsiteY116" fmla="*/ 1228476 h 2965836"/>
              <a:gd name="connsiteX117" fmla="*/ 1240404 w 6539948"/>
              <a:gd name="connsiteY117" fmla="*/ 1137036 h 2965836"/>
              <a:gd name="connsiteX118" fmla="*/ 1216550 w 6539948"/>
              <a:gd name="connsiteY118" fmla="*/ 1137036 h 2965836"/>
              <a:gd name="connsiteX119" fmla="*/ 1216550 w 6539948"/>
              <a:gd name="connsiteY119" fmla="*/ 1073426 h 2965836"/>
              <a:gd name="connsiteX120" fmla="*/ 1156915 w 6539948"/>
              <a:gd name="connsiteY120" fmla="*/ 1073426 h 2965836"/>
              <a:gd name="connsiteX121" fmla="*/ 1156915 w 6539948"/>
              <a:gd name="connsiteY121" fmla="*/ 1057523 h 2965836"/>
              <a:gd name="connsiteX122" fmla="*/ 1089329 w 6539948"/>
              <a:gd name="connsiteY122" fmla="*/ 1057523 h 2965836"/>
              <a:gd name="connsiteX123" fmla="*/ 1089329 w 6539948"/>
              <a:gd name="connsiteY123" fmla="*/ 1037645 h 2965836"/>
              <a:gd name="connsiteX124" fmla="*/ 1025719 w 6539948"/>
              <a:gd name="connsiteY124" fmla="*/ 1037645 h 2965836"/>
              <a:gd name="connsiteX125" fmla="*/ 1025719 w 6539948"/>
              <a:gd name="connsiteY125" fmla="*/ 1009816 h 2965836"/>
              <a:gd name="connsiteX126" fmla="*/ 918376 w 6539948"/>
              <a:gd name="connsiteY126" fmla="*/ 1009816 h 2965836"/>
              <a:gd name="connsiteX127" fmla="*/ 934279 w 6539948"/>
              <a:gd name="connsiteY127" fmla="*/ 993913 h 2965836"/>
              <a:gd name="connsiteX128" fmla="*/ 898498 w 6539948"/>
              <a:gd name="connsiteY128" fmla="*/ 993913 h 2965836"/>
              <a:gd name="connsiteX129" fmla="*/ 898498 w 6539948"/>
              <a:gd name="connsiteY129" fmla="*/ 966083 h 2965836"/>
              <a:gd name="connsiteX130" fmla="*/ 838863 w 6539948"/>
              <a:gd name="connsiteY130" fmla="*/ 966083 h 2965836"/>
              <a:gd name="connsiteX131" fmla="*/ 838863 w 6539948"/>
              <a:gd name="connsiteY131" fmla="*/ 910424 h 2965836"/>
              <a:gd name="connsiteX132" fmla="*/ 795131 w 6539948"/>
              <a:gd name="connsiteY132" fmla="*/ 910424 h 2965836"/>
              <a:gd name="connsiteX133" fmla="*/ 795131 w 6539948"/>
              <a:gd name="connsiteY133" fmla="*/ 787179 h 2965836"/>
              <a:gd name="connsiteX134" fmla="*/ 763326 w 6539948"/>
              <a:gd name="connsiteY134" fmla="*/ 787179 h 2965836"/>
              <a:gd name="connsiteX135" fmla="*/ 763326 w 6539948"/>
              <a:gd name="connsiteY135" fmla="*/ 747423 h 2965836"/>
              <a:gd name="connsiteX136" fmla="*/ 763326 w 6539948"/>
              <a:gd name="connsiteY136" fmla="*/ 747423 h 2965836"/>
              <a:gd name="connsiteX137" fmla="*/ 735496 w 6539948"/>
              <a:gd name="connsiteY137" fmla="*/ 747423 h 2965836"/>
              <a:gd name="connsiteX138" fmla="*/ 735496 w 6539948"/>
              <a:gd name="connsiteY138" fmla="*/ 687788 h 2965836"/>
              <a:gd name="connsiteX139" fmla="*/ 711642 w 6539948"/>
              <a:gd name="connsiteY139" fmla="*/ 687788 h 2965836"/>
              <a:gd name="connsiteX140" fmla="*/ 711642 w 6539948"/>
              <a:gd name="connsiteY140" fmla="*/ 655983 h 2965836"/>
              <a:gd name="connsiteX141" fmla="*/ 640080 w 6539948"/>
              <a:gd name="connsiteY141" fmla="*/ 655983 h 2965836"/>
              <a:gd name="connsiteX142" fmla="*/ 640080 w 6539948"/>
              <a:gd name="connsiteY142" fmla="*/ 628153 h 2965836"/>
              <a:gd name="connsiteX143" fmla="*/ 556592 w 6539948"/>
              <a:gd name="connsiteY143" fmla="*/ 628153 h 2965836"/>
              <a:gd name="connsiteX144" fmla="*/ 556592 w 6539948"/>
              <a:gd name="connsiteY144" fmla="*/ 608275 h 2965836"/>
              <a:gd name="connsiteX145" fmla="*/ 465152 w 6539948"/>
              <a:gd name="connsiteY145" fmla="*/ 608275 h 2965836"/>
              <a:gd name="connsiteX146" fmla="*/ 465152 w 6539948"/>
              <a:gd name="connsiteY146" fmla="*/ 560567 h 2965836"/>
              <a:gd name="connsiteX147" fmla="*/ 437322 w 6539948"/>
              <a:gd name="connsiteY147" fmla="*/ 560567 h 2965836"/>
              <a:gd name="connsiteX148" fmla="*/ 437322 w 6539948"/>
              <a:gd name="connsiteY148" fmla="*/ 500932 h 2965836"/>
              <a:gd name="connsiteX149" fmla="*/ 421419 w 6539948"/>
              <a:gd name="connsiteY149" fmla="*/ 500932 h 2965836"/>
              <a:gd name="connsiteX150" fmla="*/ 421419 w 6539948"/>
              <a:gd name="connsiteY150" fmla="*/ 429370 h 2965836"/>
              <a:gd name="connsiteX151" fmla="*/ 373712 w 6539948"/>
              <a:gd name="connsiteY151" fmla="*/ 429370 h 2965836"/>
              <a:gd name="connsiteX152" fmla="*/ 373712 w 6539948"/>
              <a:gd name="connsiteY152" fmla="*/ 369736 h 2965836"/>
              <a:gd name="connsiteX153" fmla="*/ 353833 w 6539948"/>
              <a:gd name="connsiteY153" fmla="*/ 369736 h 2965836"/>
              <a:gd name="connsiteX154" fmla="*/ 353833 w 6539948"/>
              <a:gd name="connsiteY154" fmla="*/ 238539 h 2965836"/>
              <a:gd name="connsiteX155" fmla="*/ 337931 w 6539948"/>
              <a:gd name="connsiteY155" fmla="*/ 238539 h 2965836"/>
              <a:gd name="connsiteX156" fmla="*/ 337931 w 6539948"/>
              <a:gd name="connsiteY156" fmla="*/ 198783 h 2965836"/>
              <a:gd name="connsiteX157" fmla="*/ 314077 w 6539948"/>
              <a:gd name="connsiteY157" fmla="*/ 198783 h 2965836"/>
              <a:gd name="connsiteX158" fmla="*/ 314077 w 6539948"/>
              <a:gd name="connsiteY158" fmla="*/ 139148 h 2965836"/>
              <a:gd name="connsiteX159" fmla="*/ 238539 w 6539948"/>
              <a:gd name="connsiteY159" fmla="*/ 139148 h 2965836"/>
              <a:gd name="connsiteX160" fmla="*/ 238539 w 6539948"/>
              <a:gd name="connsiteY160" fmla="*/ 139148 h 2965836"/>
              <a:gd name="connsiteX161" fmla="*/ 238539 w 6539948"/>
              <a:gd name="connsiteY161" fmla="*/ 103367 h 2965836"/>
              <a:gd name="connsiteX162" fmla="*/ 166978 w 6539948"/>
              <a:gd name="connsiteY162" fmla="*/ 103367 h 2965836"/>
              <a:gd name="connsiteX163" fmla="*/ 166978 w 6539948"/>
              <a:gd name="connsiteY163" fmla="*/ 67586 h 2965836"/>
              <a:gd name="connsiteX164" fmla="*/ 87465 w 6539948"/>
              <a:gd name="connsiteY164" fmla="*/ 67586 h 2965836"/>
              <a:gd name="connsiteX165" fmla="*/ 87465 w 6539948"/>
              <a:gd name="connsiteY165" fmla="*/ 39756 h 2965836"/>
              <a:gd name="connsiteX166" fmla="*/ 59635 w 6539948"/>
              <a:gd name="connsiteY166" fmla="*/ 39756 h 2965836"/>
              <a:gd name="connsiteX167" fmla="*/ 59635 w 6539948"/>
              <a:gd name="connsiteY167" fmla="*/ 0 h 2965836"/>
              <a:gd name="connsiteX168" fmla="*/ 0 w 6539948"/>
              <a:gd name="connsiteY168" fmla="*/ 0 h 2965836"/>
              <a:gd name="connsiteX169" fmla="*/ 0 w 6539948"/>
              <a:gd name="connsiteY169" fmla="*/ 0 h 2965836"/>
              <a:gd name="connsiteX170" fmla="*/ 0 w 6539948"/>
              <a:gd name="connsiteY170" fmla="*/ 0 h 2965836"/>
              <a:gd name="connsiteX0" fmla="*/ 6539948 w 6539948"/>
              <a:gd name="connsiteY0" fmla="*/ 2965836 h 2965836"/>
              <a:gd name="connsiteX1" fmla="*/ 5689159 w 6539948"/>
              <a:gd name="connsiteY1" fmla="*/ 2965836 h 2965836"/>
              <a:gd name="connsiteX2" fmla="*/ 5689159 w 6539948"/>
              <a:gd name="connsiteY2" fmla="*/ 2918129 h 2965836"/>
              <a:gd name="connsiteX3" fmla="*/ 5617597 w 6539948"/>
              <a:gd name="connsiteY3" fmla="*/ 2918129 h 2965836"/>
              <a:gd name="connsiteX4" fmla="*/ 5617597 w 6539948"/>
              <a:gd name="connsiteY4" fmla="*/ 2878372 h 2965836"/>
              <a:gd name="connsiteX5" fmla="*/ 4464658 w 6539948"/>
              <a:gd name="connsiteY5" fmla="*/ 2878372 h 2965836"/>
              <a:gd name="connsiteX6" fmla="*/ 4464658 w 6539948"/>
              <a:gd name="connsiteY6" fmla="*/ 2834640 h 2965836"/>
              <a:gd name="connsiteX7" fmla="*/ 4416950 w 6539948"/>
              <a:gd name="connsiteY7" fmla="*/ 2834640 h 2965836"/>
              <a:gd name="connsiteX8" fmla="*/ 4416950 w 6539948"/>
              <a:gd name="connsiteY8" fmla="*/ 2818737 h 2965836"/>
              <a:gd name="connsiteX9" fmla="*/ 4357315 w 6539948"/>
              <a:gd name="connsiteY9" fmla="*/ 2818737 h 2965836"/>
              <a:gd name="connsiteX10" fmla="*/ 4357315 w 6539948"/>
              <a:gd name="connsiteY10" fmla="*/ 2818737 h 2965836"/>
              <a:gd name="connsiteX11" fmla="*/ 4357315 w 6539948"/>
              <a:gd name="connsiteY11" fmla="*/ 2798859 h 2965836"/>
              <a:gd name="connsiteX12" fmla="*/ 3812651 w 6539948"/>
              <a:gd name="connsiteY12" fmla="*/ 2798859 h 2965836"/>
              <a:gd name="connsiteX13" fmla="*/ 3812651 w 6539948"/>
              <a:gd name="connsiteY13" fmla="*/ 2763078 h 2965836"/>
              <a:gd name="connsiteX14" fmla="*/ 3812651 w 6539948"/>
              <a:gd name="connsiteY14" fmla="*/ 2763078 h 2965836"/>
              <a:gd name="connsiteX15" fmla="*/ 3812651 w 6539948"/>
              <a:gd name="connsiteY15" fmla="*/ 2763078 h 2965836"/>
              <a:gd name="connsiteX16" fmla="*/ 3812651 w 6539948"/>
              <a:gd name="connsiteY16" fmla="*/ 2763078 h 2965836"/>
              <a:gd name="connsiteX17" fmla="*/ 3796748 w 6539948"/>
              <a:gd name="connsiteY17" fmla="*/ 2763078 h 2965836"/>
              <a:gd name="connsiteX18" fmla="*/ 3796748 w 6539948"/>
              <a:gd name="connsiteY18" fmla="*/ 2735249 h 2965836"/>
              <a:gd name="connsiteX19" fmla="*/ 3709284 w 6539948"/>
              <a:gd name="connsiteY19" fmla="*/ 2735249 h 2965836"/>
              <a:gd name="connsiteX20" fmla="*/ 3709284 w 6539948"/>
              <a:gd name="connsiteY20" fmla="*/ 2715370 h 2965836"/>
              <a:gd name="connsiteX21" fmla="*/ 3665532 w 6539948"/>
              <a:gd name="connsiteY21" fmla="*/ 2715370 h 2965836"/>
              <a:gd name="connsiteX22" fmla="*/ 3665552 w 6539948"/>
              <a:gd name="connsiteY22" fmla="*/ 2703443 h 2965836"/>
              <a:gd name="connsiteX23" fmla="*/ 3574112 w 6539948"/>
              <a:gd name="connsiteY23" fmla="*/ 2703443 h 2965836"/>
              <a:gd name="connsiteX24" fmla="*/ 3574112 w 6539948"/>
              <a:gd name="connsiteY24" fmla="*/ 2683565 h 2965836"/>
              <a:gd name="connsiteX25" fmla="*/ 3482672 w 6539948"/>
              <a:gd name="connsiteY25" fmla="*/ 2683565 h 2965836"/>
              <a:gd name="connsiteX26" fmla="*/ 3482672 w 6539948"/>
              <a:gd name="connsiteY26" fmla="*/ 2683565 h 2965836"/>
              <a:gd name="connsiteX27" fmla="*/ 3482672 w 6539948"/>
              <a:gd name="connsiteY27" fmla="*/ 2663687 h 2965836"/>
              <a:gd name="connsiteX28" fmla="*/ 3367378 w 6539948"/>
              <a:gd name="connsiteY28" fmla="*/ 2663687 h 2965836"/>
              <a:gd name="connsiteX29" fmla="*/ 3367378 w 6539948"/>
              <a:gd name="connsiteY29" fmla="*/ 2659711 h 2965836"/>
              <a:gd name="connsiteX30" fmla="*/ 3264011 w 6539948"/>
              <a:gd name="connsiteY30" fmla="*/ 2659711 h 2965836"/>
              <a:gd name="connsiteX31" fmla="*/ 3264011 w 6539948"/>
              <a:gd name="connsiteY31" fmla="*/ 2643809 h 2965836"/>
              <a:gd name="connsiteX32" fmla="*/ 3220279 w 6539948"/>
              <a:gd name="connsiteY32" fmla="*/ 2643809 h 2965836"/>
              <a:gd name="connsiteX33" fmla="*/ 3220279 w 6539948"/>
              <a:gd name="connsiteY33" fmla="*/ 2643809 h 2965836"/>
              <a:gd name="connsiteX34" fmla="*/ 3220279 w 6539948"/>
              <a:gd name="connsiteY34" fmla="*/ 2608028 h 2965836"/>
              <a:gd name="connsiteX35" fmla="*/ 3204376 w 6539948"/>
              <a:gd name="connsiteY35" fmla="*/ 2608028 h 2965836"/>
              <a:gd name="connsiteX36" fmla="*/ 3204376 w 6539948"/>
              <a:gd name="connsiteY36" fmla="*/ 2588150 h 2965836"/>
              <a:gd name="connsiteX37" fmla="*/ 3188473 w 6539948"/>
              <a:gd name="connsiteY37" fmla="*/ 2588150 h 2965836"/>
              <a:gd name="connsiteX38" fmla="*/ 3188473 w 6539948"/>
              <a:gd name="connsiteY38" fmla="*/ 2544417 h 2965836"/>
              <a:gd name="connsiteX39" fmla="*/ 3180522 w 6539948"/>
              <a:gd name="connsiteY39" fmla="*/ 2544417 h 2965836"/>
              <a:gd name="connsiteX40" fmla="*/ 3180522 w 6539948"/>
              <a:gd name="connsiteY40" fmla="*/ 2544417 h 2965836"/>
              <a:gd name="connsiteX41" fmla="*/ 3180522 w 6539948"/>
              <a:gd name="connsiteY41" fmla="*/ 2524539 h 2965836"/>
              <a:gd name="connsiteX42" fmla="*/ 3148717 w 6539948"/>
              <a:gd name="connsiteY42" fmla="*/ 2524539 h 2965836"/>
              <a:gd name="connsiteX43" fmla="*/ 3148717 w 6539948"/>
              <a:gd name="connsiteY43" fmla="*/ 2500685 h 2965836"/>
              <a:gd name="connsiteX44" fmla="*/ 3101009 w 6539948"/>
              <a:gd name="connsiteY44" fmla="*/ 2500685 h 2965836"/>
              <a:gd name="connsiteX45" fmla="*/ 3101009 w 6539948"/>
              <a:gd name="connsiteY45" fmla="*/ 2476831 h 2965836"/>
              <a:gd name="connsiteX46" fmla="*/ 2969813 w 6539948"/>
              <a:gd name="connsiteY46" fmla="*/ 2476831 h 2965836"/>
              <a:gd name="connsiteX47" fmla="*/ 2969813 w 6539948"/>
              <a:gd name="connsiteY47" fmla="*/ 2464904 h 2965836"/>
              <a:gd name="connsiteX48" fmla="*/ 2938007 w 6539948"/>
              <a:gd name="connsiteY48" fmla="*/ 2464904 h 2965836"/>
              <a:gd name="connsiteX49" fmla="*/ 2938007 w 6539948"/>
              <a:gd name="connsiteY49" fmla="*/ 2445026 h 2965836"/>
              <a:gd name="connsiteX50" fmla="*/ 2834640 w 6539948"/>
              <a:gd name="connsiteY50" fmla="*/ 2445026 h 2965836"/>
              <a:gd name="connsiteX51" fmla="*/ 2834640 w 6539948"/>
              <a:gd name="connsiteY51" fmla="*/ 2413221 h 2965836"/>
              <a:gd name="connsiteX52" fmla="*/ 2739225 w 6539948"/>
              <a:gd name="connsiteY52" fmla="*/ 2413221 h 2965836"/>
              <a:gd name="connsiteX53" fmla="*/ 2739225 w 6539948"/>
              <a:gd name="connsiteY53" fmla="*/ 2389367 h 2965836"/>
              <a:gd name="connsiteX54" fmla="*/ 2711395 w 6539948"/>
              <a:gd name="connsiteY54" fmla="*/ 2389367 h 2965836"/>
              <a:gd name="connsiteX55" fmla="*/ 2711395 w 6539948"/>
              <a:gd name="connsiteY55" fmla="*/ 2365513 h 2965836"/>
              <a:gd name="connsiteX56" fmla="*/ 2667663 w 6539948"/>
              <a:gd name="connsiteY56" fmla="*/ 2365513 h 2965836"/>
              <a:gd name="connsiteX57" fmla="*/ 2667663 w 6539948"/>
              <a:gd name="connsiteY57" fmla="*/ 2337683 h 2965836"/>
              <a:gd name="connsiteX58" fmla="*/ 2604053 w 6539948"/>
              <a:gd name="connsiteY58" fmla="*/ 2337683 h 2965836"/>
              <a:gd name="connsiteX59" fmla="*/ 2604053 w 6539948"/>
              <a:gd name="connsiteY59" fmla="*/ 2337683 h 2965836"/>
              <a:gd name="connsiteX60" fmla="*/ 2604053 w 6539948"/>
              <a:gd name="connsiteY60" fmla="*/ 2301903 h 2965836"/>
              <a:gd name="connsiteX61" fmla="*/ 2528515 w 6539948"/>
              <a:gd name="connsiteY61" fmla="*/ 2301903 h 2965836"/>
              <a:gd name="connsiteX62" fmla="*/ 2528515 w 6539948"/>
              <a:gd name="connsiteY62" fmla="*/ 2254195 h 2965836"/>
              <a:gd name="connsiteX63" fmla="*/ 2528515 w 6539948"/>
              <a:gd name="connsiteY63" fmla="*/ 2254195 h 2965836"/>
              <a:gd name="connsiteX64" fmla="*/ 2520564 w 6539948"/>
              <a:gd name="connsiteY64" fmla="*/ 2246244 h 2965836"/>
              <a:gd name="connsiteX65" fmla="*/ 2520564 w 6539948"/>
              <a:gd name="connsiteY65" fmla="*/ 2158779 h 2965836"/>
              <a:gd name="connsiteX66" fmla="*/ 2496710 w 6539948"/>
              <a:gd name="connsiteY66" fmla="*/ 2158779 h 2965836"/>
              <a:gd name="connsiteX67" fmla="*/ 2496710 w 6539948"/>
              <a:gd name="connsiteY67" fmla="*/ 2138901 h 2965836"/>
              <a:gd name="connsiteX68" fmla="*/ 2480807 w 6539948"/>
              <a:gd name="connsiteY68" fmla="*/ 2138901 h 2965836"/>
              <a:gd name="connsiteX69" fmla="*/ 2480807 w 6539948"/>
              <a:gd name="connsiteY69" fmla="*/ 2107096 h 2965836"/>
              <a:gd name="connsiteX70" fmla="*/ 2258171 w 6539948"/>
              <a:gd name="connsiteY70" fmla="*/ 2107096 h 2965836"/>
              <a:gd name="connsiteX71" fmla="*/ 2258171 w 6539948"/>
              <a:gd name="connsiteY71" fmla="*/ 2083242 h 2965836"/>
              <a:gd name="connsiteX72" fmla="*/ 2238293 w 6539948"/>
              <a:gd name="connsiteY72" fmla="*/ 2083242 h 2965836"/>
              <a:gd name="connsiteX73" fmla="*/ 2238293 w 6539948"/>
              <a:gd name="connsiteY73" fmla="*/ 2083242 h 2965836"/>
              <a:gd name="connsiteX74" fmla="*/ 2238293 w 6539948"/>
              <a:gd name="connsiteY74" fmla="*/ 2051436 h 2965836"/>
              <a:gd name="connsiteX75" fmla="*/ 2174682 w 6539948"/>
              <a:gd name="connsiteY75" fmla="*/ 2051436 h 2965836"/>
              <a:gd name="connsiteX76" fmla="*/ 2174682 w 6539948"/>
              <a:gd name="connsiteY76" fmla="*/ 2051436 h 2965836"/>
              <a:gd name="connsiteX77" fmla="*/ 2174682 w 6539948"/>
              <a:gd name="connsiteY77" fmla="*/ 2027583 h 2965836"/>
              <a:gd name="connsiteX78" fmla="*/ 2150828 w 6539948"/>
              <a:gd name="connsiteY78" fmla="*/ 2027583 h 2965836"/>
              <a:gd name="connsiteX79" fmla="*/ 2150828 w 6539948"/>
              <a:gd name="connsiteY79" fmla="*/ 2003729 h 2965836"/>
              <a:gd name="connsiteX80" fmla="*/ 2103120 w 6539948"/>
              <a:gd name="connsiteY80" fmla="*/ 2003729 h 2965836"/>
              <a:gd name="connsiteX81" fmla="*/ 2103120 w 6539948"/>
              <a:gd name="connsiteY81" fmla="*/ 1864581 h 2965836"/>
              <a:gd name="connsiteX82" fmla="*/ 2055413 w 6539948"/>
              <a:gd name="connsiteY82" fmla="*/ 1864581 h 2965836"/>
              <a:gd name="connsiteX83" fmla="*/ 2055413 w 6539948"/>
              <a:gd name="connsiteY83" fmla="*/ 1840727 h 2965836"/>
              <a:gd name="connsiteX84" fmla="*/ 2019632 w 6539948"/>
              <a:gd name="connsiteY84" fmla="*/ 1840727 h 2965836"/>
              <a:gd name="connsiteX85" fmla="*/ 2019632 w 6539948"/>
              <a:gd name="connsiteY85" fmla="*/ 1816873 h 2965836"/>
              <a:gd name="connsiteX86" fmla="*/ 1884459 w 6539948"/>
              <a:gd name="connsiteY86" fmla="*/ 1816873 h 2965836"/>
              <a:gd name="connsiteX87" fmla="*/ 1884459 w 6539948"/>
              <a:gd name="connsiteY87" fmla="*/ 1816873 h 2965836"/>
              <a:gd name="connsiteX88" fmla="*/ 1884459 w 6539948"/>
              <a:gd name="connsiteY88" fmla="*/ 1793019 h 2965836"/>
              <a:gd name="connsiteX89" fmla="*/ 1761214 w 6539948"/>
              <a:gd name="connsiteY89" fmla="*/ 1793019 h 2965836"/>
              <a:gd name="connsiteX90" fmla="*/ 1761214 w 6539948"/>
              <a:gd name="connsiteY90" fmla="*/ 1741336 h 2965836"/>
              <a:gd name="connsiteX91" fmla="*/ 1725433 w 6539948"/>
              <a:gd name="connsiteY91" fmla="*/ 1741336 h 2965836"/>
              <a:gd name="connsiteX92" fmla="*/ 1725433 w 6539948"/>
              <a:gd name="connsiteY92" fmla="*/ 1701579 h 2965836"/>
              <a:gd name="connsiteX93" fmla="*/ 1693628 w 6539948"/>
              <a:gd name="connsiteY93" fmla="*/ 1701579 h 2965836"/>
              <a:gd name="connsiteX94" fmla="*/ 1693628 w 6539948"/>
              <a:gd name="connsiteY94" fmla="*/ 1657847 h 2965836"/>
              <a:gd name="connsiteX95" fmla="*/ 1669774 w 6539948"/>
              <a:gd name="connsiteY95" fmla="*/ 1657847 h 2965836"/>
              <a:gd name="connsiteX96" fmla="*/ 1669774 w 6539948"/>
              <a:gd name="connsiteY96" fmla="*/ 1610139 h 2965836"/>
              <a:gd name="connsiteX97" fmla="*/ 1637969 w 6539948"/>
              <a:gd name="connsiteY97" fmla="*/ 1610139 h 2965836"/>
              <a:gd name="connsiteX98" fmla="*/ 1637969 w 6539948"/>
              <a:gd name="connsiteY98" fmla="*/ 1550504 h 2965836"/>
              <a:gd name="connsiteX99" fmla="*/ 1610139 w 6539948"/>
              <a:gd name="connsiteY99" fmla="*/ 1550504 h 2965836"/>
              <a:gd name="connsiteX100" fmla="*/ 1610139 w 6539948"/>
              <a:gd name="connsiteY100" fmla="*/ 1494845 h 2965836"/>
              <a:gd name="connsiteX101" fmla="*/ 1550505 w 6539948"/>
              <a:gd name="connsiteY101" fmla="*/ 1494845 h 2965836"/>
              <a:gd name="connsiteX102" fmla="*/ 1550505 w 6539948"/>
              <a:gd name="connsiteY102" fmla="*/ 1474967 h 2965836"/>
              <a:gd name="connsiteX103" fmla="*/ 1514724 w 6539948"/>
              <a:gd name="connsiteY103" fmla="*/ 1474967 h 2965836"/>
              <a:gd name="connsiteX104" fmla="*/ 1514724 w 6539948"/>
              <a:gd name="connsiteY104" fmla="*/ 1474967 h 2965836"/>
              <a:gd name="connsiteX105" fmla="*/ 1514724 w 6539948"/>
              <a:gd name="connsiteY105" fmla="*/ 1455089 h 2965836"/>
              <a:gd name="connsiteX106" fmla="*/ 1470992 w 6539948"/>
              <a:gd name="connsiteY106" fmla="*/ 1455089 h 2965836"/>
              <a:gd name="connsiteX107" fmla="*/ 1470992 w 6539948"/>
              <a:gd name="connsiteY107" fmla="*/ 1423283 h 2965836"/>
              <a:gd name="connsiteX108" fmla="*/ 1455089 w 6539948"/>
              <a:gd name="connsiteY108" fmla="*/ 1423283 h 2965836"/>
              <a:gd name="connsiteX109" fmla="*/ 1455089 w 6539948"/>
              <a:gd name="connsiteY109" fmla="*/ 1395454 h 2965836"/>
              <a:gd name="connsiteX110" fmla="*/ 1339795 w 6539948"/>
              <a:gd name="connsiteY110" fmla="*/ 1395454 h 2965836"/>
              <a:gd name="connsiteX111" fmla="*/ 1339795 w 6539948"/>
              <a:gd name="connsiteY111" fmla="*/ 1339795 h 2965836"/>
              <a:gd name="connsiteX112" fmla="*/ 1323893 w 6539948"/>
              <a:gd name="connsiteY112" fmla="*/ 1339795 h 2965836"/>
              <a:gd name="connsiteX113" fmla="*/ 1323893 w 6539948"/>
              <a:gd name="connsiteY113" fmla="*/ 1300038 h 2965836"/>
              <a:gd name="connsiteX114" fmla="*/ 1284136 w 6539948"/>
              <a:gd name="connsiteY114" fmla="*/ 1300038 h 2965836"/>
              <a:gd name="connsiteX115" fmla="*/ 1284136 w 6539948"/>
              <a:gd name="connsiteY115" fmla="*/ 1228476 h 2965836"/>
              <a:gd name="connsiteX116" fmla="*/ 1240404 w 6539948"/>
              <a:gd name="connsiteY116" fmla="*/ 1228476 h 2965836"/>
              <a:gd name="connsiteX117" fmla="*/ 1240404 w 6539948"/>
              <a:gd name="connsiteY117" fmla="*/ 1137036 h 2965836"/>
              <a:gd name="connsiteX118" fmla="*/ 1216550 w 6539948"/>
              <a:gd name="connsiteY118" fmla="*/ 1137036 h 2965836"/>
              <a:gd name="connsiteX119" fmla="*/ 1216550 w 6539948"/>
              <a:gd name="connsiteY119" fmla="*/ 1073426 h 2965836"/>
              <a:gd name="connsiteX120" fmla="*/ 1156915 w 6539948"/>
              <a:gd name="connsiteY120" fmla="*/ 1073426 h 2965836"/>
              <a:gd name="connsiteX121" fmla="*/ 1156915 w 6539948"/>
              <a:gd name="connsiteY121" fmla="*/ 1057523 h 2965836"/>
              <a:gd name="connsiteX122" fmla="*/ 1089329 w 6539948"/>
              <a:gd name="connsiteY122" fmla="*/ 1057523 h 2965836"/>
              <a:gd name="connsiteX123" fmla="*/ 1089329 w 6539948"/>
              <a:gd name="connsiteY123" fmla="*/ 1037645 h 2965836"/>
              <a:gd name="connsiteX124" fmla="*/ 1025719 w 6539948"/>
              <a:gd name="connsiteY124" fmla="*/ 1037645 h 2965836"/>
              <a:gd name="connsiteX125" fmla="*/ 1025719 w 6539948"/>
              <a:gd name="connsiteY125" fmla="*/ 1009816 h 2965836"/>
              <a:gd name="connsiteX126" fmla="*/ 918376 w 6539948"/>
              <a:gd name="connsiteY126" fmla="*/ 1009816 h 2965836"/>
              <a:gd name="connsiteX127" fmla="*/ 934279 w 6539948"/>
              <a:gd name="connsiteY127" fmla="*/ 993913 h 2965836"/>
              <a:gd name="connsiteX128" fmla="*/ 898498 w 6539948"/>
              <a:gd name="connsiteY128" fmla="*/ 993913 h 2965836"/>
              <a:gd name="connsiteX129" fmla="*/ 898498 w 6539948"/>
              <a:gd name="connsiteY129" fmla="*/ 966083 h 2965836"/>
              <a:gd name="connsiteX130" fmla="*/ 838863 w 6539948"/>
              <a:gd name="connsiteY130" fmla="*/ 966083 h 2965836"/>
              <a:gd name="connsiteX131" fmla="*/ 838863 w 6539948"/>
              <a:gd name="connsiteY131" fmla="*/ 910424 h 2965836"/>
              <a:gd name="connsiteX132" fmla="*/ 795131 w 6539948"/>
              <a:gd name="connsiteY132" fmla="*/ 910424 h 2965836"/>
              <a:gd name="connsiteX133" fmla="*/ 795131 w 6539948"/>
              <a:gd name="connsiteY133" fmla="*/ 787179 h 2965836"/>
              <a:gd name="connsiteX134" fmla="*/ 763326 w 6539948"/>
              <a:gd name="connsiteY134" fmla="*/ 787179 h 2965836"/>
              <a:gd name="connsiteX135" fmla="*/ 763326 w 6539948"/>
              <a:gd name="connsiteY135" fmla="*/ 747423 h 2965836"/>
              <a:gd name="connsiteX136" fmla="*/ 763326 w 6539948"/>
              <a:gd name="connsiteY136" fmla="*/ 747423 h 2965836"/>
              <a:gd name="connsiteX137" fmla="*/ 735496 w 6539948"/>
              <a:gd name="connsiteY137" fmla="*/ 747423 h 2965836"/>
              <a:gd name="connsiteX138" fmla="*/ 735496 w 6539948"/>
              <a:gd name="connsiteY138" fmla="*/ 687788 h 2965836"/>
              <a:gd name="connsiteX139" fmla="*/ 711642 w 6539948"/>
              <a:gd name="connsiteY139" fmla="*/ 687788 h 2965836"/>
              <a:gd name="connsiteX140" fmla="*/ 711642 w 6539948"/>
              <a:gd name="connsiteY140" fmla="*/ 655983 h 2965836"/>
              <a:gd name="connsiteX141" fmla="*/ 640080 w 6539948"/>
              <a:gd name="connsiteY141" fmla="*/ 655983 h 2965836"/>
              <a:gd name="connsiteX142" fmla="*/ 640080 w 6539948"/>
              <a:gd name="connsiteY142" fmla="*/ 628153 h 2965836"/>
              <a:gd name="connsiteX143" fmla="*/ 556592 w 6539948"/>
              <a:gd name="connsiteY143" fmla="*/ 628153 h 2965836"/>
              <a:gd name="connsiteX144" fmla="*/ 556592 w 6539948"/>
              <a:gd name="connsiteY144" fmla="*/ 608275 h 2965836"/>
              <a:gd name="connsiteX145" fmla="*/ 465152 w 6539948"/>
              <a:gd name="connsiteY145" fmla="*/ 608275 h 2965836"/>
              <a:gd name="connsiteX146" fmla="*/ 465152 w 6539948"/>
              <a:gd name="connsiteY146" fmla="*/ 560567 h 2965836"/>
              <a:gd name="connsiteX147" fmla="*/ 437322 w 6539948"/>
              <a:gd name="connsiteY147" fmla="*/ 560567 h 2965836"/>
              <a:gd name="connsiteX148" fmla="*/ 437322 w 6539948"/>
              <a:gd name="connsiteY148" fmla="*/ 500932 h 2965836"/>
              <a:gd name="connsiteX149" fmla="*/ 421419 w 6539948"/>
              <a:gd name="connsiteY149" fmla="*/ 500932 h 2965836"/>
              <a:gd name="connsiteX150" fmla="*/ 421419 w 6539948"/>
              <a:gd name="connsiteY150" fmla="*/ 429370 h 2965836"/>
              <a:gd name="connsiteX151" fmla="*/ 373712 w 6539948"/>
              <a:gd name="connsiteY151" fmla="*/ 429370 h 2965836"/>
              <a:gd name="connsiteX152" fmla="*/ 373712 w 6539948"/>
              <a:gd name="connsiteY152" fmla="*/ 369736 h 2965836"/>
              <a:gd name="connsiteX153" fmla="*/ 353833 w 6539948"/>
              <a:gd name="connsiteY153" fmla="*/ 369736 h 2965836"/>
              <a:gd name="connsiteX154" fmla="*/ 353833 w 6539948"/>
              <a:gd name="connsiteY154" fmla="*/ 238539 h 2965836"/>
              <a:gd name="connsiteX155" fmla="*/ 337931 w 6539948"/>
              <a:gd name="connsiteY155" fmla="*/ 238539 h 2965836"/>
              <a:gd name="connsiteX156" fmla="*/ 337931 w 6539948"/>
              <a:gd name="connsiteY156" fmla="*/ 198783 h 2965836"/>
              <a:gd name="connsiteX157" fmla="*/ 314077 w 6539948"/>
              <a:gd name="connsiteY157" fmla="*/ 198783 h 2965836"/>
              <a:gd name="connsiteX158" fmla="*/ 314077 w 6539948"/>
              <a:gd name="connsiteY158" fmla="*/ 139148 h 2965836"/>
              <a:gd name="connsiteX159" fmla="*/ 238539 w 6539948"/>
              <a:gd name="connsiteY159" fmla="*/ 139148 h 2965836"/>
              <a:gd name="connsiteX160" fmla="*/ 238539 w 6539948"/>
              <a:gd name="connsiteY160" fmla="*/ 139148 h 2965836"/>
              <a:gd name="connsiteX161" fmla="*/ 238539 w 6539948"/>
              <a:gd name="connsiteY161" fmla="*/ 103367 h 2965836"/>
              <a:gd name="connsiteX162" fmla="*/ 166978 w 6539948"/>
              <a:gd name="connsiteY162" fmla="*/ 103367 h 2965836"/>
              <a:gd name="connsiteX163" fmla="*/ 166978 w 6539948"/>
              <a:gd name="connsiteY163" fmla="*/ 67586 h 2965836"/>
              <a:gd name="connsiteX164" fmla="*/ 87465 w 6539948"/>
              <a:gd name="connsiteY164" fmla="*/ 67586 h 2965836"/>
              <a:gd name="connsiteX165" fmla="*/ 87465 w 6539948"/>
              <a:gd name="connsiteY165" fmla="*/ 39756 h 2965836"/>
              <a:gd name="connsiteX166" fmla="*/ 59635 w 6539948"/>
              <a:gd name="connsiteY166" fmla="*/ 39756 h 2965836"/>
              <a:gd name="connsiteX167" fmla="*/ 59635 w 6539948"/>
              <a:gd name="connsiteY167" fmla="*/ 0 h 2965836"/>
              <a:gd name="connsiteX168" fmla="*/ 0 w 6539948"/>
              <a:gd name="connsiteY168" fmla="*/ 0 h 2965836"/>
              <a:gd name="connsiteX169" fmla="*/ 0 w 6539948"/>
              <a:gd name="connsiteY169" fmla="*/ 0 h 2965836"/>
              <a:gd name="connsiteX170" fmla="*/ 0 w 6539948"/>
              <a:gd name="connsiteY170" fmla="*/ 0 h 2965836"/>
              <a:gd name="connsiteX0" fmla="*/ 6539948 w 6539948"/>
              <a:gd name="connsiteY0" fmla="*/ 2965836 h 2965836"/>
              <a:gd name="connsiteX1" fmla="*/ 5689159 w 6539948"/>
              <a:gd name="connsiteY1" fmla="*/ 2965836 h 2965836"/>
              <a:gd name="connsiteX2" fmla="*/ 5689159 w 6539948"/>
              <a:gd name="connsiteY2" fmla="*/ 2918129 h 2965836"/>
              <a:gd name="connsiteX3" fmla="*/ 5617597 w 6539948"/>
              <a:gd name="connsiteY3" fmla="*/ 2918129 h 2965836"/>
              <a:gd name="connsiteX4" fmla="*/ 5617597 w 6539948"/>
              <a:gd name="connsiteY4" fmla="*/ 2878372 h 2965836"/>
              <a:gd name="connsiteX5" fmla="*/ 4464658 w 6539948"/>
              <a:gd name="connsiteY5" fmla="*/ 2878372 h 2965836"/>
              <a:gd name="connsiteX6" fmla="*/ 4464658 w 6539948"/>
              <a:gd name="connsiteY6" fmla="*/ 2834640 h 2965836"/>
              <a:gd name="connsiteX7" fmla="*/ 4416950 w 6539948"/>
              <a:gd name="connsiteY7" fmla="*/ 2834640 h 2965836"/>
              <a:gd name="connsiteX8" fmla="*/ 4416950 w 6539948"/>
              <a:gd name="connsiteY8" fmla="*/ 2818737 h 2965836"/>
              <a:gd name="connsiteX9" fmla="*/ 4357315 w 6539948"/>
              <a:gd name="connsiteY9" fmla="*/ 2818737 h 2965836"/>
              <a:gd name="connsiteX10" fmla="*/ 4357315 w 6539948"/>
              <a:gd name="connsiteY10" fmla="*/ 2818737 h 2965836"/>
              <a:gd name="connsiteX11" fmla="*/ 4357315 w 6539948"/>
              <a:gd name="connsiteY11" fmla="*/ 2798859 h 2965836"/>
              <a:gd name="connsiteX12" fmla="*/ 3812651 w 6539948"/>
              <a:gd name="connsiteY12" fmla="*/ 2798859 h 2965836"/>
              <a:gd name="connsiteX13" fmla="*/ 3812651 w 6539948"/>
              <a:gd name="connsiteY13" fmla="*/ 2763078 h 2965836"/>
              <a:gd name="connsiteX14" fmla="*/ 3812651 w 6539948"/>
              <a:gd name="connsiteY14" fmla="*/ 2763078 h 2965836"/>
              <a:gd name="connsiteX15" fmla="*/ 3812651 w 6539948"/>
              <a:gd name="connsiteY15" fmla="*/ 2763078 h 2965836"/>
              <a:gd name="connsiteX16" fmla="*/ 3812651 w 6539948"/>
              <a:gd name="connsiteY16" fmla="*/ 2763078 h 2965836"/>
              <a:gd name="connsiteX17" fmla="*/ 3796748 w 6539948"/>
              <a:gd name="connsiteY17" fmla="*/ 2763078 h 2965836"/>
              <a:gd name="connsiteX18" fmla="*/ 3796748 w 6539948"/>
              <a:gd name="connsiteY18" fmla="*/ 2735249 h 2965836"/>
              <a:gd name="connsiteX19" fmla="*/ 3709284 w 6539948"/>
              <a:gd name="connsiteY19" fmla="*/ 2735249 h 2965836"/>
              <a:gd name="connsiteX20" fmla="*/ 3709284 w 6539948"/>
              <a:gd name="connsiteY20" fmla="*/ 2715370 h 2965836"/>
              <a:gd name="connsiteX21" fmla="*/ 3665532 w 6539948"/>
              <a:gd name="connsiteY21" fmla="*/ 2715370 h 2965836"/>
              <a:gd name="connsiteX22" fmla="*/ 3665552 w 6539948"/>
              <a:gd name="connsiteY22" fmla="*/ 2703443 h 2965836"/>
              <a:gd name="connsiteX23" fmla="*/ 3574112 w 6539948"/>
              <a:gd name="connsiteY23" fmla="*/ 2703443 h 2965836"/>
              <a:gd name="connsiteX24" fmla="*/ 3574112 w 6539948"/>
              <a:gd name="connsiteY24" fmla="*/ 2683565 h 2965836"/>
              <a:gd name="connsiteX25" fmla="*/ 3482672 w 6539948"/>
              <a:gd name="connsiteY25" fmla="*/ 2683565 h 2965836"/>
              <a:gd name="connsiteX26" fmla="*/ 3482672 w 6539948"/>
              <a:gd name="connsiteY26" fmla="*/ 2683565 h 2965836"/>
              <a:gd name="connsiteX27" fmla="*/ 3482672 w 6539948"/>
              <a:gd name="connsiteY27" fmla="*/ 2663687 h 2965836"/>
              <a:gd name="connsiteX28" fmla="*/ 3367378 w 6539948"/>
              <a:gd name="connsiteY28" fmla="*/ 2663687 h 2965836"/>
              <a:gd name="connsiteX29" fmla="*/ 3367378 w 6539948"/>
              <a:gd name="connsiteY29" fmla="*/ 2659711 h 2965836"/>
              <a:gd name="connsiteX30" fmla="*/ 3264011 w 6539948"/>
              <a:gd name="connsiteY30" fmla="*/ 2659711 h 2965836"/>
              <a:gd name="connsiteX31" fmla="*/ 3264011 w 6539948"/>
              <a:gd name="connsiteY31" fmla="*/ 2643809 h 2965836"/>
              <a:gd name="connsiteX32" fmla="*/ 3220279 w 6539948"/>
              <a:gd name="connsiteY32" fmla="*/ 2643809 h 2965836"/>
              <a:gd name="connsiteX33" fmla="*/ 3220279 w 6539948"/>
              <a:gd name="connsiteY33" fmla="*/ 2643809 h 2965836"/>
              <a:gd name="connsiteX34" fmla="*/ 3220279 w 6539948"/>
              <a:gd name="connsiteY34" fmla="*/ 2608028 h 2965836"/>
              <a:gd name="connsiteX35" fmla="*/ 3204376 w 6539948"/>
              <a:gd name="connsiteY35" fmla="*/ 2608028 h 2965836"/>
              <a:gd name="connsiteX36" fmla="*/ 3204376 w 6539948"/>
              <a:gd name="connsiteY36" fmla="*/ 2588150 h 2965836"/>
              <a:gd name="connsiteX37" fmla="*/ 3188473 w 6539948"/>
              <a:gd name="connsiteY37" fmla="*/ 2588150 h 2965836"/>
              <a:gd name="connsiteX38" fmla="*/ 3188473 w 6539948"/>
              <a:gd name="connsiteY38" fmla="*/ 2544417 h 2965836"/>
              <a:gd name="connsiteX39" fmla="*/ 3180522 w 6539948"/>
              <a:gd name="connsiteY39" fmla="*/ 2544417 h 2965836"/>
              <a:gd name="connsiteX40" fmla="*/ 3180522 w 6539948"/>
              <a:gd name="connsiteY40" fmla="*/ 2544417 h 2965836"/>
              <a:gd name="connsiteX41" fmla="*/ 3180522 w 6539948"/>
              <a:gd name="connsiteY41" fmla="*/ 2524539 h 2965836"/>
              <a:gd name="connsiteX42" fmla="*/ 3148717 w 6539948"/>
              <a:gd name="connsiteY42" fmla="*/ 2524539 h 2965836"/>
              <a:gd name="connsiteX43" fmla="*/ 3148717 w 6539948"/>
              <a:gd name="connsiteY43" fmla="*/ 2500685 h 2965836"/>
              <a:gd name="connsiteX44" fmla="*/ 3101009 w 6539948"/>
              <a:gd name="connsiteY44" fmla="*/ 2500685 h 2965836"/>
              <a:gd name="connsiteX45" fmla="*/ 3101009 w 6539948"/>
              <a:gd name="connsiteY45" fmla="*/ 2476831 h 2965836"/>
              <a:gd name="connsiteX46" fmla="*/ 2969813 w 6539948"/>
              <a:gd name="connsiteY46" fmla="*/ 2476831 h 2965836"/>
              <a:gd name="connsiteX47" fmla="*/ 2969813 w 6539948"/>
              <a:gd name="connsiteY47" fmla="*/ 2464904 h 2965836"/>
              <a:gd name="connsiteX48" fmla="*/ 2938007 w 6539948"/>
              <a:gd name="connsiteY48" fmla="*/ 2464904 h 2965836"/>
              <a:gd name="connsiteX49" fmla="*/ 2938007 w 6539948"/>
              <a:gd name="connsiteY49" fmla="*/ 2445026 h 2965836"/>
              <a:gd name="connsiteX50" fmla="*/ 2834640 w 6539948"/>
              <a:gd name="connsiteY50" fmla="*/ 2445026 h 2965836"/>
              <a:gd name="connsiteX51" fmla="*/ 2834640 w 6539948"/>
              <a:gd name="connsiteY51" fmla="*/ 2413221 h 2965836"/>
              <a:gd name="connsiteX52" fmla="*/ 2739225 w 6539948"/>
              <a:gd name="connsiteY52" fmla="*/ 2413221 h 2965836"/>
              <a:gd name="connsiteX53" fmla="*/ 2739225 w 6539948"/>
              <a:gd name="connsiteY53" fmla="*/ 2389367 h 2965836"/>
              <a:gd name="connsiteX54" fmla="*/ 2711395 w 6539948"/>
              <a:gd name="connsiteY54" fmla="*/ 2389367 h 2965836"/>
              <a:gd name="connsiteX55" fmla="*/ 2711395 w 6539948"/>
              <a:gd name="connsiteY55" fmla="*/ 2365513 h 2965836"/>
              <a:gd name="connsiteX56" fmla="*/ 2667663 w 6539948"/>
              <a:gd name="connsiteY56" fmla="*/ 2365513 h 2965836"/>
              <a:gd name="connsiteX57" fmla="*/ 2667663 w 6539948"/>
              <a:gd name="connsiteY57" fmla="*/ 2337683 h 2965836"/>
              <a:gd name="connsiteX58" fmla="*/ 2604053 w 6539948"/>
              <a:gd name="connsiteY58" fmla="*/ 2337683 h 2965836"/>
              <a:gd name="connsiteX59" fmla="*/ 2604053 w 6539948"/>
              <a:gd name="connsiteY59" fmla="*/ 2337683 h 2965836"/>
              <a:gd name="connsiteX60" fmla="*/ 2604053 w 6539948"/>
              <a:gd name="connsiteY60" fmla="*/ 2301903 h 2965836"/>
              <a:gd name="connsiteX61" fmla="*/ 2528515 w 6539948"/>
              <a:gd name="connsiteY61" fmla="*/ 2301903 h 2965836"/>
              <a:gd name="connsiteX62" fmla="*/ 2528515 w 6539948"/>
              <a:gd name="connsiteY62" fmla="*/ 2254195 h 2965836"/>
              <a:gd name="connsiteX63" fmla="*/ 2528515 w 6539948"/>
              <a:gd name="connsiteY63" fmla="*/ 2254195 h 2965836"/>
              <a:gd name="connsiteX64" fmla="*/ 2520564 w 6539948"/>
              <a:gd name="connsiteY64" fmla="*/ 2251007 h 2965836"/>
              <a:gd name="connsiteX65" fmla="*/ 2520564 w 6539948"/>
              <a:gd name="connsiteY65" fmla="*/ 2158779 h 2965836"/>
              <a:gd name="connsiteX66" fmla="*/ 2496710 w 6539948"/>
              <a:gd name="connsiteY66" fmla="*/ 2158779 h 2965836"/>
              <a:gd name="connsiteX67" fmla="*/ 2496710 w 6539948"/>
              <a:gd name="connsiteY67" fmla="*/ 2138901 h 2965836"/>
              <a:gd name="connsiteX68" fmla="*/ 2480807 w 6539948"/>
              <a:gd name="connsiteY68" fmla="*/ 2138901 h 2965836"/>
              <a:gd name="connsiteX69" fmla="*/ 2480807 w 6539948"/>
              <a:gd name="connsiteY69" fmla="*/ 2107096 h 2965836"/>
              <a:gd name="connsiteX70" fmla="*/ 2258171 w 6539948"/>
              <a:gd name="connsiteY70" fmla="*/ 2107096 h 2965836"/>
              <a:gd name="connsiteX71" fmla="*/ 2258171 w 6539948"/>
              <a:gd name="connsiteY71" fmla="*/ 2083242 h 2965836"/>
              <a:gd name="connsiteX72" fmla="*/ 2238293 w 6539948"/>
              <a:gd name="connsiteY72" fmla="*/ 2083242 h 2965836"/>
              <a:gd name="connsiteX73" fmla="*/ 2238293 w 6539948"/>
              <a:gd name="connsiteY73" fmla="*/ 2083242 h 2965836"/>
              <a:gd name="connsiteX74" fmla="*/ 2238293 w 6539948"/>
              <a:gd name="connsiteY74" fmla="*/ 2051436 h 2965836"/>
              <a:gd name="connsiteX75" fmla="*/ 2174682 w 6539948"/>
              <a:gd name="connsiteY75" fmla="*/ 2051436 h 2965836"/>
              <a:gd name="connsiteX76" fmla="*/ 2174682 w 6539948"/>
              <a:gd name="connsiteY76" fmla="*/ 2051436 h 2965836"/>
              <a:gd name="connsiteX77" fmla="*/ 2174682 w 6539948"/>
              <a:gd name="connsiteY77" fmla="*/ 2027583 h 2965836"/>
              <a:gd name="connsiteX78" fmla="*/ 2150828 w 6539948"/>
              <a:gd name="connsiteY78" fmla="*/ 2027583 h 2965836"/>
              <a:gd name="connsiteX79" fmla="*/ 2150828 w 6539948"/>
              <a:gd name="connsiteY79" fmla="*/ 2003729 h 2965836"/>
              <a:gd name="connsiteX80" fmla="*/ 2103120 w 6539948"/>
              <a:gd name="connsiteY80" fmla="*/ 2003729 h 2965836"/>
              <a:gd name="connsiteX81" fmla="*/ 2103120 w 6539948"/>
              <a:gd name="connsiteY81" fmla="*/ 1864581 h 2965836"/>
              <a:gd name="connsiteX82" fmla="*/ 2055413 w 6539948"/>
              <a:gd name="connsiteY82" fmla="*/ 1864581 h 2965836"/>
              <a:gd name="connsiteX83" fmla="*/ 2055413 w 6539948"/>
              <a:gd name="connsiteY83" fmla="*/ 1840727 h 2965836"/>
              <a:gd name="connsiteX84" fmla="*/ 2019632 w 6539948"/>
              <a:gd name="connsiteY84" fmla="*/ 1840727 h 2965836"/>
              <a:gd name="connsiteX85" fmla="*/ 2019632 w 6539948"/>
              <a:gd name="connsiteY85" fmla="*/ 1816873 h 2965836"/>
              <a:gd name="connsiteX86" fmla="*/ 1884459 w 6539948"/>
              <a:gd name="connsiteY86" fmla="*/ 1816873 h 2965836"/>
              <a:gd name="connsiteX87" fmla="*/ 1884459 w 6539948"/>
              <a:gd name="connsiteY87" fmla="*/ 1816873 h 2965836"/>
              <a:gd name="connsiteX88" fmla="*/ 1884459 w 6539948"/>
              <a:gd name="connsiteY88" fmla="*/ 1793019 h 2965836"/>
              <a:gd name="connsiteX89" fmla="*/ 1761214 w 6539948"/>
              <a:gd name="connsiteY89" fmla="*/ 1793019 h 2965836"/>
              <a:gd name="connsiteX90" fmla="*/ 1761214 w 6539948"/>
              <a:gd name="connsiteY90" fmla="*/ 1741336 h 2965836"/>
              <a:gd name="connsiteX91" fmla="*/ 1725433 w 6539948"/>
              <a:gd name="connsiteY91" fmla="*/ 1741336 h 2965836"/>
              <a:gd name="connsiteX92" fmla="*/ 1725433 w 6539948"/>
              <a:gd name="connsiteY92" fmla="*/ 1701579 h 2965836"/>
              <a:gd name="connsiteX93" fmla="*/ 1693628 w 6539948"/>
              <a:gd name="connsiteY93" fmla="*/ 1701579 h 2965836"/>
              <a:gd name="connsiteX94" fmla="*/ 1693628 w 6539948"/>
              <a:gd name="connsiteY94" fmla="*/ 1657847 h 2965836"/>
              <a:gd name="connsiteX95" fmla="*/ 1669774 w 6539948"/>
              <a:gd name="connsiteY95" fmla="*/ 1657847 h 2965836"/>
              <a:gd name="connsiteX96" fmla="*/ 1669774 w 6539948"/>
              <a:gd name="connsiteY96" fmla="*/ 1610139 h 2965836"/>
              <a:gd name="connsiteX97" fmla="*/ 1637969 w 6539948"/>
              <a:gd name="connsiteY97" fmla="*/ 1610139 h 2965836"/>
              <a:gd name="connsiteX98" fmla="*/ 1637969 w 6539948"/>
              <a:gd name="connsiteY98" fmla="*/ 1550504 h 2965836"/>
              <a:gd name="connsiteX99" fmla="*/ 1610139 w 6539948"/>
              <a:gd name="connsiteY99" fmla="*/ 1550504 h 2965836"/>
              <a:gd name="connsiteX100" fmla="*/ 1610139 w 6539948"/>
              <a:gd name="connsiteY100" fmla="*/ 1494845 h 2965836"/>
              <a:gd name="connsiteX101" fmla="*/ 1550505 w 6539948"/>
              <a:gd name="connsiteY101" fmla="*/ 1494845 h 2965836"/>
              <a:gd name="connsiteX102" fmla="*/ 1550505 w 6539948"/>
              <a:gd name="connsiteY102" fmla="*/ 1474967 h 2965836"/>
              <a:gd name="connsiteX103" fmla="*/ 1514724 w 6539948"/>
              <a:gd name="connsiteY103" fmla="*/ 1474967 h 2965836"/>
              <a:gd name="connsiteX104" fmla="*/ 1514724 w 6539948"/>
              <a:gd name="connsiteY104" fmla="*/ 1474967 h 2965836"/>
              <a:gd name="connsiteX105" fmla="*/ 1514724 w 6539948"/>
              <a:gd name="connsiteY105" fmla="*/ 1455089 h 2965836"/>
              <a:gd name="connsiteX106" fmla="*/ 1470992 w 6539948"/>
              <a:gd name="connsiteY106" fmla="*/ 1455089 h 2965836"/>
              <a:gd name="connsiteX107" fmla="*/ 1470992 w 6539948"/>
              <a:gd name="connsiteY107" fmla="*/ 1423283 h 2965836"/>
              <a:gd name="connsiteX108" fmla="*/ 1455089 w 6539948"/>
              <a:gd name="connsiteY108" fmla="*/ 1423283 h 2965836"/>
              <a:gd name="connsiteX109" fmla="*/ 1455089 w 6539948"/>
              <a:gd name="connsiteY109" fmla="*/ 1395454 h 2965836"/>
              <a:gd name="connsiteX110" fmla="*/ 1339795 w 6539948"/>
              <a:gd name="connsiteY110" fmla="*/ 1395454 h 2965836"/>
              <a:gd name="connsiteX111" fmla="*/ 1339795 w 6539948"/>
              <a:gd name="connsiteY111" fmla="*/ 1339795 h 2965836"/>
              <a:gd name="connsiteX112" fmla="*/ 1323893 w 6539948"/>
              <a:gd name="connsiteY112" fmla="*/ 1339795 h 2965836"/>
              <a:gd name="connsiteX113" fmla="*/ 1323893 w 6539948"/>
              <a:gd name="connsiteY113" fmla="*/ 1300038 h 2965836"/>
              <a:gd name="connsiteX114" fmla="*/ 1284136 w 6539948"/>
              <a:gd name="connsiteY114" fmla="*/ 1300038 h 2965836"/>
              <a:gd name="connsiteX115" fmla="*/ 1284136 w 6539948"/>
              <a:gd name="connsiteY115" fmla="*/ 1228476 h 2965836"/>
              <a:gd name="connsiteX116" fmla="*/ 1240404 w 6539948"/>
              <a:gd name="connsiteY116" fmla="*/ 1228476 h 2965836"/>
              <a:gd name="connsiteX117" fmla="*/ 1240404 w 6539948"/>
              <a:gd name="connsiteY117" fmla="*/ 1137036 h 2965836"/>
              <a:gd name="connsiteX118" fmla="*/ 1216550 w 6539948"/>
              <a:gd name="connsiteY118" fmla="*/ 1137036 h 2965836"/>
              <a:gd name="connsiteX119" fmla="*/ 1216550 w 6539948"/>
              <a:gd name="connsiteY119" fmla="*/ 1073426 h 2965836"/>
              <a:gd name="connsiteX120" fmla="*/ 1156915 w 6539948"/>
              <a:gd name="connsiteY120" fmla="*/ 1073426 h 2965836"/>
              <a:gd name="connsiteX121" fmla="*/ 1156915 w 6539948"/>
              <a:gd name="connsiteY121" fmla="*/ 1057523 h 2965836"/>
              <a:gd name="connsiteX122" fmla="*/ 1089329 w 6539948"/>
              <a:gd name="connsiteY122" fmla="*/ 1057523 h 2965836"/>
              <a:gd name="connsiteX123" fmla="*/ 1089329 w 6539948"/>
              <a:gd name="connsiteY123" fmla="*/ 1037645 h 2965836"/>
              <a:gd name="connsiteX124" fmla="*/ 1025719 w 6539948"/>
              <a:gd name="connsiteY124" fmla="*/ 1037645 h 2965836"/>
              <a:gd name="connsiteX125" fmla="*/ 1025719 w 6539948"/>
              <a:gd name="connsiteY125" fmla="*/ 1009816 h 2965836"/>
              <a:gd name="connsiteX126" fmla="*/ 918376 w 6539948"/>
              <a:gd name="connsiteY126" fmla="*/ 1009816 h 2965836"/>
              <a:gd name="connsiteX127" fmla="*/ 934279 w 6539948"/>
              <a:gd name="connsiteY127" fmla="*/ 993913 h 2965836"/>
              <a:gd name="connsiteX128" fmla="*/ 898498 w 6539948"/>
              <a:gd name="connsiteY128" fmla="*/ 993913 h 2965836"/>
              <a:gd name="connsiteX129" fmla="*/ 898498 w 6539948"/>
              <a:gd name="connsiteY129" fmla="*/ 966083 h 2965836"/>
              <a:gd name="connsiteX130" fmla="*/ 838863 w 6539948"/>
              <a:gd name="connsiteY130" fmla="*/ 966083 h 2965836"/>
              <a:gd name="connsiteX131" fmla="*/ 838863 w 6539948"/>
              <a:gd name="connsiteY131" fmla="*/ 910424 h 2965836"/>
              <a:gd name="connsiteX132" fmla="*/ 795131 w 6539948"/>
              <a:gd name="connsiteY132" fmla="*/ 910424 h 2965836"/>
              <a:gd name="connsiteX133" fmla="*/ 795131 w 6539948"/>
              <a:gd name="connsiteY133" fmla="*/ 787179 h 2965836"/>
              <a:gd name="connsiteX134" fmla="*/ 763326 w 6539948"/>
              <a:gd name="connsiteY134" fmla="*/ 787179 h 2965836"/>
              <a:gd name="connsiteX135" fmla="*/ 763326 w 6539948"/>
              <a:gd name="connsiteY135" fmla="*/ 747423 h 2965836"/>
              <a:gd name="connsiteX136" fmla="*/ 763326 w 6539948"/>
              <a:gd name="connsiteY136" fmla="*/ 747423 h 2965836"/>
              <a:gd name="connsiteX137" fmla="*/ 735496 w 6539948"/>
              <a:gd name="connsiteY137" fmla="*/ 747423 h 2965836"/>
              <a:gd name="connsiteX138" fmla="*/ 735496 w 6539948"/>
              <a:gd name="connsiteY138" fmla="*/ 687788 h 2965836"/>
              <a:gd name="connsiteX139" fmla="*/ 711642 w 6539948"/>
              <a:gd name="connsiteY139" fmla="*/ 687788 h 2965836"/>
              <a:gd name="connsiteX140" fmla="*/ 711642 w 6539948"/>
              <a:gd name="connsiteY140" fmla="*/ 655983 h 2965836"/>
              <a:gd name="connsiteX141" fmla="*/ 640080 w 6539948"/>
              <a:gd name="connsiteY141" fmla="*/ 655983 h 2965836"/>
              <a:gd name="connsiteX142" fmla="*/ 640080 w 6539948"/>
              <a:gd name="connsiteY142" fmla="*/ 628153 h 2965836"/>
              <a:gd name="connsiteX143" fmla="*/ 556592 w 6539948"/>
              <a:gd name="connsiteY143" fmla="*/ 628153 h 2965836"/>
              <a:gd name="connsiteX144" fmla="*/ 556592 w 6539948"/>
              <a:gd name="connsiteY144" fmla="*/ 608275 h 2965836"/>
              <a:gd name="connsiteX145" fmla="*/ 465152 w 6539948"/>
              <a:gd name="connsiteY145" fmla="*/ 608275 h 2965836"/>
              <a:gd name="connsiteX146" fmla="*/ 465152 w 6539948"/>
              <a:gd name="connsiteY146" fmla="*/ 560567 h 2965836"/>
              <a:gd name="connsiteX147" fmla="*/ 437322 w 6539948"/>
              <a:gd name="connsiteY147" fmla="*/ 560567 h 2965836"/>
              <a:gd name="connsiteX148" fmla="*/ 437322 w 6539948"/>
              <a:gd name="connsiteY148" fmla="*/ 500932 h 2965836"/>
              <a:gd name="connsiteX149" fmla="*/ 421419 w 6539948"/>
              <a:gd name="connsiteY149" fmla="*/ 500932 h 2965836"/>
              <a:gd name="connsiteX150" fmla="*/ 421419 w 6539948"/>
              <a:gd name="connsiteY150" fmla="*/ 429370 h 2965836"/>
              <a:gd name="connsiteX151" fmla="*/ 373712 w 6539948"/>
              <a:gd name="connsiteY151" fmla="*/ 429370 h 2965836"/>
              <a:gd name="connsiteX152" fmla="*/ 373712 w 6539948"/>
              <a:gd name="connsiteY152" fmla="*/ 369736 h 2965836"/>
              <a:gd name="connsiteX153" fmla="*/ 353833 w 6539948"/>
              <a:gd name="connsiteY153" fmla="*/ 369736 h 2965836"/>
              <a:gd name="connsiteX154" fmla="*/ 353833 w 6539948"/>
              <a:gd name="connsiteY154" fmla="*/ 238539 h 2965836"/>
              <a:gd name="connsiteX155" fmla="*/ 337931 w 6539948"/>
              <a:gd name="connsiteY155" fmla="*/ 238539 h 2965836"/>
              <a:gd name="connsiteX156" fmla="*/ 337931 w 6539948"/>
              <a:gd name="connsiteY156" fmla="*/ 198783 h 2965836"/>
              <a:gd name="connsiteX157" fmla="*/ 314077 w 6539948"/>
              <a:gd name="connsiteY157" fmla="*/ 198783 h 2965836"/>
              <a:gd name="connsiteX158" fmla="*/ 314077 w 6539948"/>
              <a:gd name="connsiteY158" fmla="*/ 139148 h 2965836"/>
              <a:gd name="connsiteX159" fmla="*/ 238539 w 6539948"/>
              <a:gd name="connsiteY159" fmla="*/ 139148 h 2965836"/>
              <a:gd name="connsiteX160" fmla="*/ 238539 w 6539948"/>
              <a:gd name="connsiteY160" fmla="*/ 139148 h 2965836"/>
              <a:gd name="connsiteX161" fmla="*/ 238539 w 6539948"/>
              <a:gd name="connsiteY161" fmla="*/ 103367 h 2965836"/>
              <a:gd name="connsiteX162" fmla="*/ 166978 w 6539948"/>
              <a:gd name="connsiteY162" fmla="*/ 103367 h 2965836"/>
              <a:gd name="connsiteX163" fmla="*/ 166978 w 6539948"/>
              <a:gd name="connsiteY163" fmla="*/ 67586 h 2965836"/>
              <a:gd name="connsiteX164" fmla="*/ 87465 w 6539948"/>
              <a:gd name="connsiteY164" fmla="*/ 67586 h 2965836"/>
              <a:gd name="connsiteX165" fmla="*/ 87465 w 6539948"/>
              <a:gd name="connsiteY165" fmla="*/ 39756 h 2965836"/>
              <a:gd name="connsiteX166" fmla="*/ 59635 w 6539948"/>
              <a:gd name="connsiteY166" fmla="*/ 39756 h 2965836"/>
              <a:gd name="connsiteX167" fmla="*/ 59635 w 6539948"/>
              <a:gd name="connsiteY167" fmla="*/ 0 h 2965836"/>
              <a:gd name="connsiteX168" fmla="*/ 0 w 6539948"/>
              <a:gd name="connsiteY168" fmla="*/ 0 h 2965836"/>
              <a:gd name="connsiteX169" fmla="*/ 0 w 6539948"/>
              <a:gd name="connsiteY169" fmla="*/ 0 h 2965836"/>
              <a:gd name="connsiteX170" fmla="*/ 0 w 6539948"/>
              <a:gd name="connsiteY170" fmla="*/ 0 h 2965836"/>
              <a:gd name="connsiteX0" fmla="*/ 6582810 w 6582810"/>
              <a:gd name="connsiteY0" fmla="*/ 2970599 h 2970599"/>
              <a:gd name="connsiteX1" fmla="*/ 5732021 w 6582810"/>
              <a:gd name="connsiteY1" fmla="*/ 2970599 h 2970599"/>
              <a:gd name="connsiteX2" fmla="*/ 5732021 w 6582810"/>
              <a:gd name="connsiteY2" fmla="*/ 2922892 h 2970599"/>
              <a:gd name="connsiteX3" fmla="*/ 5660459 w 6582810"/>
              <a:gd name="connsiteY3" fmla="*/ 2922892 h 2970599"/>
              <a:gd name="connsiteX4" fmla="*/ 5660459 w 6582810"/>
              <a:gd name="connsiteY4" fmla="*/ 2883135 h 2970599"/>
              <a:gd name="connsiteX5" fmla="*/ 4507520 w 6582810"/>
              <a:gd name="connsiteY5" fmla="*/ 2883135 h 2970599"/>
              <a:gd name="connsiteX6" fmla="*/ 4507520 w 6582810"/>
              <a:gd name="connsiteY6" fmla="*/ 2839403 h 2970599"/>
              <a:gd name="connsiteX7" fmla="*/ 4459812 w 6582810"/>
              <a:gd name="connsiteY7" fmla="*/ 2839403 h 2970599"/>
              <a:gd name="connsiteX8" fmla="*/ 4459812 w 6582810"/>
              <a:gd name="connsiteY8" fmla="*/ 2823500 h 2970599"/>
              <a:gd name="connsiteX9" fmla="*/ 4400177 w 6582810"/>
              <a:gd name="connsiteY9" fmla="*/ 2823500 h 2970599"/>
              <a:gd name="connsiteX10" fmla="*/ 4400177 w 6582810"/>
              <a:gd name="connsiteY10" fmla="*/ 2823500 h 2970599"/>
              <a:gd name="connsiteX11" fmla="*/ 4400177 w 6582810"/>
              <a:gd name="connsiteY11" fmla="*/ 2803622 h 2970599"/>
              <a:gd name="connsiteX12" fmla="*/ 3855513 w 6582810"/>
              <a:gd name="connsiteY12" fmla="*/ 2803622 h 2970599"/>
              <a:gd name="connsiteX13" fmla="*/ 3855513 w 6582810"/>
              <a:gd name="connsiteY13" fmla="*/ 2767841 h 2970599"/>
              <a:gd name="connsiteX14" fmla="*/ 3855513 w 6582810"/>
              <a:gd name="connsiteY14" fmla="*/ 2767841 h 2970599"/>
              <a:gd name="connsiteX15" fmla="*/ 3855513 w 6582810"/>
              <a:gd name="connsiteY15" fmla="*/ 2767841 h 2970599"/>
              <a:gd name="connsiteX16" fmla="*/ 3855513 w 6582810"/>
              <a:gd name="connsiteY16" fmla="*/ 2767841 h 2970599"/>
              <a:gd name="connsiteX17" fmla="*/ 3839610 w 6582810"/>
              <a:gd name="connsiteY17" fmla="*/ 2767841 h 2970599"/>
              <a:gd name="connsiteX18" fmla="*/ 3839610 w 6582810"/>
              <a:gd name="connsiteY18" fmla="*/ 2740012 h 2970599"/>
              <a:gd name="connsiteX19" fmla="*/ 3752146 w 6582810"/>
              <a:gd name="connsiteY19" fmla="*/ 2740012 h 2970599"/>
              <a:gd name="connsiteX20" fmla="*/ 3752146 w 6582810"/>
              <a:gd name="connsiteY20" fmla="*/ 2720133 h 2970599"/>
              <a:gd name="connsiteX21" fmla="*/ 3708394 w 6582810"/>
              <a:gd name="connsiteY21" fmla="*/ 2720133 h 2970599"/>
              <a:gd name="connsiteX22" fmla="*/ 3708414 w 6582810"/>
              <a:gd name="connsiteY22" fmla="*/ 2708206 h 2970599"/>
              <a:gd name="connsiteX23" fmla="*/ 3616974 w 6582810"/>
              <a:gd name="connsiteY23" fmla="*/ 2708206 h 2970599"/>
              <a:gd name="connsiteX24" fmla="*/ 3616974 w 6582810"/>
              <a:gd name="connsiteY24" fmla="*/ 2688328 h 2970599"/>
              <a:gd name="connsiteX25" fmla="*/ 3525534 w 6582810"/>
              <a:gd name="connsiteY25" fmla="*/ 2688328 h 2970599"/>
              <a:gd name="connsiteX26" fmla="*/ 3525534 w 6582810"/>
              <a:gd name="connsiteY26" fmla="*/ 2688328 h 2970599"/>
              <a:gd name="connsiteX27" fmla="*/ 3525534 w 6582810"/>
              <a:gd name="connsiteY27" fmla="*/ 2668450 h 2970599"/>
              <a:gd name="connsiteX28" fmla="*/ 3410240 w 6582810"/>
              <a:gd name="connsiteY28" fmla="*/ 2668450 h 2970599"/>
              <a:gd name="connsiteX29" fmla="*/ 3410240 w 6582810"/>
              <a:gd name="connsiteY29" fmla="*/ 2664474 h 2970599"/>
              <a:gd name="connsiteX30" fmla="*/ 3306873 w 6582810"/>
              <a:gd name="connsiteY30" fmla="*/ 2664474 h 2970599"/>
              <a:gd name="connsiteX31" fmla="*/ 3306873 w 6582810"/>
              <a:gd name="connsiteY31" fmla="*/ 2648572 h 2970599"/>
              <a:gd name="connsiteX32" fmla="*/ 3263141 w 6582810"/>
              <a:gd name="connsiteY32" fmla="*/ 2648572 h 2970599"/>
              <a:gd name="connsiteX33" fmla="*/ 3263141 w 6582810"/>
              <a:gd name="connsiteY33" fmla="*/ 2648572 h 2970599"/>
              <a:gd name="connsiteX34" fmla="*/ 3263141 w 6582810"/>
              <a:gd name="connsiteY34" fmla="*/ 2612791 h 2970599"/>
              <a:gd name="connsiteX35" fmla="*/ 3247238 w 6582810"/>
              <a:gd name="connsiteY35" fmla="*/ 2612791 h 2970599"/>
              <a:gd name="connsiteX36" fmla="*/ 3247238 w 6582810"/>
              <a:gd name="connsiteY36" fmla="*/ 2592913 h 2970599"/>
              <a:gd name="connsiteX37" fmla="*/ 3231335 w 6582810"/>
              <a:gd name="connsiteY37" fmla="*/ 2592913 h 2970599"/>
              <a:gd name="connsiteX38" fmla="*/ 3231335 w 6582810"/>
              <a:gd name="connsiteY38" fmla="*/ 2549180 h 2970599"/>
              <a:gd name="connsiteX39" fmla="*/ 3223384 w 6582810"/>
              <a:gd name="connsiteY39" fmla="*/ 2549180 h 2970599"/>
              <a:gd name="connsiteX40" fmla="*/ 3223384 w 6582810"/>
              <a:gd name="connsiteY40" fmla="*/ 2549180 h 2970599"/>
              <a:gd name="connsiteX41" fmla="*/ 3223384 w 6582810"/>
              <a:gd name="connsiteY41" fmla="*/ 2529302 h 2970599"/>
              <a:gd name="connsiteX42" fmla="*/ 3191579 w 6582810"/>
              <a:gd name="connsiteY42" fmla="*/ 2529302 h 2970599"/>
              <a:gd name="connsiteX43" fmla="*/ 3191579 w 6582810"/>
              <a:gd name="connsiteY43" fmla="*/ 2505448 h 2970599"/>
              <a:gd name="connsiteX44" fmla="*/ 3143871 w 6582810"/>
              <a:gd name="connsiteY44" fmla="*/ 2505448 h 2970599"/>
              <a:gd name="connsiteX45" fmla="*/ 3143871 w 6582810"/>
              <a:gd name="connsiteY45" fmla="*/ 2481594 h 2970599"/>
              <a:gd name="connsiteX46" fmla="*/ 3012675 w 6582810"/>
              <a:gd name="connsiteY46" fmla="*/ 2481594 h 2970599"/>
              <a:gd name="connsiteX47" fmla="*/ 3012675 w 6582810"/>
              <a:gd name="connsiteY47" fmla="*/ 2469667 h 2970599"/>
              <a:gd name="connsiteX48" fmla="*/ 2980869 w 6582810"/>
              <a:gd name="connsiteY48" fmla="*/ 2469667 h 2970599"/>
              <a:gd name="connsiteX49" fmla="*/ 2980869 w 6582810"/>
              <a:gd name="connsiteY49" fmla="*/ 2449789 h 2970599"/>
              <a:gd name="connsiteX50" fmla="*/ 2877502 w 6582810"/>
              <a:gd name="connsiteY50" fmla="*/ 2449789 h 2970599"/>
              <a:gd name="connsiteX51" fmla="*/ 2877502 w 6582810"/>
              <a:gd name="connsiteY51" fmla="*/ 2417984 h 2970599"/>
              <a:gd name="connsiteX52" fmla="*/ 2782087 w 6582810"/>
              <a:gd name="connsiteY52" fmla="*/ 2417984 h 2970599"/>
              <a:gd name="connsiteX53" fmla="*/ 2782087 w 6582810"/>
              <a:gd name="connsiteY53" fmla="*/ 2394130 h 2970599"/>
              <a:gd name="connsiteX54" fmla="*/ 2754257 w 6582810"/>
              <a:gd name="connsiteY54" fmla="*/ 2394130 h 2970599"/>
              <a:gd name="connsiteX55" fmla="*/ 2754257 w 6582810"/>
              <a:gd name="connsiteY55" fmla="*/ 2370276 h 2970599"/>
              <a:gd name="connsiteX56" fmla="*/ 2710525 w 6582810"/>
              <a:gd name="connsiteY56" fmla="*/ 2370276 h 2970599"/>
              <a:gd name="connsiteX57" fmla="*/ 2710525 w 6582810"/>
              <a:gd name="connsiteY57" fmla="*/ 2342446 h 2970599"/>
              <a:gd name="connsiteX58" fmla="*/ 2646915 w 6582810"/>
              <a:gd name="connsiteY58" fmla="*/ 2342446 h 2970599"/>
              <a:gd name="connsiteX59" fmla="*/ 2646915 w 6582810"/>
              <a:gd name="connsiteY59" fmla="*/ 2342446 h 2970599"/>
              <a:gd name="connsiteX60" fmla="*/ 2646915 w 6582810"/>
              <a:gd name="connsiteY60" fmla="*/ 2306666 h 2970599"/>
              <a:gd name="connsiteX61" fmla="*/ 2571377 w 6582810"/>
              <a:gd name="connsiteY61" fmla="*/ 2306666 h 2970599"/>
              <a:gd name="connsiteX62" fmla="*/ 2571377 w 6582810"/>
              <a:gd name="connsiteY62" fmla="*/ 2258958 h 2970599"/>
              <a:gd name="connsiteX63" fmla="*/ 2571377 w 6582810"/>
              <a:gd name="connsiteY63" fmla="*/ 2258958 h 2970599"/>
              <a:gd name="connsiteX64" fmla="*/ 2563426 w 6582810"/>
              <a:gd name="connsiteY64" fmla="*/ 2255770 h 2970599"/>
              <a:gd name="connsiteX65" fmla="*/ 2563426 w 6582810"/>
              <a:gd name="connsiteY65" fmla="*/ 2163542 h 2970599"/>
              <a:gd name="connsiteX66" fmla="*/ 2539572 w 6582810"/>
              <a:gd name="connsiteY66" fmla="*/ 2163542 h 2970599"/>
              <a:gd name="connsiteX67" fmla="*/ 2539572 w 6582810"/>
              <a:gd name="connsiteY67" fmla="*/ 2143664 h 2970599"/>
              <a:gd name="connsiteX68" fmla="*/ 2523669 w 6582810"/>
              <a:gd name="connsiteY68" fmla="*/ 2143664 h 2970599"/>
              <a:gd name="connsiteX69" fmla="*/ 2523669 w 6582810"/>
              <a:gd name="connsiteY69" fmla="*/ 2111859 h 2970599"/>
              <a:gd name="connsiteX70" fmla="*/ 2301033 w 6582810"/>
              <a:gd name="connsiteY70" fmla="*/ 2111859 h 2970599"/>
              <a:gd name="connsiteX71" fmla="*/ 2301033 w 6582810"/>
              <a:gd name="connsiteY71" fmla="*/ 2088005 h 2970599"/>
              <a:gd name="connsiteX72" fmla="*/ 2281155 w 6582810"/>
              <a:gd name="connsiteY72" fmla="*/ 2088005 h 2970599"/>
              <a:gd name="connsiteX73" fmla="*/ 2281155 w 6582810"/>
              <a:gd name="connsiteY73" fmla="*/ 2088005 h 2970599"/>
              <a:gd name="connsiteX74" fmla="*/ 2281155 w 6582810"/>
              <a:gd name="connsiteY74" fmla="*/ 2056199 h 2970599"/>
              <a:gd name="connsiteX75" fmla="*/ 2217544 w 6582810"/>
              <a:gd name="connsiteY75" fmla="*/ 2056199 h 2970599"/>
              <a:gd name="connsiteX76" fmla="*/ 2217544 w 6582810"/>
              <a:gd name="connsiteY76" fmla="*/ 2056199 h 2970599"/>
              <a:gd name="connsiteX77" fmla="*/ 2217544 w 6582810"/>
              <a:gd name="connsiteY77" fmla="*/ 2032346 h 2970599"/>
              <a:gd name="connsiteX78" fmla="*/ 2193690 w 6582810"/>
              <a:gd name="connsiteY78" fmla="*/ 2032346 h 2970599"/>
              <a:gd name="connsiteX79" fmla="*/ 2193690 w 6582810"/>
              <a:gd name="connsiteY79" fmla="*/ 2008492 h 2970599"/>
              <a:gd name="connsiteX80" fmla="*/ 2145982 w 6582810"/>
              <a:gd name="connsiteY80" fmla="*/ 2008492 h 2970599"/>
              <a:gd name="connsiteX81" fmla="*/ 2145982 w 6582810"/>
              <a:gd name="connsiteY81" fmla="*/ 1869344 h 2970599"/>
              <a:gd name="connsiteX82" fmla="*/ 2098275 w 6582810"/>
              <a:gd name="connsiteY82" fmla="*/ 1869344 h 2970599"/>
              <a:gd name="connsiteX83" fmla="*/ 2098275 w 6582810"/>
              <a:gd name="connsiteY83" fmla="*/ 1845490 h 2970599"/>
              <a:gd name="connsiteX84" fmla="*/ 2062494 w 6582810"/>
              <a:gd name="connsiteY84" fmla="*/ 1845490 h 2970599"/>
              <a:gd name="connsiteX85" fmla="*/ 2062494 w 6582810"/>
              <a:gd name="connsiteY85" fmla="*/ 1821636 h 2970599"/>
              <a:gd name="connsiteX86" fmla="*/ 1927321 w 6582810"/>
              <a:gd name="connsiteY86" fmla="*/ 1821636 h 2970599"/>
              <a:gd name="connsiteX87" fmla="*/ 1927321 w 6582810"/>
              <a:gd name="connsiteY87" fmla="*/ 1821636 h 2970599"/>
              <a:gd name="connsiteX88" fmla="*/ 1927321 w 6582810"/>
              <a:gd name="connsiteY88" fmla="*/ 1797782 h 2970599"/>
              <a:gd name="connsiteX89" fmla="*/ 1804076 w 6582810"/>
              <a:gd name="connsiteY89" fmla="*/ 1797782 h 2970599"/>
              <a:gd name="connsiteX90" fmla="*/ 1804076 w 6582810"/>
              <a:gd name="connsiteY90" fmla="*/ 1746099 h 2970599"/>
              <a:gd name="connsiteX91" fmla="*/ 1768295 w 6582810"/>
              <a:gd name="connsiteY91" fmla="*/ 1746099 h 2970599"/>
              <a:gd name="connsiteX92" fmla="*/ 1768295 w 6582810"/>
              <a:gd name="connsiteY92" fmla="*/ 1706342 h 2970599"/>
              <a:gd name="connsiteX93" fmla="*/ 1736490 w 6582810"/>
              <a:gd name="connsiteY93" fmla="*/ 1706342 h 2970599"/>
              <a:gd name="connsiteX94" fmla="*/ 1736490 w 6582810"/>
              <a:gd name="connsiteY94" fmla="*/ 1662610 h 2970599"/>
              <a:gd name="connsiteX95" fmla="*/ 1712636 w 6582810"/>
              <a:gd name="connsiteY95" fmla="*/ 1662610 h 2970599"/>
              <a:gd name="connsiteX96" fmla="*/ 1712636 w 6582810"/>
              <a:gd name="connsiteY96" fmla="*/ 1614902 h 2970599"/>
              <a:gd name="connsiteX97" fmla="*/ 1680831 w 6582810"/>
              <a:gd name="connsiteY97" fmla="*/ 1614902 h 2970599"/>
              <a:gd name="connsiteX98" fmla="*/ 1680831 w 6582810"/>
              <a:gd name="connsiteY98" fmla="*/ 1555267 h 2970599"/>
              <a:gd name="connsiteX99" fmla="*/ 1653001 w 6582810"/>
              <a:gd name="connsiteY99" fmla="*/ 1555267 h 2970599"/>
              <a:gd name="connsiteX100" fmla="*/ 1653001 w 6582810"/>
              <a:gd name="connsiteY100" fmla="*/ 1499608 h 2970599"/>
              <a:gd name="connsiteX101" fmla="*/ 1593367 w 6582810"/>
              <a:gd name="connsiteY101" fmla="*/ 1499608 h 2970599"/>
              <a:gd name="connsiteX102" fmla="*/ 1593367 w 6582810"/>
              <a:gd name="connsiteY102" fmla="*/ 1479730 h 2970599"/>
              <a:gd name="connsiteX103" fmla="*/ 1557586 w 6582810"/>
              <a:gd name="connsiteY103" fmla="*/ 1479730 h 2970599"/>
              <a:gd name="connsiteX104" fmla="*/ 1557586 w 6582810"/>
              <a:gd name="connsiteY104" fmla="*/ 1479730 h 2970599"/>
              <a:gd name="connsiteX105" fmla="*/ 1557586 w 6582810"/>
              <a:gd name="connsiteY105" fmla="*/ 1459852 h 2970599"/>
              <a:gd name="connsiteX106" fmla="*/ 1513854 w 6582810"/>
              <a:gd name="connsiteY106" fmla="*/ 1459852 h 2970599"/>
              <a:gd name="connsiteX107" fmla="*/ 1513854 w 6582810"/>
              <a:gd name="connsiteY107" fmla="*/ 1428046 h 2970599"/>
              <a:gd name="connsiteX108" fmla="*/ 1497951 w 6582810"/>
              <a:gd name="connsiteY108" fmla="*/ 1428046 h 2970599"/>
              <a:gd name="connsiteX109" fmla="*/ 1497951 w 6582810"/>
              <a:gd name="connsiteY109" fmla="*/ 1400217 h 2970599"/>
              <a:gd name="connsiteX110" fmla="*/ 1382657 w 6582810"/>
              <a:gd name="connsiteY110" fmla="*/ 1400217 h 2970599"/>
              <a:gd name="connsiteX111" fmla="*/ 1382657 w 6582810"/>
              <a:gd name="connsiteY111" fmla="*/ 1344558 h 2970599"/>
              <a:gd name="connsiteX112" fmla="*/ 1366755 w 6582810"/>
              <a:gd name="connsiteY112" fmla="*/ 1344558 h 2970599"/>
              <a:gd name="connsiteX113" fmla="*/ 1366755 w 6582810"/>
              <a:gd name="connsiteY113" fmla="*/ 1304801 h 2970599"/>
              <a:gd name="connsiteX114" fmla="*/ 1326998 w 6582810"/>
              <a:gd name="connsiteY114" fmla="*/ 1304801 h 2970599"/>
              <a:gd name="connsiteX115" fmla="*/ 1326998 w 6582810"/>
              <a:gd name="connsiteY115" fmla="*/ 1233239 h 2970599"/>
              <a:gd name="connsiteX116" fmla="*/ 1283266 w 6582810"/>
              <a:gd name="connsiteY116" fmla="*/ 1233239 h 2970599"/>
              <a:gd name="connsiteX117" fmla="*/ 1283266 w 6582810"/>
              <a:gd name="connsiteY117" fmla="*/ 1141799 h 2970599"/>
              <a:gd name="connsiteX118" fmla="*/ 1259412 w 6582810"/>
              <a:gd name="connsiteY118" fmla="*/ 1141799 h 2970599"/>
              <a:gd name="connsiteX119" fmla="*/ 1259412 w 6582810"/>
              <a:gd name="connsiteY119" fmla="*/ 1078189 h 2970599"/>
              <a:gd name="connsiteX120" fmla="*/ 1199777 w 6582810"/>
              <a:gd name="connsiteY120" fmla="*/ 1078189 h 2970599"/>
              <a:gd name="connsiteX121" fmla="*/ 1199777 w 6582810"/>
              <a:gd name="connsiteY121" fmla="*/ 1062286 h 2970599"/>
              <a:gd name="connsiteX122" fmla="*/ 1132191 w 6582810"/>
              <a:gd name="connsiteY122" fmla="*/ 1062286 h 2970599"/>
              <a:gd name="connsiteX123" fmla="*/ 1132191 w 6582810"/>
              <a:gd name="connsiteY123" fmla="*/ 1042408 h 2970599"/>
              <a:gd name="connsiteX124" fmla="*/ 1068581 w 6582810"/>
              <a:gd name="connsiteY124" fmla="*/ 1042408 h 2970599"/>
              <a:gd name="connsiteX125" fmla="*/ 1068581 w 6582810"/>
              <a:gd name="connsiteY125" fmla="*/ 1014579 h 2970599"/>
              <a:gd name="connsiteX126" fmla="*/ 961238 w 6582810"/>
              <a:gd name="connsiteY126" fmla="*/ 1014579 h 2970599"/>
              <a:gd name="connsiteX127" fmla="*/ 977141 w 6582810"/>
              <a:gd name="connsiteY127" fmla="*/ 998676 h 2970599"/>
              <a:gd name="connsiteX128" fmla="*/ 941360 w 6582810"/>
              <a:gd name="connsiteY128" fmla="*/ 998676 h 2970599"/>
              <a:gd name="connsiteX129" fmla="*/ 941360 w 6582810"/>
              <a:gd name="connsiteY129" fmla="*/ 970846 h 2970599"/>
              <a:gd name="connsiteX130" fmla="*/ 881725 w 6582810"/>
              <a:gd name="connsiteY130" fmla="*/ 970846 h 2970599"/>
              <a:gd name="connsiteX131" fmla="*/ 881725 w 6582810"/>
              <a:gd name="connsiteY131" fmla="*/ 915187 h 2970599"/>
              <a:gd name="connsiteX132" fmla="*/ 837993 w 6582810"/>
              <a:gd name="connsiteY132" fmla="*/ 915187 h 2970599"/>
              <a:gd name="connsiteX133" fmla="*/ 837993 w 6582810"/>
              <a:gd name="connsiteY133" fmla="*/ 791942 h 2970599"/>
              <a:gd name="connsiteX134" fmla="*/ 806188 w 6582810"/>
              <a:gd name="connsiteY134" fmla="*/ 791942 h 2970599"/>
              <a:gd name="connsiteX135" fmla="*/ 806188 w 6582810"/>
              <a:gd name="connsiteY135" fmla="*/ 752186 h 2970599"/>
              <a:gd name="connsiteX136" fmla="*/ 806188 w 6582810"/>
              <a:gd name="connsiteY136" fmla="*/ 752186 h 2970599"/>
              <a:gd name="connsiteX137" fmla="*/ 778358 w 6582810"/>
              <a:gd name="connsiteY137" fmla="*/ 752186 h 2970599"/>
              <a:gd name="connsiteX138" fmla="*/ 778358 w 6582810"/>
              <a:gd name="connsiteY138" fmla="*/ 692551 h 2970599"/>
              <a:gd name="connsiteX139" fmla="*/ 754504 w 6582810"/>
              <a:gd name="connsiteY139" fmla="*/ 692551 h 2970599"/>
              <a:gd name="connsiteX140" fmla="*/ 754504 w 6582810"/>
              <a:gd name="connsiteY140" fmla="*/ 660746 h 2970599"/>
              <a:gd name="connsiteX141" fmla="*/ 682942 w 6582810"/>
              <a:gd name="connsiteY141" fmla="*/ 660746 h 2970599"/>
              <a:gd name="connsiteX142" fmla="*/ 682942 w 6582810"/>
              <a:gd name="connsiteY142" fmla="*/ 632916 h 2970599"/>
              <a:gd name="connsiteX143" fmla="*/ 599454 w 6582810"/>
              <a:gd name="connsiteY143" fmla="*/ 632916 h 2970599"/>
              <a:gd name="connsiteX144" fmla="*/ 599454 w 6582810"/>
              <a:gd name="connsiteY144" fmla="*/ 613038 h 2970599"/>
              <a:gd name="connsiteX145" fmla="*/ 508014 w 6582810"/>
              <a:gd name="connsiteY145" fmla="*/ 613038 h 2970599"/>
              <a:gd name="connsiteX146" fmla="*/ 508014 w 6582810"/>
              <a:gd name="connsiteY146" fmla="*/ 565330 h 2970599"/>
              <a:gd name="connsiteX147" fmla="*/ 480184 w 6582810"/>
              <a:gd name="connsiteY147" fmla="*/ 565330 h 2970599"/>
              <a:gd name="connsiteX148" fmla="*/ 480184 w 6582810"/>
              <a:gd name="connsiteY148" fmla="*/ 505695 h 2970599"/>
              <a:gd name="connsiteX149" fmla="*/ 464281 w 6582810"/>
              <a:gd name="connsiteY149" fmla="*/ 505695 h 2970599"/>
              <a:gd name="connsiteX150" fmla="*/ 464281 w 6582810"/>
              <a:gd name="connsiteY150" fmla="*/ 434133 h 2970599"/>
              <a:gd name="connsiteX151" fmla="*/ 416574 w 6582810"/>
              <a:gd name="connsiteY151" fmla="*/ 434133 h 2970599"/>
              <a:gd name="connsiteX152" fmla="*/ 416574 w 6582810"/>
              <a:gd name="connsiteY152" fmla="*/ 374499 h 2970599"/>
              <a:gd name="connsiteX153" fmla="*/ 396695 w 6582810"/>
              <a:gd name="connsiteY153" fmla="*/ 374499 h 2970599"/>
              <a:gd name="connsiteX154" fmla="*/ 396695 w 6582810"/>
              <a:gd name="connsiteY154" fmla="*/ 243302 h 2970599"/>
              <a:gd name="connsiteX155" fmla="*/ 380793 w 6582810"/>
              <a:gd name="connsiteY155" fmla="*/ 243302 h 2970599"/>
              <a:gd name="connsiteX156" fmla="*/ 380793 w 6582810"/>
              <a:gd name="connsiteY156" fmla="*/ 203546 h 2970599"/>
              <a:gd name="connsiteX157" fmla="*/ 356939 w 6582810"/>
              <a:gd name="connsiteY157" fmla="*/ 203546 h 2970599"/>
              <a:gd name="connsiteX158" fmla="*/ 356939 w 6582810"/>
              <a:gd name="connsiteY158" fmla="*/ 143911 h 2970599"/>
              <a:gd name="connsiteX159" fmla="*/ 281401 w 6582810"/>
              <a:gd name="connsiteY159" fmla="*/ 143911 h 2970599"/>
              <a:gd name="connsiteX160" fmla="*/ 281401 w 6582810"/>
              <a:gd name="connsiteY160" fmla="*/ 143911 h 2970599"/>
              <a:gd name="connsiteX161" fmla="*/ 281401 w 6582810"/>
              <a:gd name="connsiteY161" fmla="*/ 108130 h 2970599"/>
              <a:gd name="connsiteX162" fmla="*/ 209840 w 6582810"/>
              <a:gd name="connsiteY162" fmla="*/ 108130 h 2970599"/>
              <a:gd name="connsiteX163" fmla="*/ 209840 w 6582810"/>
              <a:gd name="connsiteY163" fmla="*/ 72349 h 2970599"/>
              <a:gd name="connsiteX164" fmla="*/ 130327 w 6582810"/>
              <a:gd name="connsiteY164" fmla="*/ 72349 h 2970599"/>
              <a:gd name="connsiteX165" fmla="*/ 130327 w 6582810"/>
              <a:gd name="connsiteY165" fmla="*/ 44519 h 2970599"/>
              <a:gd name="connsiteX166" fmla="*/ 102497 w 6582810"/>
              <a:gd name="connsiteY166" fmla="*/ 44519 h 2970599"/>
              <a:gd name="connsiteX167" fmla="*/ 102497 w 6582810"/>
              <a:gd name="connsiteY167" fmla="*/ 4763 h 2970599"/>
              <a:gd name="connsiteX168" fmla="*/ 42862 w 6582810"/>
              <a:gd name="connsiteY168" fmla="*/ 4763 h 2970599"/>
              <a:gd name="connsiteX169" fmla="*/ 42862 w 6582810"/>
              <a:gd name="connsiteY169" fmla="*/ 4763 h 2970599"/>
              <a:gd name="connsiteX170" fmla="*/ 0 w 6582810"/>
              <a:gd name="connsiteY170" fmla="*/ 0 h 2970599"/>
              <a:gd name="connsiteX0" fmla="*/ 6582810 w 6582810"/>
              <a:gd name="connsiteY0" fmla="*/ 2965836 h 2965836"/>
              <a:gd name="connsiteX1" fmla="*/ 5732021 w 6582810"/>
              <a:gd name="connsiteY1" fmla="*/ 2965836 h 2965836"/>
              <a:gd name="connsiteX2" fmla="*/ 5732021 w 6582810"/>
              <a:gd name="connsiteY2" fmla="*/ 2918129 h 2965836"/>
              <a:gd name="connsiteX3" fmla="*/ 5660459 w 6582810"/>
              <a:gd name="connsiteY3" fmla="*/ 2918129 h 2965836"/>
              <a:gd name="connsiteX4" fmla="*/ 5660459 w 6582810"/>
              <a:gd name="connsiteY4" fmla="*/ 2878372 h 2965836"/>
              <a:gd name="connsiteX5" fmla="*/ 4507520 w 6582810"/>
              <a:gd name="connsiteY5" fmla="*/ 2878372 h 2965836"/>
              <a:gd name="connsiteX6" fmla="*/ 4507520 w 6582810"/>
              <a:gd name="connsiteY6" fmla="*/ 2834640 h 2965836"/>
              <a:gd name="connsiteX7" fmla="*/ 4459812 w 6582810"/>
              <a:gd name="connsiteY7" fmla="*/ 2834640 h 2965836"/>
              <a:gd name="connsiteX8" fmla="*/ 4459812 w 6582810"/>
              <a:gd name="connsiteY8" fmla="*/ 2818737 h 2965836"/>
              <a:gd name="connsiteX9" fmla="*/ 4400177 w 6582810"/>
              <a:gd name="connsiteY9" fmla="*/ 2818737 h 2965836"/>
              <a:gd name="connsiteX10" fmla="*/ 4400177 w 6582810"/>
              <a:gd name="connsiteY10" fmla="*/ 2818737 h 2965836"/>
              <a:gd name="connsiteX11" fmla="*/ 4400177 w 6582810"/>
              <a:gd name="connsiteY11" fmla="*/ 2798859 h 2965836"/>
              <a:gd name="connsiteX12" fmla="*/ 3855513 w 6582810"/>
              <a:gd name="connsiteY12" fmla="*/ 2798859 h 2965836"/>
              <a:gd name="connsiteX13" fmla="*/ 3855513 w 6582810"/>
              <a:gd name="connsiteY13" fmla="*/ 2763078 h 2965836"/>
              <a:gd name="connsiteX14" fmla="*/ 3855513 w 6582810"/>
              <a:gd name="connsiteY14" fmla="*/ 2763078 h 2965836"/>
              <a:gd name="connsiteX15" fmla="*/ 3855513 w 6582810"/>
              <a:gd name="connsiteY15" fmla="*/ 2763078 h 2965836"/>
              <a:gd name="connsiteX16" fmla="*/ 3855513 w 6582810"/>
              <a:gd name="connsiteY16" fmla="*/ 2763078 h 2965836"/>
              <a:gd name="connsiteX17" fmla="*/ 3839610 w 6582810"/>
              <a:gd name="connsiteY17" fmla="*/ 2763078 h 2965836"/>
              <a:gd name="connsiteX18" fmla="*/ 3839610 w 6582810"/>
              <a:gd name="connsiteY18" fmla="*/ 2735249 h 2965836"/>
              <a:gd name="connsiteX19" fmla="*/ 3752146 w 6582810"/>
              <a:gd name="connsiteY19" fmla="*/ 2735249 h 2965836"/>
              <a:gd name="connsiteX20" fmla="*/ 3752146 w 6582810"/>
              <a:gd name="connsiteY20" fmla="*/ 2715370 h 2965836"/>
              <a:gd name="connsiteX21" fmla="*/ 3708394 w 6582810"/>
              <a:gd name="connsiteY21" fmla="*/ 2715370 h 2965836"/>
              <a:gd name="connsiteX22" fmla="*/ 3708414 w 6582810"/>
              <a:gd name="connsiteY22" fmla="*/ 2703443 h 2965836"/>
              <a:gd name="connsiteX23" fmla="*/ 3616974 w 6582810"/>
              <a:gd name="connsiteY23" fmla="*/ 2703443 h 2965836"/>
              <a:gd name="connsiteX24" fmla="*/ 3616974 w 6582810"/>
              <a:gd name="connsiteY24" fmla="*/ 2683565 h 2965836"/>
              <a:gd name="connsiteX25" fmla="*/ 3525534 w 6582810"/>
              <a:gd name="connsiteY25" fmla="*/ 2683565 h 2965836"/>
              <a:gd name="connsiteX26" fmla="*/ 3525534 w 6582810"/>
              <a:gd name="connsiteY26" fmla="*/ 2683565 h 2965836"/>
              <a:gd name="connsiteX27" fmla="*/ 3525534 w 6582810"/>
              <a:gd name="connsiteY27" fmla="*/ 2663687 h 2965836"/>
              <a:gd name="connsiteX28" fmla="*/ 3410240 w 6582810"/>
              <a:gd name="connsiteY28" fmla="*/ 2663687 h 2965836"/>
              <a:gd name="connsiteX29" fmla="*/ 3410240 w 6582810"/>
              <a:gd name="connsiteY29" fmla="*/ 2659711 h 2965836"/>
              <a:gd name="connsiteX30" fmla="*/ 3306873 w 6582810"/>
              <a:gd name="connsiteY30" fmla="*/ 2659711 h 2965836"/>
              <a:gd name="connsiteX31" fmla="*/ 3306873 w 6582810"/>
              <a:gd name="connsiteY31" fmla="*/ 2643809 h 2965836"/>
              <a:gd name="connsiteX32" fmla="*/ 3263141 w 6582810"/>
              <a:gd name="connsiteY32" fmla="*/ 2643809 h 2965836"/>
              <a:gd name="connsiteX33" fmla="*/ 3263141 w 6582810"/>
              <a:gd name="connsiteY33" fmla="*/ 2643809 h 2965836"/>
              <a:gd name="connsiteX34" fmla="*/ 3263141 w 6582810"/>
              <a:gd name="connsiteY34" fmla="*/ 2608028 h 2965836"/>
              <a:gd name="connsiteX35" fmla="*/ 3247238 w 6582810"/>
              <a:gd name="connsiteY35" fmla="*/ 2608028 h 2965836"/>
              <a:gd name="connsiteX36" fmla="*/ 3247238 w 6582810"/>
              <a:gd name="connsiteY36" fmla="*/ 2588150 h 2965836"/>
              <a:gd name="connsiteX37" fmla="*/ 3231335 w 6582810"/>
              <a:gd name="connsiteY37" fmla="*/ 2588150 h 2965836"/>
              <a:gd name="connsiteX38" fmla="*/ 3231335 w 6582810"/>
              <a:gd name="connsiteY38" fmla="*/ 2544417 h 2965836"/>
              <a:gd name="connsiteX39" fmla="*/ 3223384 w 6582810"/>
              <a:gd name="connsiteY39" fmla="*/ 2544417 h 2965836"/>
              <a:gd name="connsiteX40" fmla="*/ 3223384 w 6582810"/>
              <a:gd name="connsiteY40" fmla="*/ 2544417 h 2965836"/>
              <a:gd name="connsiteX41" fmla="*/ 3223384 w 6582810"/>
              <a:gd name="connsiteY41" fmla="*/ 2524539 h 2965836"/>
              <a:gd name="connsiteX42" fmla="*/ 3191579 w 6582810"/>
              <a:gd name="connsiteY42" fmla="*/ 2524539 h 2965836"/>
              <a:gd name="connsiteX43" fmla="*/ 3191579 w 6582810"/>
              <a:gd name="connsiteY43" fmla="*/ 2500685 h 2965836"/>
              <a:gd name="connsiteX44" fmla="*/ 3143871 w 6582810"/>
              <a:gd name="connsiteY44" fmla="*/ 2500685 h 2965836"/>
              <a:gd name="connsiteX45" fmla="*/ 3143871 w 6582810"/>
              <a:gd name="connsiteY45" fmla="*/ 2476831 h 2965836"/>
              <a:gd name="connsiteX46" fmla="*/ 3012675 w 6582810"/>
              <a:gd name="connsiteY46" fmla="*/ 2476831 h 2965836"/>
              <a:gd name="connsiteX47" fmla="*/ 3012675 w 6582810"/>
              <a:gd name="connsiteY47" fmla="*/ 2464904 h 2965836"/>
              <a:gd name="connsiteX48" fmla="*/ 2980869 w 6582810"/>
              <a:gd name="connsiteY48" fmla="*/ 2464904 h 2965836"/>
              <a:gd name="connsiteX49" fmla="*/ 2980869 w 6582810"/>
              <a:gd name="connsiteY49" fmla="*/ 2445026 h 2965836"/>
              <a:gd name="connsiteX50" fmla="*/ 2877502 w 6582810"/>
              <a:gd name="connsiteY50" fmla="*/ 2445026 h 2965836"/>
              <a:gd name="connsiteX51" fmla="*/ 2877502 w 6582810"/>
              <a:gd name="connsiteY51" fmla="*/ 2413221 h 2965836"/>
              <a:gd name="connsiteX52" fmla="*/ 2782087 w 6582810"/>
              <a:gd name="connsiteY52" fmla="*/ 2413221 h 2965836"/>
              <a:gd name="connsiteX53" fmla="*/ 2782087 w 6582810"/>
              <a:gd name="connsiteY53" fmla="*/ 2389367 h 2965836"/>
              <a:gd name="connsiteX54" fmla="*/ 2754257 w 6582810"/>
              <a:gd name="connsiteY54" fmla="*/ 2389367 h 2965836"/>
              <a:gd name="connsiteX55" fmla="*/ 2754257 w 6582810"/>
              <a:gd name="connsiteY55" fmla="*/ 2365513 h 2965836"/>
              <a:gd name="connsiteX56" fmla="*/ 2710525 w 6582810"/>
              <a:gd name="connsiteY56" fmla="*/ 2365513 h 2965836"/>
              <a:gd name="connsiteX57" fmla="*/ 2710525 w 6582810"/>
              <a:gd name="connsiteY57" fmla="*/ 2337683 h 2965836"/>
              <a:gd name="connsiteX58" fmla="*/ 2646915 w 6582810"/>
              <a:gd name="connsiteY58" fmla="*/ 2337683 h 2965836"/>
              <a:gd name="connsiteX59" fmla="*/ 2646915 w 6582810"/>
              <a:gd name="connsiteY59" fmla="*/ 2337683 h 2965836"/>
              <a:gd name="connsiteX60" fmla="*/ 2646915 w 6582810"/>
              <a:gd name="connsiteY60" fmla="*/ 2301903 h 2965836"/>
              <a:gd name="connsiteX61" fmla="*/ 2571377 w 6582810"/>
              <a:gd name="connsiteY61" fmla="*/ 2301903 h 2965836"/>
              <a:gd name="connsiteX62" fmla="*/ 2571377 w 6582810"/>
              <a:gd name="connsiteY62" fmla="*/ 2254195 h 2965836"/>
              <a:gd name="connsiteX63" fmla="*/ 2571377 w 6582810"/>
              <a:gd name="connsiteY63" fmla="*/ 2254195 h 2965836"/>
              <a:gd name="connsiteX64" fmla="*/ 2563426 w 6582810"/>
              <a:gd name="connsiteY64" fmla="*/ 2251007 h 2965836"/>
              <a:gd name="connsiteX65" fmla="*/ 2563426 w 6582810"/>
              <a:gd name="connsiteY65" fmla="*/ 2158779 h 2965836"/>
              <a:gd name="connsiteX66" fmla="*/ 2539572 w 6582810"/>
              <a:gd name="connsiteY66" fmla="*/ 2158779 h 2965836"/>
              <a:gd name="connsiteX67" fmla="*/ 2539572 w 6582810"/>
              <a:gd name="connsiteY67" fmla="*/ 2138901 h 2965836"/>
              <a:gd name="connsiteX68" fmla="*/ 2523669 w 6582810"/>
              <a:gd name="connsiteY68" fmla="*/ 2138901 h 2965836"/>
              <a:gd name="connsiteX69" fmla="*/ 2523669 w 6582810"/>
              <a:gd name="connsiteY69" fmla="*/ 2107096 h 2965836"/>
              <a:gd name="connsiteX70" fmla="*/ 2301033 w 6582810"/>
              <a:gd name="connsiteY70" fmla="*/ 2107096 h 2965836"/>
              <a:gd name="connsiteX71" fmla="*/ 2301033 w 6582810"/>
              <a:gd name="connsiteY71" fmla="*/ 2083242 h 2965836"/>
              <a:gd name="connsiteX72" fmla="*/ 2281155 w 6582810"/>
              <a:gd name="connsiteY72" fmla="*/ 2083242 h 2965836"/>
              <a:gd name="connsiteX73" fmla="*/ 2281155 w 6582810"/>
              <a:gd name="connsiteY73" fmla="*/ 2083242 h 2965836"/>
              <a:gd name="connsiteX74" fmla="*/ 2281155 w 6582810"/>
              <a:gd name="connsiteY74" fmla="*/ 2051436 h 2965836"/>
              <a:gd name="connsiteX75" fmla="*/ 2217544 w 6582810"/>
              <a:gd name="connsiteY75" fmla="*/ 2051436 h 2965836"/>
              <a:gd name="connsiteX76" fmla="*/ 2217544 w 6582810"/>
              <a:gd name="connsiteY76" fmla="*/ 2051436 h 2965836"/>
              <a:gd name="connsiteX77" fmla="*/ 2217544 w 6582810"/>
              <a:gd name="connsiteY77" fmla="*/ 2027583 h 2965836"/>
              <a:gd name="connsiteX78" fmla="*/ 2193690 w 6582810"/>
              <a:gd name="connsiteY78" fmla="*/ 2027583 h 2965836"/>
              <a:gd name="connsiteX79" fmla="*/ 2193690 w 6582810"/>
              <a:gd name="connsiteY79" fmla="*/ 2003729 h 2965836"/>
              <a:gd name="connsiteX80" fmla="*/ 2145982 w 6582810"/>
              <a:gd name="connsiteY80" fmla="*/ 2003729 h 2965836"/>
              <a:gd name="connsiteX81" fmla="*/ 2145982 w 6582810"/>
              <a:gd name="connsiteY81" fmla="*/ 1864581 h 2965836"/>
              <a:gd name="connsiteX82" fmla="*/ 2098275 w 6582810"/>
              <a:gd name="connsiteY82" fmla="*/ 1864581 h 2965836"/>
              <a:gd name="connsiteX83" fmla="*/ 2098275 w 6582810"/>
              <a:gd name="connsiteY83" fmla="*/ 1840727 h 2965836"/>
              <a:gd name="connsiteX84" fmla="*/ 2062494 w 6582810"/>
              <a:gd name="connsiteY84" fmla="*/ 1840727 h 2965836"/>
              <a:gd name="connsiteX85" fmla="*/ 2062494 w 6582810"/>
              <a:gd name="connsiteY85" fmla="*/ 1816873 h 2965836"/>
              <a:gd name="connsiteX86" fmla="*/ 1927321 w 6582810"/>
              <a:gd name="connsiteY86" fmla="*/ 1816873 h 2965836"/>
              <a:gd name="connsiteX87" fmla="*/ 1927321 w 6582810"/>
              <a:gd name="connsiteY87" fmla="*/ 1816873 h 2965836"/>
              <a:gd name="connsiteX88" fmla="*/ 1927321 w 6582810"/>
              <a:gd name="connsiteY88" fmla="*/ 1793019 h 2965836"/>
              <a:gd name="connsiteX89" fmla="*/ 1804076 w 6582810"/>
              <a:gd name="connsiteY89" fmla="*/ 1793019 h 2965836"/>
              <a:gd name="connsiteX90" fmla="*/ 1804076 w 6582810"/>
              <a:gd name="connsiteY90" fmla="*/ 1741336 h 2965836"/>
              <a:gd name="connsiteX91" fmla="*/ 1768295 w 6582810"/>
              <a:gd name="connsiteY91" fmla="*/ 1741336 h 2965836"/>
              <a:gd name="connsiteX92" fmla="*/ 1768295 w 6582810"/>
              <a:gd name="connsiteY92" fmla="*/ 1701579 h 2965836"/>
              <a:gd name="connsiteX93" fmla="*/ 1736490 w 6582810"/>
              <a:gd name="connsiteY93" fmla="*/ 1701579 h 2965836"/>
              <a:gd name="connsiteX94" fmla="*/ 1736490 w 6582810"/>
              <a:gd name="connsiteY94" fmla="*/ 1657847 h 2965836"/>
              <a:gd name="connsiteX95" fmla="*/ 1712636 w 6582810"/>
              <a:gd name="connsiteY95" fmla="*/ 1657847 h 2965836"/>
              <a:gd name="connsiteX96" fmla="*/ 1712636 w 6582810"/>
              <a:gd name="connsiteY96" fmla="*/ 1610139 h 2965836"/>
              <a:gd name="connsiteX97" fmla="*/ 1680831 w 6582810"/>
              <a:gd name="connsiteY97" fmla="*/ 1610139 h 2965836"/>
              <a:gd name="connsiteX98" fmla="*/ 1680831 w 6582810"/>
              <a:gd name="connsiteY98" fmla="*/ 1550504 h 2965836"/>
              <a:gd name="connsiteX99" fmla="*/ 1653001 w 6582810"/>
              <a:gd name="connsiteY99" fmla="*/ 1550504 h 2965836"/>
              <a:gd name="connsiteX100" fmla="*/ 1653001 w 6582810"/>
              <a:gd name="connsiteY100" fmla="*/ 1494845 h 2965836"/>
              <a:gd name="connsiteX101" fmla="*/ 1593367 w 6582810"/>
              <a:gd name="connsiteY101" fmla="*/ 1494845 h 2965836"/>
              <a:gd name="connsiteX102" fmla="*/ 1593367 w 6582810"/>
              <a:gd name="connsiteY102" fmla="*/ 1474967 h 2965836"/>
              <a:gd name="connsiteX103" fmla="*/ 1557586 w 6582810"/>
              <a:gd name="connsiteY103" fmla="*/ 1474967 h 2965836"/>
              <a:gd name="connsiteX104" fmla="*/ 1557586 w 6582810"/>
              <a:gd name="connsiteY104" fmla="*/ 1474967 h 2965836"/>
              <a:gd name="connsiteX105" fmla="*/ 1557586 w 6582810"/>
              <a:gd name="connsiteY105" fmla="*/ 1455089 h 2965836"/>
              <a:gd name="connsiteX106" fmla="*/ 1513854 w 6582810"/>
              <a:gd name="connsiteY106" fmla="*/ 1455089 h 2965836"/>
              <a:gd name="connsiteX107" fmla="*/ 1513854 w 6582810"/>
              <a:gd name="connsiteY107" fmla="*/ 1423283 h 2965836"/>
              <a:gd name="connsiteX108" fmla="*/ 1497951 w 6582810"/>
              <a:gd name="connsiteY108" fmla="*/ 1423283 h 2965836"/>
              <a:gd name="connsiteX109" fmla="*/ 1497951 w 6582810"/>
              <a:gd name="connsiteY109" fmla="*/ 1395454 h 2965836"/>
              <a:gd name="connsiteX110" fmla="*/ 1382657 w 6582810"/>
              <a:gd name="connsiteY110" fmla="*/ 1395454 h 2965836"/>
              <a:gd name="connsiteX111" fmla="*/ 1382657 w 6582810"/>
              <a:gd name="connsiteY111" fmla="*/ 1339795 h 2965836"/>
              <a:gd name="connsiteX112" fmla="*/ 1366755 w 6582810"/>
              <a:gd name="connsiteY112" fmla="*/ 1339795 h 2965836"/>
              <a:gd name="connsiteX113" fmla="*/ 1366755 w 6582810"/>
              <a:gd name="connsiteY113" fmla="*/ 1300038 h 2965836"/>
              <a:gd name="connsiteX114" fmla="*/ 1326998 w 6582810"/>
              <a:gd name="connsiteY114" fmla="*/ 1300038 h 2965836"/>
              <a:gd name="connsiteX115" fmla="*/ 1326998 w 6582810"/>
              <a:gd name="connsiteY115" fmla="*/ 1228476 h 2965836"/>
              <a:gd name="connsiteX116" fmla="*/ 1283266 w 6582810"/>
              <a:gd name="connsiteY116" fmla="*/ 1228476 h 2965836"/>
              <a:gd name="connsiteX117" fmla="*/ 1283266 w 6582810"/>
              <a:gd name="connsiteY117" fmla="*/ 1137036 h 2965836"/>
              <a:gd name="connsiteX118" fmla="*/ 1259412 w 6582810"/>
              <a:gd name="connsiteY118" fmla="*/ 1137036 h 2965836"/>
              <a:gd name="connsiteX119" fmla="*/ 1259412 w 6582810"/>
              <a:gd name="connsiteY119" fmla="*/ 1073426 h 2965836"/>
              <a:gd name="connsiteX120" fmla="*/ 1199777 w 6582810"/>
              <a:gd name="connsiteY120" fmla="*/ 1073426 h 2965836"/>
              <a:gd name="connsiteX121" fmla="*/ 1199777 w 6582810"/>
              <a:gd name="connsiteY121" fmla="*/ 1057523 h 2965836"/>
              <a:gd name="connsiteX122" fmla="*/ 1132191 w 6582810"/>
              <a:gd name="connsiteY122" fmla="*/ 1057523 h 2965836"/>
              <a:gd name="connsiteX123" fmla="*/ 1132191 w 6582810"/>
              <a:gd name="connsiteY123" fmla="*/ 1037645 h 2965836"/>
              <a:gd name="connsiteX124" fmla="*/ 1068581 w 6582810"/>
              <a:gd name="connsiteY124" fmla="*/ 1037645 h 2965836"/>
              <a:gd name="connsiteX125" fmla="*/ 1068581 w 6582810"/>
              <a:gd name="connsiteY125" fmla="*/ 1009816 h 2965836"/>
              <a:gd name="connsiteX126" fmla="*/ 961238 w 6582810"/>
              <a:gd name="connsiteY126" fmla="*/ 1009816 h 2965836"/>
              <a:gd name="connsiteX127" fmla="*/ 977141 w 6582810"/>
              <a:gd name="connsiteY127" fmla="*/ 993913 h 2965836"/>
              <a:gd name="connsiteX128" fmla="*/ 941360 w 6582810"/>
              <a:gd name="connsiteY128" fmla="*/ 993913 h 2965836"/>
              <a:gd name="connsiteX129" fmla="*/ 941360 w 6582810"/>
              <a:gd name="connsiteY129" fmla="*/ 966083 h 2965836"/>
              <a:gd name="connsiteX130" fmla="*/ 881725 w 6582810"/>
              <a:gd name="connsiteY130" fmla="*/ 966083 h 2965836"/>
              <a:gd name="connsiteX131" fmla="*/ 881725 w 6582810"/>
              <a:gd name="connsiteY131" fmla="*/ 910424 h 2965836"/>
              <a:gd name="connsiteX132" fmla="*/ 837993 w 6582810"/>
              <a:gd name="connsiteY132" fmla="*/ 910424 h 2965836"/>
              <a:gd name="connsiteX133" fmla="*/ 837993 w 6582810"/>
              <a:gd name="connsiteY133" fmla="*/ 787179 h 2965836"/>
              <a:gd name="connsiteX134" fmla="*/ 806188 w 6582810"/>
              <a:gd name="connsiteY134" fmla="*/ 787179 h 2965836"/>
              <a:gd name="connsiteX135" fmla="*/ 806188 w 6582810"/>
              <a:gd name="connsiteY135" fmla="*/ 747423 h 2965836"/>
              <a:gd name="connsiteX136" fmla="*/ 806188 w 6582810"/>
              <a:gd name="connsiteY136" fmla="*/ 747423 h 2965836"/>
              <a:gd name="connsiteX137" fmla="*/ 778358 w 6582810"/>
              <a:gd name="connsiteY137" fmla="*/ 747423 h 2965836"/>
              <a:gd name="connsiteX138" fmla="*/ 778358 w 6582810"/>
              <a:gd name="connsiteY138" fmla="*/ 687788 h 2965836"/>
              <a:gd name="connsiteX139" fmla="*/ 754504 w 6582810"/>
              <a:gd name="connsiteY139" fmla="*/ 687788 h 2965836"/>
              <a:gd name="connsiteX140" fmla="*/ 754504 w 6582810"/>
              <a:gd name="connsiteY140" fmla="*/ 655983 h 2965836"/>
              <a:gd name="connsiteX141" fmla="*/ 682942 w 6582810"/>
              <a:gd name="connsiteY141" fmla="*/ 655983 h 2965836"/>
              <a:gd name="connsiteX142" fmla="*/ 682942 w 6582810"/>
              <a:gd name="connsiteY142" fmla="*/ 628153 h 2965836"/>
              <a:gd name="connsiteX143" fmla="*/ 599454 w 6582810"/>
              <a:gd name="connsiteY143" fmla="*/ 628153 h 2965836"/>
              <a:gd name="connsiteX144" fmla="*/ 599454 w 6582810"/>
              <a:gd name="connsiteY144" fmla="*/ 608275 h 2965836"/>
              <a:gd name="connsiteX145" fmla="*/ 508014 w 6582810"/>
              <a:gd name="connsiteY145" fmla="*/ 608275 h 2965836"/>
              <a:gd name="connsiteX146" fmla="*/ 508014 w 6582810"/>
              <a:gd name="connsiteY146" fmla="*/ 560567 h 2965836"/>
              <a:gd name="connsiteX147" fmla="*/ 480184 w 6582810"/>
              <a:gd name="connsiteY147" fmla="*/ 560567 h 2965836"/>
              <a:gd name="connsiteX148" fmla="*/ 480184 w 6582810"/>
              <a:gd name="connsiteY148" fmla="*/ 500932 h 2965836"/>
              <a:gd name="connsiteX149" fmla="*/ 464281 w 6582810"/>
              <a:gd name="connsiteY149" fmla="*/ 500932 h 2965836"/>
              <a:gd name="connsiteX150" fmla="*/ 464281 w 6582810"/>
              <a:gd name="connsiteY150" fmla="*/ 429370 h 2965836"/>
              <a:gd name="connsiteX151" fmla="*/ 416574 w 6582810"/>
              <a:gd name="connsiteY151" fmla="*/ 429370 h 2965836"/>
              <a:gd name="connsiteX152" fmla="*/ 416574 w 6582810"/>
              <a:gd name="connsiteY152" fmla="*/ 369736 h 2965836"/>
              <a:gd name="connsiteX153" fmla="*/ 396695 w 6582810"/>
              <a:gd name="connsiteY153" fmla="*/ 369736 h 2965836"/>
              <a:gd name="connsiteX154" fmla="*/ 396695 w 6582810"/>
              <a:gd name="connsiteY154" fmla="*/ 238539 h 2965836"/>
              <a:gd name="connsiteX155" fmla="*/ 380793 w 6582810"/>
              <a:gd name="connsiteY155" fmla="*/ 238539 h 2965836"/>
              <a:gd name="connsiteX156" fmla="*/ 380793 w 6582810"/>
              <a:gd name="connsiteY156" fmla="*/ 198783 h 2965836"/>
              <a:gd name="connsiteX157" fmla="*/ 356939 w 6582810"/>
              <a:gd name="connsiteY157" fmla="*/ 198783 h 2965836"/>
              <a:gd name="connsiteX158" fmla="*/ 356939 w 6582810"/>
              <a:gd name="connsiteY158" fmla="*/ 139148 h 2965836"/>
              <a:gd name="connsiteX159" fmla="*/ 281401 w 6582810"/>
              <a:gd name="connsiteY159" fmla="*/ 139148 h 2965836"/>
              <a:gd name="connsiteX160" fmla="*/ 281401 w 6582810"/>
              <a:gd name="connsiteY160" fmla="*/ 139148 h 2965836"/>
              <a:gd name="connsiteX161" fmla="*/ 281401 w 6582810"/>
              <a:gd name="connsiteY161" fmla="*/ 103367 h 2965836"/>
              <a:gd name="connsiteX162" fmla="*/ 209840 w 6582810"/>
              <a:gd name="connsiteY162" fmla="*/ 103367 h 2965836"/>
              <a:gd name="connsiteX163" fmla="*/ 209840 w 6582810"/>
              <a:gd name="connsiteY163" fmla="*/ 67586 h 2965836"/>
              <a:gd name="connsiteX164" fmla="*/ 130327 w 6582810"/>
              <a:gd name="connsiteY164" fmla="*/ 67586 h 2965836"/>
              <a:gd name="connsiteX165" fmla="*/ 130327 w 6582810"/>
              <a:gd name="connsiteY165" fmla="*/ 39756 h 2965836"/>
              <a:gd name="connsiteX166" fmla="*/ 102497 w 6582810"/>
              <a:gd name="connsiteY166" fmla="*/ 39756 h 2965836"/>
              <a:gd name="connsiteX167" fmla="*/ 102497 w 6582810"/>
              <a:gd name="connsiteY167" fmla="*/ 0 h 2965836"/>
              <a:gd name="connsiteX168" fmla="*/ 42862 w 6582810"/>
              <a:gd name="connsiteY168" fmla="*/ 0 h 2965836"/>
              <a:gd name="connsiteX169" fmla="*/ 42862 w 6582810"/>
              <a:gd name="connsiteY169" fmla="*/ 0 h 2965836"/>
              <a:gd name="connsiteX170" fmla="*/ 0 w 6582810"/>
              <a:gd name="connsiteY170" fmla="*/ 0 h 2965836"/>
              <a:gd name="connsiteX0" fmla="*/ 6582810 w 6582810"/>
              <a:gd name="connsiteY0" fmla="*/ 2965836 h 2965836"/>
              <a:gd name="connsiteX1" fmla="*/ 5732021 w 6582810"/>
              <a:gd name="connsiteY1" fmla="*/ 2965836 h 2965836"/>
              <a:gd name="connsiteX2" fmla="*/ 5732021 w 6582810"/>
              <a:gd name="connsiteY2" fmla="*/ 2918129 h 2965836"/>
              <a:gd name="connsiteX3" fmla="*/ 5660459 w 6582810"/>
              <a:gd name="connsiteY3" fmla="*/ 2918129 h 2965836"/>
              <a:gd name="connsiteX4" fmla="*/ 5660459 w 6582810"/>
              <a:gd name="connsiteY4" fmla="*/ 2878372 h 2965836"/>
              <a:gd name="connsiteX5" fmla="*/ 4507520 w 6582810"/>
              <a:gd name="connsiteY5" fmla="*/ 2878372 h 2965836"/>
              <a:gd name="connsiteX6" fmla="*/ 4507520 w 6582810"/>
              <a:gd name="connsiteY6" fmla="*/ 2834640 h 2965836"/>
              <a:gd name="connsiteX7" fmla="*/ 4459812 w 6582810"/>
              <a:gd name="connsiteY7" fmla="*/ 2834640 h 2965836"/>
              <a:gd name="connsiteX8" fmla="*/ 4459812 w 6582810"/>
              <a:gd name="connsiteY8" fmla="*/ 2818737 h 2965836"/>
              <a:gd name="connsiteX9" fmla="*/ 4400177 w 6582810"/>
              <a:gd name="connsiteY9" fmla="*/ 2818737 h 2965836"/>
              <a:gd name="connsiteX10" fmla="*/ 4400177 w 6582810"/>
              <a:gd name="connsiteY10" fmla="*/ 2818737 h 2965836"/>
              <a:gd name="connsiteX11" fmla="*/ 4400177 w 6582810"/>
              <a:gd name="connsiteY11" fmla="*/ 2798859 h 2965836"/>
              <a:gd name="connsiteX12" fmla="*/ 3855513 w 6582810"/>
              <a:gd name="connsiteY12" fmla="*/ 2798859 h 2965836"/>
              <a:gd name="connsiteX13" fmla="*/ 3855513 w 6582810"/>
              <a:gd name="connsiteY13" fmla="*/ 2763078 h 2965836"/>
              <a:gd name="connsiteX14" fmla="*/ 3855513 w 6582810"/>
              <a:gd name="connsiteY14" fmla="*/ 2763078 h 2965836"/>
              <a:gd name="connsiteX15" fmla="*/ 3855513 w 6582810"/>
              <a:gd name="connsiteY15" fmla="*/ 2763078 h 2965836"/>
              <a:gd name="connsiteX16" fmla="*/ 3855513 w 6582810"/>
              <a:gd name="connsiteY16" fmla="*/ 2763078 h 2965836"/>
              <a:gd name="connsiteX17" fmla="*/ 3839610 w 6582810"/>
              <a:gd name="connsiteY17" fmla="*/ 2763078 h 2965836"/>
              <a:gd name="connsiteX18" fmla="*/ 3839610 w 6582810"/>
              <a:gd name="connsiteY18" fmla="*/ 2735249 h 2965836"/>
              <a:gd name="connsiteX19" fmla="*/ 3752146 w 6582810"/>
              <a:gd name="connsiteY19" fmla="*/ 2735249 h 2965836"/>
              <a:gd name="connsiteX20" fmla="*/ 3752146 w 6582810"/>
              <a:gd name="connsiteY20" fmla="*/ 2715370 h 2965836"/>
              <a:gd name="connsiteX21" fmla="*/ 3708394 w 6582810"/>
              <a:gd name="connsiteY21" fmla="*/ 2715370 h 2965836"/>
              <a:gd name="connsiteX22" fmla="*/ 3708414 w 6582810"/>
              <a:gd name="connsiteY22" fmla="*/ 2703443 h 2965836"/>
              <a:gd name="connsiteX23" fmla="*/ 3616974 w 6582810"/>
              <a:gd name="connsiteY23" fmla="*/ 2703443 h 2965836"/>
              <a:gd name="connsiteX24" fmla="*/ 3616974 w 6582810"/>
              <a:gd name="connsiteY24" fmla="*/ 2683565 h 2965836"/>
              <a:gd name="connsiteX25" fmla="*/ 3525534 w 6582810"/>
              <a:gd name="connsiteY25" fmla="*/ 2683565 h 2965836"/>
              <a:gd name="connsiteX26" fmla="*/ 3525534 w 6582810"/>
              <a:gd name="connsiteY26" fmla="*/ 2683565 h 2965836"/>
              <a:gd name="connsiteX27" fmla="*/ 3525534 w 6582810"/>
              <a:gd name="connsiteY27" fmla="*/ 2663687 h 2965836"/>
              <a:gd name="connsiteX28" fmla="*/ 3410240 w 6582810"/>
              <a:gd name="connsiteY28" fmla="*/ 2663687 h 2965836"/>
              <a:gd name="connsiteX29" fmla="*/ 3410240 w 6582810"/>
              <a:gd name="connsiteY29" fmla="*/ 2659711 h 2965836"/>
              <a:gd name="connsiteX30" fmla="*/ 3306873 w 6582810"/>
              <a:gd name="connsiteY30" fmla="*/ 2659711 h 2965836"/>
              <a:gd name="connsiteX31" fmla="*/ 3306873 w 6582810"/>
              <a:gd name="connsiteY31" fmla="*/ 2643809 h 2965836"/>
              <a:gd name="connsiteX32" fmla="*/ 3263141 w 6582810"/>
              <a:gd name="connsiteY32" fmla="*/ 2643809 h 2965836"/>
              <a:gd name="connsiteX33" fmla="*/ 3263141 w 6582810"/>
              <a:gd name="connsiteY33" fmla="*/ 2643809 h 2965836"/>
              <a:gd name="connsiteX34" fmla="*/ 3263141 w 6582810"/>
              <a:gd name="connsiteY34" fmla="*/ 2608028 h 2965836"/>
              <a:gd name="connsiteX35" fmla="*/ 3247238 w 6582810"/>
              <a:gd name="connsiteY35" fmla="*/ 2608028 h 2965836"/>
              <a:gd name="connsiteX36" fmla="*/ 3247238 w 6582810"/>
              <a:gd name="connsiteY36" fmla="*/ 2588150 h 2965836"/>
              <a:gd name="connsiteX37" fmla="*/ 3231335 w 6582810"/>
              <a:gd name="connsiteY37" fmla="*/ 2588150 h 2965836"/>
              <a:gd name="connsiteX38" fmla="*/ 3231335 w 6582810"/>
              <a:gd name="connsiteY38" fmla="*/ 2544417 h 2965836"/>
              <a:gd name="connsiteX39" fmla="*/ 3223384 w 6582810"/>
              <a:gd name="connsiteY39" fmla="*/ 2544417 h 2965836"/>
              <a:gd name="connsiteX40" fmla="*/ 3223384 w 6582810"/>
              <a:gd name="connsiteY40" fmla="*/ 2544417 h 2965836"/>
              <a:gd name="connsiteX41" fmla="*/ 3223384 w 6582810"/>
              <a:gd name="connsiteY41" fmla="*/ 2524539 h 2965836"/>
              <a:gd name="connsiteX42" fmla="*/ 3191579 w 6582810"/>
              <a:gd name="connsiteY42" fmla="*/ 2524539 h 2965836"/>
              <a:gd name="connsiteX43" fmla="*/ 3191579 w 6582810"/>
              <a:gd name="connsiteY43" fmla="*/ 2500685 h 2965836"/>
              <a:gd name="connsiteX44" fmla="*/ 3143871 w 6582810"/>
              <a:gd name="connsiteY44" fmla="*/ 2500685 h 2965836"/>
              <a:gd name="connsiteX45" fmla="*/ 3143871 w 6582810"/>
              <a:gd name="connsiteY45" fmla="*/ 2476831 h 2965836"/>
              <a:gd name="connsiteX46" fmla="*/ 3012675 w 6582810"/>
              <a:gd name="connsiteY46" fmla="*/ 2476831 h 2965836"/>
              <a:gd name="connsiteX47" fmla="*/ 3012675 w 6582810"/>
              <a:gd name="connsiteY47" fmla="*/ 2464904 h 2965836"/>
              <a:gd name="connsiteX48" fmla="*/ 2980869 w 6582810"/>
              <a:gd name="connsiteY48" fmla="*/ 2464904 h 2965836"/>
              <a:gd name="connsiteX49" fmla="*/ 2980869 w 6582810"/>
              <a:gd name="connsiteY49" fmla="*/ 2445026 h 2965836"/>
              <a:gd name="connsiteX50" fmla="*/ 2877502 w 6582810"/>
              <a:gd name="connsiteY50" fmla="*/ 2445026 h 2965836"/>
              <a:gd name="connsiteX51" fmla="*/ 2877502 w 6582810"/>
              <a:gd name="connsiteY51" fmla="*/ 2413221 h 2965836"/>
              <a:gd name="connsiteX52" fmla="*/ 2782087 w 6582810"/>
              <a:gd name="connsiteY52" fmla="*/ 2413221 h 2965836"/>
              <a:gd name="connsiteX53" fmla="*/ 2782087 w 6582810"/>
              <a:gd name="connsiteY53" fmla="*/ 2389367 h 2965836"/>
              <a:gd name="connsiteX54" fmla="*/ 2754257 w 6582810"/>
              <a:gd name="connsiteY54" fmla="*/ 2389367 h 2965836"/>
              <a:gd name="connsiteX55" fmla="*/ 2754257 w 6582810"/>
              <a:gd name="connsiteY55" fmla="*/ 2365513 h 2965836"/>
              <a:gd name="connsiteX56" fmla="*/ 2710525 w 6582810"/>
              <a:gd name="connsiteY56" fmla="*/ 2365513 h 2965836"/>
              <a:gd name="connsiteX57" fmla="*/ 2710525 w 6582810"/>
              <a:gd name="connsiteY57" fmla="*/ 2337683 h 2965836"/>
              <a:gd name="connsiteX58" fmla="*/ 2646915 w 6582810"/>
              <a:gd name="connsiteY58" fmla="*/ 2337683 h 2965836"/>
              <a:gd name="connsiteX59" fmla="*/ 2646915 w 6582810"/>
              <a:gd name="connsiteY59" fmla="*/ 2337683 h 2965836"/>
              <a:gd name="connsiteX60" fmla="*/ 2646915 w 6582810"/>
              <a:gd name="connsiteY60" fmla="*/ 2301903 h 2965836"/>
              <a:gd name="connsiteX61" fmla="*/ 2571377 w 6582810"/>
              <a:gd name="connsiteY61" fmla="*/ 2301903 h 2965836"/>
              <a:gd name="connsiteX62" fmla="*/ 2571377 w 6582810"/>
              <a:gd name="connsiteY62" fmla="*/ 2254195 h 2965836"/>
              <a:gd name="connsiteX63" fmla="*/ 2571377 w 6582810"/>
              <a:gd name="connsiteY63" fmla="*/ 2254195 h 2965836"/>
              <a:gd name="connsiteX64" fmla="*/ 2563426 w 6582810"/>
              <a:gd name="connsiteY64" fmla="*/ 2251007 h 2965836"/>
              <a:gd name="connsiteX65" fmla="*/ 2563426 w 6582810"/>
              <a:gd name="connsiteY65" fmla="*/ 2158779 h 2965836"/>
              <a:gd name="connsiteX66" fmla="*/ 2539572 w 6582810"/>
              <a:gd name="connsiteY66" fmla="*/ 2158779 h 2965836"/>
              <a:gd name="connsiteX67" fmla="*/ 2539572 w 6582810"/>
              <a:gd name="connsiteY67" fmla="*/ 2138901 h 2965836"/>
              <a:gd name="connsiteX68" fmla="*/ 2523669 w 6582810"/>
              <a:gd name="connsiteY68" fmla="*/ 2138901 h 2965836"/>
              <a:gd name="connsiteX69" fmla="*/ 2523669 w 6582810"/>
              <a:gd name="connsiteY69" fmla="*/ 2107096 h 2965836"/>
              <a:gd name="connsiteX70" fmla="*/ 2301033 w 6582810"/>
              <a:gd name="connsiteY70" fmla="*/ 2107096 h 2965836"/>
              <a:gd name="connsiteX71" fmla="*/ 2301033 w 6582810"/>
              <a:gd name="connsiteY71" fmla="*/ 2083242 h 2965836"/>
              <a:gd name="connsiteX72" fmla="*/ 2281155 w 6582810"/>
              <a:gd name="connsiteY72" fmla="*/ 2083242 h 2965836"/>
              <a:gd name="connsiteX73" fmla="*/ 2281155 w 6582810"/>
              <a:gd name="connsiteY73" fmla="*/ 2083242 h 2965836"/>
              <a:gd name="connsiteX74" fmla="*/ 2281155 w 6582810"/>
              <a:gd name="connsiteY74" fmla="*/ 2051436 h 2965836"/>
              <a:gd name="connsiteX75" fmla="*/ 2217544 w 6582810"/>
              <a:gd name="connsiteY75" fmla="*/ 2051436 h 2965836"/>
              <a:gd name="connsiteX76" fmla="*/ 2217544 w 6582810"/>
              <a:gd name="connsiteY76" fmla="*/ 2051436 h 2965836"/>
              <a:gd name="connsiteX77" fmla="*/ 2217544 w 6582810"/>
              <a:gd name="connsiteY77" fmla="*/ 2027583 h 2965836"/>
              <a:gd name="connsiteX78" fmla="*/ 2193690 w 6582810"/>
              <a:gd name="connsiteY78" fmla="*/ 2027583 h 2965836"/>
              <a:gd name="connsiteX79" fmla="*/ 2193690 w 6582810"/>
              <a:gd name="connsiteY79" fmla="*/ 2003729 h 2965836"/>
              <a:gd name="connsiteX80" fmla="*/ 2145982 w 6582810"/>
              <a:gd name="connsiteY80" fmla="*/ 2003729 h 2965836"/>
              <a:gd name="connsiteX81" fmla="*/ 2145982 w 6582810"/>
              <a:gd name="connsiteY81" fmla="*/ 1864581 h 2965836"/>
              <a:gd name="connsiteX82" fmla="*/ 2098275 w 6582810"/>
              <a:gd name="connsiteY82" fmla="*/ 1864581 h 2965836"/>
              <a:gd name="connsiteX83" fmla="*/ 2098275 w 6582810"/>
              <a:gd name="connsiteY83" fmla="*/ 1840727 h 2965836"/>
              <a:gd name="connsiteX84" fmla="*/ 2062494 w 6582810"/>
              <a:gd name="connsiteY84" fmla="*/ 1840727 h 2965836"/>
              <a:gd name="connsiteX85" fmla="*/ 2062494 w 6582810"/>
              <a:gd name="connsiteY85" fmla="*/ 1816873 h 2965836"/>
              <a:gd name="connsiteX86" fmla="*/ 1927321 w 6582810"/>
              <a:gd name="connsiteY86" fmla="*/ 1816873 h 2965836"/>
              <a:gd name="connsiteX87" fmla="*/ 1927321 w 6582810"/>
              <a:gd name="connsiteY87" fmla="*/ 1816873 h 2965836"/>
              <a:gd name="connsiteX88" fmla="*/ 1927321 w 6582810"/>
              <a:gd name="connsiteY88" fmla="*/ 1793019 h 2965836"/>
              <a:gd name="connsiteX89" fmla="*/ 1804076 w 6582810"/>
              <a:gd name="connsiteY89" fmla="*/ 1793019 h 2965836"/>
              <a:gd name="connsiteX90" fmla="*/ 1804076 w 6582810"/>
              <a:gd name="connsiteY90" fmla="*/ 1741336 h 2965836"/>
              <a:gd name="connsiteX91" fmla="*/ 1768295 w 6582810"/>
              <a:gd name="connsiteY91" fmla="*/ 1741336 h 2965836"/>
              <a:gd name="connsiteX92" fmla="*/ 1768295 w 6582810"/>
              <a:gd name="connsiteY92" fmla="*/ 1701579 h 2965836"/>
              <a:gd name="connsiteX93" fmla="*/ 1736490 w 6582810"/>
              <a:gd name="connsiteY93" fmla="*/ 1701579 h 2965836"/>
              <a:gd name="connsiteX94" fmla="*/ 1736490 w 6582810"/>
              <a:gd name="connsiteY94" fmla="*/ 1657847 h 2965836"/>
              <a:gd name="connsiteX95" fmla="*/ 1712636 w 6582810"/>
              <a:gd name="connsiteY95" fmla="*/ 1657847 h 2965836"/>
              <a:gd name="connsiteX96" fmla="*/ 1712636 w 6582810"/>
              <a:gd name="connsiteY96" fmla="*/ 1610139 h 2965836"/>
              <a:gd name="connsiteX97" fmla="*/ 1680831 w 6582810"/>
              <a:gd name="connsiteY97" fmla="*/ 1610139 h 2965836"/>
              <a:gd name="connsiteX98" fmla="*/ 1680831 w 6582810"/>
              <a:gd name="connsiteY98" fmla="*/ 1550504 h 2965836"/>
              <a:gd name="connsiteX99" fmla="*/ 1653001 w 6582810"/>
              <a:gd name="connsiteY99" fmla="*/ 1550504 h 2965836"/>
              <a:gd name="connsiteX100" fmla="*/ 1653001 w 6582810"/>
              <a:gd name="connsiteY100" fmla="*/ 1494845 h 2965836"/>
              <a:gd name="connsiteX101" fmla="*/ 1593367 w 6582810"/>
              <a:gd name="connsiteY101" fmla="*/ 1494845 h 2965836"/>
              <a:gd name="connsiteX102" fmla="*/ 1593367 w 6582810"/>
              <a:gd name="connsiteY102" fmla="*/ 1474967 h 2965836"/>
              <a:gd name="connsiteX103" fmla="*/ 1557586 w 6582810"/>
              <a:gd name="connsiteY103" fmla="*/ 1474967 h 2965836"/>
              <a:gd name="connsiteX104" fmla="*/ 1557586 w 6582810"/>
              <a:gd name="connsiteY104" fmla="*/ 1474967 h 2965836"/>
              <a:gd name="connsiteX105" fmla="*/ 1557586 w 6582810"/>
              <a:gd name="connsiteY105" fmla="*/ 1455089 h 2965836"/>
              <a:gd name="connsiteX106" fmla="*/ 1513854 w 6582810"/>
              <a:gd name="connsiteY106" fmla="*/ 1455089 h 2965836"/>
              <a:gd name="connsiteX107" fmla="*/ 1513854 w 6582810"/>
              <a:gd name="connsiteY107" fmla="*/ 1423283 h 2965836"/>
              <a:gd name="connsiteX108" fmla="*/ 1497951 w 6582810"/>
              <a:gd name="connsiteY108" fmla="*/ 1423283 h 2965836"/>
              <a:gd name="connsiteX109" fmla="*/ 1497951 w 6582810"/>
              <a:gd name="connsiteY109" fmla="*/ 1395454 h 2965836"/>
              <a:gd name="connsiteX110" fmla="*/ 1382657 w 6582810"/>
              <a:gd name="connsiteY110" fmla="*/ 1395454 h 2965836"/>
              <a:gd name="connsiteX111" fmla="*/ 1382657 w 6582810"/>
              <a:gd name="connsiteY111" fmla="*/ 1339795 h 2965836"/>
              <a:gd name="connsiteX112" fmla="*/ 1366755 w 6582810"/>
              <a:gd name="connsiteY112" fmla="*/ 1339795 h 2965836"/>
              <a:gd name="connsiteX113" fmla="*/ 1366755 w 6582810"/>
              <a:gd name="connsiteY113" fmla="*/ 1300038 h 2965836"/>
              <a:gd name="connsiteX114" fmla="*/ 1326998 w 6582810"/>
              <a:gd name="connsiteY114" fmla="*/ 1300038 h 2965836"/>
              <a:gd name="connsiteX115" fmla="*/ 1326998 w 6582810"/>
              <a:gd name="connsiteY115" fmla="*/ 1228476 h 2965836"/>
              <a:gd name="connsiteX116" fmla="*/ 1283266 w 6582810"/>
              <a:gd name="connsiteY116" fmla="*/ 1228476 h 2965836"/>
              <a:gd name="connsiteX117" fmla="*/ 1283266 w 6582810"/>
              <a:gd name="connsiteY117" fmla="*/ 1137036 h 2965836"/>
              <a:gd name="connsiteX118" fmla="*/ 1259412 w 6582810"/>
              <a:gd name="connsiteY118" fmla="*/ 1137036 h 2965836"/>
              <a:gd name="connsiteX119" fmla="*/ 1259412 w 6582810"/>
              <a:gd name="connsiteY119" fmla="*/ 1073426 h 2965836"/>
              <a:gd name="connsiteX120" fmla="*/ 1199777 w 6582810"/>
              <a:gd name="connsiteY120" fmla="*/ 1073426 h 2965836"/>
              <a:gd name="connsiteX121" fmla="*/ 1199777 w 6582810"/>
              <a:gd name="connsiteY121" fmla="*/ 1057523 h 2965836"/>
              <a:gd name="connsiteX122" fmla="*/ 1132191 w 6582810"/>
              <a:gd name="connsiteY122" fmla="*/ 1057523 h 2965836"/>
              <a:gd name="connsiteX123" fmla="*/ 1132191 w 6582810"/>
              <a:gd name="connsiteY123" fmla="*/ 1037645 h 2965836"/>
              <a:gd name="connsiteX124" fmla="*/ 1068581 w 6582810"/>
              <a:gd name="connsiteY124" fmla="*/ 1037645 h 2965836"/>
              <a:gd name="connsiteX125" fmla="*/ 1068581 w 6582810"/>
              <a:gd name="connsiteY125" fmla="*/ 1009816 h 2965836"/>
              <a:gd name="connsiteX126" fmla="*/ 973145 w 6582810"/>
              <a:gd name="connsiteY126" fmla="*/ 1007435 h 2965836"/>
              <a:gd name="connsiteX127" fmla="*/ 977141 w 6582810"/>
              <a:gd name="connsiteY127" fmla="*/ 993913 h 2965836"/>
              <a:gd name="connsiteX128" fmla="*/ 941360 w 6582810"/>
              <a:gd name="connsiteY128" fmla="*/ 993913 h 2965836"/>
              <a:gd name="connsiteX129" fmla="*/ 941360 w 6582810"/>
              <a:gd name="connsiteY129" fmla="*/ 966083 h 2965836"/>
              <a:gd name="connsiteX130" fmla="*/ 881725 w 6582810"/>
              <a:gd name="connsiteY130" fmla="*/ 966083 h 2965836"/>
              <a:gd name="connsiteX131" fmla="*/ 881725 w 6582810"/>
              <a:gd name="connsiteY131" fmla="*/ 910424 h 2965836"/>
              <a:gd name="connsiteX132" fmla="*/ 837993 w 6582810"/>
              <a:gd name="connsiteY132" fmla="*/ 910424 h 2965836"/>
              <a:gd name="connsiteX133" fmla="*/ 837993 w 6582810"/>
              <a:gd name="connsiteY133" fmla="*/ 787179 h 2965836"/>
              <a:gd name="connsiteX134" fmla="*/ 806188 w 6582810"/>
              <a:gd name="connsiteY134" fmla="*/ 787179 h 2965836"/>
              <a:gd name="connsiteX135" fmla="*/ 806188 w 6582810"/>
              <a:gd name="connsiteY135" fmla="*/ 747423 h 2965836"/>
              <a:gd name="connsiteX136" fmla="*/ 806188 w 6582810"/>
              <a:gd name="connsiteY136" fmla="*/ 747423 h 2965836"/>
              <a:gd name="connsiteX137" fmla="*/ 778358 w 6582810"/>
              <a:gd name="connsiteY137" fmla="*/ 747423 h 2965836"/>
              <a:gd name="connsiteX138" fmla="*/ 778358 w 6582810"/>
              <a:gd name="connsiteY138" fmla="*/ 687788 h 2965836"/>
              <a:gd name="connsiteX139" fmla="*/ 754504 w 6582810"/>
              <a:gd name="connsiteY139" fmla="*/ 687788 h 2965836"/>
              <a:gd name="connsiteX140" fmla="*/ 754504 w 6582810"/>
              <a:gd name="connsiteY140" fmla="*/ 655983 h 2965836"/>
              <a:gd name="connsiteX141" fmla="*/ 682942 w 6582810"/>
              <a:gd name="connsiteY141" fmla="*/ 655983 h 2965836"/>
              <a:gd name="connsiteX142" fmla="*/ 682942 w 6582810"/>
              <a:gd name="connsiteY142" fmla="*/ 628153 h 2965836"/>
              <a:gd name="connsiteX143" fmla="*/ 599454 w 6582810"/>
              <a:gd name="connsiteY143" fmla="*/ 628153 h 2965836"/>
              <a:gd name="connsiteX144" fmla="*/ 599454 w 6582810"/>
              <a:gd name="connsiteY144" fmla="*/ 608275 h 2965836"/>
              <a:gd name="connsiteX145" fmla="*/ 508014 w 6582810"/>
              <a:gd name="connsiteY145" fmla="*/ 608275 h 2965836"/>
              <a:gd name="connsiteX146" fmla="*/ 508014 w 6582810"/>
              <a:gd name="connsiteY146" fmla="*/ 560567 h 2965836"/>
              <a:gd name="connsiteX147" fmla="*/ 480184 w 6582810"/>
              <a:gd name="connsiteY147" fmla="*/ 560567 h 2965836"/>
              <a:gd name="connsiteX148" fmla="*/ 480184 w 6582810"/>
              <a:gd name="connsiteY148" fmla="*/ 500932 h 2965836"/>
              <a:gd name="connsiteX149" fmla="*/ 464281 w 6582810"/>
              <a:gd name="connsiteY149" fmla="*/ 500932 h 2965836"/>
              <a:gd name="connsiteX150" fmla="*/ 464281 w 6582810"/>
              <a:gd name="connsiteY150" fmla="*/ 429370 h 2965836"/>
              <a:gd name="connsiteX151" fmla="*/ 416574 w 6582810"/>
              <a:gd name="connsiteY151" fmla="*/ 429370 h 2965836"/>
              <a:gd name="connsiteX152" fmla="*/ 416574 w 6582810"/>
              <a:gd name="connsiteY152" fmla="*/ 369736 h 2965836"/>
              <a:gd name="connsiteX153" fmla="*/ 396695 w 6582810"/>
              <a:gd name="connsiteY153" fmla="*/ 369736 h 2965836"/>
              <a:gd name="connsiteX154" fmla="*/ 396695 w 6582810"/>
              <a:gd name="connsiteY154" fmla="*/ 238539 h 2965836"/>
              <a:gd name="connsiteX155" fmla="*/ 380793 w 6582810"/>
              <a:gd name="connsiteY155" fmla="*/ 238539 h 2965836"/>
              <a:gd name="connsiteX156" fmla="*/ 380793 w 6582810"/>
              <a:gd name="connsiteY156" fmla="*/ 198783 h 2965836"/>
              <a:gd name="connsiteX157" fmla="*/ 356939 w 6582810"/>
              <a:gd name="connsiteY157" fmla="*/ 198783 h 2965836"/>
              <a:gd name="connsiteX158" fmla="*/ 356939 w 6582810"/>
              <a:gd name="connsiteY158" fmla="*/ 139148 h 2965836"/>
              <a:gd name="connsiteX159" fmla="*/ 281401 w 6582810"/>
              <a:gd name="connsiteY159" fmla="*/ 139148 h 2965836"/>
              <a:gd name="connsiteX160" fmla="*/ 281401 w 6582810"/>
              <a:gd name="connsiteY160" fmla="*/ 139148 h 2965836"/>
              <a:gd name="connsiteX161" fmla="*/ 281401 w 6582810"/>
              <a:gd name="connsiteY161" fmla="*/ 103367 h 2965836"/>
              <a:gd name="connsiteX162" fmla="*/ 209840 w 6582810"/>
              <a:gd name="connsiteY162" fmla="*/ 103367 h 2965836"/>
              <a:gd name="connsiteX163" fmla="*/ 209840 w 6582810"/>
              <a:gd name="connsiteY163" fmla="*/ 67586 h 2965836"/>
              <a:gd name="connsiteX164" fmla="*/ 130327 w 6582810"/>
              <a:gd name="connsiteY164" fmla="*/ 67586 h 2965836"/>
              <a:gd name="connsiteX165" fmla="*/ 130327 w 6582810"/>
              <a:gd name="connsiteY165" fmla="*/ 39756 h 2965836"/>
              <a:gd name="connsiteX166" fmla="*/ 102497 w 6582810"/>
              <a:gd name="connsiteY166" fmla="*/ 39756 h 2965836"/>
              <a:gd name="connsiteX167" fmla="*/ 102497 w 6582810"/>
              <a:gd name="connsiteY167" fmla="*/ 0 h 2965836"/>
              <a:gd name="connsiteX168" fmla="*/ 42862 w 6582810"/>
              <a:gd name="connsiteY168" fmla="*/ 0 h 2965836"/>
              <a:gd name="connsiteX169" fmla="*/ 42862 w 6582810"/>
              <a:gd name="connsiteY169" fmla="*/ 0 h 2965836"/>
              <a:gd name="connsiteX170" fmla="*/ 0 w 6582810"/>
              <a:gd name="connsiteY170" fmla="*/ 0 h 2965836"/>
              <a:gd name="connsiteX0" fmla="*/ 6582810 w 6582810"/>
              <a:gd name="connsiteY0" fmla="*/ 2965836 h 2965836"/>
              <a:gd name="connsiteX1" fmla="*/ 5732021 w 6582810"/>
              <a:gd name="connsiteY1" fmla="*/ 2965836 h 2965836"/>
              <a:gd name="connsiteX2" fmla="*/ 5732021 w 6582810"/>
              <a:gd name="connsiteY2" fmla="*/ 2918129 h 2965836"/>
              <a:gd name="connsiteX3" fmla="*/ 5660459 w 6582810"/>
              <a:gd name="connsiteY3" fmla="*/ 2918129 h 2965836"/>
              <a:gd name="connsiteX4" fmla="*/ 5660459 w 6582810"/>
              <a:gd name="connsiteY4" fmla="*/ 2878372 h 2965836"/>
              <a:gd name="connsiteX5" fmla="*/ 4507520 w 6582810"/>
              <a:gd name="connsiteY5" fmla="*/ 2878372 h 2965836"/>
              <a:gd name="connsiteX6" fmla="*/ 4507520 w 6582810"/>
              <a:gd name="connsiteY6" fmla="*/ 2834640 h 2965836"/>
              <a:gd name="connsiteX7" fmla="*/ 4459812 w 6582810"/>
              <a:gd name="connsiteY7" fmla="*/ 2834640 h 2965836"/>
              <a:gd name="connsiteX8" fmla="*/ 4459812 w 6582810"/>
              <a:gd name="connsiteY8" fmla="*/ 2818737 h 2965836"/>
              <a:gd name="connsiteX9" fmla="*/ 4400177 w 6582810"/>
              <a:gd name="connsiteY9" fmla="*/ 2818737 h 2965836"/>
              <a:gd name="connsiteX10" fmla="*/ 4400177 w 6582810"/>
              <a:gd name="connsiteY10" fmla="*/ 2818737 h 2965836"/>
              <a:gd name="connsiteX11" fmla="*/ 4400177 w 6582810"/>
              <a:gd name="connsiteY11" fmla="*/ 2798859 h 2965836"/>
              <a:gd name="connsiteX12" fmla="*/ 3855513 w 6582810"/>
              <a:gd name="connsiteY12" fmla="*/ 2798859 h 2965836"/>
              <a:gd name="connsiteX13" fmla="*/ 3855513 w 6582810"/>
              <a:gd name="connsiteY13" fmla="*/ 2763078 h 2965836"/>
              <a:gd name="connsiteX14" fmla="*/ 3855513 w 6582810"/>
              <a:gd name="connsiteY14" fmla="*/ 2763078 h 2965836"/>
              <a:gd name="connsiteX15" fmla="*/ 3855513 w 6582810"/>
              <a:gd name="connsiteY15" fmla="*/ 2763078 h 2965836"/>
              <a:gd name="connsiteX16" fmla="*/ 3855513 w 6582810"/>
              <a:gd name="connsiteY16" fmla="*/ 2763078 h 2965836"/>
              <a:gd name="connsiteX17" fmla="*/ 3839610 w 6582810"/>
              <a:gd name="connsiteY17" fmla="*/ 2763078 h 2965836"/>
              <a:gd name="connsiteX18" fmla="*/ 3839610 w 6582810"/>
              <a:gd name="connsiteY18" fmla="*/ 2735249 h 2965836"/>
              <a:gd name="connsiteX19" fmla="*/ 3752146 w 6582810"/>
              <a:gd name="connsiteY19" fmla="*/ 2735249 h 2965836"/>
              <a:gd name="connsiteX20" fmla="*/ 3752146 w 6582810"/>
              <a:gd name="connsiteY20" fmla="*/ 2715370 h 2965836"/>
              <a:gd name="connsiteX21" fmla="*/ 3708394 w 6582810"/>
              <a:gd name="connsiteY21" fmla="*/ 2715370 h 2965836"/>
              <a:gd name="connsiteX22" fmla="*/ 3708414 w 6582810"/>
              <a:gd name="connsiteY22" fmla="*/ 2703443 h 2965836"/>
              <a:gd name="connsiteX23" fmla="*/ 3616974 w 6582810"/>
              <a:gd name="connsiteY23" fmla="*/ 2703443 h 2965836"/>
              <a:gd name="connsiteX24" fmla="*/ 3616974 w 6582810"/>
              <a:gd name="connsiteY24" fmla="*/ 2683565 h 2965836"/>
              <a:gd name="connsiteX25" fmla="*/ 3525534 w 6582810"/>
              <a:gd name="connsiteY25" fmla="*/ 2683565 h 2965836"/>
              <a:gd name="connsiteX26" fmla="*/ 3525534 w 6582810"/>
              <a:gd name="connsiteY26" fmla="*/ 2683565 h 2965836"/>
              <a:gd name="connsiteX27" fmla="*/ 3525534 w 6582810"/>
              <a:gd name="connsiteY27" fmla="*/ 2663687 h 2965836"/>
              <a:gd name="connsiteX28" fmla="*/ 3410240 w 6582810"/>
              <a:gd name="connsiteY28" fmla="*/ 2663687 h 2965836"/>
              <a:gd name="connsiteX29" fmla="*/ 3410240 w 6582810"/>
              <a:gd name="connsiteY29" fmla="*/ 2659711 h 2965836"/>
              <a:gd name="connsiteX30" fmla="*/ 3306873 w 6582810"/>
              <a:gd name="connsiteY30" fmla="*/ 2659711 h 2965836"/>
              <a:gd name="connsiteX31" fmla="*/ 3306873 w 6582810"/>
              <a:gd name="connsiteY31" fmla="*/ 2643809 h 2965836"/>
              <a:gd name="connsiteX32" fmla="*/ 3263141 w 6582810"/>
              <a:gd name="connsiteY32" fmla="*/ 2643809 h 2965836"/>
              <a:gd name="connsiteX33" fmla="*/ 3263141 w 6582810"/>
              <a:gd name="connsiteY33" fmla="*/ 2643809 h 2965836"/>
              <a:gd name="connsiteX34" fmla="*/ 3263141 w 6582810"/>
              <a:gd name="connsiteY34" fmla="*/ 2608028 h 2965836"/>
              <a:gd name="connsiteX35" fmla="*/ 3247238 w 6582810"/>
              <a:gd name="connsiteY35" fmla="*/ 2608028 h 2965836"/>
              <a:gd name="connsiteX36" fmla="*/ 3247238 w 6582810"/>
              <a:gd name="connsiteY36" fmla="*/ 2588150 h 2965836"/>
              <a:gd name="connsiteX37" fmla="*/ 3231335 w 6582810"/>
              <a:gd name="connsiteY37" fmla="*/ 2588150 h 2965836"/>
              <a:gd name="connsiteX38" fmla="*/ 3231335 w 6582810"/>
              <a:gd name="connsiteY38" fmla="*/ 2544417 h 2965836"/>
              <a:gd name="connsiteX39" fmla="*/ 3223384 w 6582810"/>
              <a:gd name="connsiteY39" fmla="*/ 2544417 h 2965836"/>
              <a:gd name="connsiteX40" fmla="*/ 3223384 w 6582810"/>
              <a:gd name="connsiteY40" fmla="*/ 2544417 h 2965836"/>
              <a:gd name="connsiteX41" fmla="*/ 3223384 w 6582810"/>
              <a:gd name="connsiteY41" fmla="*/ 2524539 h 2965836"/>
              <a:gd name="connsiteX42" fmla="*/ 3191579 w 6582810"/>
              <a:gd name="connsiteY42" fmla="*/ 2524539 h 2965836"/>
              <a:gd name="connsiteX43" fmla="*/ 3191579 w 6582810"/>
              <a:gd name="connsiteY43" fmla="*/ 2500685 h 2965836"/>
              <a:gd name="connsiteX44" fmla="*/ 3143871 w 6582810"/>
              <a:gd name="connsiteY44" fmla="*/ 2500685 h 2965836"/>
              <a:gd name="connsiteX45" fmla="*/ 3143871 w 6582810"/>
              <a:gd name="connsiteY45" fmla="*/ 2476831 h 2965836"/>
              <a:gd name="connsiteX46" fmla="*/ 3012675 w 6582810"/>
              <a:gd name="connsiteY46" fmla="*/ 2476831 h 2965836"/>
              <a:gd name="connsiteX47" fmla="*/ 3012675 w 6582810"/>
              <a:gd name="connsiteY47" fmla="*/ 2464904 h 2965836"/>
              <a:gd name="connsiteX48" fmla="*/ 2980869 w 6582810"/>
              <a:gd name="connsiteY48" fmla="*/ 2464904 h 2965836"/>
              <a:gd name="connsiteX49" fmla="*/ 2980869 w 6582810"/>
              <a:gd name="connsiteY49" fmla="*/ 2445026 h 2965836"/>
              <a:gd name="connsiteX50" fmla="*/ 2877502 w 6582810"/>
              <a:gd name="connsiteY50" fmla="*/ 2445026 h 2965836"/>
              <a:gd name="connsiteX51" fmla="*/ 2877502 w 6582810"/>
              <a:gd name="connsiteY51" fmla="*/ 2413221 h 2965836"/>
              <a:gd name="connsiteX52" fmla="*/ 2782087 w 6582810"/>
              <a:gd name="connsiteY52" fmla="*/ 2413221 h 2965836"/>
              <a:gd name="connsiteX53" fmla="*/ 2782087 w 6582810"/>
              <a:gd name="connsiteY53" fmla="*/ 2389367 h 2965836"/>
              <a:gd name="connsiteX54" fmla="*/ 2754257 w 6582810"/>
              <a:gd name="connsiteY54" fmla="*/ 2389367 h 2965836"/>
              <a:gd name="connsiteX55" fmla="*/ 2754257 w 6582810"/>
              <a:gd name="connsiteY55" fmla="*/ 2365513 h 2965836"/>
              <a:gd name="connsiteX56" fmla="*/ 2710525 w 6582810"/>
              <a:gd name="connsiteY56" fmla="*/ 2365513 h 2965836"/>
              <a:gd name="connsiteX57" fmla="*/ 2710525 w 6582810"/>
              <a:gd name="connsiteY57" fmla="*/ 2337683 h 2965836"/>
              <a:gd name="connsiteX58" fmla="*/ 2646915 w 6582810"/>
              <a:gd name="connsiteY58" fmla="*/ 2337683 h 2965836"/>
              <a:gd name="connsiteX59" fmla="*/ 2646915 w 6582810"/>
              <a:gd name="connsiteY59" fmla="*/ 2337683 h 2965836"/>
              <a:gd name="connsiteX60" fmla="*/ 2646915 w 6582810"/>
              <a:gd name="connsiteY60" fmla="*/ 2301903 h 2965836"/>
              <a:gd name="connsiteX61" fmla="*/ 2571377 w 6582810"/>
              <a:gd name="connsiteY61" fmla="*/ 2301903 h 2965836"/>
              <a:gd name="connsiteX62" fmla="*/ 2571377 w 6582810"/>
              <a:gd name="connsiteY62" fmla="*/ 2254195 h 2965836"/>
              <a:gd name="connsiteX63" fmla="*/ 2571377 w 6582810"/>
              <a:gd name="connsiteY63" fmla="*/ 2254195 h 2965836"/>
              <a:gd name="connsiteX64" fmla="*/ 2563426 w 6582810"/>
              <a:gd name="connsiteY64" fmla="*/ 2251007 h 2965836"/>
              <a:gd name="connsiteX65" fmla="*/ 2563426 w 6582810"/>
              <a:gd name="connsiteY65" fmla="*/ 2158779 h 2965836"/>
              <a:gd name="connsiteX66" fmla="*/ 2539572 w 6582810"/>
              <a:gd name="connsiteY66" fmla="*/ 2158779 h 2965836"/>
              <a:gd name="connsiteX67" fmla="*/ 2539572 w 6582810"/>
              <a:gd name="connsiteY67" fmla="*/ 2138901 h 2965836"/>
              <a:gd name="connsiteX68" fmla="*/ 2523669 w 6582810"/>
              <a:gd name="connsiteY68" fmla="*/ 2138901 h 2965836"/>
              <a:gd name="connsiteX69" fmla="*/ 2523669 w 6582810"/>
              <a:gd name="connsiteY69" fmla="*/ 2107096 h 2965836"/>
              <a:gd name="connsiteX70" fmla="*/ 2301033 w 6582810"/>
              <a:gd name="connsiteY70" fmla="*/ 2107096 h 2965836"/>
              <a:gd name="connsiteX71" fmla="*/ 2301033 w 6582810"/>
              <a:gd name="connsiteY71" fmla="*/ 2083242 h 2965836"/>
              <a:gd name="connsiteX72" fmla="*/ 2281155 w 6582810"/>
              <a:gd name="connsiteY72" fmla="*/ 2083242 h 2965836"/>
              <a:gd name="connsiteX73" fmla="*/ 2281155 w 6582810"/>
              <a:gd name="connsiteY73" fmla="*/ 2083242 h 2965836"/>
              <a:gd name="connsiteX74" fmla="*/ 2281155 w 6582810"/>
              <a:gd name="connsiteY74" fmla="*/ 2051436 h 2965836"/>
              <a:gd name="connsiteX75" fmla="*/ 2217544 w 6582810"/>
              <a:gd name="connsiteY75" fmla="*/ 2051436 h 2965836"/>
              <a:gd name="connsiteX76" fmla="*/ 2217544 w 6582810"/>
              <a:gd name="connsiteY76" fmla="*/ 2051436 h 2965836"/>
              <a:gd name="connsiteX77" fmla="*/ 2217544 w 6582810"/>
              <a:gd name="connsiteY77" fmla="*/ 2027583 h 2965836"/>
              <a:gd name="connsiteX78" fmla="*/ 2193690 w 6582810"/>
              <a:gd name="connsiteY78" fmla="*/ 2027583 h 2965836"/>
              <a:gd name="connsiteX79" fmla="*/ 2193690 w 6582810"/>
              <a:gd name="connsiteY79" fmla="*/ 2003729 h 2965836"/>
              <a:gd name="connsiteX80" fmla="*/ 2145982 w 6582810"/>
              <a:gd name="connsiteY80" fmla="*/ 2003729 h 2965836"/>
              <a:gd name="connsiteX81" fmla="*/ 2145982 w 6582810"/>
              <a:gd name="connsiteY81" fmla="*/ 1864581 h 2965836"/>
              <a:gd name="connsiteX82" fmla="*/ 2098275 w 6582810"/>
              <a:gd name="connsiteY82" fmla="*/ 1864581 h 2965836"/>
              <a:gd name="connsiteX83" fmla="*/ 2098275 w 6582810"/>
              <a:gd name="connsiteY83" fmla="*/ 1840727 h 2965836"/>
              <a:gd name="connsiteX84" fmla="*/ 2062494 w 6582810"/>
              <a:gd name="connsiteY84" fmla="*/ 1840727 h 2965836"/>
              <a:gd name="connsiteX85" fmla="*/ 2062494 w 6582810"/>
              <a:gd name="connsiteY85" fmla="*/ 1816873 h 2965836"/>
              <a:gd name="connsiteX86" fmla="*/ 1927321 w 6582810"/>
              <a:gd name="connsiteY86" fmla="*/ 1816873 h 2965836"/>
              <a:gd name="connsiteX87" fmla="*/ 1927321 w 6582810"/>
              <a:gd name="connsiteY87" fmla="*/ 1816873 h 2965836"/>
              <a:gd name="connsiteX88" fmla="*/ 1927321 w 6582810"/>
              <a:gd name="connsiteY88" fmla="*/ 1793019 h 2965836"/>
              <a:gd name="connsiteX89" fmla="*/ 1804076 w 6582810"/>
              <a:gd name="connsiteY89" fmla="*/ 1793019 h 2965836"/>
              <a:gd name="connsiteX90" fmla="*/ 1804076 w 6582810"/>
              <a:gd name="connsiteY90" fmla="*/ 1741336 h 2965836"/>
              <a:gd name="connsiteX91" fmla="*/ 1768295 w 6582810"/>
              <a:gd name="connsiteY91" fmla="*/ 1741336 h 2965836"/>
              <a:gd name="connsiteX92" fmla="*/ 1768295 w 6582810"/>
              <a:gd name="connsiteY92" fmla="*/ 1701579 h 2965836"/>
              <a:gd name="connsiteX93" fmla="*/ 1736490 w 6582810"/>
              <a:gd name="connsiteY93" fmla="*/ 1701579 h 2965836"/>
              <a:gd name="connsiteX94" fmla="*/ 1736490 w 6582810"/>
              <a:gd name="connsiteY94" fmla="*/ 1657847 h 2965836"/>
              <a:gd name="connsiteX95" fmla="*/ 1712636 w 6582810"/>
              <a:gd name="connsiteY95" fmla="*/ 1657847 h 2965836"/>
              <a:gd name="connsiteX96" fmla="*/ 1712636 w 6582810"/>
              <a:gd name="connsiteY96" fmla="*/ 1610139 h 2965836"/>
              <a:gd name="connsiteX97" fmla="*/ 1680831 w 6582810"/>
              <a:gd name="connsiteY97" fmla="*/ 1610139 h 2965836"/>
              <a:gd name="connsiteX98" fmla="*/ 1680831 w 6582810"/>
              <a:gd name="connsiteY98" fmla="*/ 1550504 h 2965836"/>
              <a:gd name="connsiteX99" fmla="*/ 1653001 w 6582810"/>
              <a:gd name="connsiteY99" fmla="*/ 1550504 h 2965836"/>
              <a:gd name="connsiteX100" fmla="*/ 1653001 w 6582810"/>
              <a:gd name="connsiteY100" fmla="*/ 1494845 h 2965836"/>
              <a:gd name="connsiteX101" fmla="*/ 1593367 w 6582810"/>
              <a:gd name="connsiteY101" fmla="*/ 1494845 h 2965836"/>
              <a:gd name="connsiteX102" fmla="*/ 1593367 w 6582810"/>
              <a:gd name="connsiteY102" fmla="*/ 1474967 h 2965836"/>
              <a:gd name="connsiteX103" fmla="*/ 1557586 w 6582810"/>
              <a:gd name="connsiteY103" fmla="*/ 1474967 h 2965836"/>
              <a:gd name="connsiteX104" fmla="*/ 1557586 w 6582810"/>
              <a:gd name="connsiteY104" fmla="*/ 1474967 h 2965836"/>
              <a:gd name="connsiteX105" fmla="*/ 1557586 w 6582810"/>
              <a:gd name="connsiteY105" fmla="*/ 1455089 h 2965836"/>
              <a:gd name="connsiteX106" fmla="*/ 1513854 w 6582810"/>
              <a:gd name="connsiteY106" fmla="*/ 1455089 h 2965836"/>
              <a:gd name="connsiteX107" fmla="*/ 1513854 w 6582810"/>
              <a:gd name="connsiteY107" fmla="*/ 1423283 h 2965836"/>
              <a:gd name="connsiteX108" fmla="*/ 1497951 w 6582810"/>
              <a:gd name="connsiteY108" fmla="*/ 1423283 h 2965836"/>
              <a:gd name="connsiteX109" fmla="*/ 1497951 w 6582810"/>
              <a:gd name="connsiteY109" fmla="*/ 1395454 h 2965836"/>
              <a:gd name="connsiteX110" fmla="*/ 1382657 w 6582810"/>
              <a:gd name="connsiteY110" fmla="*/ 1395454 h 2965836"/>
              <a:gd name="connsiteX111" fmla="*/ 1382657 w 6582810"/>
              <a:gd name="connsiteY111" fmla="*/ 1339795 h 2965836"/>
              <a:gd name="connsiteX112" fmla="*/ 1366755 w 6582810"/>
              <a:gd name="connsiteY112" fmla="*/ 1339795 h 2965836"/>
              <a:gd name="connsiteX113" fmla="*/ 1366755 w 6582810"/>
              <a:gd name="connsiteY113" fmla="*/ 1300038 h 2965836"/>
              <a:gd name="connsiteX114" fmla="*/ 1326998 w 6582810"/>
              <a:gd name="connsiteY114" fmla="*/ 1300038 h 2965836"/>
              <a:gd name="connsiteX115" fmla="*/ 1326998 w 6582810"/>
              <a:gd name="connsiteY115" fmla="*/ 1228476 h 2965836"/>
              <a:gd name="connsiteX116" fmla="*/ 1283266 w 6582810"/>
              <a:gd name="connsiteY116" fmla="*/ 1228476 h 2965836"/>
              <a:gd name="connsiteX117" fmla="*/ 1283266 w 6582810"/>
              <a:gd name="connsiteY117" fmla="*/ 1137036 h 2965836"/>
              <a:gd name="connsiteX118" fmla="*/ 1259412 w 6582810"/>
              <a:gd name="connsiteY118" fmla="*/ 1137036 h 2965836"/>
              <a:gd name="connsiteX119" fmla="*/ 1259412 w 6582810"/>
              <a:gd name="connsiteY119" fmla="*/ 1073426 h 2965836"/>
              <a:gd name="connsiteX120" fmla="*/ 1199777 w 6582810"/>
              <a:gd name="connsiteY120" fmla="*/ 1073426 h 2965836"/>
              <a:gd name="connsiteX121" fmla="*/ 1199777 w 6582810"/>
              <a:gd name="connsiteY121" fmla="*/ 1057523 h 2965836"/>
              <a:gd name="connsiteX122" fmla="*/ 1132191 w 6582810"/>
              <a:gd name="connsiteY122" fmla="*/ 1057523 h 2965836"/>
              <a:gd name="connsiteX123" fmla="*/ 1132191 w 6582810"/>
              <a:gd name="connsiteY123" fmla="*/ 1037645 h 2965836"/>
              <a:gd name="connsiteX124" fmla="*/ 1068581 w 6582810"/>
              <a:gd name="connsiteY124" fmla="*/ 1037645 h 2965836"/>
              <a:gd name="connsiteX125" fmla="*/ 1068581 w 6582810"/>
              <a:gd name="connsiteY125" fmla="*/ 1009816 h 2965836"/>
              <a:gd name="connsiteX126" fmla="*/ 977908 w 6582810"/>
              <a:gd name="connsiteY126" fmla="*/ 1007435 h 2965836"/>
              <a:gd name="connsiteX127" fmla="*/ 977141 w 6582810"/>
              <a:gd name="connsiteY127" fmla="*/ 993913 h 2965836"/>
              <a:gd name="connsiteX128" fmla="*/ 941360 w 6582810"/>
              <a:gd name="connsiteY128" fmla="*/ 993913 h 2965836"/>
              <a:gd name="connsiteX129" fmla="*/ 941360 w 6582810"/>
              <a:gd name="connsiteY129" fmla="*/ 966083 h 2965836"/>
              <a:gd name="connsiteX130" fmla="*/ 881725 w 6582810"/>
              <a:gd name="connsiteY130" fmla="*/ 966083 h 2965836"/>
              <a:gd name="connsiteX131" fmla="*/ 881725 w 6582810"/>
              <a:gd name="connsiteY131" fmla="*/ 910424 h 2965836"/>
              <a:gd name="connsiteX132" fmla="*/ 837993 w 6582810"/>
              <a:gd name="connsiteY132" fmla="*/ 910424 h 2965836"/>
              <a:gd name="connsiteX133" fmla="*/ 837993 w 6582810"/>
              <a:gd name="connsiteY133" fmla="*/ 787179 h 2965836"/>
              <a:gd name="connsiteX134" fmla="*/ 806188 w 6582810"/>
              <a:gd name="connsiteY134" fmla="*/ 787179 h 2965836"/>
              <a:gd name="connsiteX135" fmla="*/ 806188 w 6582810"/>
              <a:gd name="connsiteY135" fmla="*/ 747423 h 2965836"/>
              <a:gd name="connsiteX136" fmla="*/ 806188 w 6582810"/>
              <a:gd name="connsiteY136" fmla="*/ 747423 h 2965836"/>
              <a:gd name="connsiteX137" fmla="*/ 778358 w 6582810"/>
              <a:gd name="connsiteY137" fmla="*/ 747423 h 2965836"/>
              <a:gd name="connsiteX138" fmla="*/ 778358 w 6582810"/>
              <a:gd name="connsiteY138" fmla="*/ 687788 h 2965836"/>
              <a:gd name="connsiteX139" fmla="*/ 754504 w 6582810"/>
              <a:gd name="connsiteY139" fmla="*/ 687788 h 2965836"/>
              <a:gd name="connsiteX140" fmla="*/ 754504 w 6582810"/>
              <a:gd name="connsiteY140" fmla="*/ 655983 h 2965836"/>
              <a:gd name="connsiteX141" fmla="*/ 682942 w 6582810"/>
              <a:gd name="connsiteY141" fmla="*/ 655983 h 2965836"/>
              <a:gd name="connsiteX142" fmla="*/ 682942 w 6582810"/>
              <a:gd name="connsiteY142" fmla="*/ 628153 h 2965836"/>
              <a:gd name="connsiteX143" fmla="*/ 599454 w 6582810"/>
              <a:gd name="connsiteY143" fmla="*/ 628153 h 2965836"/>
              <a:gd name="connsiteX144" fmla="*/ 599454 w 6582810"/>
              <a:gd name="connsiteY144" fmla="*/ 608275 h 2965836"/>
              <a:gd name="connsiteX145" fmla="*/ 508014 w 6582810"/>
              <a:gd name="connsiteY145" fmla="*/ 608275 h 2965836"/>
              <a:gd name="connsiteX146" fmla="*/ 508014 w 6582810"/>
              <a:gd name="connsiteY146" fmla="*/ 560567 h 2965836"/>
              <a:gd name="connsiteX147" fmla="*/ 480184 w 6582810"/>
              <a:gd name="connsiteY147" fmla="*/ 560567 h 2965836"/>
              <a:gd name="connsiteX148" fmla="*/ 480184 w 6582810"/>
              <a:gd name="connsiteY148" fmla="*/ 500932 h 2965836"/>
              <a:gd name="connsiteX149" fmla="*/ 464281 w 6582810"/>
              <a:gd name="connsiteY149" fmla="*/ 500932 h 2965836"/>
              <a:gd name="connsiteX150" fmla="*/ 464281 w 6582810"/>
              <a:gd name="connsiteY150" fmla="*/ 429370 h 2965836"/>
              <a:gd name="connsiteX151" fmla="*/ 416574 w 6582810"/>
              <a:gd name="connsiteY151" fmla="*/ 429370 h 2965836"/>
              <a:gd name="connsiteX152" fmla="*/ 416574 w 6582810"/>
              <a:gd name="connsiteY152" fmla="*/ 369736 h 2965836"/>
              <a:gd name="connsiteX153" fmla="*/ 396695 w 6582810"/>
              <a:gd name="connsiteY153" fmla="*/ 369736 h 2965836"/>
              <a:gd name="connsiteX154" fmla="*/ 396695 w 6582810"/>
              <a:gd name="connsiteY154" fmla="*/ 238539 h 2965836"/>
              <a:gd name="connsiteX155" fmla="*/ 380793 w 6582810"/>
              <a:gd name="connsiteY155" fmla="*/ 238539 h 2965836"/>
              <a:gd name="connsiteX156" fmla="*/ 380793 w 6582810"/>
              <a:gd name="connsiteY156" fmla="*/ 198783 h 2965836"/>
              <a:gd name="connsiteX157" fmla="*/ 356939 w 6582810"/>
              <a:gd name="connsiteY157" fmla="*/ 198783 h 2965836"/>
              <a:gd name="connsiteX158" fmla="*/ 356939 w 6582810"/>
              <a:gd name="connsiteY158" fmla="*/ 139148 h 2965836"/>
              <a:gd name="connsiteX159" fmla="*/ 281401 w 6582810"/>
              <a:gd name="connsiteY159" fmla="*/ 139148 h 2965836"/>
              <a:gd name="connsiteX160" fmla="*/ 281401 w 6582810"/>
              <a:gd name="connsiteY160" fmla="*/ 139148 h 2965836"/>
              <a:gd name="connsiteX161" fmla="*/ 281401 w 6582810"/>
              <a:gd name="connsiteY161" fmla="*/ 103367 h 2965836"/>
              <a:gd name="connsiteX162" fmla="*/ 209840 w 6582810"/>
              <a:gd name="connsiteY162" fmla="*/ 103367 h 2965836"/>
              <a:gd name="connsiteX163" fmla="*/ 209840 w 6582810"/>
              <a:gd name="connsiteY163" fmla="*/ 67586 h 2965836"/>
              <a:gd name="connsiteX164" fmla="*/ 130327 w 6582810"/>
              <a:gd name="connsiteY164" fmla="*/ 67586 h 2965836"/>
              <a:gd name="connsiteX165" fmla="*/ 130327 w 6582810"/>
              <a:gd name="connsiteY165" fmla="*/ 39756 h 2965836"/>
              <a:gd name="connsiteX166" fmla="*/ 102497 w 6582810"/>
              <a:gd name="connsiteY166" fmla="*/ 39756 h 2965836"/>
              <a:gd name="connsiteX167" fmla="*/ 102497 w 6582810"/>
              <a:gd name="connsiteY167" fmla="*/ 0 h 2965836"/>
              <a:gd name="connsiteX168" fmla="*/ 42862 w 6582810"/>
              <a:gd name="connsiteY168" fmla="*/ 0 h 2965836"/>
              <a:gd name="connsiteX169" fmla="*/ 42862 w 6582810"/>
              <a:gd name="connsiteY169" fmla="*/ 0 h 2965836"/>
              <a:gd name="connsiteX170" fmla="*/ 0 w 6582810"/>
              <a:gd name="connsiteY170" fmla="*/ 0 h 2965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Lst>
            <a:rect l="l" t="t" r="r" b="b"/>
            <a:pathLst>
              <a:path w="6582810" h="2965836">
                <a:moveTo>
                  <a:pt x="6582810" y="2965836"/>
                </a:moveTo>
                <a:lnTo>
                  <a:pt x="5732021" y="2965836"/>
                </a:lnTo>
                <a:lnTo>
                  <a:pt x="5732021" y="2918129"/>
                </a:lnTo>
                <a:lnTo>
                  <a:pt x="5660459" y="2918129"/>
                </a:lnTo>
                <a:lnTo>
                  <a:pt x="5660459" y="2878372"/>
                </a:lnTo>
                <a:lnTo>
                  <a:pt x="4507520" y="2878372"/>
                </a:lnTo>
                <a:lnTo>
                  <a:pt x="4507520" y="2834640"/>
                </a:lnTo>
                <a:lnTo>
                  <a:pt x="4459812" y="2834640"/>
                </a:lnTo>
                <a:lnTo>
                  <a:pt x="4459812" y="2818737"/>
                </a:lnTo>
                <a:lnTo>
                  <a:pt x="4400177" y="2818737"/>
                </a:lnTo>
                <a:lnTo>
                  <a:pt x="4400177" y="2818737"/>
                </a:lnTo>
                <a:lnTo>
                  <a:pt x="4400177" y="2798859"/>
                </a:lnTo>
                <a:lnTo>
                  <a:pt x="3855513" y="2798859"/>
                </a:lnTo>
                <a:lnTo>
                  <a:pt x="3855513" y="2763078"/>
                </a:lnTo>
                <a:lnTo>
                  <a:pt x="3855513" y="2763078"/>
                </a:lnTo>
                <a:lnTo>
                  <a:pt x="3855513" y="2763078"/>
                </a:lnTo>
                <a:lnTo>
                  <a:pt x="3855513" y="2763078"/>
                </a:lnTo>
                <a:lnTo>
                  <a:pt x="3839610" y="2763078"/>
                </a:lnTo>
                <a:lnTo>
                  <a:pt x="3839610" y="2735249"/>
                </a:lnTo>
                <a:lnTo>
                  <a:pt x="3752146" y="2735249"/>
                </a:lnTo>
                <a:lnTo>
                  <a:pt x="3752146" y="2715370"/>
                </a:lnTo>
                <a:lnTo>
                  <a:pt x="3708394" y="2715370"/>
                </a:lnTo>
                <a:cubicBezTo>
                  <a:pt x="3708401" y="2711394"/>
                  <a:pt x="3708407" y="2707419"/>
                  <a:pt x="3708414" y="2703443"/>
                </a:cubicBezTo>
                <a:lnTo>
                  <a:pt x="3616974" y="2703443"/>
                </a:lnTo>
                <a:lnTo>
                  <a:pt x="3616974" y="2683565"/>
                </a:lnTo>
                <a:lnTo>
                  <a:pt x="3525534" y="2683565"/>
                </a:lnTo>
                <a:lnTo>
                  <a:pt x="3525534" y="2683565"/>
                </a:lnTo>
                <a:lnTo>
                  <a:pt x="3525534" y="2663687"/>
                </a:lnTo>
                <a:lnTo>
                  <a:pt x="3410240" y="2663687"/>
                </a:lnTo>
                <a:lnTo>
                  <a:pt x="3410240" y="2659711"/>
                </a:lnTo>
                <a:lnTo>
                  <a:pt x="3306873" y="2659711"/>
                </a:lnTo>
                <a:lnTo>
                  <a:pt x="3306873" y="2643809"/>
                </a:lnTo>
                <a:lnTo>
                  <a:pt x="3263141" y="2643809"/>
                </a:lnTo>
                <a:lnTo>
                  <a:pt x="3263141" y="2643809"/>
                </a:lnTo>
                <a:lnTo>
                  <a:pt x="3263141" y="2608028"/>
                </a:lnTo>
                <a:lnTo>
                  <a:pt x="3247238" y="2608028"/>
                </a:lnTo>
                <a:lnTo>
                  <a:pt x="3247238" y="2588150"/>
                </a:lnTo>
                <a:lnTo>
                  <a:pt x="3231335" y="2588150"/>
                </a:lnTo>
                <a:lnTo>
                  <a:pt x="3231335" y="2544417"/>
                </a:lnTo>
                <a:lnTo>
                  <a:pt x="3223384" y="2544417"/>
                </a:lnTo>
                <a:lnTo>
                  <a:pt x="3223384" y="2544417"/>
                </a:lnTo>
                <a:lnTo>
                  <a:pt x="3223384" y="2524539"/>
                </a:lnTo>
                <a:lnTo>
                  <a:pt x="3191579" y="2524539"/>
                </a:lnTo>
                <a:lnTo>
                  <a:pt x="3191579" y="2500685"/>
                </a:lnTo>
                <a:lnTo>
                  <a:pt x="3143871" y="2500685"/>
                </a:lnTo>
                <a:lnTo>
                  <a:pt x="3143871" y="2476831"/>
                </a:lnTo>
                <a:lnTo>
                  <a:pt x="3012675" y="2476831"/>
                </a:lnTo>
                <a:lnTo>
                  <a:pt x="3012675" y="2464904"/>
                </a:lnTo>
                <a:lnTo>
                  <a:pt x="2980869" y="2464904"/>
                </a:lnTo>
                <a:lnTo>
                  <a:pt x="2980869" y="2445026"/>
                </a:lnTo>
                <a:lnTo>
                  <a:pt x="2877502" y="2445026"/>
                </a:lnTo>
                <a:lnTo>
                  <a:pt x="2877502" y="2413221"/>
                </a:lnTo>
                <a:lnTo>
                  <a:pt x="2782087" y="2413221"/>
                </a:lnTo>
                <a:lnTo>
                  <a:pt x="2782087" y="2389367"/>
                </a:lnTo>
                <a:lnTo>
                  <a:pt x="2754257" y="2389367"/>
                </a:lnTo>
                <a:lnTo>
                  <a:pt x="2754257" y="2365513"/>
                </a:lnTo>
                <a:lnTo>
                  <a:pt x="2710525" y="2365513"/>
                </a:lnTo>
                <a:lnTo>
                  <a:pt x="2710525" y="2337683"/>
                </a:lnTo>
                <a:lnTo>
                  <a:pt x="2646915" y="2337683"/>
                </a:lnTo>
                <a:lnTo>
                  <a:pt x="2646915" y="2337683"/>
                </a:lnTo>
                <a:lnTo>
                  <a:pt x="2646915" y="2301903"/>
                </a:lnTo>
                <a:lnTo>
                  <a:pt x="2571377" y="2301903"/>
                </a:lnTo>
                <a:lnTo>
                  <a:pt x="2571377" y="2254195"/>
                </a:lnTo>
                <a:lnTo>
                  <a:pt x="2571377" y="2254195"/>
                </a:lnTo>
                <a:lnTo>
                  <a:pt x="2563426" y="2251007"/>
                </a:lnTo>
                <a:lnTo>
                  <a:pt x="2563426" y="2158779"/>
                </a:lnTo>
                <a:lnTo>
                  <a:pt x="2539572" y="2158779"/>
                </a:lnTo>
                <a:lnTo>
                  <a:pt x="2539572" y="2138901"/>
                </a:lnTo>
                <a:lnTo>
                  <a:pt x="2523669" y="2138901"/>
                </a:lnTo>
                <a:lnTo>
                  <a:pt x="2523669" y="2107096"/>
                </a:lnTo>
                <a:lnTo>
                  <a:pt x="2301033" y="2107096"/>
                </a:lnTo>
                <a:lnTo>
                  <a:pt x="2301033" y="2083242"/>
                </a:lnTo>
                <a:lnTo>
                  <a:pt x="2281155" y="2083242"/>
                </a:lnTo>
                <a:lnTo>
                  <a:pt x="2281155" y="2083242"/>
                </a:lnTo>
                <a:lnTo>
                  <a:pt x="2281155" y="2051436"/>
                </a:lnTo>
                <a:lnTo>
                  <a:pt x="2217544" y="2051436"/>
                </a:lnTo>
                <a:lnTo>
                  <a:pt x="2217544" y="2051436"/>
                </a:lnTo>
                <a:lnTo>
                  <a:pt x="2217544" y="2027583"/>
                </a:lnTo>
                <a:lnTo>
                  <a:pt x="2193690" y="2027583"/>
                </a:lnTo>
                <a:lnTo>
                  <a:pt x="2193690" y="2003729"/>
                </a:lnTo>
                <a:lnTo>
                  <a:pt x="2145982" y="2003729"/>
                </a:lnTo>
                <a:lnTo>
                  <a:pt x="2145982" y="1864581"/>
                </a:lnTo>
                <a:lnTo>
                  <a:pt x="2098275" y="1864581"/>
                </a:lnTo>
                <a:lnTo>
                  <a:pt x="2098275" y="1840727"/>
                </a:lnTo>
                <a:lnTo>
                  <a:pt x="2062494" y="1840727"/>
                </a:lnTo>
                <a:lnTo>
                  <a:pt x="2062494" y="1816873"/>
                </a:lnTo>
                <a:lnTo>
                  <a:pt x="1927321" y="1816873"/>
                </a:lnTo>
                <a:lnTo>
                  <a:pt x="1927321" y="1816873"/>
                </a:lnTo>
                <a:lnTo>
                  <a:pt x="1927321" y="1793019"/>
                </a:lnTo>
                <a:lnTo>
                  <a:pt x="1804076" y="1793019"/>
                </a:lnTo>
                <a:lnTo>
                  <a:pt x="1804076" y="1741336"/>
                </a:lnTo>
                <a:lnTo>
                  <a:pt x="1768295" y="1741336"/>
                </a:lnTo>
                <a:lnTo>
                  <a:pt x="1768295" y="1701579"/>
                </a:lnTo>
                <a:lnTo>
                  <a:pt x="1736490" y="1701579"/>
                </a:lnTo>
                <a:lnTo>
                  <a:pt x="1736490" y="1657847"/>
                </a:lnTo>
                <a:lnTo>
                  <a:pt x="1712636" y="1657847"/>
                </a:lnTo>
                <a:lnTo>
                  <a:pt x="1712636" y="1610139"/>
                </a:lnTo>
                <a:lnTo>
                  <a:pt x="1680831" y="1610139"/>
                </a:lnTo>
                <a:lnTo>
                  <a:pt x="1680831" y="1550504"/>
                </a:lnTo>
                <a:lnTo>
                  <a:pt x="1653001" y="1550504"/>
                </a:lnTo>
                <a:lnTo>
                  <a:pt x="1653001" y="1494845"/>
                </a:lnTo>
                <a:lnTo>
                  <a:pt x="1593367" y="1494845"/>
                </a:lnTo>
                <a:lnTo>
                  <a:pt x="1593367" y="1474967"/>
                </a:lnTo>
                <a:lnTo>
                  <a:pt x="1557586" y="1474967"/>
                </a:lnTo>
                <a:lnTo>
                  <a:pt x="1557586" y="1474967"/>
                </a:lnTo>
                <a:lnTo>
                  <a:pt x="1557586" y="1455089"/>
                </a:lnTo>
                <a:lnTo>
                  <a:pt x="1513854" y="1455089"/>
                </a:lnTo>
                <a:lnTo>
                  <a:pt x="1513854" y="1423283"/>
                </a:lnTo>
                <a:lnTo>
                  <a:pt x="1497951" y="1423283"/>
                </a:lnTo>
                <a:lnTo>
                  <a:pt x="1497951" y="1395454"/>
                </a:lnTo>
                <a:lnTo>
                  <a:pt x="1382657" y="1395454"/>
                </a:lnTo>
                <a:lnTo>
                  <a:pt x="1382657" y="1339795"/>
                </a:lnTo>
                <a:lnTo>
                  <a:pt x="1366755" y="1339795"/>
                </a:lnTo>
                <a:lnTo>
                  <a:pt x="1366755" y="1300038"/>
                </a:lnTo>
                <a:lnTo>
                  <a:pt x="1326998" y="1300038"/>
                </a:lnTo>
                <a:lnTo>
                  <a:pt x="1326998" y="1228476"/>
                </a:lnTo>
                <a:lnTo>
                  <a:pt x="1283266" y="1228476"/>
                </a:lnTo>
                <a:lnTo>
                  <a:pt x="1283266" y="1137036"/>
                </a:lnTo>
                <a:lnTo>
                  <a:pt x="1259412" y="1137036"/>
                </a:lnTo>
                <a:lnTo>
                  <a:pt x="1259412" y="1073426"/>
                </a:lnTo>
                <a:lnTo>
                  <a:pt x="1199777" y="1073426"/>
                </a:lnTo>
                <a:lnTo>
                  <a:pt x="1199777" y="1057523"/>
                </a:lnTo>
                <a:lnTo>
                  <a:pt x="1132191" y="1057523"/>
                </a:lnTo>
                <a:lnTo>
                  <a:pt x="1132191" y="1037645"/>
                </a:lnTo>
                <a:lnTo>
                  <a:pt x="1068581" y="1037645"/>
                </a:lnTo>
                <a:lnTo>
                  <a:pt x="1068581" y="1009816"/>
                </a:lnTo>
                <a:lnTo>
                  <a:pt x="977908" y="1007435"/>
                </a:lnTo>
                <a:cubicBezTo>
                  <a:pt x="977652" y="1002928"/>
                  <a:pt x="977397" y="998420"/>
                  <a:pt x="977141" y="993913"/>
                </a:cubicBezTo>
                <a:lnTo>
                  <a:pt x="941360" y="993913"/>
                </a:lnTo>
                <a:lnTo>
                  <a:pt x="941360" y="966083"/>
                </a:lnTo>
                <a:lnTo>
                  <a:pt x="881725" y="966083"/>
                </a:lnTo>
                <a:lnTo>
                  <a:pt x="881725" y="910424"/>
                </a:lnTo>
                <a:lnTo>
                  <a:pt x="837993" y="910424"/>
                </a:lnTo>
                <a:lnTo>
                  <a:pt x="837993" y="787179"/>
                </a:lnTo>
                <a:lnTo>
                  <a:pt x="806188" y="787179"/>
                </a:lnTo>
                <a:lnTo>
                  <a:pt x="806188" y="747423"/>
                </a:lnTo>
                <a:lnTo>
                  <a:pt x="806188" y="747423"/>
                </a:lnTo>
                <a:lnTo>
                  <a:pt x="778358" y="747423"/>
                </a:lnTo>
                <a:lnTo>
                  <a:pt x="778358" y="687788"/>
                </a:lnTo>
                <a:lnTo>
                  <a:pt x="754504" y="687788"/>
                </a:lnTo>
                <a:lnTo>
                  <a:pt x="754504" y="655983"/>
                </a:lnTo>
                <a:lnTo>
                  <a:pt x="682942" y="655983"/>
                </a:lnTo>
                <a:lnTo>
                  <a:pt x="682942" y="628153"/>
                </a:lnTo>
                <a:lnTo>
                  <a:pt x="599454" y="628153"/>
                </a:lnTo>
                <a:lnTo>
                  <a:pt x="599454" y="608275"/>
                </a:lnTo>
                <a:lnTo>
                  <a:pt x="508014" y="608275"/>
                </a:lnTo>
                <a:lnTo>
                  <a:pt x="508014" y="560567"/>
                </a:lnTo>
                <a:lnTo>
                  <a:pt x="480184" y="560567"/>
                </a:lnTo>
                <a:lnTo>
                  <a:pt x="480184" y="500932"/>
                </a:lnTo>
                <a:lnTo>
                  <a:pt x="464281" y="500932"/>
                </a:lnTo>
                <a:lnTo>
                  <a:pt x="464281" y="429370"/>
                </a:lnTo>
                <a:lnTo>
                  <a:pt x="416574" y="429370"/>
                </a:lnTo>
                <a:lnTo>
                  <a:pt x="416574" y="369736"/>
                </a:lnTo>
                <a:lnTo>
                  <a:pt x="396695" y="369736"/>
                </a:lnTo>
                <a:lnTo>
                  <a:pt x="396695" y="238539"/>
                </a:lnTo>
                <a:lnTo>
                  <a:pt x="380793" y="238539"/>
                </a:lnTo>
                <a:lnTo>
                  <a:pt x="380793" y="198783"/>
                </a:lnTo>
                <a:lnTo>
                  <a:pt x="356939" y="198783"/>
                </a:lnTo>
                <a:lnTo>
                  <a:pt x="356939" y="139148"/>
                </a:lnTo>
                <a:lnTo>
                  <a:pt x="281401" y="139148"/>
                </a:lnTo>
                <a:lnTo>
                  <a:pt x="281401" y="139148"/>
                </a:lnTo>
                <a:lnTo>
                  <a:pt x="281401" y="103367"/>
                </a:lnTo>
                <a:lnTo>
                  <a:pt x="209840" y="103367"/>
                </a:lnTo>
                <a:lnTo>
                  <a:pt x="209840" y="67586"/>
                </a:lnTo>
                <a:lnTo>
                  <a:pt x="130327" y="67586"/>
                </a:lnTo>
                <a:lnTo>
                  <a:pt x="130327" y="39756"/>
                </a:lnTo>
                <a:lnTo>
                  <a:pt x="102497" y="39756"/>
                </a:lnTo>
                <a:lnTo>
                  <a:pt x="102497" y="0"/>
                </a:lnTo>
                <a:lnTo>
                  <a:pt x="42862" y="0"/>
                </a:lnTo>
                <a:lnTo>
                  <a:pt x="42862" y="0"/>
                </a:lnTo>
                <a:lnTo>
                  <a:pt x="0" y="0"/>
                </a:lnTo>
              </a:path>
            </a:pathLst>
          </a:custGeom>
          <a:noFill/>
          <a:ln w="28575">
            <a:solidFill>
              <a:schemeClr val="accent1">
                <a:lumMod val="75000"/>
              </a:schemeClr>
            </a:solidFill>
            <a:miter lim="800000"/>
            <a:headEnd/>
            <a:tailEnd/>
          </a:ln>
        </p:spPr>
        <p:txBody>
          <a:bodyPr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2" name="Freeform: Shape 11">
            <a:extLst>
              <a:ext uri="{FF2B5EF4-FFF2-40B4-BE49-F238E27FC236}">
                <a16:creationId xmlns:a16="http://schemas.microsoft.com/office/drawing/2014/main" id="{E2947C7E-2CF6-C7BE-B3E4-913174CBBAF1}"/>
              </a:ext>
            </a:extLst>
          </p:cNvPr>
          <p:cNvSpPr/>
          <p:nvPr/>
        </p:nvSpPr>
        <p:spPr bwMode="auto">
          <a:xfrm>
            <a:off x="1119943" y="1245280"/>
            <a:ext cx="3631408" cy="2453482"/>
          </a:xfrm>
          <a:custGeom>
            <a:avLst/>
            <a:gdLst>
              <a:gd name="connsiteX0" fmla="*/ 0 w 4634346"/>
              <a:gd name="connsiteY0" fmla="*/ 0 h 3192088"/>
              <a:gd name="connsiteX1" fmla="*/ 83128 w 4634346"/>
              <a:gd name="connsiteY1" fmla="*/ 0 h 3192088"/>
              <a:gd name="connsiteX2" fmla="*/ 83128 w 4634346"/>
              <a:gd name="connsiteY2" fmla="*/ 49877 h 3192088"/>
              <a:gd name="connsiteX3" fmla="*/ 116379 w 4634346"/>
              <a:gd name="connsiteY3" fmla="*/ 49877 h 3192088"/>
              <a:gd name="connsiteX4" fmla="*/ 116379 w 4634346"/>
              <a:gd name="connsiteY4" fmla="*/ 87284 h 3192088"/>
              <a:gd name="connsiteX5" fmla="*/ 166255 w 4634346"/>
              <a:gd name="connsiteY5" fmla="*/ 87284 h 3192088"/>
              <a:gd name="connsiteX6" fmla="*/ 166255 w 4634346"/>
              <a:gd name="connsiteY6" fmla="*/ 124691 h 3192088"/>
              <a:gd name="connsiteX7" fmla="*/ 207819 w 4634346"/>
              <a:gd name="connsiteY7" fmla="*/ 124691 h 3192088"/>
              <a:gd name="connsiteX8" fmla="*/ 207819 w 4634346"/>
              <a:gd name="connsiteY8" fmla="*/ 124691 h 3192088"/>
              <a:gd name="connsiteX9" fmla="*/ 236913 w 4634346"/>
              <a:gd name="connsiteY9" fmla="*/ 153785 h 3192088"/>
              <a:gd name="connsiteX10" fmla="*/ 236913 w 4634346"/>
              <a:gd name="connsiteY10" fmla="*/ 207819 h 3192088"/>
              <a:gd name="connsiteX11" fmla="*/ 253539 w 4634346"/>
              <a:gd name="connsiteY11" fmla="*/ 207819 h 3192088"/>
              <a:gd name="connsiteX12" fmla="*/ 253539 w 4634346"/>
              <a:gd name="connsiteY12" fmla="*/ 274320 h 3192088"/>
              <a:gd name="connsiteX13" fmla="*/ 286790 w 4634346"/>
              <a:gd name="connsiteY13" fmla="*/ 274320 h 3192088"/>
              <a:gd name="connsiteX14" fmla="*/ 286790 w 4634346"/>
              <a:gd name="connsiteY14" fmla="*/ 290946 h 3192088"/>
              <a:gd name="connsiteX15" fmla="*/ 320040 w 4634346"/>
              <a:gd name="connsiteY15" fmla="*/ 290946 h 3192088"/>
              <a:gd name="connsiteX16" fmla="*/ 320040 w 4634346"/>
              <a:gd name="connsiteY16" fmla="*/ 320040 h 3192088"/>
              <a:gd name="connsiteX17" fmla="*/ 344979 w 4634346"/>
              <a:gd name="connsiteY17" fmla="*/ 320040 h 3192088"/>
              <a:gd name="connsiteX18" fmla="*/ 344979 w 4634346"/>
              <a:gd name="connsiteY18" fmla="*/ 394855 h 3192088"/>
              <a:gd name="connsiteX19" fmla="*/ 390699 w 4634346"/>
              <a:gd name="connsiteY19" fmla="*/ 394855 h 3192088"/>
              <a:gd name="connsiteX20" fmla="*/ 390699 w 4634346"/>
              <a:gd name="connsiteY20" fmla="*/ 598517 h 3192088"/>
              <a:gd name="connsiteX21" fmla="*/ 411480 w 4634346"/>
              <a:gd name="connsiteY21" fmla="*/ 598517 h 3192088"/>
              <a:gd name="connsiteX22" fmla="*/ 411480 w 4634346"/>
              <a:gd name="connsiteY22" fmla="*/ 735677 h 3192088"/>
              <a:gd name="connsiteX23" fmla="*/ 411480 w 4634346"/>
              <a:gd name="connsiteY23" fmla="*/ 735677 h 3192088"/>
              <a:gd name="connsiteX24" fmla="*/ 411480 w 4634346"/>
              <a:gd name="connsiteY24" fmla="*/ 943495 h 3192088"/>
              <a:gd name="connsiteX25" fmla="*/ 436419 w 4634346"/>
              <a:gd name="connsiteY25" fmla="*/ 943495 h 3192088"/>
              <a:gd name="connsiteX26" fmla="*/ 436419 w 4634346"/>
              <a:gd name="connsiteY26" fmla="*/ 1101437 h 3192088"/>
              <a:gd name="connsiteX27" fmla="*/ 444731 w 4634346"/>
              <a:gd name="connsiteY27" fmla="*/ 1101437 h 3192088"/>
              <a:gd name="connsiteX28" fmla="*/ 444731 w 4634346"/>
              <a:gd name="connsiteY28" fmla="*/ 1359131 h 3192088"/>
              <a:gd name="connsiteX29" fmla="*/ 465513 w 4634346"/>
              <a:gd name="connsiteY29" fmla="*/ 1359131 h 3192088"/>
              <a:gd name="connsiteX30" fmla="*/ 465513 w 4634346"/>
              <a:gd name="connsiteY30" fmla="*/ 1463040 h 3192088"/>
              <a:gd name="connsiteX31" fmla="*/ 494608 w 4634346"/>
              <a:gd name="connsiteY31" fmla="*/ 1463040 h 3192088"/>
              <a:gd name="connsiteX32" fmla="*/ 494608 w 4634346"/>
              <a:gd name="connsiteY32" fmla="*/ 1562793 h 3192088"/>
              <a:gd name="connsiteX33" fmla="*/ 515390 w 4634346"/>
              <a:gd name="connsiteY33" fmla="*/ 1562793 h 3192088"/>
              <a:gd name="connsiteX34" fmla="*/ 515390 w 4634346"/>
              <a:gd name="connsiteY34" fmla="*/ 1620982 h 3192088"/>
              <a:gd name="connsiteX35" fmla="*/ 548640 w 4634346"/>
              <a:gd name="connsiteY35" fmla="*/ 1620982 h 3192088"/>
              <a:gd name="connsiteX36" fmla="*/ 548640 w 4634346"/>
              <a:gd name="connsiteY36" fmla="*/ 1687484 h 3192088"/>
              <a:gd name="connsiteX37" fmla="*/ 577735 w 4634346"/>
              <a:gd name="connsiteY37" fmla="*/ 1687484 h 3192088"/>
              <a:gd name="connsiteX38" fmla="*/ 577735 w 4634346"/>
              <a:gd name="connsiteY38" fmla="*/ 1737360 h 3192088"/>
              <a:gd name="connsiteX39" fmla="*/ 669175 w 4634346"/>
              <a:gd name="connsiteY39" fmla="*/ 1737360 h 3192088"/>
              <a:gd name="connsiteX40" fmla="*/ 669175 w 4634346"/>
              <a:gd name="connsiteY40" fmla="*/ 1783080 h 3192088"/>
              <a:gd name="connsiteX41" fmla="*/ 723208 w 4634346"/>
              <a:gd name="connsiteY41" fmla="*/ 1783080 h 3192088"/>
              <a:gd name="connsiteX42" fmla="*/ 723208 w 4634346"/>
              <a:gd name="connsiteY42" fmla="*/ 1824644 h 3192088"/>
              <a:gd name="connsiteX43" fmla="*/ 760615 w 4634346"/>
              <a:gd name="connsiteY43" fmla="*/ 1824644 h 3192088"/>
              <a:gd name="connsiteX44" fmla="*/ 760615 w 4634346"/>
              <a:gd name="connsiteY44" fmla="*/ 1870364 h 3192088"/>
              <a:gd name="connsiteX45" fmla="*/ 789710 w 4634346"/>
              <a:gd name="connsiteY45" fmla="*/ 1870364 h 3192088"/>
              <a:gd name="connsiteX46" fmla="*/ 789710 w 4634346"/>
              <a:gd name="connsiteY46" fmla="*/ 1995055 h 3192088"/>
              <a:gd name="connsiteX47" fmla="*/ 789710 w 4634346"/>
              <a:gd name="connsiteY47" fmla="*/ 1995055 h 3192088"/>
              <a:gd name="connsiteX48" fmla="*/ 818804 w 4634346"/>
              <a:gd name="connsiteY48" fmla="*/ 1995055 h 3192088"/>
              <a:gd name="connsiteX49" fmla="*/ 818804 w 4634346"/>
              <a:gd name="connsiteY49" fmla="*/ 2057400 h 3192088"/>
              <a:gd name="connsiteX50" fmla="*/ 822960 w 4634346"/>
              <a:gd name="connsiteY50" fmla="*/ 2057400 h 3192088"/>
              <a:gd name="connsiteX51" fmla="*/ 822960 w 4634346"/>
              <a:gd name="connsiteY51" fmla="*/ 2115589 h 3192088"/>
              <a:gd name="connsiteX52" fmla="*/ 843742 w 4634346"/>
              <a:gd name="connsiteY52" fmla="*/ 2115589 h 3192088"/>
              <a:gd name="connsiteX53" fmla="*/ 843742 w 4634346"/>
              <a:gd name="connsiteY53" fmla="*/ 2265219 h 3192088"/>
              <a:gd name="connsiteX54" fmla="*/ 893619 w 4634346"/>
              <a:gd name="connsiteY54" fmla="*/ 2265219 h 3192088"/>
              <a:gd name="connsiteX55" fmla="*/ 893619 w 4634346"/>
              <a:gd name="connsiteY55" fmla="*/ 2377440 h 3192088"/>
              <a:gd name="connsiteX56" fmla="*/ 914400 w 4634346"/>
              <a:gd name="connsiteY56" fmla="*/ 2377440 h 3192088"/>
              <a:gd name="connsiteX57" fmla="*/ 914400 w 4634346"/>
              <a:gd name="connsiteY57" fmla="*/ 2423160 h 3192088"/>
              <a:gd name="connsiteX58" fmla="*/ 997528 w 4634346"/>
              <a:gd name="connsiteY58" fmla="*/ 2423160 h 3192088"/>
              <a:gd name="connsiteX59" fmla="*/ 997528 w 4634346"/>
              <a:gd name="connsiteY59" fmla="*/ 2443942 h 3192088"/>
              <a:gd name="connsiteX60" fmla="*/ 1055717 w 4634346"/>
              <a:gd name="connsiteY60" fmla="*/ 2443942 h 3192088"/>
              <a:gd name="connsiteX61" fmla="*/ 1055717 w 4634346"/>
              <a:gd name="connsiteY61" fmla="*/ 2443942 h 3192088"/>
              <a:gd name="connsiteX62" fmla="*/ 1055717 w 4634346"/>
              <a:gd name="connsiteY62" fmla="*/ 2477193 h 3192088"/>
              <a:gd name="connsiteX63" fmla="*/ 1230284 w 4634346"/>
              <a:gd name="connsiteY63" fmla="*/ 2477193 h 3192088"/>
              <a:gd name="connsiteX64" fmla="*/ 1230284 w 4634346"/>
              <a:gd name="connsiteY64" fmla="*/ 2522913 h 3192088"/>
              <a:gd name="connsiteX65" fmla="*/ 1280160 w 4634346"/>
              <a:gd name="connsiteY65" fmla="*/ 2522913 h 3192088"/>
              <a:gd name="connsiteX66" fmla="*/ 1280160 w 4634346"/>
              <a:gd name="connsiteY66" fmla="*/ 2630979 h 3192088"/>
              <a:gd name="connsiteX67" fmla="*/ 1305099 w 4634346"/>
              <a:gd name="connsiteY67" fmla="*/ 2630979 h 3192088"/>
              <a:gd name="connsiteX68" fmla="*/ 1305099 w 4634346"/>
              <a:gd name="connsiteY68" fmla="*/ 2647604 h 3192088"/>
              <a:gd name="connsiteX69" fmla="*/ 1342506 w 4634346"/>
              <a:gd name="connsiteY69" fmla="*/ 2647604 h 3192088"/>
              <a:gd name="connsiteX70" fmla="*/ 1342506 w 4634346"/>
              <a:gd name="connsiteY70" fmla="*/ 2693324 h 3192088"/>
              <a:gd name="connsiteX71" fmla="*/ 1367444 w 4634346"/>
              <a:gd name="connsiteY71" fmla="*/ 2693324 h 3192088"/>
              <a:gd name="connsiteX72" fmla="*/ 1367444 w 4634346"/>
              <a:gd name="connsiteY72" fmla="*/ 2739044 h 3192088"/>
              <a:gd name="connsiteX73" fmla="*/ 1458884 w 4634346"/>
              <a:gd name="connsiteY73" fmla="*/ 2739044 h 3192088"/>
              <a:gd name="connsiteX74" fmla="*/ 1458884 w 4634346"/>
              <a:gd name="connsiteY74" fmla="*/ 2759826 h 3192088"/>
              <a:gd name="connsiteX75" fmla="*/ 1591888 w 4634346"/>
              <a:gd name="connsiteY75" fmla="*/ 2759826 h 3192088"/>
              <a:gd name="connsiteX76" fmla="*/ 1591888 w 4634346"/>
              <a:gd name="connsiteY76" fmla="*/ 2813859 h 3192088"/>
              <a:gd name="connsiteX77" fmla="*/ 1687484 w 4634346"/>
              <a:gd name="connsiteY77" fmla="*/ 2813859 h 3192088"/>
              <a:gd name="connsiteX78" fmla="*/ 1687484 w 4634346"/>
              <a:gd name="connsiteY78" fmla="*/ 2872048 h 3192088"/>
              <a:gd name="connsiteX79" fmla="*/ 1766455 w 4634346"/>
              <a:gd name="connsiteY79" fmla="*/ 2872048 h 3192088"/>
              <a:gd name="connsiteX80" fmla="*/ 1766455 w 4634346"/>
              <a:gd name="connsiteY80" fmla="*/ 2901142 h 3192088"/>
              <a:gd name="connsiteX81" fmla="*/ 2074026 w 4634346"/>
              <a:gd name="connsiteY81" fmla="*/ 2901142 h 3192088"/>
              <a:gd name="connsiteX82" fmla="*/ 2074026 w 4634346"/>
              <a:gd name="connsiteY82" fmla="*/ 2938549 h 3192088"/>
              <a:gd name="connsiteX83" fmla="*/ 2123902 w 4634346"/>
              <a:gd name="connsiteY83" fmla="*/ 2938549 h 3192088"/>
              <a:gd name="connsiteX84" fmla="*/ 2123902 w 4634346"/>
              <a:gd name="connsiteY84" fmla="*/ 2988426 h 3192088"/>
              <a:gd name="connsiteX85" fmla="*/ 2177935 w 4634346"/>
              <a:gd name="connsiteY85" fmla="*/ 2988426 h 3192088"/>
              <a:gd name="connsiteX86" fmla="*/ 2177935 w 4634346"/>
              <a:gd name="connsiteY86" fmla="*/ 3021677 h 3192088"/>
              <a:gd name="connsiteX87" fmla="*/ 2448099 w 4634346"/>
              <a:gd name="connsiteY87" fmla="*/ 3021677 h 3192088"/>
              <a:gd name="connsiteX88" fmla="*/ 2448099 w 4634346"/>
              <a:gd name="connsiteY88" fmla="*/ 3042459 h 3192088"/>
              <a:gd name="connsiteX89" fmla="*/ 2593571 w 4634346"/>
              <a:gd name="connsiteY89" fmla="*/ 3042459 h 3192088"/>
              <a:gd name="connsiteX90" fmla="*/ 2593571 w 4634346"/>
              <a:gd name="connsiteY90" fmla="*/ 3088179 h 3192088"/>
              <a:gd name="connsiteX91" fmla="*/ 2818015 w 4634346"/>
              <a:gd name="connsiteY91" fmla="*/ 3088179 h 3192088"/>
              <a:gd name="connsiteX92" fmla="*/ 2818015 w 4634346"/>
              <a:gd name="connsiteY92" fmla="*/ 3121429 h 3192088"/>
              <a:gd name="connsiteX93" fmla="*/ 2946862 w 4634346"/>
              <a:gd name="connsiteY93" fmla="*/ 3121429 h 3192088"/>
              <a:gd name="connsiteX94" fmla="*/ 2946862 w 4634346"/>
              <a:gd name="connsiteY94" fmla="*/ 3121429 h 3192088"/>
              <a:gd name="connsiteX95" fmla="*/ 2946862 w 4634346"/>
              <a:gd name="connsiteY95" fmla="*/ 3142211 h 3192088"/>
              <a:gd name="connsiteX96" fmla="*/ 3104804 w 4634346"/>
              <a:gd name="connsiteY96" fmla="*/ 3142211 h 3192088"/>
              <a:gd name="connsiteX97" fmla="*/ 3104804 w 4634346"/>
              <a:gd name="connsiteY97" fmla="*/ 3162993 h 3192088"/>
              <a:gd name="connsiteX98" fmla="*/ 3154680 w 4634346"/>
              <a:gd name="connsiteY98" fmla="*/ 3162993 h 3192088"/>
              <a:gd name="connsiteX99" fmla="*/ 3154680 w 4634346"/>
              <a:gd name="connsiteY99" fmla="*/ 3192088 h 3192088"/>
              <a:gd name="connsiteX100" fmla="*/ 4634346 w 4634346"/>
              <a:gd name="connsiteY100" fmla="*/ 3192088 h 3192088"/>
              <a:gd name="connsiteX0" fmla="*/ 0 w 4634346"/>
              <a:gd name="connsiteY0" fmla="*/ 0 h 3192088"/>
              <a:gd name="connsiteX1" fmla="*/ 83128 w 4634346"/>
              <a:gd name="connsiteY1" fmla="*/ 0 h 3192088"/>
              <a:gd name="connsiteX2" fmla="*/ 83128 w 4634346"/>
              <a:gd name="connsiteY2" fmla="*/ 49877 h 3192088"/>
              <a:gd name="connsiteX3" fmla="*/ 116379 w 4634346"/>
              <a:gd name="connsiteY3" fmla="*/ 49877 h 3192088"/>
              <a:gd name="connsiteX4" fmla="*/ 116379 w 4634346"/>
              <a:gd name="connsiteY4" fmla="*/ 87284 h 3192088"/>
              <a:gd name="connsiteX5" fmla="*/ 166255 w 4634346"/>
              <a:gd name="connsiteY5" fmla="*/ 87284 h 3192088"/>
              <a:gd name="connsiteX6" fmla="*/ 166255 w 4634346"/>
              <a:gd name="connsiteY6" fmla="*/ 124691 h 3192088"/>
              <a:gd name="connsiteX7" fmla="*/ 207819 w 4634346"/>
              <a:gd name="connsiteY7" fmla="*/ 124691 h 3192088"/>
              <a:gd name="connsiteX8" fmla="*/ 207819 w 4634346"/>
              <a:gd name="connsiteY8" fmla="*/ 124691 h 3192088"/>
              <a:gd name="connsiteX9" fmla="*/ 208338 w 4634346"/>
              <a:gd name="connsiteY9" fmla="*/ 153785 h 3192088"/>
              <a:gd name="connsiteX10" fmla="*/ 236913 w 4634346"/>
              <a:gd name="connsiteY10" fmla="*/ 207819 h 3192088"/>
              <a:gd name="connsiteX11" fmla="*/ 253539 w 4634346"/>
              <a:gd name="connsiteY11" fmla="*/ 207819 h 3192088"/>
              <a:gd name="connsiteX12" fmla="*/ 253539 w 4634346"/>
              <a:gd name="connsiteY12" fmla="*/ 274320 h 3192088"/>
              <a:gd name="connsiteX13" fmla="*/ 286790 w 4634346"/>
              <a:gd name="connsiteY13" fmla="*/ 274320 h 3192088"/>
              <a:gd name="connsiteX14" fmla="*/ 286790 w 4634346"/>
              <a:gd name="connsiteY14" fmla="*/ 290946 h 3192088"/>
              <a:gd name="connsiteX15" fmla="*/ 320040 w 4634346"/>
              <a:gd name="connsiteY15" fmla="*/ 290946 h 3192088"/>
              <a:gd name="connsiteX16" fmla="*/ 320040 w 4634346"/>
              <a:gd name="connsiteY16" fmla="*/ 320040 h 3192088"/>
              <a:gd name="connsiteX17" fmla="*/ 344979 w 4634346"/>
              <a:gd name="connsiteY17" fmla="*/ 320040 h 3192088"/>
              <a:gd name="connsiteX18" fmla="*/ 344979 w 4634346"/>
              <a:gd name="connsiteY18" fmla="*/ 394855 h 3192088"/>
              <a:gd name="connsiteX19" fmla="*/ 390699 w 4634346"/>
              <a:gd name="connsiteY19" fmla="*/ 394855 h 3192088"/>
              <a:gd name="connsiteX20" fmla="*/ 390699 w 4634346"/>
              <a:gd name="connsiteY20" fmla="*/ 598517 h 3192088"/>
              <a:gd name="connsiteX21" fmla="*/ 411480 w 4634346"/>
              <a:gd name="connsiteY21" fmla="*/ 598517 h 3192088"/>
              <a:gd name="connsiteX22" fmla="*/ 411480 w 4634346"/>
              <a:gd name="connsiteY22" fmla="*/ 735677 h 3192088"/>
              <a:gd name="connsiteX23" fmla="*/ 411480 w 4634346"/>
              <a:gd name="connsiteY23" fmla="*/ 735677 h 3192088"/>
              <a:gd name="connsiteX24" fmla="*/ 411480 w 4634346"/>
              <a:gd name="connsiteY24" fmla="*/ 943495 h 3192088"/>
              <a:gd name="connsiteX25" fmla="*/ 436419 w 4634346"/>
              <a:gd name="connsiteY25" fmla="*/ 943495 h 3192088"/>
              <a:gd name="connsiteX26" fmla="*/ 436419 w 4634346"/>
              <a:gd name="connsiteY26" fmla="*/ 1101437 h 3192088"/>
              <a:gd name="connsiteX27" fmla="*/ 444731 w 4634346"/>
              <a:gd name="connsiteY27" fmla="*/ 1101437 h 3192088"/>
              <a:gd name="connsiteX28" fmla="*/ 444731 w 4634346"/>
              <a:gd name="connsiteY28" fmla="*/ 1359131 h 3192088"/>
              <a:gd name="connsiteX29" fmla="*/ 465513 w 4634346"/>
              <a:gd name="connsiteY29" fmla="*/ 1359131 h 3192088"/>
              <a:gd name="connsiteX30" fmla="*/ 465513 w 4634346"/>
              <a:gd name="connsiteY30" fmla="*/ 1463040 h 3192088"/>
              <a:gd name="connsiteX31" fmla="*/ 494608 w 4634346"/>
              <a:gd name="connsiteY31" fmla="*/ 1463040 h 3192088"/>
              <a:gd name="connsiteX32" fmla="*/ 494608 w 4634346"/>
              <a:gd name="connsiteY32" fmla="*/ 1562793 h 3192088"/>
              <a:gd name="connsiteX33" fmla="*/ 515390 w 4634346"/>
              <a:gd name="connsiteY33" fmla="*/ 1562793 h 3192088"/>
              <a:gd name="connsiteX34" fmla="*/ 515390 w 4634346"/>
              <a:gd name="connsiteY34" fmla="*/ 1620982 h 3192088"/>
              <a:gd name="connsiteX35" fmla="*/ 548640 w 4634346"/>
              <a:gd name="connsiteY35" fmla="*/ 1620982 h 3192088"/>
              <a:gd name="connsiteX36" fmla="*/ 548640 w 4634346"/>
              <a:gd name="connsiteY36" fmla="*/ 1687484 h 3192088"/>
              <a:gd name="connsiteX37" fmla="*/ 577735 w 4634346"/>
              <a:gd name="connsiteY37" fmla="*/ 1687484 h 3192088"/>
              <a:gd name="connsiteX38" fmla="*/ 577735 w 4634346"/>
              <a:gd name="connsiteY38" fmla="*/ 1737360 h 3192088"/>
              <a:gd name="connsiteX39" fmla="*/ 669175 w 4634346"/>
              <a:gd name="connsiteY39" fmla="*/ 1737360 h 3192088"/>
              <a:gd name="connsiteX40" fmla="*/ 669175 w 4634346"/>
              <a:gd name="connsiteY40" fmla="*/ 1783080 h 3192088"/>
              <a:gd name="connsiteX41" fmla="*/ 723208 w 4634346"/>
              <a:gd name="connsiteY41" fmla="*/ 1783080 h 3192088"/>
              <a:gd name="connsiteX42" fmla="*/ 723208 w 4634346"/>
              <a:gd name="connsiteY42" fmla="*/ 1824644 h 3192088"/>
              <a:gd name="connsiteX43" fmla="*/ 760615 w 4634346"/>
              <a:gd name="connsiteY43" fmla="*/ 1824644 h 3192088"/>
              <a:gd name="connsiteX44" fmla="*/ 760615 w 4634346"/>
              <a:gd name="connsiteY44" fmla="*/ 1870364 h 3192088"/>
              <a:gd name="connsiteX45" fmla="*/ 789710 w 4634346"/>
              <a:gd name="connsiteY45" fmla="*/ 1870364 h 3192088"/>
              <a:gd name="connsiteX46" fmla="*/ 789710 w 4634346"/>
              <a:gd name="connsiteY46" fmla="*/ 1995055 h 3192088"/>
              <a:gd name="connsiteX47" fmla="*/ 789710 w 4634346"/>
              <a:gd name="connsiteY47" fmla="*/ 1995055 h 3192088"/>
              <a:gd name="connsiteX48" fmla="*/ 818804 w 4634346"/>
              <a:gd name="connsiteY48" fmla="*/ 1995055 h 3192088"/>
              <a:gd name="connsiteX49" fmla="*/ 818804 w 4634346"/>
              <a:gd name="connsiteY49" fmla="*/ 2057400 h 3192088"/>
              <a:gd name="connsiteX50" fmla="*/ 822960 w 4634346"/>
              <a:gd name="connsiteY50" fmla="*/ 2057400 h 3192088"/>
              <a:gd name="connsiteX51" fmla="*/ 822960 w 4634346"/>
              <a:gd name="connsiteY51" fmla="*/ 2115589 h 3192088"/>
              <a:gd name="connsiteX52" fmla="*/ 843742 w 4634346"/>
              <a:gd name="connsiteY52" fmla="*/ 2115589 h 3192088"/>
              <a:gd name="connsiteX53" fmla="*/ 843742 w 4634346"/>
              <a:gd name="connsiteY53" fmla="*/ 2265219 h 3192088"/>
              <a:gd name="connsiteX54" fmla="*/ 893619 w 4634346"/>
              <a:gd name="connsiteY54" fmla="*/ 2265219 h 3192088"/>
              <a:gd name="connsiteX55" fmla="*/ 893619 w 4634346"/>
              <a:gd name="connsiteY55" fmla="*/ 2377440 h 3192088"/>
              <a:gd name="connsiteX56" fmla="*/ 914400 w 4634346"/>
              <a:gd name="connsiteY56" fmla="*/ 2377440 h 3192088"/>
              <a:gd name="connsiteX57" fmla="*/ 914400 w 4634346"/>
              <a:gd name="connsiteY57" fmla="*/ 2423160 h 3192088"/>
              <a:gd name="connsiteX58" fmla="*/ 997528 w 4634346"/>
              <a:gd name="connsiteY58" fmla="*/ 2423160 h 3192088"/>
              <a:gd name="connsiteX59" fmla="*/ 997528 w 4634346"/>
              <a:gd name="connsiteY59" fmla="*/ 2443942 h 3192088"/>
              <a:gd name="connsiteX60" fmla="*/ 1055717 w 4634346"/>
              <a:gd name="connsiteY60" fmla="*/ 2443942 h 3192088"/>
              <a:gd name="connsiteX61" fmla="*/ 1055717 w 4634346"/>
              <a:gd name="connsiteY61" fmla="*/ 2443942 h 3192088"/>
              <a:gd name="connsiteX62" fmla="*/ 1055717 w 4634346"/>
              <a:gd name="connsiteY62" fmla="*/ 2477193 h 3192088"/>
              <a:gd name="connsiteX63" fmla="*/ 1230284 w 4634346"/>
              <a:gd name="connsiteY63" fmla="*/ 2477193 h 3192088"/>
              <a:gd name="connsiteX64" fmla="*/ 1230284 w 4634346"/>
              <a:gd name="connsiteY64" fmla="*/ 2522913 h 3192088"/>
              <a:gd name="connsiteX65" fmla="*/ 1280160 w 4634346"/>
              <a:gd name="connsiteY65" fmla="*/ 2522913 h 3192088"/>
              <a:gd name="connsiteX66" fmla="*/ 1280160 w 4634346"/>
              <a:gd name="connsiteY66" fmla="*/ 2630979 h 3192088"/>
              <a:gd name="connsiteX67" fmla="*/ 1305099 w 4634346"/>
              <a:gd name="connsiteY67" fmla="*/ 2630979 h 3192088"/>
              <a:gd name="connsiteX68" fmla="*/ 1305099 w 4634346"/>
              <a:gd name="connsiteY68" fmla="*/ 2647604 h 3192088"/>
              <a:gd name="connsiteX69" fmla="*/ 1342506 w 4634346"/>
              <a:gd name="connsiteY69" fmla="*/ 2647604 h 3192088"/>
              <a:gd name="connsiteX70" fmla="*/ 1342506 w 4634346"/>
              <a:gd name="connsiteY70" fmla="*/ 2693324 h 3192088"/>
              <a:gd name="connsiteX71" fmla="*/ 1367444 w 4634346"/>
              <a:gd name="connsiteY71" fmla="*/ 2693324 h 3192088"/>
              <a:gd name="connsiteX72" fmla="*/ 1367444 w 4634346"/>
              <a:gd name="connsiteY72" fmla="*/ 2739044 h 3192088"/>
              <a:gd name="connsiteX73" fmla="*/ 1458884 w 4634346"/>
              <a:gd name="connsiteY73" fmla="*/ 2739044 h 3192088"/>
              <a:gd name="connsiteX74" fmla="*/ 1458884 w 4634346"/>
              <a:gd name="connsiteY74" fmla="*/ 2759826 h 3192088"/>
              <a:gd name="connsiteX75" fmla="*/ 1591888 w 4634346"/>
              <a:gd name="connsiteY75" fmla="*/ 2759826 h 3192088"/>
              <a:gd name="connsiteX76" fmla="*/ 1591888 w 4634346"/>
              <a:gd name="connsiteY76" fmla="*/ 2813859 h 3192088"/>
              <a:gd name="connsiteX77" fmla="*/ 1687484 w 4634346"/>
              <a:gd name="connsiteY77" fmla="*/ 2813859 h 3192088"/>
              <a:gd name="connsiteX78" fmla="*/ 1687484 w 4634346"/>
              <a:gd name="connsiteY78" fmla="*/ 2872048 h 3192088"/>
              <a:gd name="connsiteX79" fmla="*/ 1766455 w 4634346"/>
              <a:gd name="connsiteY79" fmla="*/ 2872048 h 3192088"/>
              <a:gd name="connsiteX80" fmla="*/ 1766455 w 4634346"/>
              <a:gd name="connsiteY80" fmla="*/ 2901142 h 3192088"/>
              <a:gd name="connsiteX81" fmla="*/ 2074026 w 4634346"/>
              <a:gd name="connsiteY81" fmla="*/ 2901142 h 3192088"/>
              <a:gd name="connsiteX82" fmla="*/ 2074026 w 4634346"/>
              <a:gd name="connsiteY82" fmla="*/ 2938549 h 3192088"/>
              <a:gd name="connsiteX83" fmla="*/ 2123902 w 4634346"/>
              <a:gd name="connsiteY83" fmla="*/ 2938549 h 3192088"/>
              <a:gd name="connsiteX84" fmla="*/ 2123902 w 4634346"/>
              <a:gd name="connsiteY84" fmla="*/ 2988426 h 3192088"/>
              <a:gd name="connsiteX85" fmla="*/ 2177935 w 4634346"/>
              <a:gd name="connsiteY85" fmla="*/ 2988426 h 3192088"/>
              <a:gd name="connsiteX86" fmla="*/ 2177935 w 4634346"/>
              <a:gd name="connsiteY86" fmla="*/ 3021677 h 3192088"/>
              <a:gd name="connsiteX87" fmla="*/ 2448099 w 4634346"/>
              <a:gd name="connsiteY87" fmla="*/ 3021677 h 3192088"/>
              <a:gd name="connsiteX88" fmla="*/ 2448099 w 4634346"/>
              <a:gd name="connsiteY88" fmla="*/ 3042459 h 3192088"/>
              <a:gd name="connsiteX89" fmla="*/ 2593571 w 4634346"/>
              <a:gd name="connsiteY89" fmla="*/ 3042459 h 3192088"/>
              <a:gd name="connsiteX90" fmla="*/ 2593571 w 4634346"/>
              <a:gd name="connsiteY90" fmla="*/ 3088179 h 3192088"/>
              <a:gd name="connsiteX91" fmla="*/ 2818015 w 4634346"/>
              <a:gd name="connsiteY91" fmla="*/ 3088179 h 3192088"/>
              <a:gd name="connsiteX92" fmla="*/ 2818015 w 4634346"/>
              <a:gd name="connsiteY92" fmla="*/ 3121429 h 3192088"/>
              <a:gd name="connsiteX93" fmla="*/ 2946862 w 4634346"/>
              <a:gd name="connsiteY93" fmla="*/ 3121429 h 3192088"/>
              <a:gd name="connsiteX94" fmla="*/ 2946862 w 4634346"/>
              <a:gd name="connsiteY94" fmla="*/ 3121429 h 3192088"/>
              <a:gd name="connsiteX95" fmla="*/ 2946862 w 4634346"/>
              <a:gd name="connsiteY95" fmla="*/ 3142211 h 3192088"/>
              <a:gd name="connsiteX96" fmla="*/ 3104804 w 4634346"/>
              <a:gd name="connsiteY96" fmla="*/ 3142211 h 3192088"/>
              <a:gd name="connsiteX97" fmla="*/ 3104804 w 4634346"/>
              <a:gd name="connsiteY97" fmla="*/ 3162993 h 3192088"/>
              <a:gd name="connsiteX98" fmla="*/ 3154680 w 4634346"/>
              <a:gd name="connsiteY98" fmla="*/ 3162993 h 3192088"/>
              <a:gd name="connsiteX99" fmla="*/ 3154680 w 4634346"/>
              <a:gd name="connsiteY99" fmla="*/ 3192088 h 3192088"/>
              <a:gd name="connsiteX100" fmla="*/ 4634346 w 4634346"/>
              <a:gd name="connsiteY100" fmla="*/ 3192088 h 3192088"/>
              <a:gd name="connsiteX0" fmla="*/ 0 w 4634346"/>
              <a:gd name="connsiteY0" fmla="*/ 0 h 3192088"/>
              <a:gd name="connsiteX1" fmla="*/ 83128 w 4634346"/>
              <a:gd name="connsiteY1" fmla="*/ 0 h 3192088"/>
              <a:gd name="connsiteX2" fmla="*/ 83128 w 4634346"/>
              <a:gd name="connsiteY2" fmla="*/ 49877 h 3192088"/>
              <a:gd name="connsiteX3" fmla="*/ 116379 w 4634346"/>
              <a:gd name="connsiteY3" fmla="*/ 49877 h 3192088"/>
              <a:gd name="connsiteX4" fmla="*/ 116379 w 4634346"/>
              <a:gd name="connsiteY4" fmla="*/ 87284 h 3192088"/>
              <a:gd name="connsiteX5" fmla="*/ 166255 w 4634346"/>
              <a:gd name="connsiteY5" fmla="*/ 87284 h 3192088"/>
              <a:gd name="connsiteX6" fmla="*/ 166255 w 4634346"/>
              <a:gd name="connsiteY6" fmla="*/ 124691 h 3192088"/>
              <a:gd name="connsiteX7" fmla="*/ 207819 w 4634346"/>
              <a:gd name="connsiteY7" fmla="*/ 124691 h 3192088"/>
              <a:gd name="connsiteX8" fmla="*/ 207819 w 4634346"/>
              <a:gd name="connsiteY8" fmla="*/ 124691 h 3192088"/>
              <a:gd name="connsiteX9" fmla="*/ 208338 w 4634346"/>
              <a:gd name="connsiteY9" fmla="*/ 153785 h 3192088"/>
              <a:gd name="connsiteX10" fmla="*/ 224358 w 4634346"/>
              <a:gd name="connsiteY10" fmla="*/ 189202 h 3192088"/>
              <a:gd name="connsiteX11" fmla="*/ 236913 w 4634346"/>
              <a:gd name="connsiteY11" fmla="*/ 207819 h 3192088"/>
              <a:gd name="connsiteX12" fmla="*/ 253539 w 4634346"/>
              <a:gd name="connsiteY12" fmla="*/ 207819 h 3192088"/>
              <a:gd name="connsiteX13" fmla="*/ 253539 w 4634346"/>
              <a:gd name="connsiteY13" fmla="*/ 274320 h 3192088"/>
              <a:gd name="connsiteX14" fmla="*/ 286790 w 4634346"/>
              <a:gd name="connsiteY14" fmla="*/ 274320 h 3192088"/>
              <a:gd name="connsiteX15" fmla="*/ 286790 w 4634346"/>
              <a:gd name="connsiteY15" fmla="*/ 290946 h 3192088"/>
              <a:gd name="connsiteX16" fmla="*/ 320040 w 4634346"/>
              <a:gd name="connsiteY16" fmla="*/ 290946 h 3192088"/>
              <a:gd name="connsiteX17" fmla="*/ 320040 w 4634346"/>
              <a:gd name="connsiteY17" fmla="*/ 320040 h 3192088"/>
              <a:gd name="connsiteX18" fmla="*/ 344979 w 4634346"/>
              <a:gd name="connsiteY18" fmla="*/ 320040 h 3192088"/>
              <a:gd name="connsiteX19" fmla="*/ 344979 w 4634346"/>
              <a:gd name="connsiteY19" fmla="*/ 394855 h 3192088"/>
              <a:gd name="connsiteX20" fmla="*/ 390699 w 4634346"/>
              <a:gd name="connsiteY20" fmla="*/ 394855 h 3192088"/>
              <a:gd name="connsiteX21" fmla="*/ 390699 w 4634346"/>
              <a:gd name="connsiteY21" fmla="*/ 598517 h 3192088"/>
              <a:gd name="connsiteX22" fmla="*/ 411480 w 4634346"/>
              <a:gd name="connsiteY22" fmla="*/ 598517 h 3192088"/>
              <a:gd name="connsiteX23" fmla="*/ 411480 w 4634346"/>
              <a:gd name="connsiteY23" fmla="*/ 735677 h 3192088"/>
              <a:gd name="connsiteX24" fmla="*/ 411480 w 4634346"/>
              <a:gd name="connsiteY24" fmla="*/ 735677 h 3192088"/>
              <a:gd name="connsiteX25" fmla="*/ 411480 w 4634346"/>
              <a:gd name="connsiteY25" fmla="*/ 943495 h 3192088"/>
              <a:gd name="connsiteX26" fmla="*/ 436419 w 4634346"/>
              <a:gd name="connsiteY26" fmla="*/ 943495 h 3192088"/>
              <a:gd name="connsiteX27" fmla="*/ 436419 w 4634346"/>
              <a:gd name="connsiteY27" fmla="*/ 1101437 h 3192088"/>
              <a:gd name="connsiteX28" fmla="*/ 444731 w 4634346"/>
              <a:gd name="connsiteY28" fmla="*/ 1101437 h 3192088"/>
              <a:gd name="connsiteX29" fmla="*/ 444731 w 4634346"/>
              <a:gd name="connsiteY29" fmla="*/ 1359131 h 3192088"/>
              <a:gd name="connsiteX30" fmla="*/ 465513 w 4634346"/>
              <a:gd name="connsiteY30" fmla="*/ 1359131 h 3192088"/>
              <a:gd name="connsiteX31" fmla="*/ 465513 w 4634346"/>
              <a:gd name="connsiteY31" fmla="*/ 1463040 h 3192088"/>
              <a:gd name="connsiteX32" fmla="*/ 494608 w 4634346"/>
              <a:gd name="connsiteY32" fmla="*/ 1463040 h 3192088"/>
              <a:gd name="connsiteX33" fmla="*/ 494608 w 4634346"/>
              <a:gd name="connsiteY33" fmla="*/ 1562793 h 3192088"/>
              <a:gd name="connsiteX34" fmla="*/ 515390 w 4634346"/>
              <a:gd name="connsiteY34" fmla="*/ 1562793 h 3192088"/>
              <a:gd name="connsiteX35" fmla="*/ 515390 w 4634346"/>
              <a:gd name="connsiteY35" fmla="*/ 1620982 h 3192088"/>
              <a:gd name="connsiteX36" fmla="*/ 548640 w 4634346"/>
              <a:gd name="connsiteY36" fmla="*/ 1620982 h 3192088"/>
              <a:gd name="connsiteX37" fmla="*/ 548640 w 4634346"/>
              <a:gd name="connsiteY37" fmla="*/ 1687484 h 3192088"/>
              <a:gd name="connsiteX38" fmla="*/ 577735 w 4634346"/>
              <a:gd name="connsiteY38" fmla="*/ 1687484 h 3192088"/>
              <a:gd name="connsiteX39" fmla="*/ 577735 w 4634346"/>
              <a:gd name="connsiteY39" fmla="*/ 1737360 h 3192088"/>
              <a:gd name="connsiteX40" fmla="*/ 669175 w 4634346"/>
              <a:gd name="connsiteY40" fmla="*/ 1737360 h 3192088"/>
              <a:gd name="connsiteX41" fmla="*/ 669175 w 4634346"/>
              <a:gd name="connsiteY41" fmla="*/ 1783080 h 3192088"/>
              <a:gd name="connsiteX42" fmla="*/ 723208 w 4634346"/>
              <a:gd name="connsiteY42" fmla="*/ 1783080 h 3192088"/>
              <a:gd name="connsiteX43" fmla="*/ 723208 w 4634346"/>
              <a:gd name="connsiteY43" fmla="*/ 1824644 h 3192088"/>
              <a:gd name="connsiteX44" fmla="*/ 760615 w 4634346"/>
              <a:gd name="connsiteY44" fmla="*/ 1824644 h 3192088"/>
              <a:gd name="connsiteX45" fmla="*/ 760615 w 4634346"/>
              <a:gd name="connsiteY45" fmla="*/ 1870364 h 3192088"/>
              <a:gd name="connsiteX46" fmla="*/ 789710 w 4634346"/>
              <a:gd name="connsiteY46" fmla="*/ 1870364 h 3192088"/>
              <a:gd name="connsiteX47" fmla="*/ 789710 w 4634346"/>
              <a:gd name="connsiteY47" fmla="*/ 1995055 h 3192088"/>
              <a:gd name="connsiteX48" fmla="*/ 789710 w 4634346"/>
              <a:gd name="connsiteY48" fmla="*/ 1995055 h 3192088"/>
              <a:gd name="connsiteX49" fmla="*/ 818804 w 4634346"/>
              <a:gd name="connsiteY49" fmla="*/ 1995055 h 3192088"/>
              <a:gd name="connsiteX50" fmla="*/ 818804 w 4634346"/>
              <a:gd name="connsiteY50" fmla="*/ 2057400 h 3192088"/>
              <a:gd name="connsiteX51" fmla="*/ 822960 w 4634346"/>
              <a:gd name="connsiteY51" fmla="*/ 2057400 h 3192088"/>
              <a:gd name="connsiteX52" fmla="*/ 822960 w 4634346"/>
              <a:gd name="connsiteY52" fmla="*/ 2115589 h 3192088"/>
              <a:gd name="connsiteX53" fmla="*/ 843742 w 4634346"/>
              <a:gd name="connsiteY53" fmla="*/ 2115589 h 3192088"/>
              <a:gd name="connsiteX54" fmla="*/ 843742 w 4634346"/>
              <a:gd name="connsiteY54" fmla="*/ 2265219 h 3192088"/>
              <a:gd name="connsiteX55" fmla="*/ 893619 w 4634346"/>
              <a:gd name="connsiteY55" fmla="*/ 2265219 h 3192088"/>
              <a:gd name="connsiteX56" fmla="*/ 893619 w 4634346"/>
              <a:gd name="connsiteY56" fmla="*/ 2377440 h 3192088"/>
              <a:gd name="connsiteX57" fmla="*/ 914400 w 4634346"/>
              <a:gd name="connsiteY57" fmla="*/ 2377440 h 3192088"/>
              <a:gd name="connsiteX58" fmla="*/ 914400 w 4634346"/>
              <a:gd name="connsiteY58" fmla="*/ 2423160 h 3192088"/>
              <a:gd name="connsiteX59" fmla="*/ 997528 w 4634346"/>
              <a:gd name="connsiteY59" fmla="*/ 2423160 h 3192088"/>
              <a:gd name="connsiteX60" fmla="*/ 997528 w 4634346"/>
              <a:gd name="connsiteY60" fmla="*/ 2443942 h 3192088"/>
              <a:gd name="connsiteX61" fmla="*/ 1055717 w 4634346"/>
              <a:gd name="connsiteY61" fmla="*/ 2443942 h 3192088"/>
              <a:gd name="connsiteX62" fmla="*/ 1055717 w 4634346"/>
              <a:gd name="connsiteY62" fmla="*/ 2443942 h 3192088"/>
              <a:gd name="connsiteX63" fmla="*/ 1055717 w 4634346"/>
              <a:gd name="connsiteY63" fmla="*/ 2477193 h 3192088"/>
              <a:gd name="connsiteX64" fmla="*/ 1230284 w 4634346"/>
              <a:gd name="connsiteY64" fmla="*/ 2477193 h 3192088"/>
              <a:gd name="connsiteX65" fmla="*/ 1230284 w 4634346"/>
              <a:gd name="connsiteY65" fmla="*/ 2522913 h 3192088"/>
              <a:gd name="connsiteX66" fmla="*/ 1280160 w 4634346"/>
              <a:gd name="connsiteY66" fmla="*/ 2522913 h 3192088"/>
              <a:gd name="connsiteX67" fmla="*/ 1280160 w 4634346"/>
              <a:gd name="connsiteY67" fmla="*/ 2630979 h 3192088"/>
              <a:gd name="connsiteX68" fmla="*/ 1305099 w 4634346"/>
              <a:gd name="connsiteY68" fmla="*/ 2630979 h 3192088"/>
              <a:gd name="connsiteX69" fmla="*/ 1305099 w 4634346"/>
              <a:gd name="connsiteY69" fmla="*/ 2647604 h 3192088"/>
              <a:gd name="connsiteX70" fmla="*/ 1342506 w 4634346"/>
              <a:gd name="connsiteY70" fmla="*/ 2647604 h 3192088"/>
              <a:gd name="connsiteX71" fmla="*/ 1342506 w 4634346"/>
              <a:gd name="connsiteY71" fmla="*/ 2693324 h 3192088"/>
              <a:gd name="connsiteX72" fmla="*/ 1367444 w 4634346"/>
              <a:gd name="connsiteY72" fmla="*/ 2693324 h 3192088"/>
              <a:gd name="connsiteX73" fmla="*/ 1367444 w 4634346"/>
              <a:gd name="connsiteY73" fmla="*/ 2739044 h 3192088"/>
              <a:gd name="connsiteX74" fmla="*/ 1458884 w 4634346"/>
              <a:gd name="connsiteY74" fmla="*/ 2739044 h 3192088"/>
              <a:gd name="connsiteX75" fmla="*/ 1458884 w 4634346"/>
              <a:gd name="connsiteY75" fmla="*/ 2759826 h 3192088"/>
              <a:gd name="connsiteX76" fmla="*/ 1591888 w 4634346"/>
              <a:gd name="connsiteY76" fmla="*/ 2759826 h 3192088"/>
              <a:gd name="connsiteX77" fmla="*/ 1591888 w 4634346"/>
              <a:gd name="connsiteY77" fmla="*/ 2813859 h 3192088"/>
              <a:gd name="connsiteX78" fmla="*/ 1687484 w 4634346"/>
              <a:gd name="connsiteY78" fmla="*/ 2813859 h 3192088"/>
              <a:gd name="connsiteX79" fmla="*/ 1687484 w 4634346"/>
              <a:gd name="connsiteY79" fmla="*/ 2872048 h 3192088"/>
              <a:gd name="connsiteX80" fmla="*/ 1766455 w 4634346"/>
              <a:gd name="connsiteY80" fmla="*/ 2872048 h 3192088"/>
              <a:gd name="connsiteX81" fmla="*/ 1766455 w 4634346"/>
              <a:gd name="connsiteY81" fmla="*/ 2901142 h 3192088"/>
              <a:gd name="connsiteX82" fmla="*/ 2074026 w 4634346"/>
              <a:gd name="connsiteY82" fmla="*/ 2901142 h 3192088"/>
              <a:gd name="connsiteX83" fmla="*/ 2074026 w 4634346"/>
              <a:gd name="connsiteY83" fmla="*/ 2938549 h 3192088"/>
              <a:gd name="connsiteX84" fmla="*/ 2123902 w 4634346"/>
              <a:gd name="connsiteY84" fmla="*/ 2938549 h 3192088"/>
              <a:gd name="connsiteX85" fmla="*/ 2123902 w 4634346"/>
              <a:gd name="connsiteY85" fmla="*/ 2988426 h 3192088"/>
              <a:gd name="connsiteX86" fmla="*/ 2177935 w 4634346"/>
              <a:gd name="connsiteY86" fmla="*/ 2988426 h 3192088"/>
              <a:gd name="connsiteX87" fmla="*/ 2177935 w 4634346"/>
              <a:gd name="connsiteY87" fmla="*/ 3021677 h 3192088"/>
              <a:gd name="connsiteX88" fmla="*/ 2448099 w 4634346"/>
              <a:gd name="connsiteY88" fmla="*/ 3021677 h 3192088"/>
              <a:gd name="connsiteX89" fmla="*/ 2448099 w 4634346"/>
              <a:gd name="connsiteY89" fmla="*/ 3042459 h 3192088"/>
              <a:gd name="connsiteX90" fmla="*/ 2593571 w 4634346"/>
              <a:gd name="connsiteY90" fmla="*/ 3042459 h 3192088"/>
              <a:gd name="connsiteX91" fmla="*/ 2593571 w 4634346"/>
              <a:gd name="connsiteY91" fmla="*/ 3088179 h 3192088"/>
              <a:gd name="connsiteX92" fmla="*/ 2818015 w 4634346"/>
              <a:gd name="connsiteY92" fmla="*/ 3088179 h 3192088"/>
              <a:gd name="connsiteX93" fmla="*/ 2818015 w 4634346"/>
              <a:gd name="connsiteY93" fmla="*/ 3121429 h 3192088"/>
              <a:gd name="connsiteX94" fmla="*/ 2946862 w 4634346"/>
              <a:gd name="connsiteY94" fmla="*/ 3121429 h 3192088"/>
              <a:gd name="connsiteX95" fmla="*/ 2946862 w 4634346"/>
              <a:gd name="connsiteY95" fmla="*/ 3121429 h 3192088"/>
              <a:gd name="connsiteX96" fmla="*/ 2946862 w 4634346"/>
              <a:gd name="connsiteY96" fmla="*/ 3142211 h 3192088"/>
              <a:gd name="connsiteX97" fmla="*/ 3104804 w 4634346"/>
              <a:gd name="connsiteY97" fmla="*/ 3142211 h 3192088"/>
              <a:gd name="connsiteX98" fmla="*/ 3104804 w 4634346"/>
              <a:gd name="connsiteY98" fmla="*/ 3162993 h 3192088"/>
              <a:gd name="connsiteX99" fmla="*/ 3154680 w 4634346"/>
              <a:gd name="connsiteY99" fmla="*/ 3162993 h 3192088"/>
              <a:gd name="connsiteX100" fmla="*/ 3154680 w 4634346"/>
              <a:gd name="connsiteY100" fmla="*/ 3192088 h 3192088"/>
              <a:gd name="connsiteX101" fmla="*/ 4634346 w 4634346"/>
              <a:gd name="connsiteY101" fmla="*/ 3192088 h 3192088"/>
              <a:gd name="connsiteX0" fmla="*/ 0 w 4634346"/>
              <a:gd name="connsiteY0" fmla="*/ 0 h 3192088"/>
              <a:gd name="connsiteX1" fmla="*/ 83128 w 4634346"/>
              <a:gd name="connsiteY1" fmla="*/ 0 h 3192088"/>
              <a:gd name="connsiteX2" fmla="*/ 83128 w 4634346"/>
              <a:gd name="connsiteY2" fmla="*/ 49877 h 3192088"/>
              <a:gd name="connsiteX3" fmla="*/ 116379 w 4634346"/>
              <a:gd name="connsiteY3" fmla="*/ 49877 h 3192088"/>
              <a:gd name="connsiteX4" fmla="*/ 116379 w 4634346"/>
              <a:gd name="connsiteY4" fmla="*/ 87284 h 3192088"/>
              <a:gd name="connsiteX5" fmla="*/ 166255 w 4634346"/>
              <a:gd name="connsiteY5" fmla="*/ 87284 h 3192088"/>
              <a:gd name="connsiteX6" fmla="*/ 166255 w 4634346"/>
              <a:gd name="connsiteY6" fmla="*/ 124691 h 3192088"/>
              <a:gd name="connsiteX7" fmla="*/ 207819 w 4634346"/>
              <a:gd name="connsiteY7" fmla="*/ 124691 h 3192088"/>
              <a:gd name="connsiteX8" fmla="*/ 207819 w 4634346"/>
              <a:gd name="connsiteY8" fmla="*/ 124691 h 3192088"/>
              <a:gd name="connsiteX9" fmla="*/ 208338 w 4634346"/>
              <a:gd name="connsiteY9" fmla="*/ 153785 h 3192088"/>
              <a:gd name="connsiteX10" fmla="*/ 238645 w 4634346"/>
              <a:gd name="connsiteY10" fmla="*/ 155864 h 3192088"/>
              <a:gd name="connsiteX11" fmla="*/ 236913 w 4634346"/>
              <a:gd name="connsiteY11" fmla="*/ 207819 h 3192088"/>
              <a:gd name="connsiteX12" fmla="*/ 253539 w 4634346"/>
              <a:gd name="connsiteY12" fmla="*/ 207819 h 3192088"/>
              <a:gd name="connsiteX13" fmla="*/ 253539 w 4634346"/>
              <a:gd name="connsiteY13" fmla="*/ 274320 h 3192088"/>
              <a:gd name="connsiteX14" fmla="*/ 286790 w 4634346"/>
              <a:gd name="connsiteY14" fmla="*/ 274320 h 3192088"/>
              <a:gd name="connsiteX15" fmla="*/ 286790 w 4634346"/>
              <a:gd name="connsiteY15" fmla="*/ 290946 h 3192088"/>
              <a:gd name="connsiteX16" fmla="*/ 320040 w 4634346"/>
              <a:gd name="connsiteY16" fmla="*/ 290946 h 3192088"/>
              <a:gd name="connsiteX17" fmla="*/ 320040 w 4634346"/>
              <a:gd name="connsiteY17" fmla="*/ 320040 h 3192088"/>
              <a:gd name="connsiteX18" fmla="*/ 344979 w 4634346"/>
              <a:gd name="connsiteY18" fmla="*/ 320040 h 3192088"/>
              <a:gd name="connsiteX19" fmla="*/ 344979 w 4634346"/>
              <a:gd name="connsiteY19" fmla="*/ 394855 h 3192088"/>
              <a:gd name="connsiteX20" fmla="*/ 390699 w 4634346"/>
              <a:gd name="connsiteY20" fmla="*/ 394855 h 3192088"/>
              <a:gd name="connsiteX21" fmla="*/ 390699 w 4634346"/>
              <a:gd name="connsiteY21" fmla="*/ 598517 h 3192088"/>
              <a:gd name="connsiteX22" fmla="*/ 411480 w 4634346"/>
              <a:gd name="connsiteY22" fmla="*/ 598517 h 3192088"/>
              <a:gd name="connsiteX23" fmla="*/ 411480 w 4634346"/>
              <a:gd name="connsiteY23" fmla="*/ 735677 h 3192088"/>
              <a:gd name="connsiteX24" fmla="*/ 411480 w 4634346"/>
              <a:gd name="connsiteY24" fmla="*/ 735677 h 3192088"/>
              <a:gd name="connsiteX25" fmla="*/ 411480 w 4634346"/>
              <a:gd name="connsiteY25" fmla="*/ 943495 h 3192088"/>
              <a:gd name="connsiteX26" fmla="*/ 436419 w 4634346"/>
              <a:gd name="connsiteY26" fmla="*/ 943495 h 3192088"/>
              <a:gd name="connsiteX27" fmla="*/ 436419 w 4634346"/>
              <a:gd name="connsiteY27" fmla="*/ 1101437 h 3192088"/>
              <a:gd name="connsiteX28" fmla="*/ 444731 w 4634346"/>
              <a:gd name="connsiteY28" fmla="*/ 1101437 h 3192088"/>
              <a:gd name="connsiteX29" fmla="*/ 444731 w 4634346"/>
              <a:gd name="connsiteY29" fmla="*/ 1359131 h 3192088"/>
              <a:gd name="connsiteX30" fmla="*/ 465513 w 4634346"/>
              <a:gd name="connsiteY30" fmla="*/ 1359131 h 3192088"/>
              <a:gd name="connsiteX31" fmla="*/ 465513 w 4634346"/>
              <a:gd name="connsiteY31" fmla="*/ 1463040 h 3192088"/>
              <a:gd name="connsiteX32" fmla="*/ 494608 w 4634346"/>
              <a:gd name="connsiteY32" fmla="*/ 1463040 h 3192088"/>
              <a:gd name="connsiteX33" fmla="*/ 494608 w 4634346"/>
              <a:gd name="connsiteY33" fmla="*/ 1562793 h 3192088"/>
              <a:gd name="connsiteX34" fmla="*/ 515390 w 4634346"/>
              <a:gd name="connsiteY34" fmla="*/ 1562793 h 3192088"/>
              <a:gd name="connsiteX35" fmla="*/ 515390 w 4634346"/>
              <a:gd name="connsiteY35" fmla="*/ 1620982 h 3192088"/>
              <a:gd name="connsiteX36" fmla="*/ 548640 w 4634346"/>
              <a:gd name="connsiteY36" fmla="*/ 1620982 h 3192088"/>
              <a:gd name="connsiteX37" fmla="*/ 548640 w 4634346"/>
              <a:gd name="connsiteY37" fmla="*/ 1687484 h 3192088"/>
              <a:gd name="connsiteX38" fmla="*/ 577735 w 4634346"/>
              <a:gd name="connsiteY38" fmla="*/ 1687484 h 3192088"/>
              <a:gd name="connsiteX39" fmla="*/ 577735 w 4634346"/>
              <a:gd name="connsiteY39" fmla="*/ 1737360 h 3192088"/>
              <a:gd name="connsiteX40" fmla="*/ 669175 w 4634346"/>
              <a:gd name="connsiteY40" fmla="*/ 1737360 h 3192088"/>
              <a:gd name="connsiteX41" fmla="*/ 669175 w 4634346"/>
              <a:gd name="connsiteY41" fmla="*/ 1783080 h 3192088"/>
              <a:gd name="connsiteX42" fmla="*/ 723208 w 4634346"/>
              <a:gd name="connsiteY42" fmla="*/ 1783080 h 3192088"/>
              <a:gd name="connsiteX43" fmla="*/ 723208 w 4634346"/>
              <a:gd name="connsiteY43" fmla="*/ 1824644 h 3192088"/>
              <a:gd name="connsiteX44" fmla="*/ 760615 w 4634346"/>
              <a:gd name="connsiteY44" fmla="*/ 1824644 h 3192088"/>
              <a:gd name="connsiteX45" fmla="*/ 760615 w 4634346"/>
              <a:gd name="connsiteY45" fmla="*/ 1870364 h 3192088"/>
              <a:gd name="connsiteX46" fmla="*/ 789710 w 4634346"/>
              <a:gd name="connsiteY46" fmla="*/ 1870364 h 3192088"/>
              <a:gd name="connsiteX47" fmla="*/ 789710 w 4634346"/>
              <a:gd name="connsiteY47" fmla="*/ 1995055 h 3192088"/>
              <a:gd name="connsiteX48" fmla="*/ 789710 w 4634346"/>
              <a:gd name="connsiteY48" fmla="*/ 1995055 h 3192088"/>
              <a:gd name="connsiteX49" fmla="*/ 818804 w 4634346"/>
              <a:gd name="connsiteY49" fmla="*/ 1995055 h 3192088"/>
              <a:gd name="connsiteX50" fmla="*/ 818804 w 4634346"/>
              <a:gd name="connsiteY50" fmla="*/ 2057400 h 3192088"/>
              <a:gd name="connsiteX51" fmla="*/ 822960 w 4634346"/>
              <a:gd name="connsiteY51" fmla="*/ 2057400 h 3192088"/>
              <a:gd name="connsiteX52" fmla="*/ 822960 w 4634346"/>
              <a:gd name="connsiteY52" fmla="*/ 2115589 h 3192088"/>
              <a:gd name="connsiteX53" fmla="*/ 843742 w 4634346"/>
              <a:gd name="connsiteY53" fmla="*/ 2115589 h 3192088"/>
              <a:gd name="connsiteX54" fmla="*/ 843742 w 4634346"/>
              <a:gd name="connsiteY54" fmla="*/ 2265219 h 3192088"/>
              <a:gd name="connsiteX55" fmla="*/ 893619 w 4634346"/>
              <a:gd name="connsiteY55" fmla="*/ 2265219 h 3192088"/>
              <a:gd name="connsiteX56" fmla="*/ 893619 w 4634346"/>
              <a:gd name="connsiteY56" fmla="*/ 2377440 h 3192088"/>
              <a:gd name="connsiteX57" fmla="*/ 914400 w 4634346"/>
              <a:gd name="connsiteY57" fmla="*/ 2377440 h 3192088"/>
              <a:gd name="connsiteX58" fmla="*/ 914400 w 4634346"/>
              <a:gd name="connsiteY58" fmla="*/ 2423160 h 3192088"/>
              <a:gd name="connsiteX59" fmla="*/ 997528 w 4634346"/>
              <a:gd name="connsiteY59" fmla="*/ 2423160 h 3192088"/>
              <a:gd name="connsiteX60" fmla="*/ 997528 w 4634346"/>
              <a:gd name="connsiteY60" fmla="*/ 2443942 h 3192088"/>
              <a:gd name="connsiteX61" fmla="*/ 1055717 w 4634346"/>
              <a:gd name="connsiteY61" fmla="*/ 2443942 h 3192088"/>
              <a:gd name="connsiteX62" fmla="*/ 1055717 w 4634346"/>
              <a:gd name="connsiteY62" fmla="*/ 2443942 h 3192088"/>
              <a:gd name="connsiteX63" fmla="*/ 1055717 w 4634346"/>
              <a:gd name="connsiteY63" fmla="*/ 2477193 h 3192088"/>
              <a:gd name="connsiteX64" fmla="*/ 1230284 w 4634346"/>
              <a:gd name="connsiteY64" fmla="*/ 2477193 h 3192088"/>
              <a:gd name="connsiteX65" fmla="*/ 1230284 w 4634346"/>
              <a:gd name="connsiteY65" fmla="*/ 2522913 h 3192088"/>
              <a:gd name="connsiteX66" fmla="*/ 1280160 w 4634346"/>
              <a:gd name="connsiteY66" fmla="*/ 2522913 h 3192088"/>
              <a:gd name="connsiteX67" fmla="*/ 1280160 w 4634346"/>
              <a:gd name="connsiteY67" fmla="*/ 2630979 h 3192088"/>
              <a:gd name="connsiteX68" fmla="*/ 1305099 w 4634346"/>
              <a:gd name="connsiteY68" fmla="*/ 2630979 h 3192088"/>
              <a:gd name="connsiteX69" fmla="*/ 1305099 w 4634346"/>
              <a:gd name="connsiteY69" fmla="*/ 2647604 h 3192088"/>
              <a:gd name="connsiteX70" fmla="*/ 1342506 w 4634346"/>
              <a:gd name="connsiteY70" fmla="*/ 2647604 h 3192088"/>
              <a:gd name="connsiteX71" fmla="*/ 1342506 w 4634346"/>
              <a:gd name="connsiteY71" fmla="*/ 2693324 h 3192088"/>
              <a:gd name="connsiteX72" fmla="*/ 1367444 w 4634346"/>
              <a:gd name="connsiteY72" fmla="*/ 2693324 h 3192088"/>
              <a:gd name="connsiteX73" fmla="*/ 1367444 w 4634346"/>
              <a:gd name="connsiteY73" fmla="*/ 2739044 h 3192088"/>
              <a:gd name="connsiteX74" fmla="*/ 1458884 w 4634346"/>
              <a:gd name="connsiteY74" fmla="*/ 2739044 h 3192088"/>
              <a:gd name="connsiteX75" fmla="*/ 1458884 w 4634346"/>
              <a:gd name="connsiteY75" fmla="*/ 2759826 h 3192088"/>
              <a:gd name="connsiteX76" fmla="*/ 1591888 w 4634346"/>
              <a:gd name="connsiteY76" fmla="*/ 2759826 h 3192088"/>
              <a:gd name="connsiteX77" fmla="*/ 1591888 w 4634346"/>
              <a:gd name="connsiteY77" fmla="*/ 2813859 h 3192088"/>
              <a:gd name="connsiteX78" fmla="*/ 1687484 w 4634346"/>
              <a:gd name="connsiteY78" fmla="*/ 2813859 h 3192088"/>
              <a:gd name="connsiteX79" fmla="*/ 1687484 w 4634346"/>
              <a:gd name="connsiteY79" fmla="*/ 2872048 h 3192088"/>
              <a:gd name="connsiteX80" fmla="*/ 1766455 w 4634346"/>
              <a:gd name="connsiteY80" fmla="*/ 2872048 h 3192088"/>
              <a:gd name="connsiteX81" fmla="*/ 1766455 w 4634346"/>
              <a:gd name="connsiteY81" fmla="*/ 2901142 h 3192088"/>
              <a:gd name="connsiteX82" fmla="*/ 2074026 w 4634346"/>
              <a:gd name="connsiteY82" fmla="*/ 2901142 h 3192088"/>
              <a:gd name="connsiteX83" fmla="*/ 2074026 w 4634346"/>
              <a:gd name="connsiteY83" fmla="*/ 2938549 h 3192088"/>
              <a:gd name="connsiteX84" fmla="*/ 2123902 w 4634346"/>
              <a:gd name="connsiteY84" fmla="*/ 2938549 h 3192088"/>
              <a:gd name="connsiteX85" fmla="*/ 2123902 w 4634346"/>
              <a:gd name="connsiteY85" fmla="*/ 2988426 h 3192088"/>
              <a:gd name="connsiteX86" fmla="*/ 2177935 w 4634346"/>
              <a:gd name="connsiteY86" fmla="*/ 2988426 h 3192088"/>
              <a:gd name="connsiteX87" fmla="*/ 2177935 w 4634346"/>
              <a:gd name="connsiteY87" fmla="*/ 3021677 h 3192088"/>
              <a:gd name="connsiteX88" fmla="*/ 2448099 w 4634346"/>
              <a:gd name="connsiteY88" fmla="*/ 3021677 h 3192088"/>
              <a:gd name="connsiteX89" fmla="*/ 2448099 w 4634346"/>
              <a:gd name="connsiteY89" fmla="*/ 3042459 h 3192088"/>
              <a:gd name="connsiteX90" fmla="*/ 2593571 w 4634346"/>
              <a:gd name="connsiteY90" fmla="*/ 3042459 h 3192088"/>
              <a:gd name="connsiteX91" fmla="*/ 2593571 w 4634346"/>
              <a:gd name="connsiteY91" fmla="*/ 3088179 h 3192088"/>
              <a:gd name="connsiteX92" fmla="*/ 2818015 w 4634346"/>
              <a:gd name="connsiteY92" fmla="*/ 3088179 h 3192088"/>
              <a:gd name="connsiteX93" fmla="*/ 2818015 w 4634346"/>
              <a:gd name="connsiteY93" fmla="*/ 3121429 h 3192088"/>
              <a:gd name="connsiteX94" fmla="*/ 2946862 w 4634346"/>
              <a:gd name="connsiteY94" fmla="*/ 3121429 h 3192088"/>
              <a:gd name="connsiteX95" fmla="*/ 2946862 w 4634346"/>
              <a:gd name="connsiteY95" fmla="*/ 3121429 h 3192088"/>
              <a:gd name="connsiteX96" fmla="*/ 2946862 w 4634346"/>
              <a:gd name="connsiteY96" fmla="*/ 3142211 h 3192088"/>
              <a:gd name="connsiteX97" fmla="*/ 3104804 w 4634346"/>
              <a:gd name="connsiteY97" fmla="*/ 3142211 h 3192088"/>
              <a:gd name="connsiteX98" fmla="*/ 3104804 w 4634346"/>
              <a:gd name="connsiteY98" fmla="*/ 3162993 h 3192088"/>
              <a:gd name="connsiteX99" fmla="*/ 3154680 w 4634346"/>
              <a:gd name="connsiteY99" fmla="*/ 3162993 h 3192088"/>
              <a:gd name="connsiteX100" fmla="*/ 3154680 w 4634346"/>
              <a:gd name="connsiteY100" fmla="*/ 3192088 h 3192088"/>
              <a:gd name="connsiteX101" fmla="*/ 4634346 w 4634346"/>
              <a:gd name="connsiteY101" fmla="*/ 3192088 h 3192088"/>
              <a:gd name="connsiteX0" fmla="*/ 0 w 4634346"/>
              <a:gd name="connsiteY0" fmla="*/ 0 h 3192088"/>
              <a:gd name="connsiteX1" fmla="*/ 83128 w 4634346"/>
              <a:gd name="connsiteY1" fmla="*/ 0 h 3192088"/>
              <a:gd name="connsiteX2" fmla="*/ 83128 w 4634346"/>
              <a:gd name="connsiteY2" fmla="*/ 49877 h 3192088"/>
              <a:gd name="connsiteX3" fmla="*/ 116379 w 4634346"/>
              <a:gd name="connsiteY3" fmla="*/ 49877 h 3192088"/>
              <a:gd name="connsiteX4" fmla="*/ 116379 w 4634346"/>
              <a:gd name="connsiteY4" fmla="*/ 87284 h 3192088"/>
              <a:gd name="connsiteX5" fmla="*/ 166255 w 4634346"/>
              <a:gd name="connsiteY5" fmla="*/ 87284 h 3192088"/>
              <a:gd name="connsiteX6" fmla="*/ 166255 w 4634346"/>
              <a:gd name="connsiteY6" fmla="*/ 124691 h 3192088"/>
              <a:gd name="connsiteX7" fmla="*/ 207819 w 4634346"/>
              <a:gd name="connsiteY7" fmla="*/ 124691 h 3192088"/>
              <a:gd name="connsiteX8" fmla="*/ 207819 w 4634346"/>
              <a:gd name="connsiteY8" fmla="*/ 124691 h 3192088"/>
              <a:gd name="connsiteX9" fmla="*/ 208338 w 4634346"/>
              <a:gd name="connsiteY9" fmla="*/ 153785 h 3192088"/>
              <a:gd name="connsiteX10" fmla="*/ 233882 w 4634346"/>
              <a:gd name="connsiteY10" fmla="*/ 155864 h 3192088"/>
              <a:gd name="connsiteX11" fmla="*/ 236913 w 4634346"/>
              <a:gd name="connsiteY11" fmla="*/ 207819 h 3192088"/>
              <a:gd name="connsiteX12" fmla="*/ 253539 w 4634346"/>
              <a:gd name="connsiteY12" fmla="*/ 207819 h 3192088"/>
              <a:gd name="connsiteX13" fmla="*/ 253539 w 4634346"/>
              <a:gd name="connsiteY13" fmla="*/ 274320 h 3192088"/>
              <a:gd name="connsiteX14" fmla="*/ 286790 w 4634346"/>
              <a:gd name="connsiteY14" fmla="*/ 274320 h 3192088"/>
              <a:gd name="connsiteX15" fmla="*/ 286790 w 4634346"/>
              <a:gd name="connsiteY15" fmla="*/ 290946 h 3192088"/>
              <a:gd name="connsiteX16" fmla="*/ 320040 w 4634346"/>
              <a:gd name="connsiteY16" fmla="*/ 290946 h 3192088"/>
              <a:gd name="connsiteX17" fmla="*/ 320040 w 4634346"/>
              <a:gd name="connsiteY17" fmla="*/ 320040 h 3192088"/>
              <a:gd name="connsiteX18" fmla="*/ 344979 w 4634346"/>
              <a:gd name="connsiteY18" fmla="*/ 320040 h 3192088"/>
              <a:gd name="connsiteX19" fmla="*/ 344979 w 4634346"/>
              <a:gd name="connsiteY19" fmla="*/ 394855 h 3192088"/>
              <a:gd name="connsiteX20" fmla="*/ 390699 w 4634346"/>
              <a:gd name="connsiteY20" fmla="*/ 394855 h 3192088"/>
              <a:gd name="connsiteX21" fmla="*/ 390699 w 4634346"/>
              <a:gd name="connsiteY21" fmla="*/ 598517 h 3192088"/>
              <a:gd name="connsiteX22" fmla="*/ 411480 w 4634346"/>
              <a:gd name="connsiteY22" fmla="*/ 598517 h 3192088"/>
              <a:gd name="connsiteX23" fmla="*/ 411480 w 4634346"/>
              <a:gd name="connsiteY23" fmla="*/ 735677 h 3192088"/>
              <a:gd name="connsiteX24" fmla="*/ 411480 w 4634346"/>
              <a:gd name="connsiteY24" fmla="*/ 735677 h 3192088"/>
              <a:gd name="connsiteX25" fmla="*/ 411480 w 4634346"/>
              <a:gd name="connsiteY25" fmla="*/ 943495 h 3192088"/>
              <a:gd name="connsiteX26" fmla="*/ 436419 w 4634346"/>
              <a:gd name="connsiteY26" fmla="*/ 943495 h 3192088"/>
              <a:gd name="connsiteX27" fmla="*/ 436419 w 4634346"/>
              <a:gd name="connsiteY27" fmla="*/ 1101437 h 3192088"/>
              <a:gd name="connsiteX28" fmla="*/ 444731 w 4634346"/>
              <a:gd name="connsiteY28" fmla="*/ 1101437 h 3192088"/>
              <a:gd name="connsiteX29" fmla="*/ 444731 w 4634346"/>
              <a:gd name="connsiteY29" fmla="*/ 1359131 h 3192088"/>
              <a:gd name="connsiteX30" fmla="*/ 465513 w 4634346"/>
              <a:gd name="connsiteY30" fmla="*/ 1359131 h 3192088"/>
              <a:gd name="connsiteX31" fmla="*/ 465513 w 4634346"/>
              <a:gd name="connsiteY31" fmla="*/ 1463040 h 3192088"/>
              <a:gd name="connsiteX32" fmla="*/ 494608 w 4634346"/>
              <a:gd name="connsiteY32" fmla="*/ 1463040 h 3192088"/>
              <a:gd name="connsiteX33" fmla="*/ 494608 w 4634346"/>
              <a:gd name="connsiteY33" fmla="*/ 1562793 h 3192088"/>
              <a:gd name="connsiteX34" fmla="*/ 515390 w 4634346"/>
              <a:gd name="connsiteY34" fmla="*/ 1562793 h 3192088"/>
              <a:gd name="connsiteX35" fmla="*/ 515390 w 4634346"/>
              <a:gd name="connsiteY35" fmla="*/ 1620982 h 3192088"/>
              <a:gd name="connsiteX36" fmla="*/ 548640 w 4634346"/>
              <a:gd name="connsiteY36" fmla="*/ 1620982 h 3192088"/>
              <a:gd name="connsiteX37" fmla="*/ 548640 w 4634346"/>
              <a:gd name="connsiteY37" fmla="*/ 1687484 h 3192088"/>
              <a:gd name="connsiteX38" fmla="*/ 577735 w 4634346"/>
              <a:gd name="connsiteY38" fmla="*/ 1687484 h 3192088"/>
              <a:gd name="connsiteX39" fmla="*/ 577735 w 4634346"/>
              <a:gd name="connsiteY39" fmla="*/ 1737360 h 3192088"/>
              <a:gd name="connsiteX40" fmla="*/ 669175 w 4634346"/>
              <a:gd name="connsiteY40" fmla="*/ 1737360 h 3192088"/>
              <a:gd name="connsiteX41" fmla="*/ 669175 w 4634346"/>
              <a:gd name="connsiteY41" fmla="*/ 1783080 h 3192088"/>
              <a:gd name="connsiteX42" fmla="*/ 723208 w 4634346"/>
              <a:gd name="connsiteY42" fmla="*/ 1783080 h 3192088"/>
              <a:gd name="connsiteX43" fmla="*/ 723208 w 4634346"/>
              <a:gd name="connsiteY43" fmla="*/ 1824644 h 3192088"/>
              <a:gd name="connsiteX44" fmla="*/ 760615 w 4634346"/>
              <a:gd name="connsiteY44" fmla="*/ 1824644 h 3192088"/>
              <a:gd name="connsiteX45" fmla="*/ 760615 w 4634346"/>
              <a:gd name="connsiteY45" fmla="*/ 1870364 h 3192088"/>
              <a:gd name="connsiteX46" fmla="*/ 789710 w 4634346"/>
              <a:gd name="connsiteY46" fmla="*/ 1870364 h 3192088"/>
              <a:gd name="connsiteX47" fmla="*/ 789710 w 4634346"/>
              <a:gd name="connsiteY47" fmla="*/ 1995055 h 3192088"/>
              <a:gd name="connsiteX48" fmla="*/ 789710 w 4634346"/>
              <a:gd name="connsiteY48" fmla="*/ 1995055 h 3192088"/>
              <a:gd name="connsiteX49" fmla="*/ 818804 w 4634346"/>
              <a:gd name="connsiteY49" fmla="*/ 1995055 h 3192088"/>
              <a:gd name="connsiteX50" fmla="*/ 818804 w 4634346"/>
              <a:gd name="connsiteY50" fmla="*/ 2057400 h 3192088"/>
              <a:gd name="connsiteX51" fmla="*/ 822960 w 4634346"/>
              <a:gd name="connsiteY51" fmla="*/ 2057400 h 3192088"/>
              <a:gd name="connsiteX52" fmla="*/ 822960 w 4634346"/>
              <a:gd name="connsiteY52" fmla="*/ 2115589 h 3192088"/>
              <a:gd name="connsiteX53" fmla="*/ 843742 w 4634346"/>
              <a:gd name="connsiteY53" fmla="*/ 2115589 h 3192088"/>
              <a:gd name="connsiteX54" fmla="*/ 843742 w 4634346"/>
              <a:gd name="connsiteY54" fmla="*/ 2265219 h 3192088"/>
              <a:gd name="connsiteX55" fmla="*/ 893619 w 4634346"/>
              <a:gd name="connsiteY55" fmla="*/ 2265219 h 3192088"/>
              <a:gd name="connsiteX56" fmla="*/ 893619 w 4634346"/>
              <a:gd name="connsiteY56" fmla="*/ 2377440 h 3192088"/>
              <a:gd name="connsiteX57" fmla="*/ 914400 w 4634346"/>
              <a:gd name="connsiteY57" fmla="*/ 2377440 h 3192088"/>
              <a:gd name="connsiteX58" fmla="*/ 914400 w 4634346"/>
              <a:gd name="connsiteY58" fmla="*/ 2423160 h 3192088"/>
              <a:gd name="connsiteX59" fmla="*/ 997528 w 4634346"/>
              <a:gd name="connsiteY59" fmla="*/ 2423160 h 3192088"/>
              <a:gd name="connsiteX60" fmla="*/ 997528 w 4634346"/>
              <a:gd name="connsiteY60" fmla="*/ 2443942 h 3192088"/>
              <a:gd name="connsiteX61" fmla="*/ 1055717 w 4634346"/>
              <a:gd name="connsiteY61" fmla="*/ 2443942 h 3192088"/>
              <a:gd name="connsiteX62" fmla="*/ 1055717 w 4634346"/>
              <a:gd name="connsiteY62" fmla="*/ 2443942 h 3192088"/>
              <a:gd name="connsiteX63" fmla="*/ 1055717 w 4634346"/>
              <a:gd name="connsiteY63" fmla="*/ 2477193 h 3192088"/>
              <a:gd name="connsiteX64" fmla="*/ 1230284 w 4634346"/>
              <a:gd name="connsiteY64" fmla="*/ 2477193 h 3192088"/>
              <a:gd name="connsiteX65" fmla="*/ 1230284 w 4634346"/>
              <a:gd name="connsiteY65" fmla="*/ 2522913 h 3192088"/>
              <a:gd name="connsiteX66" fmla="*/ 1280160 w 4634346"/>
              <a:gd name="connsiteY66" fmla="*/ 2522913 h 3192088"/>
              <a:gd name="connsiteX67" fmla="*/ 1280160 w 4634346"/>
              <a:gd name="connsiteY67" fmla="*/ 2630979 h 3192088"/>
              <a:gd name="connsiteX68" fmla="*/ 1305099 w 4634346"/>
              <a:gd name="connsiteY68" fmla="*/ 2630979 h 3192088"/>
              <a:gd name="connsiteX69" fmla="*/ 1305099 w 4634346"/>
              <a:gd name="connsiteY69" fmla="*/ 2647604 h 3192088"/>
              <a:gd name="connsiteX70" fmla="*/ 1342506 w 4634346"/>
              <a:gd name="connsiteY70" fmla="*/ 2647604 h 3192088"/>
              <a:gd name="connsiteX71" fmla="*/ 1342506 w 4634346"/>
              <a:gd name="connsiteY71" fmla="*/ 2693324 h 3192088"/>
              <a:gd name="connsiteX72" fmla="*/ 1367444 w 4634346"/>
              <a:gd name="connsiteY72" fmla="*/ 2693324 h 3192088"/>
              <a:gd name="connsiteX73" fmla="*/ 1367444 w 4634346"/>
              <a:gd name="connsiteY73" fmla="*/ 2739044 h 3192088"/>
              <a:gd name="connsiteX74" fmla="*/ 1458884 w 4634346"/>
              <a:gd name="connsiteY74" fmla="*/ 2739044 h 3192088"/>
              <a:gd name="connsiteX75" fmla="*/ 1458884 w 4634346"/>
              <a:gd name="connsiteY75" fmla="*/ 2759826 h 3192088"/>
              <a:gd name="connsiteX76" fmla="*/ 1591888 w 4634346"/>
              <a:gd name="connsiteY76" fmla="*/ 2759826 h 3192088"/>
              <a:gd name="connsiteX77" fmla="*/ 1591888 w 4634346"/>
              <a:gd name="connsiteY77" fmla="*/ 2813859 h 3192088"/>
              <a:gd name="connsiteX78" fmla="*/ 1687484 w 4634346"/>
              <a:gd name="connsiteY78" fmla="*/ 2813859 h 3192088"/>
              <a:gd name="connsiteX79" fmla="*/ 1687484 w 4634346"/>
              <a:gd name="connsiteY79" fmla="*/ 2872048 h 3192088"/>
              <a:gd name="connsiteX80" fmla="*/ 1766455 w 4634346"/>
              <a:gd name="connsiteY80" fmla="*/ 2872048 h 3192088"/>
              <a:gd name="connsiteX81" fmla="*/ 1766455 w 4634346"/>
              <a:gd name="connsiteY81" fmla="*/ 2901142 h 3192088"/>
              <a:gd name="connsiteX82" fmla="*/ 2074026 w 4634346"/>
              <a:gd name="connsiteY82" fmla="*/ 2901142 h 3192088"/>
              <a:gd name="connsiteX83" fmla="*/ 2074026 w 4634346"/>
              <a:gd name="connsiteY83" fmla="*/ 2938549 h 3192088"/>
              <a:gd name="connsiteX84" fmla="*/ 2123902 w 4634346"/>
              <a:gd name="connsiteY84" fmla="*/ 2938549 h 3192088"/>
              <a:gd name="connsiteX85" fmla="*/ 2123902 w 4634346"/>
              <a:gd name="connsiteY85" fmla="*/ 2988426 h 3192088"/>
              <a:gd name="connsiteX86" fmla="*/ 2177935 w 4634346"/>
              <a:gd name="connsiteY86" fmla="*/ 2988426 h 3192088"/>
              <a:gd name="connsiteX87" fmla="*/ 2177935 w 4634346"/>
              <a:gd name="connsiteY87" fmla="*/ 3021677 h 3192088"/>
              <a:gd name="connsiteX88" fmla="*/ 2448099 w 4634346"/>
              <a:gd name="connsiteY88" fmla="*/ 3021677 h 3192088"/>
              <a:gd name="connsiteX89" fmla="*/ 2448099 w 4634346"/>
              <a:gd name="connsiteY89" fmla="*/ 3042459 h 3192088"/>
              <a:gd name="connsiteX90" fmla="*/ 2593571 w 4634346"/>
              <a:gd name="connsiteY90" fmla="*/ 3042459 h 3192088"/>
              <a:gd name="connsiteX91" fmla="*/ 2593571 w 4634346"/>
              <a:gd name="connsiteY91" fmla="*/ 3088179 h 3192088"/>
              <a:gd name="connsiteX92" fmla="*/ 2818015 w 4634346"/>
              <a:gd name="connsiteY92" fmla="*/ 3088179 h 3192088"/>
              <a:gd name="connsiteX93" fmla="*/ 2818015 w 4634346"/>
              <a:gd name="connsiteY93" fmla="*/ 3121429 h 3192088"/>
              <a:gd name="connsiteX94" fmla="*/ 2946862 w 4634346"/>
              <a:gd name="connsiteY94" fmla="*/ 3121429 h 3192088"/>
              <a:gd name="connsiteX95" fmla="*/ 2946862 w 4634346"/>
              <a:gd name="connsiteY95" fmla="*/ 3121429 h 3192088"/>
              <a:gd name="connsiteX96" fmla="*/ 2946862 w 4634346"/>
              <a:gd name="connsiteY96" fmla="*/ 3142211 h 3192088"/>
              <a:gd name="connsiteX97" fmla="*/ 3104804 w 4634346"/>
              <a:gd name="connsiteY97" fmla="*/ 3142211 h 3192088"/>
              <a:gd name="connsiteX98" fmla="*/ 3104804 w 4634346"/>
              <a:gd name="connsiteY98" fmla="*/ 3162993 h 3192088"/>
              <a:gd name="connsiteX99" fmla="*/ 3154680 w 4634346"/>
              <a:gd name="connsiteY99" fmla="*/ 3162993 h 3192088"/>
              <a:gd name="connsiteX100" fmla="*/ 3154680 w 4634346"/>
              <a:gd name="connsiteY100" fmla="*/ 3192088 h 3192088"/>
              <a:gd name="connsiteX101" fmla="*/ 4634346 w 4634346"/>
              <a:gd name="connsiteY101" fmla="*/ 3192088 h 3192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4634346" h="3192088">
                <a:moveTo>
                  <a:pt x="0" y="0"/>
                </a:moveTo>
                <a:lnTo>
                  <a:pt x="83128" y="0"/>
                </a:lnTo>
                <a:lnTo>
                  <a:pt x="83128" y="49877"/>
                </a:lnTo>
                <a:lnTo>
                  <a:pt x="116379" y="49877"/>
                </a:lnTo>
                <a:lnTo>
                  <a:pt x="116379" y="87284"/>
                </a:lnTo>
                <a:lnTo>
                  <a:pt x="166255" y="87284"/>
                </a:lnTo>
                <a:lnTo>
                  <a:pt x="166255" y="124691"/>
                </a:lnTo>
                <a:lnTo>
                  <a:pt x="207819" y="124691"/>
                </a:lnTo>
                <a:lnTo>
                  <a:pt x="207819" y="124691"/>
                </a:lnTo>
                <a:lnTo>
                  <a:pt x="208338" y="153785"/>
                </a:lnTo>
                <a:lnTo>
                  <a:pt x="233882" y="155864"/>
                </a:lnTo>
                <a:cubicBezTo>
                  <a:pt x="233305" y="173182"/>
                  <a:pt x="237490" y="190501"/>
                  <a:pt x="236913" y="207819"/>
                </a:cubicBezTo>
                <a:lnTo>
                  <a:pt x="253539" y="207819"/>
                </a:lnTo>
                <a:lnTo>
                  <a:pt x="253539" y="274320"/>
                </a:lnTo>
                <a:lnTo>
                  <a:pt x="286790" y="274320"/>
                </a:lnTo>
                <a:lnTo>
                  <a:pt x="286790" y="290946"/>
                </a:lnTo>
                <a:lnTo>
                  <a:pt x="320040" y="290946"/>
                </a:lnTo>
                <a:lnTo>
                  <a:pt x="320040" y="320040"/>
                </a:lnTo>
                <a:lnTo>
                  <a:pt x="344979" y="320040"/>
                </a:lnTo>
                <a:lnTo>
                  <a:pt x="344979" y="394855"/>
                </a:lnTo>
                <a:lnTo>
                  <a:pt x="390699" y="394855"/>
                </a:lnTo>
                <a:lnTo>
                  <a:pt x="390699" y="598517"/>
                </a:lnTo>
                <a:lnTo>
                  <a:pt x="411480" y="598517"/>
                </a:lnTo>
                <a:lnTo>
                  <a:pt x="411480" y="735677"/>
                </a:lnTo>
                <a:lnTo>
                  <a:pt x="411480" y="735677"/>
                </a:lnTo>
                <a:lnTo>
                  <a:pt x="411480" y="943495"/>
                </a:lnTo>
                <a:lnTo>
                  <a:pt x="436419" y="943495"/>
                </a:lnTo>
                <a:lnTo>
                  <a:pt x="436419" y="1101437"/>
                </a:lnTo>
                <a:lnTo>
                  <a:pt x="444731" y="1101437"/>
                </a:lnTo>
                <a:lnTo>
                  <a:pt x="444731" y="1359131"/>
                </a:lnTo>
                <a:lnTo>
                  <a:pt x="465513" y="1359131"/>
                </a:lnTo>
                <a:lnTo>
                  <a:pt x="465513" y="1463040"/>
                </a:lnTo>
                <a:lnTo>
                  <a:pt x="494608" y="1463040"/>
                </a:lnTo>
                <a:lnTo>
                  <a:pt x="494608" y="1562793"/>
                </a:lnTo>
                <a:lnTo>
                  <a:pt x="515390" y="1562793"/>
                </a:lnTo>
                <a:lnTo>
                  <a:pt x="515390" y="1620982"/>
                </a:lnTo>
                <a:lnTo>
                  <a:pt x="548640" y="1620982"/>
                </a:lnTo>
                <a:lnTo>
                  <a:pt x="548640" y="1687484"/>
                </a:lnTo>
                <a:lnTo>
                  <a:pt x="577735" y="1687484"/>
                </a:lnTo>
                <a:lnTo>
                  <a:pt x="577735" y="1737360"/>
                </a:lnTo>
                <a:lnTo>
                  <a:pt x="669175" y="1737360"/>
                </a:lnTo>
                <a:lnTo>
                  <a:pt x="669175" y="1783080"/>
                </a:lnTo>
                <a:lnTo>
                  <a:pt x="723208" y="1783080"/>
                </a:lnTo>
                <a:lnTo>
                  <a:pt x="723208" y="1824644"/>
                </a:lnTo>
                <a:lnTo>
                  <a:pt x="760615" y="1824644"/>
                </a:lnTo>
                <a:lnTo>
                  <a:pt x="760615" y="1870364"/>
                </a:lnTo>
                <a:lnTo>
                  <a:pt x="789710" y="1870364"/>
                </a:lnTo>
                <a:lnTo>
                  <a:pt x="789710" y="1995055"/>
                </a:lnTo>
                <a:lnTo>
                  <a:pt x="789710" y="1995055"/>
                </a:lnTo>
                <a:lnTo>
                  <a:pt x="818804" y="1995055"/>
                </a:lnTo>
                <a:lnTo>
                  <a:pt x="818804" y="2057400"/>
                </a:lnTo>
                <a:lnTo>
                  <a:pt x="822960" y="2057400"/>
                </a:lnTo>
                <a:lnTo>
                  <a:pt x="822960" y="2115589"/>
                </a:lnTo>
                <a:lnTo>
                  <a:pt x="843742" y="2115589"/>
                </a:lnTo>
                <a:lnTo>
                  <a:pt x="843742" y="2265219"/>
                </a:lnTo>
                <a:lnTo>
                  <a:pt x="893619" y="2265219"/>
                </a:lnTo>
                <a:lnTo>
                  <a:pt x="893619" y="2377440"/>
                </a:lnTo>
                <a:lnTo>
                  <a:pt x="914400" y="2377440"/>
                </a:lnTo>
                <a:lnTo>
                  <a:pt x="914400" y="2423160"/>
                </a:lnTo>
                <a:lnTo>
                  <a:pt x="997528" y="2423160"/>
                </a:lnTo>
                <a:lnTo>
                  <a:pt x="997528" y="2443942"/>
                </a:lnTo>
                <a:lnTo>
                  <a:pt x="1055717" y="2443942"/>
                </a:lnTo>
                <a:lnTo>
                  <a:pt x="1055717" y="2443942"/>
                </a:lnTo>
                <a:lnTo>
                  <a:pt x="1055717" y="2477193"/>
                </a:lnTo>
                <a:lnTo>
                  <a:pt x="1230284" y="2477193"/>
                </a:lnTo>
                <a:lnTo>
                  <a:pt x="1230284" y="2522913"/>
                </a:lnTo>
                <a:lnTo>
                  <a:pt x="1280160" y="2522913"/>
                </a:lnTo>
                <a:lnTo>
                  <a:pt x="1280160" y="2630979"/>
                </a:lnTo>
                <a:lnTo>
                  <a:pt x="1305099" y="2630979"/>
                </a:lnTo>
                <a:lnTo>
                  <a:pt x="1305099" y="2647604"/>
                </a:lnTo>
                <a:lnTo>
                  <a:pt x="1342506" y="2647604"/>
                </a:lnTo>
                <a:lnTo>
                  <a:pt x="1342506" y="2693324"/>
                </a:lnTo>
                <a:lnTo>
                  <a:pt x="1367444" y="2693324"/>
                </a:lnTo>
                <a:lnTo>
                  <a:pt x="1367444" y="2739044"/>
                </a:lnTo>
                <a:lnTo>
                  <a:pt x="1458884" y="2739044"/>
                </a:lnTo>
                <a:lnTo>
                  <a:pt x="1458884" y="2759826"/>
                </a:lnTo>
                <a:lnTo>
                  <a:pt x="1591888" y="2759826"/>
                </a:lnTo>
                <a:lnTo>
                  <a:pt x="1591888" y="2813859"/>
                </a:lnTo>
                <a:lnTo>
                  <a:pt x="1687484" y="2813859"/>
                </a:lnTo>
                <a:lnTo>
                  <a:pt x="1687484" y="2872048"/>
                </a:lnTo>
                <a:lnTo>
                  <a:pt x="1766455" y="2872048"/>
                </a:lnTo>
                <a:lnTo>
                  <a:pt x="1766455" y="2901142"/>
                </a:lnTo>
                <a:lnTo>
                  <a:pt x="2074026" y="2901142"/>
                </a:lnTo>
                <a:lnTo>
                  <a:pt x="2074026" y="2938549"/>
                </a:lnTo>
                <a:lnTo>
                  <a:pt x="2123902" y="2938549"/>
                </a:lnTo>
                <a:lnTo>
                  <a:pt x="2123902" y="2988426"/>
                </a:lnTo>
                <a:lnTo>
                  <a:pt x="2177935" y="2988426"/>
                </a:lnTo>
                <a:lnTo>
                  <a:pt x="2177935" y="3021677"/>
                </a:lnTo>
                <a:lnTo>
                  <a:pt x="2448099" y="3021677"/>
                </a:lnTo>
                <a:lnTo>
                  <a:pt x="2448099" y="3042459"/>
                </a:lnTo>
                <a:lnTo>
                  <a:pt x="2593571" y="3042459"/>
                </a:lnTo>
                <a:lnTo>
                  <a:pt x="2593571" y="3088179"/>
                </a:lnTo>
                <a:lnTo>
                  <a:pt x="2818015" y="3088179"/>
                </a:lnTo>
                <a:lnTo>
                  <a:pt x="2818015" y="3121429"/>
                </a:lnTo>
                <a:lnTo>
                  <a:pt x="2946862" y="3121429"/>
                </a:lnTo>
                <a:lnTo>
                  <a:pt x="2946862" y="3121429"/>
                </a:lnTo>
                <a:lnTo>
                  <a:pt x="2946862" y="3142211"/>
                </a:lnTo>
                <a:lnTo>
                  <a:pt x="3104804" y="3142211"/>
                </a:lnTo>
                <a:lnTo>
                  <a:pt x="3104804" y="3162993"/>
                </a:lnTo>
                <a:lnTo>
                  <a:pt x="3154680" y="3162993"/>
                </a:lnTo>
                <a:lnTo>
                  <a:pt x="3154680" y="3192088"/>
                </a:lnTo>
                <a:lnTo>
                  <a:pt x="4634346" y="3192088"/>
                </a:lnTo>
              </a:path>
            </a:pathLst>
          </a:custGeom>
          <a:noFill/>
          <a:ln w="28575">
            <a:solidFill>
              <a:srgbClr val="E1471D"/>
            </a:solidFill>
            <a:miter lim="800000"/>
            <a:headEnd/>
            <a:tailEnd/>
          </a:ln>
        </p:spPr>
        <p:txBody>
          <a:bodyPr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grpSp>
        <p:nvGrpSpPr>
          <p:cNvPr id="13" name="Group 12">
            <a:extLst>
              <a:ext uri="{FF2B5EF4-FFF2-40B4-BE49-F238E27FC236}">
                <a16:creationId xmlns:a16="http://schemas.microsoft.com/office/drawing/2014/main" id="{C8028B70-B52E-62FA-8044-2DA687E66C33}"/>
              </a:ext>
            </a:extLst>
          </p:cNvPr>
          <p:cNvGrpSpPr/>
          <p:nvPr/>
        </p:nvGrpSpPr>
        <p:grpSpPr>
          <a:xfrm>
            <a:off x="1069756" y="1222148"/>
            <a:ext cx="5839697" cy="2595093"/>
            <a:chOff x="2595716" y="1983658"/>
            <a:chExt cx="7499555" cy="3355249"/>
          </a:xfrm>
        </p:grpSpPr>
        <p:sp>
          <p:nvSpPr>
            <p:cNvPr id="14" name="Freeform: Shape 13">
              <a:extLst>
                <a:ext uri="{FF2B5EF4-FFF2-40B4-BE49-F238E27FC236}">
                  <a16:creationId xmlns:a16="http://schemas.microsoft.com/office/drawing/2014/main" id="{24B50C84-5542-B5D6-A594-01819EBF5BC8}"/>
                </a:ext>
              </a:extLst>
            </p:cNvPr>
            <p:cNvSpPr/>
            <p:nvPr/>
          </p:nvSpPr>
          <p:spPr bwMode="auto">
            <a:xfrm>
              <a:off x="2698955" y="1983658"/>
              <a:ext cx="7396316" cy="3252019"/>
            </a:xfrm>
            <a:custGeom>
              <a:avLst/>
              <a:gdLst>
                <a:gd name="connsiteX0" fmla="*/ 0 w 7396316"/>
                <a:gd name="connsiteY0" fmla="*/ 0 h 3252019"/>
                <a:gd name="connsiteX1" fmla="*/ 0 w 7396316"/>
                <a:gd name="connsiteY1" fmla="*/ 3252019 h 3252019"/>
                <a:gd name="connsiteX2" fmla="*/ 7396316 w 7396316"/>
                <a:gd name="connsiteY2" fmla="*/ 3252019 h 3252019"/>
              </a:gdLst>
              <a:ahLst/>
              <a:cxnLst>
                <a:cxn ang="0">
                  <a:pos x="connsiteX0" y="connsiteY0"/>
                </a:cxn>
                <a:cxn ang="0">
                  <a:pos x="connsiteX1" y="connsiteY1"/>
                </a:cxn>
                <a:cxn ang="0">
                  <a:pos x="connsiteX2" y="connsiteY2"/>
                </a:cxn>
              </a:cxnLst>
              <a:rect l="l" t="t" r="r" b="b"/>
              <a:pathLst>
                <a:path w="7396316" h="3252019">
                  <a:moveTo>
                    <a:pt x="0" y="0"/>
                  </a:moveTo>
                  <a:lnTo>
                    <a:pt x="0" y="3252019"/>
                  </a:lnTo>
                  <a:lnTo>
                    <a:pt x="7396316" y="3252019"/>
                  </a:lnTo>
                </a:path>
              </a:pathLst>
            </a:custGeom>
            <a:noFill/>
            <a:ln w="28575">
              <a:solidFill>
                <a:srgbClr val="000000"/>
              </a:solidFill>
              <a:miter lim="800000"/>
              <a:headEnd/>
              <a:tailEnd/>
            </a:ln>
          </p:spPr>
          <p:txBody>
            <a:bodyPr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grpSp>
          <p:nvGrpSpPr>
            <p:cNvPr id="15" name="Group 14">
              <a:extLst>
                <a:ext uri="{FF2B5EF4-FFF2-40B4-BE49-F238E27FC236}">
                  <a16:creationId xmlns:a16="http://schemas.microsoft.com/office/drawing/2014/main" id="{D62EB387-AF80-B4EA-8FDF-87CA60BDD69B}"/>
                </a:ext>
              </a:extLst>
            </p:cNvPr>
            <p:cNvGrpSpPr/>
            <p:nvPr/>
          </p:nvGrpSpPr>
          <p:grpSpPr>
            <a:xfrm>
              <a:off x="2595716" y="2022271"/>
              <a:ext cx="103239" cy="3214615"/>
              <a:chOff x="2595716" y="2022271"/>
              <a:chExt cx="103239" cy="3214615"/>
            </a:xfrm>
          </p:grpSpPr>
          <p:cxnSp>
            <p:nvCxnSpPr>
              <p:cNvPr id="26" name="Straight Connector 25">
                <a:extLst>
                  <a:ext uri="{FF2B5EF4-FFF2-40B4-BE49-F238E27FC236}">
                    <a16:creationId xmlns:a16="http://schemas.microsoft.com/office/drawing/2014/main" id="{63B26444-20D8-5BD6-CB41-E7E05A2BE4D7}"/>
                  </a:ext>
                </a:extLst>
              </p:cNvPr>
              <p:cNvCxnSpPr>
                <a:cxnSpLocks/>
              </p:cNvCxnSpPr>
              <p:nvPr/>
            </p:nvCxnSpPr>
            <p:spPr bwMode="auto">
              <a:xfrm flipH="1">
                <a:off x="2595716" y="2022271"/>
                <a:ext cx="103239" cy="0"/>
              </a:xfrm>
              <a:prstGeom prst="line">
                <a:avLst/>
              </a:prstGeom>
              <a:noFill/>
              <a:ln w="28575" cap="flat" cmpd="sng" algn="ctr">
                <a:solidFill>
                  <a:srgbClr val="000000"/>
                </a:solidFill>
                <a:prstDash val="solid"/>
                <a:round/>
                <a:headEnd type="none" w="med" len="med"/>
                <a:tailEnd type="none" w="med" len="med"/>
              </a:ln>
              <a:effectLst/>
            </p:spPr>
          </p:cxnSp>
          <p:cxnSp>
            <p:nvCxnSpPr>
              <p:cNvPr id="27" name="Straight Connector 26">
                <a:extLst>
                  <a:ext uri="{FF2B5EF4-FFF2-40B4-BE49-F238E27FC236}">
                    <a16:creationId xmlns:a16="http://schemas.microsoft.com/office/drawing/2014/main" id="{6A0AACF5-6A53-08F9-D575-2B2AC049E069}"/>
                  </a:ext>
                </a:extLst>
              </p:cNvPr>
              <p:cNvCxnSpPr>
                <a:cxnSpLocks/>
              </p:cNvCxnSpPr>
              <p:nvPr/>
            </p:nvCxnSpPr>
            <p:spPr bwMode="auto">
              <a:xfrm flipH="1">
                <a:off x="2595716" y="2665194"/>
                <a:ext cx="103239" cy="0"/>
              </a:xfrm>
              <a:prstGeom prst="line">
                <a:avLst/>
              </a:prstGeom>
              <a:noFill/>
              <a:ln w="28575" cap="flat" cmpd="sng" algn="ctr">
                <a:solidFill>
                  <a:srgbClr val="000000"/>
                </a:solidFill>
                <a:prstDash val="solid"/>
                <a:round/>
                <a:headEnd type="none" w="med" len="med"/>
                <a:tailEnd type="none" w="med" len="med"/>
              </a:ln>
              <a:effectLst/>
            </p:spPr>
          </p:cxnSp>
          <p:cxnSp>
            <p:nvCxnSpPr>
              <p:cNvPr id="28" name="Straight Connector 27">
                <a:extLst>
                  <a:ext uri="{FF2B5EF4-FFF2-40B4-BE49-F238E27FC236}">
                    <a16:creationId xmlns:a16="http://schemas.microsoft.com/office/drawing/2014/main" id="{486D3A86-9E18-EE73-96FF-5674EB0616AF}"/>
                  </a:ext>
                </a:extLst>
              </p:cNvPr>
              <p:cNvCxnSpPr>
                <a:cxnSpLocks/>
              </p:cNvCxnSpPr>
              <p:nvPr/>
            </p:nvCxnSpPr>
            <p:spPr bwMode="auto">
              <a:xfrm flipH="1">
                <a:off x="2595716" y="3308117"/>
                <a:ext cx="103239" cy="0"/>
              </a:xfrm>
              <a:prstGeom prst="line">
                <a:avLst/>
              </a:prstGeom>
              <a:noFill/>
              <a:ln w="28575" cap="flat" cmpd="sng" algn="ctr">
                <a:solidFill>
                  <a:srgbClr val="000000"/>
                </a:solidFill>
                <a:prstDash val="solid"/>
                <a:round/>
                <a:headEnd type="none" w="med" len="med"/>
                <a:tailEnd type="none" w="med" len="med"/>
              </a:ln>
              <a:effectLst/>
            </p:spPr>
          </p:cxnSp>
          <p:cxnSp>
            <p:nvCxnSpPr>
              <p:cNvPr id="29" name="Straight Connector 28">
                <a:extLst>
                  <a:ext uri="{FF2B5EF4-FFF2-40B4-BE49-F238E27FC236}">
                    <a16:creationId xmlns:a16="http://schemas.microsoft.com/office/drawing/2014/main" id="{E42A0300-758F-8EB2-5655-7C15108B93C8}"/>
                  </a:ext>
                </a:extLst>
              </p:cNvPr>
              <p:cNvCxnSpPr>
                <a:cxnSpLocks/>
              </p:cNvCxnSpPr>
              <p:nvPr/>
            </p:nvCxnSpPr>
            <p:spPr bwMode="auto">
              <a:xfrm flipH="1">
                <a:off x="2595716" y="3951040"/>
                <a:ext cx="103239" cy="0"/>
              </a:xfrm>
              <a:prstGeom prst="line">
                <a:avLst/>
              </a:prstGeom>
              <a:noFill/>
              <a:ln w="28575" cap="flat" cmpd="sng" algn="ctr">
                <a:solidFill>
                  <a:srgbClr val="000000"/>
                </a:solidFill>
                <a:prstDash val="solid"/>
                <a:round/>
                <a:headEnd type="none" w="med" len="med"/>
                <a:tailEnd type="none" w="med" len="med"/>
              </a:ln>
              <a:effectLst/>
            </p:spPr>
          </p:cxnSp>
          <p:cxnSp>
            <p:nvCxnSpPr>
              <p:cNvPr id="30" name="Straight Connector 29">
                <a:extLst>
                  <a:ext uri="{FF2B5EF4-FFF2-40B4-BE49-F238E27FC236}">
                    <a16:creationId xmlns:a16="http://schemas.microsoft.com/office/drawing/2014/main" id="{4B29853C-690B-59FC-7B74-83E51E250633}"/>
                  </a:ext>
                </a:extLst>
              </p:cNvPr>
              <p:cNvCxnSpPr>
                <a:cxnSpLocks/>
              </p:cNvCxnSpPr>
              <p:nvPr/>
            </p:nvCxnSpPr>
            <p:spPr bwMode="auto">
              <a:xfrm flipH="1">
                <a:off x="2595716" y="4593963"/>
                <a:ext cx="103239" cy="0"/>
              </a:xfrm>
              <a:prstGeom prst="line">
                <a:avLst/>
              </a:prstGeom>
              <a:noFill/>
              <a:ln w="28575" cap="flat" cmpd="sng" algn="ctr">
                <a:solidFill>
                  <a:srgbClr val="000000"/>
                </a:solidFill>
                <a:prstDash val="solid"/>
                <a:round/>
                <a:headEnd type="none" w="med" len="med"/>
                <a:tailEnd type="none" w="med" len="med"/>
              </a:ln>
              <a:effectLst/>
            </p:spPr>
          </p:cxnSp>
          <p:cxnSp>
            <p:nvCxnSpPr>
              <p:cNvPr id="31" name="Straight Connector 30">
                <a:extLst>
                  <a:ext uri="{FF2B5EF4-FFF2-40B4-BE49-F238E27FC236}">
                    <a16:creationId xmlns:a16="http://schemas.microsoft.com/office/drawing/2014/main" id="{636E05B1-89E9-6D20-F3B8-D0802E850CEE}"/>
                  </a:ext>
                </a:extLst>
              </p:cNvPr>
              <p:cNvCxnSpPr>
                <a:cxnSpLocks/>
              </p:cNvCxnSpPr>
              <p:nvPr/>
            </p:nvCxnSpPr>
            <p:spPr bwMode="auto">
              <a:xfrm flipH="1">
                <a:off x="2595716" y="5236886"/>
                <a:ext cx="103239" cy="0"/>
              </a:xfrm>
              <a:prstGeom prst="line">
                <a:avLst/>
              </a:prstGeom>
              <a:noFill/>
              <a:ln w="28575" cap="flat" cmpd="sng" algn="ctr">
                <a:solidFill>
                  <a:srgbClr val="000000"/>
                </a:solidFill>
                <a:prstDash val="solid"/>
                <a:round/>
                <a:headEnd type="none" w="med" len="med"/>
                <a:tailEnd type="none" w="med" len="med"/>
              </a:ln>
              <a:effectLst/>
            </p:spPr>
          </p:cxnSp>
        </p:grpSp>
        <p:grpSp>
          <p:nvGrpSpPr>
            <p:cNvPr id="16" name="Group 15">
              <a:extLst>
                <a:ext uri="{FF2B5EF4-FFF2-40B4-BE49-F238E27FC236}">
                  <a16:creationId xmlns:a16="http://schemas.microsoft.com/office/drawing/2014/main" id="{3B6F0897-B9A4-0186-9957-EE1636C77EF8}"/>
                </a:ext>
              </a:extLst>
            </p:cNvPr>
            <p:cNvGrpSpPr/>
            <p:nvPr/>
          </p:nvGrpSpPr>
          <p:grpSpPr>
            <a:xfrm>
              <a:off x="2698955" y="5235668"/>
              <a:ext cx="7382736" cy="103239"/>
              <a:chOff x="2698955" y="5235668"/>
              <a:chExt cx="7382736" cy="103239"/>
            </a:xfrm>
          </p:grpSpPr>
          <p:cxnSp>
            <p:nvCxnSpPr>
              <p:cNvPr id="17" name="Straight Connector 16">
                <a:extLst>
                  <a:ext uri="{FF2B5EF4-FFF2-40B4-BE49-F238E27FC236}">
                    <a16:creationId xmlns:a16="http://schemas.microsoft.com/office/drawing/2014/main" id="{2F2F0133-DAF9-E80B-0D01-58FC4F27470B}"/>
                  </a:ext>
                </a:extLst>
              </p:cNvPr>
              <p:cNvCxnSpPr>
                <a:cxnSpLocks/>
              </p:cNvCxnSpPr>
              <p:nvPr/>
            </p:nvCxnSpPr>
            <p:spPr bwMode="auto">
              <a:xfrm rot="5400000" flipH="1">
                <a:off x="2647335" y="5287288"/>
                <a:ext cx="103239" cy="0"/>
              </a:xfrm>
              <a:prstGeom prst="line">
                <a:avLst/>
              </a:prstGeom>
              <a:noFill/>
              <a:ln w="28575" cap="flat" cmpd="sng" algn="ctr">
                <a:solidFill>
                  <a:srgbClr val="000000"/>
                </a:solidFill>
                <a:prstDash val="solid"/>
                <a:round/>
                <a:headEnd type="none" w="med" len="med"/>
                <a:tailEnd type="none" w="med" len="med"/>
              </a:ln>
              <a:effectLst/>
            </p:spPr>
          </p:cxnSp>
          <p:cxnSp>
            <p:nvCxnSpPr>
              <p:cNvPr id="18" name="Straight Connector 17">
                <a:extLst>
                  <a:ext uri="{FF2B5EF4-FFF2-40B4-BE49-F238E27FC236}">
                    <a16:creationId xmlns:a16="http://schemas.microsoft.com/office/drawing/2014/main" id="{B03BBA75-AD56-1303-E416-ADE53712587A}"/>
                  </a:ext>
                </a:extLst>
              </p:cNvPr>
              <p:cNvCxnSpPr>
                <a:cxnSpLocks/>
              </p:cNvCxnSpPr>
              <p:nvPr/>
            </p:nvCxnSpPr>
            <p:spPr bwMode="auto">
              <a:xfrm rot="5400000" flipH="1">
                <a:off x="3570177" y="5287288"/>
                <a:ext cx="103239" cy="0"/>
              </a:xfrm>
              <a:prstGeom prst="line">
                <a:avLst/>
              </a:prstGeom>
              <a:noFill/>
              <a:ln w="28575" cap="flat" cmpd="sng" algn="ctr">
                <a:solidFill>
                  <a:srgbClr val="000000"/>
                </a:solidFill>
                <a:prstDash val="solid"/>
                <a:round/>
                <a:headEnd type="none" w="med" len="med"/>
                <a:tailEnd type="none" w="med" len="med"/>
              </a:ln>
              <a:effectLst/>
            </p:spPr>
          </p:cxnSp>
          <p:cxnSp>
            <p:nvCxnSpPr>
              <p:cNvPr id="19" name="Straight Connector 18">
                <a:extLst>
                  <a:ext uri="{FF2B5EF4-FFF2-40B4-BE49-F238E27FC236}">
                    <a16:creationId xmlns:a16="http://schemas.microsoft.com/office/drawing/2014/main" id="{1AFD822D-4692-0E8E-7CE6-10620D2C3757}"/>
                  </a:ext>
                </a:extLst>
              </p:cNvPr>
              <p:cNvCxnSpPr>
                <a:cxnSpLocks/>
              </p:cNvCxnSpPr>
              <p:nvPr/>
            </p:nvCxnSpPr>
            <p:spPr bwMode="auto">
              <a:xfrm rot="5400000" flipH="1">
                <a:off x="4493019" y="5287288"/>
                <a:ext cx="103239" cy="0"/>
              </a:xfrm>
              <a:prstGeom prst="line">
                <a:avLst/>
              </a:prstGeom>
              <a:noFill/>
              <a:ln w="28575" cap="flat" cmpd="sng" algn="ctr">
                <a:solidFill>
                  <a:srgbClr val="000000"/>
                </a:solidFill>
                <a:prstDash val="solid"/>
                <a:round/>
                <a:headEnd type="none" w="med" len="med"/>
                <a:tailEnd type="none" w="med" len="med"/>
              </a:ln>
              <a:effectLst/>
            </p:spPr>
          </p:cxnSp>
          <p:cxnSp>
            <p:nvCxnSpPr>
              <p:cNvPr id="20" name="Straight Connector 19">
                <a:extLst>
                  <a:ext uri="{FF2B5EF4-FFF2-40B4-BE49-F238E27FC236}">
                    <a16:creationId xmlns:a16="http://schemas.microsoft.com/office/drawing/2014/main" id="{7761771B-9F58-2E3B-C561-71800385B809}"/>
                  </a:ext>
                </a:extLst>
              </p:cNvPr>
              <p:cNvCxnSpPr>
                <a:cxnSpLocks/>
              </p:cNvCxnSpPr>
              <p:nvPr/>
            </p:nvCxnSpPr>
            <p:spPr bwMode="auto">
              <a:xfrm rot="5400000" flipH="1">
                <a:off x="5415861" y="5287288"/>
                <a:ext cx="103239" cy="0"/>
              </a:xfrm>
              <a:prstGeom prst="line">
                <a:avLst/>
              </a:prstGeom>
              <a:noFill/>
              <a:ln w="28575" cap="flat" cmpd="sng" algn="ctr">
                <a:solidFill>
                  <a:srgbClr val="000000"/>
                </a:solidFill>
                <a:prstDash val="solid"/>
                <a:round/>
                <a:headEnd type="none" w="med" len="med"/>
                <a:tailEnd type="none" w="med" len="med"/>
              </a:ln>
              <a:effectLst/>
            </p:spPr>
          </p:cxnSp>
          <p:cxnSp>
            <p:nvCxnSpPr>
              <p:cNvPr id="21" name="Straight Connector 20">
                <a:extLst>
                  <a:ext uri="{FF2B5EF4-FFF2-40B4-BE49-F238E27FC236}">
                    <a16:creationId xmlns:a16="http://schemas.microsoft.com/office/drawing/2014/main" id="{3549BB2F-F4E8-4254-7383-EF9DFFDE438B}"/>
                  </a:ext>
                </a:extLst>
              </p:cNvPr>
              <p:cNvCxnSpPr>
                <a:cxnSpLocks/>
              </p:cNvCxnSpPr>
              <p:nvPr/>
            </p:nvCxnSpPr>
            <p:spPr bwMode="auto">
              <a:xfrm rot="5400000" flipH="1">
                <a:off x="6338703" y="5287288"/>
                <a:ext cx="103239" cy="0"/>
              </a:xfrm>
              <a:prstGeom prst="line">
                <a:avLst/>
              </a:prstGeom>
              <a:noFill/>
              <a:ln w="28575" cap="flat" cmpd="sng" algn="ctr">
                <a:solidFill>
                  <a:srgbClr val="000000"/>
                </a:solidFill>
                <a:prstDash val="solid"/>
                <a:round/>
                <a:headEnd type="none" w="med" len="med"/>
                <a:tailEnd type="none" w="med" len="med"/>
              </a:ln>
              <a:effectLst/>
            </p:spPr>
          </p:cxnSp>
          <p:cxnSp>
            <p:nvCxnSpPr>
              <p:cNvPr id="22" name="Straight Connector 21">
                <a:extLst>
                  <a:ext uri="{FF2B5EF4-FFF2-40B4-BE49-F238E27FC236}">
                    <a16:creationId xmlns:a16="http://schemas.microsoft.com/office/drawing/2014/main" id="{832D7AE8-F024-535C-6656-35C60ADC0E71}"/>
                  </a:ext>
                </a:extLst>
              </p:cNvPr>
              <p:cNvCxnSpPr>
                <a:cxnSpLocks/>
              </p:cNvCxnSpPr>
              <p:nvPr/>
            </p:nvCxnSpPr>
            <p:spPr bwMode="auto">
              <a:xfrm rot="5400000" flipH="1">
                <a:off x="7261545" y="5287288"/>
                <a:ext cx="103239" cy="0"/>
              </a:xfrm>
              <a:prstGeom prst="line">
                <a:avLst/>
              </a:prstGeom>
              <a:noFill/>
              <a:ln w="28575" cap="flat" cmpd="sng" algn="ctr">
                <a:solidFill>
                  <a:srgbClr val="000000"/>
                </a:solidFill>
                <a:prstDash val="solid"/>
                <a:round/>
                <a:headEnd type="none" w="med" len="med"/>
                <a:tailEnd type="none" w="med" len="med"/>
              </a:ln>
              <a:effectLst/>
            </p:spPr>
          </p:cxnSp>
          <p:cxnSp>
            <p:nvCxnSpPr>
              <p:cNvPr id="23" name="Straight Connector 22">
                <a:extLst>
                  <a:ext uri="{FF2B5EF4-FFF2-40B4-BE49-F238E27FC236}">
                    <a16:creationId xmlns:a16="http://schemas.microsoft.com/office/drawing/2014/main" id="{14D730E8-F443-E4DC-E4B3-6349BC6DED36}"/>
                  </a:ext>
                </a:extLst>
              </p:cNvPr>
              <p:cNvCxnSpPr>
                <a:cxnSpLocks/>
              </p:cNvCxnSpPr>
              <p:nvPr/>
            </p:nvCxnSpPr>
            <p:spPr bwMode="auto">
              <a:xfrm rot="5400000" flipH="1">
                <a:off x="8184387" y="5287288"/>
                <a:ext cx="103239" cy="0"/>
              </a:xfrm>
              <a:prstGeom prst="line">
                <a:avLst/>
              </a:prstGeom>
              <a:noFill/>
              <a:ln w="28575" cap="flat" cmpd="sng" algn="ctr">
                <a:solidFill>
                  <a:srgbClr val="000000"/>
                </a:solidFill>
                <a:prstDash val="solid"/>
                <a:round/>
                <a:headEnd type="none" w="med" len="med"/>
                <a:tailEnd type="none" w="med" len="med"/>
              </a:ln>
              <a:effectLst/>
            </p:spPr>
          </p:cxnSp>
          <p:cxnSp>
            <p:nvCxnSpPr>
              <p:cNvPr id="24" name="Straight Connector 23">
                <a:extLst>
                  <a:ext uri="{FF2B5EF4-FFF2-40B4-BE49-F238E27FC236}">
                    <a16:creationId xmlns:a16="http://schemas.microsoft.com/office/drawing/2014/main" id="{5F2FAC3B-0C73-4A87-744E-20539A5605BD}"/>
                  </a:ext>
                </a:extLst>
              </p:cNvPr>
              <p:cNvCxnSpPr>
                <a:cxnSpLocks/>
              </p:cNvCxnSpPr>
              <p:nvPr/>
            </p:nvCxnSpPr>
            <p:spPr bwMode="auto">
              <a:xfrm rot="5400000" flipH="1">
                <a:off x="9107229" y="5287288"/>
                <a:ext cx="103239" cy="0"/>
              </a:xfrm>
              <a:prstGeom prst="line">
                <a:avLst/>
              </a:prstGeom>
              <a:noFill/>
              <a:ln w="28575" cap="flat" cmpd="sng" algn="ctr">
                <a:solidFill>
                  <a:srgbClr val="000000"/>
                </a:solidFill>
                <a:prstDash val="solid"/>
                <a:round/>
                <a:headEnd type="none" w="med" len="med"/>
                <a:tailEnd type="none" w="med" len="med"/>
              </a:ln>
              <a:effectLst/>
            </p:spPr>
          </p:cxnSp>
          <p:cxnSp>
            <p:nvCxnSpPr>
              <p:cNvPr id="25" name="Straight Connector 24">
                <a:extLst>
                  <a:ext uri="{FF2B5EF4-FFF2-40B4-BE49-F238E27FC236}">
                    <a16:creationId xmlns:a16="http://schemas.microsoft.com/office/drawing/2014/main" id="{509F3DED-63CA-4068-83F0-484D7BBAF749}"/>
                  </a:ext>
                </a:extLst>
              </p:cNvPr>
              <p:cNvCxnSpPr>
                <a:cxnSpLocks/>
              </p:cNvCxnSpPr>
              <p:nvPr/>
            </p:nvCxnSpPr>
            <p:spPr bwMode="auto">
              <a:xfrm rot="5400000" flipH="1">
                <a:off x="10030071" y="5287288"/>
                <a:ext cx="103239" cy="0"/>
              </a:xfrm>
              <a:prstGeom prst="line">
                <a:avLst/>
              </a:prstGeom>
              <a:noFill/>
              <a:ln w="28575" cap="flat" cmpd="sng" algn="ctr">
                <a:solidFill>
                  <a:srgbClr val="000000"/>
                </a:solidFill>
                <a:prstDash val="solid"/>
                <a:round/>
                <a:headEnd type="none" w="med" len="med"/>
                <a:tailEnd type="none" w="med" len="med"/>
              </a:ln>
              <a:effectLst/>
            </p:spPr>
          </p:cxnSp>
        </p:grpSp>
      </p:grpSp>
      <p:sp>
        <p:nvSpPr>
          <p:cNvPr id="51" name="TextBox 50">
            <a:extLst>
              <a:ext uri="{FF2B5EF4-FFF2-40B4-BE49-F238E27FC236}">
                <a16:creationId xmlns:a16="http://schemas.microsoft.com/office/drawing/2014/main" id="{B22A0033-3EE0-3CCB-BB1D-40AE81CB9250}"/>
              </a:ext>
            </a:extLst>
          </p:cNvPr>
          <p:cNvSpPr txBox="1"/>
          <p:nvPr/>
        </p:nvSpPr>
        <p:spPr bwMode="auto">
          <a:xfrm>
            <a:off x="651720" y="1123830"/>
            <a:ext cx="41803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algn="r">
              <a:lnSpc>
                <a:spcPct val="100000"/>
              </a:lnSpc>
              <a:spcBef>
                <a:spcPct val="50000"/>
              </a:spcBef>
              <a:spcAft>
                <a:spcPct val="0"/>
              </a:spcAft>
              <a:buClrTx/>
              <a:buFontTx/>
              <a:buNone/>
            </a:pPr>
            <a:r>
              <a:rPr lang="en-US" sz="1200" b="0" dirty="0">
                <a:latin typeface="Calibri" panose="020F0502020204030204" pitchFamily="34" charset="0"/>
              </a:rPr>
              <a:t>100</a:t>
            </a:r>
          </a:p>
        </p:txBody>
      </p:sp>
      <p:sp>
        <p:nvSpPr>
          <p:cNvPr id="53" name="TextBox 52">
            <a:extLst>
              <a:ext uri="{FF2B5EF4-FFF2-40B4-BE49-F238E27FC236}">
                <a16:creationId xmlns:a16="http://schemas.microsoft.com/office/drawing/2014/main" id="{75FAC05E-58E3-537D-C7DA-36BDDBC57178}"/>
              </a:ext>
            </a:extLst>
          </p:cNvPr>
          <p:cNvSpPr txBox="1"/>
          <p:nvPr/>
        </p:nvSpPr>
        <p:spPr bwMode="auto">
          <a:xfrm>
            <a:off x="647462" y="1610777"/>
            <a:ext cx="41803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algn="r">
              <a:lnSpc>
                <a:spcPct val="100000"/>
              </a:lnSpc>
              <a:spcBef>
                <a:spcPct val="50000"/>
              </a:spcBef>
              <a:spcAft>
                <a:spcPct val="0"/>
              </a:spcAft>
              <a:buClrTx/>
              <a:buFontTx/>
              <a:buNone/>
            </a:pPr>
            <a:r>
              <a:rPr lang="en-US" sz="1200" dirty="0">
                <a:latin typeface="Calibri" panose="020F0502020204030204" pitchFamily="34" charset="0"/>
              </a:rPr>
              <a:t>8</a:t>
            </a:r>
            <a:r>
              <a:rPr lang="en-US" sz="1200" b="0" dirty="0">
                <a:latin typeface="Calibri" panose="020F0502020204030204" pitchFamily="34" charset="0"/>
              </a:rPr>
              <a:t>0</a:t>
            </a:r>
          </a:p>
        </p:txBody>
      </p:sp>
      <p:sp>
        <p:nvSpPr>
          <p:cNvPr id="55" name="TextBox 54">
            <a:extLst>
              <a:ext uri="{FF2B5EF4-FFF2-40B4-BE49-F238E27FC236}">
                <a16:creationId xmlns:a16="http://schemas.microsoft.com/office/drawing/2014/main" id="{37346490-D180-61FE-1357-FC1B76F8F2C6}"/>
              </a:ext>
            </a:extLst>
          </p:cNvPr>
          <p:cNvSpPr txBox="1"/>
          <p:nvPr/>
        </p:nvSpPr>
        <p:spPr bwMode="auto">
          <a:xfrm>
            <a:off x="651419" y="2054305"/>
            <a:ext cx="41803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algn="r">
              <a:lnSpc>
                <a:spcPct val="100000"/>
              </a:lnSpc>
              <a:spcBef>
                <a:spcPct val="50000"/>
              </a:spcBef>
              <a:spcAft>
                <a:spcPct val="0"/>
              </a:spcAft>
              <a:buClrTx/>
              <a:buFontTx/>
              <a:buNone/>
            </a:pPr>
            <a:r>
              <a:rPr lang="en-US" sz="1200" dirty="0">
                <a:latin typeface="Calibri" panose="020F0502020204030204" pitchFamily="34" charset="0"/>
              </a:rPr>
              <a:t>6</a:t>
            </a:r>
            <a:r>
              <a:rPr lang="en-US" sz="1200" b="0" dirty="0">
                <a:latin typeface="Calibri" panose="020F0502020204030204" pitchFamily="34" charset="0"/>
              </a:rPr>
              <a:t>0</a:t>
            </a:r>
          </a:p>
        </p:txBody>
      </p:sp>
      <p:sp>
        <p:nvSpPr>
          <p:cNvPr id="57" name="TextBox 56">
            <a:extLst>
              <a:ext uri="{FF2B5EF4-FFF2-40B4-BE49-F238E27FC236}">
                <a16:creationId xmlns:a16="http://schemas.microsoft.com/office/drawing/2014/main" id="{68A1AF40-DF49-275A-FAFA-7D1AA2F441A8}"/>
              </a:ext>
            </a:extLst>
          </p:cNvPr>
          <p:cNvSpPr txBox="1"/>
          <p:nvPr/>
        </p:nvSpPr>
        <p:spPr bwMode="auto">
          <a:xfrm>
            <a:off x="647462" y="2584672"/>
            <a:ext cx="41803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algn="r">
              <a:lnSpc>
                <a:spcPct val="100000"/>
              </a:lnSpc>
              <a:spcBef>
                <a:spcPct val="50000"/>
              </a:spcBef>
              <a:spcAft>
                <a:spcPct val="0"/>
              </a:spcAft>
              <a:buClrTx/>
              <a:buFontTx/>
              <a:buNone/>
            </a:pPr>
            <a:r>
              <a:rPr lang="en-US" sz="1200" dirty="0">
                <a:latin typeface="Calibri" panose="020F0502020204030204" pitchFamily="34" charset="0"/>
              </a:rPr>
              <a:t>4</a:t>
            </a:r>
            <a:r>
              <a:rPr lang="en-US" sz="1200" b="0" dirty="0">
                <a:latin typeface="Calibri" panose="020F0502020204030204" pitchFamily="34" charset="0"/>
              </a:rPr>
              <a:t>0</a:t>
            </a:r>
          </a:p>
        </p:txBody>
      </p:sp>
      <p:sp>
        <p:nvSpPr>
          <p:cNvPr id="64" name="TextBox 63">
            <a:extLst>
              <a:ext uri="{FF2B5EF4-FFF2-40B4-BE49-F238E27FC236}">
                <a16:creationId xmlns:a16="http://schemas.microsoft.com/office/drawing/2014/main" id="{0DD31A2C-FD02-DA8E-768F-4FB6A30C1E9F}"/>
              </a:ext>
            </a:extLst>
          </p:cNvPr>
          <p:cNvSpPr txBox="1"/>
          <p:nvPr/>
        </p:nvSpPr>
        <p:spPr bwMode="auto">
          <a:xfrm>
            <a:off x="647462" y="3102571"/>
            <a:ext cx="41803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algn="r">
              <a:lnSpc>
                <a:spcPct val="100000"/>
              </a:lnSpc>
              <a:spcBef>
                <a:spcPct val="50000"/>
              </a:spcBef>
              <a:spcAft>
                <a:spcPct val="0"/>
              </a:spcAft>
              <a:buClrTx/>
              <a:buFontTx/>
              <a:buNone/>
            </a:pPr>
            <a:r>
              <a:rPr lang="en-US" sz="1200" dirty="0">
                <a:latin typeface="Calibri" panose="020F0502020204030204" pitchFamily="34" charset="0"/>
              </a:rPr>
              <a:t>2</a:t>
            </a:r>
            <a:r>
              <a:rPr lang="en-US" sz="1200" b="0" dirty="0">
                <a:latin typeface="Calibri" panose="020F0502020204030204" pitchFamily="34" charset="0"/>
              </a:rPr>
              <a:t>0</a:t>
            </a:r>
          </a:p>
        </p:txBody>
      </p:sp>
      <p:sp>
        <p:nvSpPr>
          <p:cNvPr id="65" name="TextBox 64">
            <a:extLst>
              <a:ext uri="{FF2B5EF4-FFF2-40B4-BE49-F238E27FC236}">
                <a16:creationId xmlns:a16="http://schemas.microsoft.com/office/drawing/2014/main" id="{D808929C-F53E-06A2-7C9C-514FFCF83DC9}"/>
              </a:ext>
            </a:extLst>
          </p:cNvPr>
          <p:cNvSpPr txBox="1"/>
          <p:nvPr/>
        </p:nvSpPr>
        <p:spPr bwMode="auto">
          <a:xfrm>
            <a:off x="638293" y="3599834"/>
            <a:ext cx="41803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algn="r">
              <a:lnSpc>
                <a:spcPct val="100000"/>
              </a:lnSpc>
              <a:spcBef>
                <a:spcPct val="50000"/>
              </a:spcBef>
              <a:spcAft>
                <a:spcPct val="0"/>
              </a:spcAft>
              <a:buClrTx/>
              <a:buFontTx/>
              <a:buNone/>
            </a:pPr>
            <a:r>
              <a:rPr lang="en-US" sz="1200" b="0" dirty="0">
                <a:latin typeface="Calibri" panose="020F0502020204030204" pitchFamily="34" charset="0"/>
              </a:rPr>
              <a:t>0</a:t>
            </a:r>
          </a:p>
        </p:txBody>
      </p:sp>
      <p:sp>
        <p:nvSpPr>
          <p:cNvPr id="66" name="TextBox 65">
            <a:extLst>
              <a:ext uri="{FF2B5EF4-FFF2-40B4-BE49-F238E27FC236}">
                <a16:creationId xmlns:a16="http://schemas.microsoft.com/office/drawing/2014/main" id="{68B69551-5954-12F2-EFFF-CE17E4EF5A6C}"/>
              </a:ext>
            </a:extLst>
          </p:cNvPr>
          <p:cNvSpPr txBox="1"/>
          <p:nvPr/>
        </p:nvSpPr>
        <p:spPr bwMode="auto">
          <a:xfrm>
            <a:off x="852974" y="3846130"/>
            <a:ext cx="41803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algn="r">
              <a:lnSpc>
                <a:spcPct val="100000"/>
              </a:lnSpc>
              <a:spcBef>
                <a:spcPct val="50000"/>
              </a:spcBef>
              <a:spcAft>
                <a:spcPct val="0"/>
              </a:spcAft>
              <a:buClrTx/>
              <a:buFontTx/>
              <a:buNone/>
            </a:pPr>
            <a:r>
              <a:rPr lang="en-US" sz="1200" b="0" dirty="0">
                <a:latin typeface="Calibri" panose="020F0502020204030204" pitchFamily="34" charset="0"/>
              </a:rPr>
              <a:t>0</a:t>
            </a:r>
          </a:p>
        </p:txBody>
      </p:sp>
      <p:sp>
        <p:nvSpPr>
          <p:cNvPr id="67" name="TextBox 66">
            <a:extLst>
              <a:ext uri="{FF2B5EF4-FFF2-40B4-BE49-F238E27FC236}">
                <a16:creationId xmlns:a16="http://schemas.microsoft.com/office/drawing/2014/main" id="{1AFC390F-4F03-8EF9-213D-B8765C8350D1}"/>
              </a:ext>
            </a:extLst>
          </p:cNvPr>
          <p:cNvSpPr txBox="1"/>
          <p:nvPr/>
        </p:nvSpPr>
        <p:spPr bwMode="auto">
          <a:xfrm>
            <a:off x="1647931" y="3817242"/>
            <a:ext cx="34548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algn="r">
              <a:lnSpc>
                <a:spcPct val="100000"/>
              </a:lnSpc>
              <a:spcBef>
                <a:spcPct val="50000"/>
              </a:spcBef>
              <a:spcAft>
                <a:spcPct val="0"/>
              </a:spcAft>
              <a:buClrTx/>
              <a:buFontTx/>
              <a:buNone/>
            </a:pPr>
            <a:r>
              <a:rPr lang="en-US" sz="1200" dirty="0">
                <a:latin typeface="Calibri" panose="020F0502020204030204" pitchFamily="34" charset="0"/>
              </a:rPr>
              <a:t>3</a:t>
            </a:r>
            <a:endParaRPr lang="en-US" sz="1200" b="0" dirty="0">
              <a:latin typeface="Calibri" panose="020F0502020204030204" pitchFamily="34" charset="0"/>
            </a:endParaRPr>
          </a:p>
        </p:txBody>
      </p:sp>
      <p:sp>
        <p:nvSpPr>
          <p:cNvPr id="68" name="TextBox 67">
            <a:extLst>
              <a:ext uri="{FF2B5EF4-FFF2-40B4-BE49-F238E27FC236}">
                <a16:creationId xmlns:a16="http://schemas.microsoft.com/office/drawing/2014/main" id="{6B4CB7CC-60E8-A529-FBC6-9FCA1202DB6A}"/>
              </a:ext>
            </a:extLst>
          </p:cNvPr>
          <p:cNvSpPr txBox="1"/>
          <p:nvPr/>
        </p:nvSpPr>
        <p:spPr bwMode="auto">
          <a:xfrm>
            <a:off x="2366521" y="3823504"/>
            <a:ext cx="34548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algn="r">
              <a:lnSpc>
                <a:spcPct val="100000"/>
              </a:lnSpc>
              <a:spcBef>
                <a:spcPct val="50000"/>
              </a:spcBef>
              <a:spcAft>
                <a:spcPct val="0"/>
              </a:spcAft>
              <a:buClrTx/>
              <a:buFontTx/>
              <a:buNone/>
            </a:pPr>
            <a:r>
              <a:rPr lang="en-US" sz="1200" dirty="0">
                <a:latin typeface="Calibri" panose="020F0502020204030204" pitchFamily="34" charset="0"/>
              </a:rPr>
              <a:t>6</a:t>
            </a:r>
            <a:endParaRPr lang="en-US" sz="1200" b="0" dirty="0">
              <a:latin typeface="Calibri" panose="020F0502020204030204" pitchFamily="34" charset="0"/>
            </a:endParaRPr>
          </a:p>
        </p:txBody>
      </p:sp>
      <p:sp>
        <p:nvSpPr>
          <p:cNvPr id="69" name="TextBox 68">
            <a:extLst>
              <a:ext uri="{FF2B5EF4-FFF2-40B4-BE49-F238E27FC236}">
                <a16:creationId xmlns:a16="http://schemas.microsoft.com/office/drawing/2014/main" id="{70FD3138-42FA-7D01-EBE0-5D955B903003}"/>
              </a:ext>
            </a:extLst>
          </p:cNvPr>
          <p:cNvSpPr txBox="1"/>
          <p:nvPr/>
        </p:nvSpPr>
        <p:spPr bwMode="auto">
          <a:xfrm>
            <a:off x="5275967" y="3809576"/>
            <a:ext cx="34548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algn="r">
              <a:lnSpc>
                <a:spcPct val="100000"/>
              </a:lnSpc>
              <a:spcBef>
                <a:spcPct val="50000"/>
              </a:spcBef>
              <a:spcAft>
                <a:spcPct val="0"/>
              </a:spcAft>
              <a:buClrTx/>
              <a:buFontTx/>
              <a:buNone/>
            </a:pPr>
            <a:r>
              <a:rPr lang="en-US" sz="1200" b="0" dirty="0">
                <a:latin typeface="Calibri" panose="020F0502020204030204" pitchFamily="34" charset="0"/>
              </a:rPr>
              <a:t>18</a:t>
            </a:r>
          </a:p>
        </p:txBody>
      </p:sp>
      <p:sp>
        <p:nvSpPr>
          <p:cNvPr id="70" name="TextBox 69">
            <a:extLst>
              <a:ext uri="{FF2B5EF4-FFF2-40B4-BE49-F238E27FC236}">
                <a16:creationId xmlns:a16="http://schemas.microsoft.com/office/drawing/2014/main" id="{A70296E0-664C-57EC-B04E-5138C258AC0E}"/>
              </a:ext>
            </a:extLst>
          </p:cNvPr>
          <p:cNvSpPr txBox="1"/>
          <p:nvPr/>
        </p:nvSpPr>
        <p:spPr bwMode="auto">
          <a:xfrm>
            <a:off x="3096291" y="3791834"/>
            <a:ext cx="34548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algn="r">
              <a:lnSpc>
                <a:spcPct val="100000"/>
              </a:lnSpc>
              <a:spcBef>
                <a:spcPct val="50000"/>
              </a:spcBef>
              <a:spcAft>
                <a:spcPct val="0"/>
              </a:spcAft>
              <a:buClrTx/>
              <a:buFontTx/>
              <a:buNone/>
            </a:pPr>
            <a:r>
              <a:rPr lang="en-US" sz="1200" b="0" dirty="0">
                <a:latin typeface="Calibri" panose="020F0502020204030204" pitchFamily="34" charset="0"/>
              </a:rPr>
              <a:t>9</a:t>
            </a:r>
          </a:p>
        </p:txBody>
      </p:sp>
      <p:sp>
        <p:nvSpPr>
          <p:cNvPr id="71" name="TextBox 70">
            <a:extLst>
              <a:ext uri="{FF2B5EF4-FFF2-40B4-BE49-F238E27FC236}">
                <a16:creationId xmlns:a16="http://schemas.microsoft.com/office/drawing/2014/main" id="{FC3DEECA-0D73-7862-2D9F-15423F46E910}"/>
              </a:ext>
            </a:extLst>
          </p:cNvPr>
          <p:cNvSpPr txBox="1"/>
          <p:nvPr/>
        </p:nvSpPr>
        <p:spPr bwMode="auto">
          <a:xfrm>
            <a:off x="3838703" y="3823504"/>
            <a:ext cx="34548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algn="r">
              <a:lnSpc>
                <a:spcPct val="100000"/>
              </a:lnSpc>
              <a:spcBef>
                <a:spcPct val="50000"/>
              </a:spcBef>
              <a:spcAft>
                <a:spcPct val="0"/>
              </a:spcAft>
              <a:buClrTx/>
              <a:buFontTx/>
              <a:buNone/>
            </a:pPr>
            <a:r>
              <a:rPr lang="en-US" sz="1200" b="0" dirty="0">
                <a:latin typeface="Calibri" panose="020F0502020204030204" pitchFamily="34" charset="0"/>
              </a:rPr>
              <a:t>12</a:t>
            </a:r>
          </a:p>
        </p:txBody>
      </p:sp>
      <p:sp>
        <p:nvSpPr>
          <p:cNvPr id="72" name="TextBox 71">
            <a:extLst>
              <a:ext uri="{FF2B5EF4-FFF2-40B4-BE49-F238E27FC236}">
                <a16:creationId xmlns:a16="http://schemas.microsoft.com/office/drawing/2014/main" id="{61C7AED5-29C7-E9F0-FD98-51AA0886E399}"/>
              </a:ext>
            </a:extLst>
          </p:cNvPr>
          <p:cNvSpPr txBox="1"/>
          <p:nvPr/>
        </p:nvSpPr>
        <p:spPr bwMode="auto">
          <a:xfrm>
            <a:off x="4581115" y="3812159"/>
            <a:ext cx="34548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algn="r">
              <a:lnSpc>
                <a:spcPct val="100000"/>
              </a:lnSpc>
              <a:spcBef>
                <a:spcPct val="50000"/>
              </a:spcBef>
              <a:spcAft>
                <a:spcPct val="0"/>
              </a:spcAft>
              <a:buClrTx/>
              <a:buFontTx/>
              <a:buNone/>
            </a:pPr>
            <a:r>
              <a:rPr lang="en-US" sz="1200" b="0" dirty="0">
                <a:latin typeface="Calibri" panose="020F0502020204030204" pitchFamily="34" charset="0"/>
              </a:rPr>
              <a:t>15</a:t>
            </a:r>
          </a:p>
        </p:txBody>
      </p:sp>
      <p:sp>
        <p:nvSpPr>
          <p:cNvPr id="73" name="TextBox 72">
            <a:extLst>
              <a:ext uri="{FF2B5EF4-FFF2-40B4-BE49-F238E27FC236}">
                <a16:creationId xmlns:a16="http://schemas.microsoft.com/office/drawing/2014/main" id="{58B9B59C-3646-D162-7C9F-B75076DD4533}"/>
              </a:ext>
            </a:extLst>
          </p:cNvPr>
          <p:cNvSpPr txBox="1"/>
          <p:nvPr/>
        </p:nvSpPr>
        <p:spPr bwMode="auto">
          <a:xfrm>
            <a:off x="6752929" y="3787615"/>
            <a:ext cx="34548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algn="r">
              <a:lnSpc>
                <a:spcPct val="100000"/>
              </a:lnSpc>
              <a:spcBef>
                <a:spcPct val="50000"/>
              </a:spcBef>
              <a:spcAft>
                <a:spcPct val="0"/>
              </a:spcAft>
              <a:buClrTx/>
              <a:buFontTx/>
              <a:buNone/>
            </a:pPr>
            <a:r>
              <a:rPr lang="en-US" sz="1200" b="0" dirty="0">
                <a:latin typeface="Calibri" panose="020F0502020204030204" pitchFamily="34" charset="0"/>
              </a:rPr>
              <a:t>24</a:t>
            </a:r>
          </a:p>
        </p:txBody>
      </p:sp>
      <p:sp>
        <p:nvSpPr>
          <p:cNvPr id="74" name="TextBox 73">
            <a:extLst>
              <a:ext uri="{FF2B5EF4-FFF2-40B4-BE49-F238E27FC236}">
                <a16:creationId xmlns:a16="http://schemas.microsoft.com/office/drawing/2014/main" id="{EFD8A6E8-A66C-3487-665F-70901F552545}"/>
              </a:ext>
            </a:extLst>
          </p:cNvPr>
          <p:cNvSpPr txBox="1"/>
          <p:nvPr/>
        </p:nvSpPr>
        <p:spPr bwMode="auto">
          <a:xfrm>
            <a:off x="6021354" y="3817242"/>
            <a:ext cx="34548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algn="r">
              <a:lnSpc>
                <a:spcPct val="100000"/>
              </a:lnSpc>
              <a:spcBef>
                <a:spcPct val="50000"/>
              </a:spcBef>
              <a:spcAft>
                <a:spcPct val="0"/>
              </a:spcAft>
              <a:buClrTx/>
              <a:buFontTx/>
              <a:buNone/>
            </a:pPr>
            <a:r>
              <a:rPr lang="en-US" sz="1200" dirty="0">
                <a:latin typeface="Calibri" panose="020F0502020204030204" pitchFamily="34" charset="0"/>
              </a:rPr>
              <a:t>21</a:t>
            </a:r>
            <a:endParaRPr lang="en-US" sz="1200" b="0" dirty="0">
              <a:latin typeface="Calibri" panose="020F0502020204030204" pitchFamily="34" charset="0"/>
            </a:endParaRPr>
          </a:p>
        </p:txBody>
      </p:sp>
      <p:sp>
        <p:nvSpPr>
          <p:cNvPr id="75" name="TextBox 74">
            <a:extLst>
              <a:ext uri="{FF2B5EF4-FFF2-40B4-BE49-F238E27FC236}">
                <a16:creationId xmlns:a16="http://schemas.microsoft.com/office/drawing/2014/main" id="{1DD3A349-DC8F-62F6-A6A7-A7DE042951A4}"/>
              </a:ext>
            </a:extLst>
          </p:cNvPr>
          <p:cNvSpPr txBox="1"/>
          <p:nvPr/>
        </p:nvSpPr>
        <p:spPr bwMode="auto">
          <a:xfrm>
            <a:off x="6467004" y="2472021"/>
            <a:ext cx="1880204"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eaLnBrk="0" hangingPunct="0">
              <a:spcBef>
                <a:spcPct val="50000"/>
              </a:spcBef>
            </a:pPr>
            <a:r>
              <a:rPr lang="en-US" sz="1200" dirty="0">
                <a:solidFill>
                  <a:srgbClr val="000000"/>
                </a:solidFill>
                <a:latin typeface="Calibri" panose="020F0502020204030204" pitchFamily="34" charset="0"/>
                <a:ea typeface="+mn-ea"/>
                <a:cs typeface="Arial" panose="020B0604020202020204" pitchFamily="34" charset="0"/>
              </a:rPr>
              <a:t>Sacituzumab govitecan </a:t>
            </a:r>
            <a:br>
              <a:rPr lang="en-US" sz="1200" dirty="0">
                <a:solidFill>
                  <a:srgbClr val="000000"/>
                </a:solidFill>
                <a:latin typeface="Calibri" panose="020F0502020204030204" pitchFamily="34" charset="0"/>
                <a:ea typeface="+mn-ea"/>
                <a:cs typeface="Arial" panose="020B0604020202020204" pitchFamily="34" charset="0"/>
              </a:rPr>
            </a:br>
            <a:r>
              <a:rPr lang="en-US" sz="1200" dirty="0">
                <a:solidFill>
                  <a:srgbClr val="000000"/>
                </a:solidFill>
                <a:latin typeface="Calibri" panose="020F0502020204030204" pitchFamily="34" charset="0"/>
                <a:ea typeface="+mn-ea"/>
                <a:cs typeface="Arial" panose="020B0604020202020204" pitchFamily="34" charset="0"/>
              </a:rPr>
              <a:t>Chemotherapy</a:t>
            </a:r>
          </a:p>
        </p:txBody>
      </p:sp>
      <p:sp>
        <p:nvSpPr>
          <p:cNvPr id="76" name="TextBox 75">
            <a:extLst>
              <a:ext uri="{FF2B5EF4-FFF2-40B4-BE49-F238E27FC236}">
                <a16:creationId xmlns:a16="http://schemas.microsoft.com/office/drawing/2014/main" id="{B33D81B1-A1E1-F4CA-5B02-C977493E1049}"/>
              </a:ext>
            </a:extLst>
          </p:cNvPr>
          <p:cNvSpPr txBox="1"/>
          <p:nvPr/>
        </p:nvSpPr>
        <p:spPr bwMode="auto">
          <a:xfrm rot="16200000">
            <a:off x="-325858" y="2057751"/>
            <a:ext cx="1457235" cy="276999"/>
          </a:xfrm>
          <a:prstGeom prst="rect">
            <a:avLst/>
          </a:prstGeom>
          <a:solidFill>
            <a:srgbClr val="FFFFFF"/>
          </a:solidFill>
          <a:ln>
            <a:noFill/>
          </a:ln>
        </p:spPr>
        <p:txBody>
          <a:bodyPr wrap="square" rtlCol="0">
            <a:spAutoFit/>
          </a:bodyPr>
          <a:lstStyle/>
          <a:p>
            <a:pPr marL="0" marR="0" lvl="0" indent="0" algn="ctr" defTabSz="914400" eaLnBrk="0" fontAlgn="auto" latinLnBrk="0" hangingPunct="0">
              <a:lnSpc>
                <a:spcPct val="100000"/>
              </a:lnSpc>
              <a:spcBef>
                <a:spcPct val="5000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PFS (%)</a:t>
            </a:r>
          </a:p>
        </p:txBody>
      </p:sp>
      <p:cxnSp>
        <p:nvCxnSpPr>
          <p:cNvPr id="77" name="Straight Connector 76">
            <a:extLst>
              <a:ext uri="{FF2B5EF4-FFF2-40B4-BE49-F238E27FC236}">
                <a16:creationId xmlns:a16="http://schemas.microsoft.com/office/drawing/2014/main" id="{E5303FC9-A57E-E2E1-7708-0214329FFA46}"/>
              </a:ext>
            </a:extLst>
          </p:cNvPr>
          <p:cNvCxnSpPr>
            <a:cxnSpLocks/>
          </p:cNvCxnSpPr>
          <p:nvPr/>
        </p:nvCxnSpPr>
        <p:spPr bwMode="auto">
          <a:xfrm flipH="1">
            <a:off x="6180286" y="2627409"/>
            <a:ext cx="237744" cy="0"/>
          </a:xfrm>
          <a:prstGeom prst="line">
            <a:avLst/>
          </a:prstGeom>
          <a:noFill/>
          <a:ln w="28575" cap="flat" cmpd="sng" algn="ctr">
            <a:solidFill>
              <a:schemeClr val="accent1">
                <a:lumMod val="75000"/>
              </a:schemeClr>
            </a:solidFill>
            <a:prstDash val="solid"/>
            <a:round/>
            <a:headEnd type="none" w="med" len="med"/>
            <a:tailEnd type="none" w="med" len="med"/>
          </a:ln>
          <a:effectLst/>
        </p:spPr>
      </p:cxnSp>
      <p:cxnSp>
        <p:nvCxnSpPr>
          <p:cNvPr id="78" name="Straight Connector 77">
            <a:extLst>
              <a:ext uri="{FF2B5EF4-FFF2-40B4-BE49-F238E27FC236}">
                <a16:creationId xmlns:a16="http://schemas.microsoft.com/office/drawing/2014/main" id="{6D7926D5-7695-F49B-4E6E-D8AB220D4B5C}"/>
              </a:ext>
            </a:extLst>
          </p:cNvPr>
          <p:cNvCxnSpPr>
            <a:cxnSpLocks/>
          </p:cNvCxnSpPr>
          <p:nvPr/>
        </p:nvCxnSpPr>
        <p:spPr bwMode="auto">
          <a:xfrm flipH="1">
            <a:off x="6189106" y="2804925"/>
            <a:ext cx="237744" cy="0"/>
          </a:xfrm>
          <a:prstGeom prst="line">
            <a:avLst/>
          </a:prstGeom>
          <a:noFill/>
          <a:ln w="28575" cap="flat" cmpd="sng" algn="ctr">
            <a:solidFill>
              <a:srgbClr val="E1471D"/>
            </a:solidFill>
            <a:prstDash val="solid"/>
            <a:round/>
            <a:headEnd type="none" w="med" len="med"/>
            <a:tailEnd type="none" w="med" len="med"/>
          </a:ln>
          <a:effectLst/>
        </p:spPr>
      </p:cxnSp>
      <p:sp>
        <p:nvSpPr>
          <p:cNvPr id="80" name="TextBox 79">
            <a:extLst>
              <a:ext uri="{FF2B5EF4-FFF2-40B4-BE49-F238E27FC236}">
                <a16:creationId xmlns:a16="http://schemas.microsoft.com/office/drawing/2014/main" id="{71FD5A46-ECCB-C1AE-4DAF-5384DDF040F3}"/>
              </a:ext>
            </a:extLst>
          </p:cNvPr>
          <p:cNvSpPr txBox="1"/>
          <p:nvPr/>
        </p:nvSpPr>
        <p:spPr bwMode="auto">
          <a:xfrm>
            <a:off x="2566059" y="4001007"/>
            <a:ext cx="2730726" cy="369332"/>
          </a:xfrm>
          <a:prstGeom prst="rect">
            <a:avLst/>
          </a:prstGeom>
          <a:noFill/>
          <a:ln>
            <a:noFill/>
          </a:ln>
        </p:spPr>
        <p:txBody>
          <a:bodyPr wrap="square" rtlCol="0">
            <a:spAutoFit/>
          </a:bodyPr>
          <a:lstStyle/>
          <a:p>
            <a:pPr algn="ctr" eaLnBrk="0" hangingPunct="0">
              <a:spcBef>
                <a:spcPct val="50000"/>
              </a:spcBef>
            </a:pPr>
            <a:r>
              <a:rPr lang="en-US" sz="1800" b="1" dirty="0">
                <a:solidFill>
                  <a:srgbClr val="000000"/>
                </a:solidFill>
                <a:latin typeface="Calibri" panose="020F0502020204030204" pitchFamily="34" charset="0"/>
                <a:ea typeface="+mn-ea"/>
                <a:cs typeface="Arial" panose="020B0604020202020204" pitchFamily="34" charset="0"/>
              </a:rPr>
              <a:t>	</a:t>
            </a:r>
            <a:r>
              <a:rPr lang="en-US" sz="1200" b="1" dirty="0">
                <a:solidFill>
                  <a:srgbClr val="000000"/>
                </a:solidFill>
                <a:latin typeface="Calibri" panose="020F0502020204030204" pitchFamily="34" charset="0"/>
                <a:ea typeface="+mn-ea"/>
                <a:cs typeface="Arial" panose="020B0604020202020204" pitchFamily="34" charset="0"/>
              </a:rPr>
              <a:t>Mo</a:t>
            </a:r>
            <a:r>
              <a:rPr lang="en-US" sz="1800" b="1" dirty="0">
                <a:solidFill>
                  <a:srgbClr val="000000"/>
                </a:solidFill>
                <a:latin typeface="Calibri" panose="020F0502020204030204" pitchFamily="34" charset="0"/>
                <a:ea typeface="+mn-ea"/>
                <a:cs typeface="Arial" panose="020B0604020202020204" pitchFamily="34" charset="0"/>
              </a:rPr>
              <a:t>	</a:t>
            </a:r>
          </a:p>
        </p:txBody>
      </p:sp>
      <p:sp>
        <p:nvSpPr>
          <p:cNvPr id="2" name="Text Box 15">
            <a:extLst>
              <a:ext uri="{FF2B5EF4-FFF2-40B4-BE49-F238E27FC236}">
                <a16:creationId xmlns:a16="http://schemas.microsoft.com/office/drawing/2014/main" id="{8C4C22CC-9FB2-3689-AE50-A54E133239BB}"/>
              </a:ext>
            </a:extLst>
          </p:cNvPr>
          <p:cNvSpPr txBox="1">
            <a:spLocks noChangeArrowheads="1"/>
          </p:cNvSpPr>
          <p:nvPr/>
        </p:nvSpPr>
        <p:spPr bwMode="auto">
          <a:xfrm>
            <a:off x="6579574" y="4108670"/>
            <a:ext cx="2122021" cy="215444"/>
          </a:xfrm>
          <a:prstGeom prst="rect">
            <a:avLst/>
          </a:prstGeom>
          <a:noFill/>
          <a:ln>
            <a:noFill/>
          </a:ln>
        </p:spPr>
        <p:txBody>
          <a:bodyPr wrap="square" anchor="b">
            <a:spAutoFit/>
          </a:bodyPr>
          <a:lstStyle>
            <a:lvl1pPr>
              <a:defRPr b="1">
                <a:solidFill>
                  <a:schemeClr val="tx1"/>
                </a:solidFill>
                <a:latin typeface="Arial" charset="0"/>
              </a:defRPr>
            </a:lvl1pPr>
            <a:lvl2pPr marL="742950" indent="-285750">
              <a:defRPr b="1">
                <a:solidFill>
                  <a:schemeClr val="tx1"/>
                </a:solidFill>
                <a:latin typeface="Arial" charset="0"/>
              </a:defRPr>
            </a:lvl2pPr>
            <a:lvl3pPr marL="1143000" indent="-228600">
              <a:defRPr b="1">
                <a:solidFill>
                  <a:schemeClr val="tx1"/>
                </a:solidFill>
                <a:latin typeface="Arial" charset="0"/>
              </a:defRPr>
            </a:lvl3pPr>
            <a:lvl4pPr marL="1600200" indent="-228600">
              <a:defRPr b="1">
                <a:solidFill>
                  <a:schemeClr val="tx1"/>
                </a:solidFill>
                <a:latin typeface="Arial" charset="0"/>
              </a:defRPr>
            </a:lvl4pPr>
            <a:lvl5pPr marL="2057400" indent="-228600">
              <a:defRPr b="1">
                <a:solidFill>
                  <a:schemeClr val="tx1"/>
                </a:solidFill>
                <a:latin typeface="Arial" charset="0"/>
              </a:defRPr>
            </a:lvl5pPr>
            <a:lvl6pPr marL="2514600" indent="-228600" eaLnBrk="0" fontAlgn="base" hangingPunct="0">
              <a:spcBef>
                <a:spcPct val="0"/>
              </a:spcBef>
              <a:spcAft>
                <a:spcPct val="0"/>
              </a:spcAft>
              <a:defRPr b="1">
                <a:solidFill>
                  <a:schemeClr val="tx1"/>
                </a:solidFill>
                <a:latin typeface="Arial" charset="0"/>
              </a:defRPr>
            </a:lvl6pPr>
            <a:lvl7pPr marL="2971800" indent="-228600" eaLnBrk="0" fontAlgn="base" hangingPunct="0">
              <a:spcBef>
                <a:spcPct val="0"/>
              </a:spcBef>
              <a:spcAft>
                <a:spcPct val="0"/>
              </a:spcAft>
              <a:defRPr b="1">
                <a:solidFill>
                  <a:schemeClr val="tx1"/>
                </a:solidFill>
                <a:latin typeface="Arial" charset="0"/>
              </a:defRPr>
            </a:lvl7pPr>
            <a:lvl8pPr marL="3429000" indent="-228600" eaLnBrk="0" fontAlgn="base" hangingPunct="0">
              <a:spcBef>
                <a:spcPct val="0"/>
              </a:spcBef>
              <a:spcAft>
                <a:spcPct val="0"/>
              </a:spcAft>
              <a:defRPr b="1">
                <a:solidFill>
                  <a:schemeClr val="tx1"/>
                </a:solidFill>
                <a:latin typeface="Arial" charset="0"/>
              </a:defRPr>
            </a:lvl8pPr>
            <a:lvl9pPr marL="3886200" indent="-228600" eaLnBrk="0" fontAlgn="base" hangingPunct="0">
              <a:spcBef>
                <a:spcPct val="0"/>
              </a:spcBef>
              <a:spcAft>
                <a:spcPct val="0"/>
              </a:spcAft>
              <a:defRPr b="1">
                <a:solidFill>
                  <a:schemeClr val="tx1"/>
                </a:solidFill>
                <a:latin typeface="Arial" charset="0"/>
              </a:defRPr>
            </a:lvl9pPr>
          </a:lstStyle>
          <a:p>
            <a:pPr>
              <a:defRPr/>
            </a:pPr>
            <a:r>
              <a:rPr lang="en-US" altLang="en-US" sz="800" b="0" spc="-10" dirty="0">
                <a:solidFill>
                  <a:srgbClr val="455560"/>
                </a:solidFill>
                <a:latin typeface="Calibri" panose="020F0502020204030204" pitchFamily="34" charset="0"/>
                <a:ea typeface="+mn-ea"/>
                <a:cs typeface="Arial" panose="020B0604020202020204" pitchFamily="34" charset="0"/>
              </a:rPr>
              <a:t>Bardia. NEJM. 2021, 384:1529 </a:t>
            </a:r>
            <a:endParaRPr lang="en-US" altLang="en-US" sz="800" b="0" dirty="0">
              <a:solidFill>
                <a:srgbClr val="455560"/>
              </a:solidFill>
              <a:latin typeface="Calibri" panose="020F0502020204030204" pitchFamily="34" charset="0"/>
              <a:ea typeface="+mn-ea"/>
              <a:cs typeface="Arial" panose="020B0604020202020204" pitchFamily="34" charset="0"/>
            </a:endParaRPr>
          </a:p>
        </p:txBody>
      </p:sp>
      <p:sp>
        <p:nvSpPr>
          <p:cNvPr id="4" name="Rectangle: Rounded Corners 3">
            <a:extLst>
              <a:ext uri="{FF2B5EF4-FFF2-40B4-BE49-F238E27FC236}">
                <a16:creationId xmlns:a16="http://schemas.microsoft.com/office/drawing/2014/main" id="{7976F12B-99CA-0474-AE65-C81DBD48FFDE}"/>
              </a:ext>
            </a:extLst>
          </p:cNvPr>
          <p:cNvSpPr/>
          <p:nvPr/>
        </p:nvSpPr>
        <p:spPr bwMode="auto">
          <a:xfrm>
            <a:off x="6465075" y="1974872"/>
            <a:ext cx="1741158" cy="300904"/>
          </a:xfrm>
          <a:prstGeom prst="roundRect">
            <a:avLst/>
          </a:prstGeom>
          <a:noFill/>
          <a:ln w="3810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Tree>
    <p:extLst>
      <p:ext uri="{BB962C8B-B14F-4D97-AF65-F5344CB8AC3E}">
        <p14:creationId xmlns:p14="http://schemas.microsoft.com/office/powerpoint/2010/main" val="6719189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4FEE2C7F-078F-8012-24F2-A4C6E2C1ABFF}"/>
              </a:ext>
            </a:extLst>
          </p:cNvPr>
          <p:cNvSpPr txBox="1">
            <a:spLocks/>
          </p:cNvSpPr>
          <p:nvPr/>
        </p:nvSpPr>
        <p:spPr>
          <a:xfrm>
            <a:off x="179351" y="127465"/>
            <a:ext cx="8550081" cy="807256"/>
          </a:xfrm>
          <a:prstGeom prst="rect">
            <a:avLst/>
          </a:prstGeom>
          <a:noFill/>
        </p:spPr>
        <p:txBody>
          <a:bodyPr/>
          <a:lstStyle>
            <a:lvl1pPr algn="ctr" rtl="0" eaLnBrk="1" fontAlgn="base" hangingPunct="1">
              <a:spcBef>
                <a:spcPct val="0"/>
              </a:spcBef>
              <a:spcAft>
                <a:spcPct val="0"/>
              </a:spcAft>
              <a:defRPr sz="3600" i="0">
                <a:solidFill>
                  <a:srgbClr val="002450"/>
                </a:solidFill>
                <a:latin typeface="+mn-lt"/>
                <a:ea typeface="+mj-ea"/>
                <a:cs typeface="+mj-cs"/>
              </a:defRPr>
            </a:lvl1pPr>
            <a:lvl2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2pPr>
            <a:lvl3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3pPr>
            <a:lvl4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4pPr>
            <a:lvl5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5pPr>
            <a:lvl6pPr marL="4572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6pPr>
            <a:lvl7pPr marL="9144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7pPr>
            <a:lvl8pPr marL="13716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8pPr>
            <a:lvl9pPr marL="18288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9pPr>
          </a:lstStyle>
          <a:p>
            <a:pPr algn="l"/>
            <a:r>
              <a:rPr lang="en-US" altLang="en-US" sz="2400" b="1" dirty="0"/>
              <a:t>ASCENT: OS in Patients Without Brain Metastasis (Secondary Outcome)</a:t>
            </a:r>
            <a:endParaRPr lang="en-US" sz="2400" b="1" kern="0" dirty="0"/>
          </a:p>
        </p:txBody>
      </p:sp>
      <p:sp>
        <p:nvSpPr>
          <p:cNvPr id="5" name="TextBox 4">
            <a:extLst>
              <a:ext uri="{FF2B5EF4-FFF2-40B4-BE49-F238E27FC236}">
                <a16:creationId xmlns:a16="http://schemas.microsoft.com/office/drawing/2014/main" id="{EBED000C-D271-1828-F0DE-1ED1587CBC25}"/>
              </a:ext>
            </a:extLst>
          </p:cNvPr>
          <p:cNvSpPr txBox="1"/>
          <p:nvPr/>
        </p:nvSpPr>
        <p:spPr bwMode="auto">
          <a:xfrm>
            <a:off x="4322085" y="920605"/>
            <a:ext cx="146736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algn="ctr">
              <a:lnSpc>
                <a:spcPct val="100000"/>
              </a:lnSpc>
              <a:spcBef>
                <a:spcPct val="50000"/>
              </a:spcBef>
              <a:spcAft>
                <a:spcPct val="0"/>
              </a:spcAft>
              <a:buClrTx/>
              <a:buFontTx/>
              <a:buNone/>
            </a:pPr>
            <a:r>
              <a:rPr lang="en-US" sz="1200" b="1" dirty="0">
                <a:latin typeface="Calibri" panose="020F0502020204030204" pitchFamily="34" charset="0"/>
              </a:rPr>
              <a:t>OS</a:t>
            </a:r>
          </a:p>
        </p:txBody>
      </p:sp>
      <p:graphicFrame>
        <p:nvGraphicFramePr>
          <p:cNvPr id="6" name="Table 10">
            <a:extLst>
              <a:ext uri="{FF2B5EF4-FFF2-40B4-BE49-F238E27FC236}">
                <a16:creationId xmlns:a16="http://schemas.microsoft.com/office/drawing/2014/main" id="{E248E1F7-BBBB-CDCE-85B9-CE234A451825}"/>
              </a:ext>
            </a:extLst>
          </p:cNvPr>
          <p:cNvGraphicFramePr>
            <a:graphicFrameLocks noGrp="1"/>
          </p:cNvGraphicFramePr>
          <p:nvPr>
            <p:extLst>
              <p:ext uri="{D42A27DB-BD31-4B8C-83A1-F6EECF244321}">
                <p14:modId xmlns:p14="http://schemas.microsoft.com/office/powerpoint/2010/main" val="3907145085"/>
              </p:ext>
            </p:extLst>
          </p:nvPr>
        </p:nvGraphicFramePr>
        <p:xfrm>
          <a:off x="4389728" y="1197604"/>
          <a:ext cx="4263260" cy="1127760"/>
        </p:xfrm>
        <a:graphic>
          <a:graphicData uri="http://schemas.openxmlformats.org/drawingml/2006/table">
            <a:tbl>
              <a:tblPr firstRow="1" bandRow="1">
                <a:tableStyleId>{21E4AEA4-8DFA-4A89-87EB-49C32662AFE0}</a:tableStyleId>
              </a:tblPr>
              <a:tblGrid>
                <a:gridCol w="1662262">
                  <a:extLst>
                    <a:ext uri="{9D8B030D-6E8A-4147-A177-3AD203B41FA5}">
                      <a16:colId xmlns:a16="http://schemas.microsoft.com/office/drawing/2014/main" val="3564029696"/>
                    </a:ext>
                  </a:extLst>
                </a:gridCol>
                <a:gridCol w="1300499">
                  <a:extLst>
                    <a:ext uri="{9D8B030D-6E8A-4147-A177-3AD203B41FA5}">
                      <a16:colId xmlns:a16="http://schemas.microsoft.com/office/drawing/2014/main" val="1817542465"/>
                    </a:ext>
                  </a:extLst>
                </a:gridCol>
                <a:gridCol w="1300499">
                  <a:extLst>
                    <a:ext uri="{9D8B030D-6E8A-4147-A177-3AD203B41FA5}">
                      <a16:colId xmlns:a16="http://schemas.microsoft.com/office/drawing/2014/main" val="737870658"/>
                    </a:ext>
                  </a:extLst>
                </a:gridCol>
              </a:tblGrid>
              <a:tr h="0">
                <a:tc>
                  <a:txBody>
                    <a:bodyPr/>
                    <a:lstStyle/>
                    <a:p>
                      <a:r>
                        <a:rPr lang="en-US" sz="1000" dirty="0">
                          <a:latin typeface="Calibri" panose="020F0502020204030204" pitchFamily="34" charset="0"/>
                          <a:cs typeface="Calibri" panose="020F0502020204030204" pitchFamily="34" charset="0"/>
                        </a:rPr>
                        <a:t>BICR Analysis</a:t>
                      </a:r>
                    </a:p>
                  </a:txBody>
                  <a:tcPr/>
                </a:tc>
                <a:tc>
                  <a:txBody>
                    <a:bodyPr/>
                    <a:lstStyle/>
                    <a:p>
                      <a:pPr algn="ctr"/>
                      <a:r>
                        <a:rPr lang="en-US" sz="1000" dirty="0">
                          <a:latin typeface="Calibri" panose="020F0502020204030204" pitchFamily="34" charset="0"/>
                          <a:cs typeface="Calibri" panose="020F0502020204030204" pitchFamily="34" charset="0"/>
                        </a:rPr>
                        <a:t>SG (n = 235)</a:t>
                      </a:r>
                    </a:p>
                  </a:txBody>
                  <a:tcPr/>
                </a:tc>
                <a:tc>
                  <a:txBody>
                    <a:bodyPr/>
                    <a:lstStyle/>
                    <a:p>
                      <a:pPr algn="ctr"/>
                      <a:r>
                        <a:rPr lang="en-US" sz="1000" dirty="0">
                          <a:latin typeface="Calibri" panose="020F0502020204030204" pitchFamily="34" charset="0"/>
                          <a:cs typeface="Calibri" panose="020F0502020204030204" pitchFamily="34" charset="0"/>
                        </a:rPr>
                        <a:t>CT (n = 233)</a:t>
                      </a:r>
                    </a:p>
                  </a:txBody>
                  <a:tcPr/>
                </a:tc>
                <a:extLst>
                  <a:ext uri="{0D108BD9-81ED-4DB2-BD59-A6C34878D82A}">
                    <a16:rowId xmlns:a16="http://schemas.microsoft.com/office/drawing/2014/main" val="1024511832"/>
                  </a:ext>
                </a:extLst>
              </a:tr>
              <a:tr h="0">
                <a:tc>
                  <a:txBody>
                    <a:bodyPr/>
                    <a:lstStyle/>
                    <a:p>
                      <a:r>
                        <a:rPr lang="en-US" sz="1000" dirty="0">
                          <a:solidFill>
                            <a:schemeClr val="tx1"/>
                          </a:solidFill>
                          <a:latin typeface="Calibri" panose="020F0502020204030204" pitchFamily="34" charset="0"/>
                          <a:cs typeface="Calibri" panose="020F0502020204030204" pitchFamily="34" charset="0"/>
                        </a:rPr>
                        <a:t>No. of events</a:t>
                      </a:r>
                    </a:p>
                  </a:txBody>
                  <a:tcPr/>
                </a:tc>
                <a:tc>
                  <a:txBody>
                    <a:bodyPr/>
                    <a:lstStyle/>
                    <a:p>
                      <a:pPr algn="ctr"/>
                      <a:r>
                        <a:rPr lang="en-US" sz="1000" dirty="0">
                          <a:solidFill>
                            <a:schemeClr val="tx1"/>
                          </a:solidFill>
                          <a:latin typeface="Calibri" panose="020F0502020204030204" pitchFamily="34" charset="0"/>
                          <a:cs typeface="Calibri" panose="020F0502020204030204" pitchFamily="34" charset="0"/>
                        </a:rPr>
                        <a:t>155</a:t>
                      </a:r>
                    </a:p>
                  </a:txBody>
                  <a:tcPr/>
                </a:tc>
                <a:tc>
                  <a:txBody>
                    <a:bodyPr/>
                    <a:lstStyle/>
                    <a:p>
                      <a:pPr algn="ctr"/>
                      <a:r>
                        <a:rPr lang="en-US" sz="1000" dirty="0">
                          <a:solidFill>
                            <a:schemeClr val="tx1"/>
                          </a:solidFill>
                          <a:latin typeface="Calibri" panose="020F0502020204030204" pitchFamily="34" charset="0"/>
                          <a:cs typeface="Calibri" panose="020F0502020204030204" pitchFamily="34" charset="0"/>
                        </a:rPr>
                        <a:t>185</a:t>
                      </a:r>
                    </a:p>
                  </a:txBody>
                  <a:tcPr/>
                </a:tc>
                <a:extLst>
                  <a:ext uri="{0D108BD9-81ED-4DB2-BD59-A6C34878D82A}">
                    <a16:rowId xmlns:a16="http://schemas.microsoft.com/office/drawing/2014/main" val="376583089"/>
                  </a:ext>
                </a:extLst>
              </a:tr>
              <a:tr h="0">
                <a:tc>
                  <a:txBody>
                    <a:bodyPr/>
                    <a:lstStyle/>
                    <a:p>
                      <a:r>
                        <a:rPr lang="en-US" sz="1000" dirty="0">
                          <a:solidFill>
                            <a:schemeClr val="tx1"/>
                          </a:solidFill>
                          <a:latin typeface="Calibri" panose="020F0502020204030204" pitchFamily="34" charset="0"/>
                          <a:cs typeface="Calibri" panose="020F0502020204030204" pitchFamily="34" charset="0"/>
                        </a:rPr>
                        <a:t>Median OS, mo (95% CI)</a:t>
                      </a:r>
                    </a:p>
                  </a:txBody>
                  <a:tcPr/>
                </a:tc>
                <a:tc>
                  <a:txBody>
                    <a:bodyPr/>
                    <a:lstStyle/>
                    <a:p>
                      <a:pPr algn="ctr"/>
                      <a:r>
                        <a:rPr lang="en-US" sz="1000" dirty="0">
                          <a:solidFill>
                            <a:schemeClr val="tx1"/>
                          </a:solidFill>
                          <a:latin typeface="Calibri" panose="020F0502020204030204" pitchFamily="34" charset="0"/>
                          <a:cs typeface="Calibri" panose="020F0502020204030204" pitchFamily="34" charset="0"/>
                        </a:rPr>
                        <a:t>12.1 (10.7-14)</a:t>
                      </a:r>
                    </a:p>
                  </a:txBody>
                  <a:tcPr/>
                </a:tc>
                <a:tc>
                  <a:txBody>
                    <a:bodyPr/>
                    <a:lstStyle/>
                    <a:p>
                      <a:pPr algn="ctr"/>
                      <a:r>
                        <a:rPr lang="en-US" sz="1000" dirty="0">
                          <a:solidFill>
                            <a:schemeClr val="tx1"/>
                          </a:solidFill>
                          <a:latin typeface="Calibri" panose="020F0502020204030204" pitchFamily="34" charset="0"/>
                          <a:cs typeface="Calibri" panose="020F0502020204030204" pitchFamily="34" charset="0"/>
                        </a:rPr>
                        <a:t>6.7 (5.8-7.7)</a:t>
                      </a:r>
                    </a:p>
                  </a:txBody>
                  <a:tcPr/>
                </a:tc>
                <a:extLst>
                  <a:ext uri="{0D108BD9-81ED-4DB2-BD59-A6C34878D82A}">
                    <a16:rowId xmlns:a16="http://schemas.microsoft.com/office/drawing/2014/main" val="3327329230"/>
                  </a:ext>
                </a:extLst>
              </a:tr>
              <a:tr h="0">
                <a:tc>
                  <a:txBody>
                    <a:bodyPr/>
                    <a:lstStyle/>
                    <a:p>
                      <a:endParaRPr lang="en-US" sz="1000" dirty="0">
                        <a:solidFill>
                          <a:schemeClr val="tx1"/>
                        </a:solidFill>
                        <a:latin typeface="Calibri" panose="020F0502020204030204" pitchFamily="34" charset="0"/>
                        <a:cs typeface="Calibri" panose="020F0502020204030204" pitchFamily="34" charset="0"/>
                      </a:endParaRPr>
                    </a:p>
                  </a:txBody>
                  <a:tcPr/>
                </a:tc>
                <a:tc gridSpan="2">
                  <a:txBody>
                    <a:bodyPr/>
                    <a:lstStyle/>
                    <a:p>
                      <a:pPr algn="ctr"/>
                      <a:r>
                        <a:rPr lang="en-US" sz="1000" b="0" dirty="0">
                          <a:solidFill>
                            <a:schemeClr val="tx1"/>
                          </a:solidFill>
                          <a:latin typeface="Calibri" panose="020F0502020204030204" pitchFamily="34" charset="0"/>
                          <a:cs typeface="Calibri" panose="020F0502020204030204" pitchFamily="34" charset="0"/>
                        </a:rPr>
                        <a:t>HR: 0.48 (95% CI: 0.38-0.59; </a:t>
                      </a:r>
                    </a:p>
                    <a:p>
                      <a:pPr algn="ctr"/>
                      <a:r>
                        <a:rPr lang="en-US" sz="1000" b="0" dirty="0">
                          <a:solidFill>
                            <a:schemeClr val="tx1"/>
                          </a:solidFill>
                          <a:latin typeface="Calibri" panose="020F0502020204030204" pitchFamily="34" charset="0"/>
                          <a:cs typeface="Calibri" panose="020F0502020204030204" pitchFamily="34" charset="0"/>
                        </a:rPr>
                        <a:t>P &lt;.001)</a:t>
                      </a:r>
                    </a:p>
                  </a:txBody>
                  <a:tcPr/>
                </a:tc>
                <a:tc hMerge="1">
                  <a:txBody>
                    <a:bodyPr/>
                    <a:lstStyle/>
                    <a:p>
                      <a:pPr algn="ctr"/>
                      <a:endParaRPr lang="en-US" sz="1600" dirty="0">
                        <a:solidFill>
                          <a:schemeClr val="bg1"/>
                        </a:solidFill>
                        <a:latin typeface="Calibri" panose="020F0502020204030204" pitchFamily="34" charset="0"/>
                        <a:cs typeface="Calibri" panose="020F050202020403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2249408915"/>
                  </a:ext>
                </a:extLst>
              </a:tr>
            </a:tbl>
          </a:graphicData>
        </a:graphic>
      </p:graphicFrame>
      <p:grpSp>
        <p:nvGrpSpPr>
          <p:cNvPr id="13" name="Group 12">
            <a:extLst>
              <a:ext uri="{FF2B5EF4-FFF2-40B4-BE49-F238E27FC236}">
                <a16:creationId xmlns:a16="http://schemas.microsoft.com/office/drawing/2014/main" id="{C8028B70-B52E-62FA-8044-2DA687E66C33}"/>
              </a:ext>
            </a:extLst>
          </p:cNvPr>
          <p:cNvGrpSpPr/>
          <p:nvPr/>
        </p:nvGrpSpPr>
        <p:grpSpPr>
          <a:xfrm>
            <a:off x="1069756" y="1222148"/>
            <a:ext cx="5839697" cy="2595093"/>
            <a:chOff x="2595716" y="1983658"/>
            <a:chExt cx="7499555" cy="3355249"/>
          </a:xfrm>
        </p:grpSpPr>
        <p:sp>
          <p:nvSpPr>
            <p:cNvPr id="14" name="Freeform: Shape 13">
              <a:extLst>
                <a:ext uri="{FF2B5EF4-FFF2-40B4-BE49-F238E27FC236}">
                  <a16:creationId xmlns:a16="http://schemas.microsoft.com/office/drawing/2014/main" id="{24B50C84-5542-B5D6-A594-01819EBF5BC8}"/>
                </a:ext>
              </a:extLst>
            </p:cNvPr>
            <p:cNvSpPr/>
            <p:nvPr/>
          </p:nvSpPr>
          <p:spPr bwMode="auto">
            <a:xfrm>
              <a:off x="2698955" y="1983658"/>
              <a:ext cx="7396316" cy="3252019"/>
            </a:xfrm>
            <a:custGeom>
              <a:avLst/>
              <a:gdLst>
                <a:gd name="connsiteX0" fmla="*/ 0 w 7396316"/>
                <a:gd name="connsiteY0" fmla="*/ 0 h 3252019"/>
                <a:gd name="connsiteX1" fmla="*/ 0 w 7396316"/>
                <a:gd name="connsiteY1" fmla="*/ 3252019 h 3252019"/>
                <a:gd name="connsiteX2" fmla="*/ 7396316 w 7396316"/>
                <a:gd name="connsiteY2" fmla="*/ 3252019 h 3252019"/>
              </a:gdLst>
              <a:ahLst/>
              <a:cxnLst>
                <a:cxn ang="0">
                  <a:pos x="connsiteX0" y="connsiteY0"/>
                </a:cxn>
                <a:cxn ang="0">
                  <a:pos x="connsiteX1" y="connsiteY1"/>
                </a:cxn>
                <a:cxn ang="0">
                  <a:pos x="connsiteX2" y="connsiteY2"/>
                </a:cxn>
              </a:cxnLst>
              <a:rect l="l" t="t" r="r" b="b"/>
              <a:pathLst>
                <a:path w="7396316" h="3252019">
                  <a:moveTo>
                    <a:pt x="0" y="0"/>
                  </a:moveTo>
                  <a:lnTo>
                    <a:pt x="0" y="3252019"/>
                  </a:lnTo>
                  <a:lnTo>
                    <a:pt x="7396316" y="3252019"/>
                  </a:lnTo>
                </a:path>
              </a:pathLst>
            </a:custGeom>
            <a:noFill/>
            <a:ln w="28575">
              <a:solidFill>
                <a:srgbClr val="000000"/>
              </a:solidFill>
              <a:miter lim="800000"/>
              <a:headEnd/>
              <a:tailEnd/>
            </a:ln>
          </p:spPr>
          <p:txBody>
            <a:bodyPr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grpSp>
          <p:nvGrpSpPr>
            <p:cNvPr id="15" name="Group 14">
              <a:extLst>
                <a:ext uri="{FF2B5EF4-FFF2-40B4-BE49-F238E27FC236}">
                  <a16:creationId xmlns:a16="http://schemas.microsoft.com/office/drawing/2014/main" id="{D62EB387-AF80-B4EA-8FDF-87CA60BDD69B}"/>
                </a:ext>
              </a:extLst>
            </p:cNvPr>
            <p:cNvGrpSpPr/>
            <p:nvPr/>
          </p:nvGrpSpPr>
          <p:grpSpPr>
            <a:xfrm>
              <a:off x="2595716" y="2022271"/>
              <a:ext cx="103239" cy="3214615"/>
              <a:chOff x="2595716" y="2022271"/>
              <a:chExt cx="103239" cy="3214615"/>
            </a:xfrm>
          </p:grpSpPr>
          <p:cxnSp>
            <p:nvCxnSpPr>
              <p:cNvPr id="26" name="Straight Connector 25">
                <a:extLst>
                  <a:ext uri="{FF2B5EF4-FFF2-40B4-BE49-F238E27FC236}">
                    <a16:creationId xmlns:a16="http://schemas.microsoft.com/office/drawing/2014/main" id="{63B26444-20D8-5BD6-CB41-E7E05A2BE4D7}"/>
                  </a:ext>
                </a:extLst>
              </p:cNvPr>
              <p:cNvCxnSpPr>
                <a:cxnSpLocks/>
              </p:cNvCxnSpPr>
              <p:nvPr/>
            </p:nvCxnSpPr>
            <p:spPr bwMode="auto">
              <a:xfrm flipH="1">
                <a:off x="2595716" y="2022271"/>
                <a:ext cx="103239" cy="0"/>
              </a:xfrm>
              <a:prstGeom prst="line">
                <a:avLst/>
              </a:prstGeom>
              <a:noFill/>
              <a:ln w="28575" cap="flat" cmpd="sng" algn="ctr">
                <a:solidFill>
                  <a:srgbClr val="000000"/>
                </a:solidFill>
                <a:prstDash val="solid"/>
                <a:round/>
                <a:headEnd type="none" w="med" len="med"/>
                <a:tailEnd type="none" w="med" len="med"/>
              </a:ln>
              <a:effectLst/>
            </p:spPr>
          </p:cxnSp>
          <p:cxnSp>
            <p:nvCxnSpPr>
              <p:cNvPr id="27" name="Straight Connector 26">
                <a:extLst>
                  <a:ext uri="{FF2B5EF4-FFF2-40B4-BE49-F238E27FC236}">
                    <a16:creationId xmlns:a16="http://schemas.microsoft.com/office/drawing/2014/main" id="{6A0AACF5-6A53-08F9-D575-2B2AC049E069}"/>
                  </a:ext>
                </a:extLst>
              </p:cNvPr>
              <p:cNvCxnSpPr>
                <a:cxnSpLocks/>
              </p:cNvCxnSpPr>
              <p:nvPr/>
            </p:nvCxnSpPr>
            <p:spPr bwMode="auto">
              <a:xfrm flipH="1">
                <a:off x="2595716" y="2665194"/>
                <a:ext cx="103239" cy="0"/>
              </a:xfrm>
              <a:prstGeom prst="line">
                <a:avLst/>
              </a:prstGeom>
              <a:noFill/>
              <a:ln w="28575" cap="flat" cmpd="sng" algn="ctr">
                <a:solidFill>
                  <a:srgbClr val="000000"/>
                </a:solidFill>
                <a:prstDash val="solid"/>
                <a:round/>
                <a:headEnd type="none" w="med" len="med"/>
                <a:tailEnd type="none" w="med" len="med"/>
              </a:ln>
              <a:effectLst/>
            </p:spPr>
          </p:cxnSp>
          <p:cxnSp>
            <p:nvCxnSpPr>
              <p:cNvPr id="28" name="Straight Connector 27">
                <a:extLst>
                  <a:ext uri="{FF2B5EF4-FFF2-40B4-BE49-F238E27FC236}">
                    <a16:creationId xmlns:a16="http://schemas.microsoft.com/office/drawing/2014/main" id="{486D3A86-9E18-EE73-96FF-5674EB0616AF}"/>
                  </a:ext>
                </a:extLst>
              </p:cNvPr>
              <p:cNvCxnSpPr>
                <a:cxnSpLocks/>
              </p:cNvCxnSpPr>
              <p:nvPr/>
            </p:nvCxnSpPr>
            <p:spPr bwMode="auto">
              <a:xfrm flipH="1">
                <a:off x="2595716" y="3308117"/>
                <a:ext cx="103239" cy="0"/>
              </a:xfrm>
              <a:prstGeom prst="line">
                <a:avLst/>
              </a:prstGeom>
              <a:noFill/>
              <a:ln w="28575" cap="flat" cmpd="sng" algn="ctr">
                <a:solidFill>
                  <a:srgbClr val="000000"/>
                </a:solidFill>
                <a:prstDash val="solid"/>
                <a:round/>
                <a:headEnd type="none" w="med" len="med"/>
                <a:tailEnd type="none" w="med" len="med"/>
              </a:ln>
              <a:effectLst/>
            </p:spPr>
          </p:cxnSp>
          <p:cxnSp>
            <p:nvCxnSpPr>
              <p:cNvPr id="29" name="Straight Connector 28">
                <a:extLst>
                  <a:ext uri="{FF2B5EF4-FFF2-40B4-BE49-F238E27FC236}">
                    <a16:creationId xmlns:a16="http://schemas.microsoft.com/office/drawing/2014/main" id="{E42A0300-758F-8EB2-5655-7C15108B93C8}"/>
                  </a:ext>
                </a:extLst>
              </p:cNvPr>
              <p:cNvCxnSpPr>
                <a:cxnSpLocks/>
              </p:cNvCxnSpPr>
              <p:nvPr/>
            </p:nvCxnSpPr>
            <p:spPr bwMode="auto">
              <a:xfrm flipH="1">
                <a:off x="2595716" y="3951040"/>
                <a:ext cx="103239" cy="0"/>
              </a:xfrm>
              <a:prstGeom prst="line">
                <a:avLst/>
              </a:prstGeom>
              <a:noFill/>
              <a:ln w="28575" cap="flat" cmpd="sng" algn="ctr">
                <a:solidFill>
                  <a:srgbClr val="000000"/>
                </a:solidFill>
                <a:prstDash val="solid"/>
                <a:round/>
                <a:headEnd type="none" w="med" len="med"/>
                <a:tailEnd type="none" w="med" len="med"/>
              </a:ln>
              <a:effectLst/>
            </p:spPr>
          </p:cxnSp>
          <p:cxnSp>
            <p:nvCxnSpPr>
              <p:cNvPr id="30" name="Straight Connector 29">
                <a:extLst>
                  <a:ext uri="{FF2B5EF4-FFF2-40B4-BE49-F238E27FC236}">
                    <a16:creationId xmlns:a16="http://schemas.microsoft.com/office/drawing/2014/main" id="{4B29853C-690B-59FC-7B74-83E51E250633}"/>
                  </a:ext>
                </a:extLst>
              </p:cNvPr>
              <p:cNvCxnSpPr>
                <a:cxnSpLocks/>
              </p:cNvCxnSpPr>
              <p:nvPr/>
            </p:nvCxnSpPr>
            <p:spPr bwMode="auto">
              <a:xfrm flipH="1">
                <a:off x="2595716" y="4593963"/>
                <a:ext cx="103239" cy="0"/>
              </a:xfrm>
              <a:prstGeom prst="line">
                <a:avLst/>
              </a:prstGeom>
              <a:noFill/>
              <a:ln w="28575" cap="flat" cmpd="sng" algn="ctr">
                <a:solidFill>
                  <a:srgbClr val="000000"/>
                </a:solidFill>
                <a:prstDash val="solid"/>
                <a:round/>
                <a:headEnd type="none" w="med" len="med"/>
                <a:tailEnd type="none" w="med" len="med"/>
              </a:ln>
              <a:effectLst/>
            </p:spPr>
          </p:cxnSp>
          <p:cxnSp>
            <p:nvCxnSpPr>
              <p:cNvPr id="31" name="Straight Connector 30">
                <a:extLst>
                  <a:ext uri="{FF2B5EF4-FFF2-40B4-BE49-F238E27FC236}">
                    <a16:creationId xmlns:a16="http://schemas.microsoft.com/office/drawing/2014/main" id="{636E05B1-89E9-6D20-F3B8-D0802E850CEE}"/>
                  </a:ext>
                </a:extLst>
              </p:cNvPr>
              <p:cNvCxnSpPr>
                <a:cxnSpLocks/>
              </p:cNvCxnSpPr>
              <p:nvPr/>
            </p:nvCxnSpPr>
            <p:spPr bwMode="auto">
              <a:xfrm flipH="1">
                <a:off x="2595716" y="5236886"/>
                <a:ext cx="103239" cy="0"/>
              </a:xfrm>
              <a:prstGeom prst="line">
                <a:avLst/>
              </a:prstGeom>
              <a:noFill/>
              <a:ln w="28575" cap="flat" cmpd="sng" algn="ctr">
                <a:solidFill>
                  <a:srgbClr val="000000"/>
                </a:solidFill>
                <a:prstDash val="solid"/>
                <a:round/>
                <a:headEnd type="none" w="med" len="med"/>
                <a:tailEnd type="none" w="med" len="med"/>
              </a:ln>
              <a:effectLst/>
            </p:spPr>
          </p:cxnSp>
        </p:grpSp>
        <p:grpSp>
          <p:nvGrpSpPr>
            <p:cNvPr id="16" name="Group 15">
              <a:extLst>
                <a:ext uri="{FF2B5EF4-FFF2-40B4-BE49-F238E27FC236}">
                  <a16:creationId xmlns:a16="http://schemas.microsoft.com/office/drawing/2014/main" id="{3B6F0897-B9A4-0186-9957-EE1636C77EF8}"/>
                </a:ext>
              </a:extLst>
            </p:cNvPr>
            <p:cNvGrpSpPr/>
            <p:nvPr/>
          </p:nvGrpSpPr>
          <p:grpSpPr>
            <a:xfrm>
              <a:off x="2698955" y="5235668"/>
              <a:ext cx="7382736" cy="103239"/>
              <a:chOff x="2698955" y="5235668"/>
              <a:chExt cx="7382736" cy="103239"/>
            </a:xfrm>
          </p:grpSpPr>
          <p:cxnSp>
            <p:nvCxnSpPr>
              <p:cNvPr id="17" name="Straight Connector 16">
                <a:extLst>
                  <a:ext uri="{FF2B5EF4-FFF2-40B4-BE49-F238E27FC236}">
                    <a16:creationId xmlns:a16="http://schemas.microsoft.com/office/drawing/2014/main" id="{2F2F0133-DAF9-E80B-0D01-58FC4F27470B}"/>
                  </a:ext>
                </a:extLst>
              </p:cNvPr>
              <p:cNvCxnSpPr>
                <a:cxnSpLocks/>
              </p:cNvCxnSpPr>
              <p:nvPr/>
            </p:nvCxnSpPr>
            <p:spPr bwMode="auto">
              <a:xfrm rot="5400000" flipH="1">
                <a:off x="2647335" y="5287288"/>
                <a:ext cx="103239" cy="0"/>
              </a:xfrm>
              <a:prstGeom prst="line">
                <a:avLst/>
              </a:prstGeom>
              <a:noFill/>
              <a:ln w="28575" cap="flat" cmpd="sng" algn="ctr">
                <a:solidFill>
                  <a:srgbClr val="000000"/>
                </a:solidFill>
                <a:prstDash val="solid"/>
                <a:round/>
                <a:headEnd type="none" w="med" len="med"/>
                <a:tailEnd type="none" w="med" len="med"/>
              </a:ln>
              <a:effectLst/>
            </p:spPr>
          </p:cxnSp>
          <p:cxnSp>
            <p:nvCxnSpPr>
              <p:cNvPr id="18" name="Straight Connector 17">
                <a:extLst>
                  <a:ext uri="{FF2B5EF4-FFF2-40B4-BE49-F238E27FC236}">
                    <a16:creationId xmlns:a16="http://schemas.microsoft.com/office/drawing/2014/main" id="{B03BBA75-AD56-1303-E416-ADE53712587A}"/>
                  </a:ext>
                </a:extLst>
              </p:cNvPr>
              <p:cNvCxnSpPr>
                <a:cxnSpLocks/>
              </p:cNvCxnSpPr>
              <p:nvPr/>
            </p:nvCxnSpPr>
            <p:spPr bwMode="auto">
              <a:xfrm rot="5400000" flipH="1">
                <a:off x="3570177" y="5287288"/>
                <a:ext cx="103239" cy="0"/>
              </a:xfrm>
              <a:prstGeom prst="line">
                <a:avLst/>
              </a:prstGeom>
              <a:noFill/>
              <a:ln w="28575" cap="flat" cmpd="sng" algn="ctr">
                <a:solidFill>
                  <a:srgbClr val="000000"/>
                </a:solidFill>
                <a:prstDash val="solid"/>
                <a:round/>
                <a:headEnd type="none" w="med" len="med"/>
                <a:tailEnd type="none" w="med" len="med"/>
              </a:ln>
              <a:effectLst/>
            </p:spPr>
          </p:cxnSp>
          <p:cxnSp>
            <p:nvCxnSpPr>
              <p:cNvPr id="19" name="Straight Connector 18">
                <a:extLst>
                  <a:ext uri="{FF2B5EF4-FFF2-40B4-BE49-F238E27FC236}">
                    <a16:creationId xmlns:a16="http://schemas.microsoft.com/office/drawing/2014/main" id="{1AFD822D-4692-0E8E-7CE6-10620D2C3757}"/>
                  </a:ext>
                </a:extLst>
              </p:cNvPr>
              <p:cNvCxnSpPr>
                <a:cxnSpLocks/>
              </p:cNvCxnSpPr>
              <p:nvPr/>
            </p:nvCxnSpPr>
            <p:spPr bwMode="auto">
              <a:xfrm rot="5400000" flipH="1">
                <a:off x="4493019" y="5287288"/>
                <a:ext cx="103239" cy="0"/>
              </a:xfrm>
              <a:prstGeom prst="line">
                <a:avLst/>
              </a:prstGeom>
              <a:noFill/>
              <a:ln w="28575" cap="flat" cmpd="sng" algn="ctr">
                <a:solidFill>
                  <a:srgbClr val="000000"/>
                </a:solidFill>
                <a:prstDash val="solid"/>
                <a:round/>
                <a:headEnd type="none" w="med" len="med"/>
                <a:tailEnd type="none" w="med" len="med"/>
              </a:ln>
              <a:effectLst/>
            </p:spPr>
          </p:cxnSp>
          <p:cxnSp>
            <p:nvCxnSpPr>
              <p:cNvPr id="20" name="Straight Connector 19">
                <a:extLst>
                  <a:ext uri="{FF2B5EF4-FFF2-40B4-BE49-F238E27FC236}">
                    <a16:creationId xmlns:a16="http://schemas.microsoft.com/office/drawing/2014/main" id="{7761771B-9F58-2E3B-C561-71800385B809}"/>
                  </a:ext>
                </a:extLst>
              </p:cNvPr>
              <p:cNvCxnSpPr>
                <a:cxnSpLocks/>
              </p:cNvCxnSpPr>
              <p:nvPr/>
            </p:nvCxnSpPr>
            <p:spPr bwMode="auto">
              <a:xfrm rot="5400000" flipH="1">
                <a:off x="5415861" y="5287288"/>
                <a:ext cx="103239" cy="0"/>
              </a:xfrm>
              <a:prstGeom prst="line">
                <a:avLst/>
              </a:prstGeom>
              <a:noFill/>
              <a:ln w="28575" cap="flat" cmpd="sng" algn="ctr">
                <a:solidFill>
                  <a:srgbClr val="000000"/>
                </a:solidFill>
                <a:prstDash val="solid"/>
                <a:round/>
                <a:headEnd type="none" w="med" len="med"/>
                <a:tailEnd type="none" w="med" len="med"/>
              </a:ln>
              <a:effectLst/>
            </p:spPr>
          </p:cxnSp>
          <p:cxnSp>
            <p:nvCxnSpPr>
              <p:cNvPr id="21" name="Straight Connector 20">
                <a:extLst>
                  <a:ext uri="{FF2B5EF4-FFF2-40B4-BE49-F238E27FC236}">
                    <a16:creationId xmlns:a16="http://schemas.microsoft.com/office/drawing/2014/main" id="{3549BB2F-F4E8-4254-7383-EF9DFFDE438B}"/>
                  </a:ext>
                </a:extLst>
              </p:cNvPr>
              <p:cNvCxnSpPr>
                <a:cxnSpLocks/>
              </p:cNvCxnSpPr>
              <p:nvPr/>
            </p:nvCxnSpPr>
            <p:spPr bwMode="auto">
              <a:xfrm rot="5400000" flipH="1">
                <a:off x="6338703" y="5287288"/>
                <a:ext cx="103239" cy="0"/>
              </a:xfrm>
              <a:prstGeom prst="line">
                <a:avLst/>
              </a:prstGeom>
              <a:noFill/>
              <a:ln w="28575" cap="flat" cmpd="sng" algn="ctr">
                <a:solidFill>
                  <a:srgbClr val="000000"/>
                </a:solidFill>
                <a:prstDash val="solid"/>
                <a:round/>
                <a:headEnd type="none" w="med" len="med"/>
                <a:tailEnd type="none" w="med" len="med"/>
              </a:ln>
              <a:effectLst/>
            </p:spPr>
          </p:cxnSp>
          <p:cxnSp>
            <p:nvCxnSpPr>
              <p:cNvPr id="22" name="Straight Connector 21">
                <a:extLst>
                  <a:ext uri="{FF2B5EF4-FFF2-40B4-BE49-F238E27FC236}">
                    <a16:creationId xmlns:a16="http://schemas.microsoft.com/office/drawing/2014/main" id="{832D7AE8-F024-535C-6656-35C60ADC0E71}"/>
                  </a:ext>
                </a:extLst>
              </p:cNvPr>
              <p:cNvCxnSpPr>
                <a:cxnSpLocks/>
              </p:cNvCxnSpPr>
              <p:nvPr/>
            </p:nvCxnSpPr>
            <p:spPr bwMode="auto">
              <a:xfrm rot="5400000" flipH="1">
                <a:off x="7261545" y="5287288"/>
                <a:ext cx="103239" cy="0"/>
              </a:xfrm>
              <a:prstGeom prst="line">
                <a:avLst/>
              </a:prstGeom>
              <a:noFill/>
              <a:ln w="28575" cap="flat" cmpd="sng" algn="ctr">
                <a:solidFill>
                  <a:srgbClr val="000000"/>
                </a:solidFill>
                <a:prstDash val="solid"/>
                <a:round/>
                <a:headEnd type="none" w="med" len="med"/>
                <a:tailEnd type="none" w="med" len="med"/>
              </a:ln>
              <a:effectLst/>
            </p:spPr>
          </p:cxnSp>
          <p:cxnSp>
            <p:nvCxnSpPr>
              <p:cNvPr id="23" name="Straight Connector 22">
                <a:extLst>
                  <a:ext uri="{FF2B5EF4-FFF2-40B4-BE49-F238E27FC236}">
                    <a16:creationId xmlns:a16="http://schemas.microsoft.com/office/drawing/2014/main" id="{14D730E8-F443-E4DC-E4B3-6349BC6DED36}"/>
                  </a:ext>
                </a:extLst>
              </p:cNvPr>
              <p:cNvCxnSpPr>
                <a:cxnSpLocks/>
              </p:cNvCxnSpPr>
              <p:nvPr/>
            </p:nvCxnSpPr>
            <p:spPr bwMode="auto">
              <a:xfrm rot="5400000" flipH="1">
                <a:off x="8184387" y="5287288"/>
                <a:ext cx="103239" cy="0"/>
              </a:xfrm>
              <a:prstGeom prst="line">
                <a:avLst/>
              </a:prstGeom>
              <a:noFill/>
              <a:ln w="28575" cap="flat" cmpd="sng" algn="ctr">
                <a:solidFill>
                  <a:srgbClr val="000000"/>
                </a:solidFill>
                <a:prstDash val="solid"/>
                <a:round/>
                <a:headEnd type="none" w="med" len="med"/>
                <a:tailEnd type="none" w="med" len="med"/>
              </a:ln>
              <a:effectLst/>
            </p:spPr>
          </p:cxnSp>
          <p:cxnSp>
            <p:nvCxnSpPr>
              <p:cNvPr id="24" name="Straight Connector 23">
                <a:extLst>
                  <a:ext uri="{FF2B5EF4-FFF2-40B4-BE49-F238E27FC236}">
                    <a16:creationId xmlns:a16="http://schemas.microsoft.com/office/drawing/2014/main" id="{5F2FAC3B-0C73-4A87-744E-20539A5605BD}"/>
                  </a:ext>
                </a:extLst>
              </p:cNvPr>
              <p:cNvCxnSpPr>
                <a:cxnSpLocks/>
              </p:cNvCxnSpPr>
              <p:nvPr/>
            </p:nvCxnSpPr>
            <p:spPr bwMode="auto">
              <a:xfrm rot="5400000" flipH="1">
                <a:off x="9107229" y="5287288"/>
                <a:ext cx="103239" cy="0"/>
              </a:xfrm>
              <a:prstGeom prst="line">
                <a:avLst/>
              </a:prstGeom>
              <a:noFill/>
              <a:ln w="28575" cap="flat" cmpd="sng" algn="ctr">
                <a:solidFill>
                  <a:srgbClr val="000000"/>
                </a:solidFill>
                <a:prstDash val="solid"/>
                <a:round/>
                <a:headEnd type="none" w="med" len="med"/>
                <a:tailEnd type="none" w="med" len="med"/>
              </a:ln>
              <a:effectLst/>
            </p:spPr>
          </p:cxnSp>
          <p:cxnSp>
            <p:nvCxnSpPr>
              <p:cNvPr id="25" name="Straight Connector 24">
                <a:extLst>
                  <a:ext uri="{FF2B5EF4-FFF2-40B4-BE49-F238E27FC236}">
                    <a16:creationId xmlns:a16="http://schemas.microsoft.com/office/drawing/2014/main" id="{509F3DED-63CA-4068-83F0-484D7BBAF749}"/>
                  </a:ext>
                </a:extLst>
              </p:cNvPr>
              <p:cNvCxnSpPr>
                <a:cxnSpLocks/>
              </p:cNvCxnSpPr>
              <p:nvPr/>
            </p:nvCxnSpPr>
            <p:spPr bwMode="auto">
              <a:xfrm rot="5400000" flipH="1">
                <a:off x="10030071" y="5287288"/>
                <a:ext cx="103239" cy="0"/>
              </a:xfrm>
              <a:prstGeom prst="line">
                <a:avLst/>
              </a:prstGeom>
              <a:noFill/>
              <a:ln w="28575" cap="flat" cmpd="sng" algn="ctr">
                <a:solidFill>
                  <a:srgbClr val="000000"/>
                </a:solidFill>
                <a:prstDash val="solid"/>
                <a:round/>
                <a:headEnd type="none" w="med" len="med"/>
                <a:tailEnd type="none" w="med" len="med"/>
              </a:ln>
              <a:effectLst/>
            </p:spPr>
          </p:cxnSp>
        </p:grpSp>
      </p:grpSp>
      <p:sp>
        <p:nvSpPr>
          <p:cNvPr id="51" name="TextBox 50">
            <a:extLst>
              <a:ext uri="{FF2B5EF4-FFF2-40B4-BE49-F238E27FC236}">
                <a16:creationId xmlns:a16="http://schemas.microsoft.com/office/drawing/2014/main" id="{B22A0033-3EE0-3CCB-BB1D-40AE81CB9250}"/>
              </a:ext>
            </a:extLst>
          </p:cNvPr>
          <p:cNvSpPr txBox="1"/>
          <p:nvPr/>
        </p:nvSpPr>
        <p:spPr bwMode="auto">
          <a:xfrm>
            <a:off x="651720" y="1123830"/>
            <a:ext cx="41803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algn="r">
              <a:lnSpc>
                <a:spcPct val="100000"/>
              </a:lnSpc>
              <a:spcBef>
                <a:spcPct val="50000"/>
              </a:spcBef>
              <a:spcAft>
                <a:spcPct val="0"/>
              </a:spcAft>
              <a:buClrTx/>
              <a:buFontTx/>
              <a:buNone/>
            </a:pPr>
            <a:r>
              <a:rPr lang="en-US" sz="1200" b="0" dirty="0">
                <a:latin typeface="Calibri" panose="020F0502020204030204" pitchFamily="34" charset="0"/>
              </a:rPr>
              <a:t>100</a:t>
            </a:r>
          </a:p>
        </p:txBody>
      </p:sp>
      <p:sp>
        <p:nvSpPr>
          <p:cNvPr id="53" name="TextBox 52">
            <a:extLst>
              <a:ext uri="{FF2B5EF4-FFF2-40B4-BE49-F238E27FC236}">
                <a16:creationId xmlns:a16="http://schemas.microsoft.com/office/drawing/2014/main" id="{75FAC05E-58E3-537D-C7DA-36BDDBC57178}"/>
              </a:ext>
            </a:extLst>
          </p:cNvPr>
          <p:cNvSpPr txBox="1"/>
          <p:nvPr/>
        </p:nvSpPr>
        <p:spPr bwMode="auto">
          <a:xfrm>
            <a:off x="647462" y="1610777"/>
            <a:ext cx="41803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algn="r">
              <a:lnSpc>
                <a:spcPct val="100000"/>
              </a:lnSpc>
              <a:spcBef>
                <a:spcPct val="50000"/>
              </a:spcBef>
              <a:spcAft>
                <a:spcPct val="0"/>
              </a:spcAft>
              <a:buClrTx/>
              <a:buFontTx/>
              <a:buNone/>
            </a:pPr>
            <a:r>
              <a:rPr lang="en-US" sz="1200" dirty="0">
                <a:latin typeface="Calibri" panose="020F0502020204030204" pitchFamily="34" charset="0"/>
              </a:rPr>
              <a:t>8</a:t>
            </a:r>
            <a:r>
              <a:rPr lang="en-US" sz="1200" b="0" dirty="0">
                <a:latin typeface="Calibri" panose="020F0502020204030204" pitchFamily="34" charset="0"/>
              </a:rPr>
              <a:t>0</a:t>
            </a:r>
          </a:p>
        </p:txBody>
      </p:sp>
      <p:sp>
        <p:nvSpPr>
          <p:cNvPr id="55" name="TextBox 54">
            <a:extLst>
              <a:ext uri="{FF2B5EF4-FFF2-40B4-BE49-F238E27FC236}">
                <a16:creationId xmlns:a16="http://schemas.microsoft.com/office/drawing/2014/main" id="{37346490-D180-61FE-1357-FC1B76F8F2C6}"/>
              </a:ext>
            </a:extLst>
          </p:cNvPr>
          <p:cNvSpPr txBox="1"/>
          <p:nvPr/>
        </p:nvSpPr>
        <p:spPr bwMode="auto">
          <a:xfrm>
            <a:off x="651419" y="2054305"/>
            <a:ext cx="41803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algn="r">
              <a:lnSpc>
                <a:spcPct val="100000"/>
              </a:lnSpc>
              <a:spcBef>
                <a:spcPct val="50000"/>
              </a:spcBef>
              <a:spcAft>
                <a:spcPct val="0"/>
              </a:spcAft>
              <a:buClrTx/>
              <a:buFontTx/>
              <a:buNone/>
            </a:pPr>
            <a:r>
              <a:rPr lang="en-US" sz="1200" dirty="0">
                <a:latin typeface="Calibri" panose="020F0502020204030204" pitchFamily="34" charset="0"/>
              </a:rPr>
              <a:t>6</a:t>
            </a:r>
            <a:r>
              <a:rPr lang="en-US" sz="1200" b="0" dirty="0">
                <a:latin typeface="Calibri" panose="020F0502020204030204" pitchFamily="34" charset="0"/>
              </a:rPr>
              <a:t>0</a:t>
            </a:r>
          </a:p>
        </p:txBody>
      </p:sp>
      <p:sp>
        <p:nvSpPr>
          <p:cNvPr id="57" name="TextBox 56">
            <a:extLst>
              <a:ext uri="{FF2B5EF4-FFF2-40B4-BE49-F238E27FC236}">
                <a16:creationId xmlns:a16="http://schemas.microsoft.com/office/drawing/2014/main" id="{68A1AF40-DF49-275A-FAFA-7D1AA2F441A8}"/>
              </a:ext>
            </a:extLst>
          </p:cNvPr>
          <p:cNvSpPr txBox="1"/>
          <p:nvPr/>
        </p:nvSpPr>
        <p:spPr bwMode="auto">
          <a:xfrm>
            <a:off x="647462" y="2584672"/>
            <a:ext cx="41803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algn="r">
              <a:lnSpc>
                <a:spcPct val="100000"/>
              </a:lnSpc>
              <a:spcBef>
                <a:spcPct val="50000"/>
              </a:spcBef>
              <a:spcAft>
                <a:spcPct val="0"/>
              </a:spcAft>
              <a:buClrTx/>
              <a:buFontTx/>
              <a:buNone/>
            </a:pPr>
            <a:r>
              <a:rPr lang="en-US" sz="1200" dirty="0">
                <a:latin typeface="Calibri" panose="020F0502020204030204" pitchFamily="34" charset="0"/>
              </a:rPr>
              <a:t>4</a:t>
            </a:r>
            <a:r>
              <a:rPr lang="en-US" sz="1200" b="0" dirty="0">
                <a:latin typeface="Calibri" panose="020F0502020204030204" pitchFamily="34" charset="0"/>
              </a:rPr>
              <a:t>0</a:t>
            </a:r>
          </a:p>
        </p:txBody>
      </p:sp>
      <p:sp>
        <p:nvSpPr>
          <p:cNvPr id="64" name="TextBox 63">
            <a:extLst>
              <a:ext uri="{FF2B5EF4-FFF2-40B4-BE49-F238E27FC236}">
                <a16:creationId xmlns:a16="http://schemas.microsoft.com/office/drawing/2014/main" id="{0DD31A2C-FD02-DA8E-768F-4FB6A30C1E9F}"/>
              </a:ext>
            </a:extLst>
          </p:cNvPr>
          <p:cNvSpPr txBox="1"/>
          <p:nvPr/>
        </p:nvSpPr>
        <p:spPr bwMode="auto">
          <a:xfrm>
            <a:off x="647462" y="3102571"/>
            <a:ext cx="41803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algn="r">
              <a:lnSpc>
                <a:spcPct val="100000"/>
              </a:lnSpc>
              <a:spcBef>
                <a:spcPct val="50000"/>
              </a:spcBef>
              <a:spcAft>
                <a:spcPct val="0"/>
              </a:spcAft>
              <a:buClrTx/>
              <a:buFontTx/>
              <a:buNone/>
            </a:pPr>
            <a:r>
              <a:rPr lang="en-US" sz="1200" dirty="0">
                <a:latin typeface="Calibri" panose="020F0502020204030204" pitchFamily="34" charset="0"/>
              </a:rPr>
              <a:t>2</a:t>
            </a:r>
            <a:r>
              <a:rPr lang="en-US" sz="1200" b="0" dirty="0">
                <a:latin typeface="Calibri" panose="020F0502020204030204" pitchFamily="34" charset="0"/>
              </a:rPr>
              <a:t>0</a:t>
            </a:r>
          </a:p>
        </p:txBody>
      </p:sp>
      <p:sp>
        <p:nvSpPr>
          <p:cNvPr id="65" name="TextBox 64">
            <a:extLst>
              <a:ext uri="{FF2B5EF4-FFF2-40B4-BE49-F238E27FC236}">
                <a16:creationId xmlns:a16="http://schemas.microsoft.com/office/drawing/2014/main" id="{D808929C-F53E-06A2-7C9C-514FFCF83DC9}"/>
              </a:ext>
            </a:extLst>
          </p:cNvPr>
          <p:cNvSpPr txBox="1"/>
          <p:nvPr/>
        </p:nvSpPr>
        <p:spPr bwMode="auto">
          <a:xfrm>
            <a:off x="638293" y="3599834"/>
            <a:ext cx="41803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algn="r">
              <a:lnSpc>
                <a:spcPct val="100000"/>
              </a:lnSpc>
              <a:spcBef>
                <a:spcPct val="50000"/>
              </a:spcBef>
              <a:spcAft>
                <a:spcPct val="0"/>
              </a:spcAft>
              <a:buClrTx/>
              <a:buFontTx/>
              <a:buNone/>
            </a:pPr>
            <a:r>
              <a:rPr lang="en-US" sz="1200" b="0" dirty="0">
                <a:latin typeface="Calibri" panose="020F0502020204030204" pitchFamily="34" charset="0"/>
              </a:rPr>
              <a:t>0</a:t>
            </a:r>
          </a:p>
        </p:txBody>
      </p:sp>
      <p:sp>
        <p:nvSpPr>
          <p:cNvPr id="66" name="TextBox 65">
            <a:extLst>
              <a:ext uri="{FF2B5EF4-FFF2-40B4-BE49-F238E27FC236}">
                <a16:creationId xmlns:a16="http://schemas.microsoft.com/office/drawing/2014/main" id="{68B69551-5954-12F2-EFFF-CE17E4EF5A6C}"/>
              </a:ext>
            </a:extLst>
          </p:cNvPr>
          <p:cNvSpPr txBox="1"/>
          <p:nvPr/>
        </p:nvSpPr>
        <p:spPr bwMode="auto">
          <a:xfrm>
            <a:off x="852974" y="3846130"/>
            <a:ext cx="41803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algn="r">
              <a:lnSpc>
                <a:spcPct val="100000"/>
              </a:lnSpc>
              <a:spcBef>
                <a:spcPct val="50000"/>
              </a:spcBef>
              <a:spcAft>
                <a:spcPct val="0"/>
              </a:spcAft>
              <a:buClrTx/>
              <a:buFontTx/>
              <a:buNone/>
            </a:pPr>
            <a:r>
              <a:rPr lang="en-US" sz="1200" b="0" dirty="0">
                <a:latin typeface="Calibri" panose="020F0502020204030204" pitchFamily="34" charset="0"/>
              </a:rPr>
              <a:t>0</a:t>
            </a:r>
          </a:p>
        </p:txBody>
      </p:sp>
      <p:sp>
        <p:nvSpPr>
          <p:cNvPr id="67" name="TextBox 66">
            <a:extLst>
              <a:ext uri="{FF2B5EF4-FFF2-40B4-BE49-F238E27FC236}">
                <a16:creationId xmlns:a16="http://schemas.microsoft.com/office/drawing/2014/main" id="{1AFC390F-4F03-8EF9-213D-B8765C8350D1}"/>
              </a:ext>
            </a:extLst>
          </p:cNvPr>
          <p:cNvSpPr txBox="1"/>
          <p:nvPr/>
        </p:nvSpPr>
        <p:spPr bwMode="auto">
          <a:xfrm>
            <a:off x="1647931" y="3817242"/>
            <a:ext cx="34548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algn="r">
              <a:lnSpc>
                <a:spcPct val="100000"/>
              </a:lnSpc>
              <a:spcBef>
                <a:spcPct val="50000"/>
              </a:spcBef>
              <a:spcAft>
                <a:spcPct val="0"/>
              </a:spcAft>
              <a:buClrTx/>
              <a:buFontTx/>
              <a:buNone/>
            </a:pPr>
            <a:r>
              <a:rPr lang="en-US" sz="1200" dirty="0">
                <a:latin typeface="Calibri" panose="020F0502020204030204" pitchFamily="34" charset="0"/>
              </a:rPr>
              <a:t>3</a:t>
            </a:r>
            <a:endParaRPr lang="en-US" sz="1200" b="0" dirty="0">
              <a:latin typeface="Calibri" panose="020F0502020204030204" pitchFamily="34" charset="0"/>
            </a:endParaRPr>
          </a:p>
        </p:txBody>
      </p:sp>
      <p:sp>
        <p:nvSpPr>
          <p:cNvPr id="68" name="TextBox 67">
            <a:extLst>
              <a:ext uri="{FF2B5EF4-FFF2-40B4-BE49-F238E27FC236}">
                <a16:creationId xmlns:a16="http://schemas.microsoft.com/office/drawing/2014/main" id="{6B4CB7CC-60E8-A529-FBC6-9FCA1202DB6A}"/>
              </a:ext>
            </a:extLst>
          </p:cNvPr>
          <p:cNvSpPr txBox="1"/>
          <p:nvPr/>
        </p:nvSpPr>
        <p:spPr bwMode="auto">
          <a:xfrm>
            <a:off x="2366521" y="3823504"/>
            <a:ext cx="34548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algn="r">
              <a:lnSpc>
                <a:spcPct val="100000"/>
              </a:lnSpc>
              <a:spcBef>
                <a:spcPct val="50000"/>
              </a:spcBef>
              <a:spcAft>
                <a:spcPct val="0"/>
              </a:spcAft>
              <a:buClrTx/>
              <a:buFontTx/>
              <a:buNone/>
            </a:pPr>
            <a:r>
              <a:rPr lang="en-US" sz="1200" dirty="0">
                <a:latin typeface="Calibri" panose="020F0502020204030204" pitchFamily="34" charset="0"/>
              </a:rPr>
              <a:t>6</a:t>
            </a:r>
            <a:endParaRPr lang="en-US" sz="1200" b="0" dirty="0">
              <a:latin typeface="Calibri" panose="020F0502020204030204" pitchFamily="34" charset="0"/>
            </a:endParaRPr>
          </a:p>
        </p:txBody>
      </p:sp>
      <p:sp>
        <p:nvSpPr>
          <p:cNvPr id="69" name="TextBox 68">
            <a:extLst>
              <a:ext uri="{FF2B5EF4-FFF2-40B4-BE49-F238E27FC236}">
                <a16:creationId xmlns:a16="http://schemas.microsoft.com/office/drawing/2014/main" id="{70FD3138-42FA-7D01-EBE0-5D955B903003}"/>
              </a:ext>
            </a:extLst>
          </p:cNvPr>
          <p:cNvSpPr txBox="1"/>
          <p:nvPr/>
        </p:nvSpPr>
        <p:spPr bwMode="auto">
          <a:xfrm>
            <a:off x="5275967" y="3809576"/>
            <a:ext cx="34548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algn="r">
              <a:lnSpc>
                <a:spcPct val="100000"/>
              </a:lnSpc>
              <a:spcBef>
                <a:spcPct val="50000"/>
              </a:spcBef>
              <a:spcAft>
                <a:spcPct val="0"/>
              </a:spcAft>
              <a:buClrTx/>
              <a:buFontTx/>
              <a:buNone/>
            </a:pPr>
            <a:r>
              <a:rPr lang="en-US" sz="1200" b="0" dirty="0">
                <a:latin typeface="Calibri" panose="020F0502020204030204" pitchFamily="34" charset="0"/>
              </a:rPr>
              <a:t>18</a:t>
            </a:r>
          </a:p>
        </p:txBody>
      </p:sp>
      <p:sp>
        <p:nvSpPr>
          <p:cNvPr id="70" name="TextBox 69">
            <a:extLst>
              <a:ext uri="{FF2B5EF4-FFF2-40B4-BE49-F238E27FC236}">
                <a16:creationId xmlns:a16="http://schemas.microsoft.com/office/drawing/2014/main" id="{A70296E0-664C-57EC-B04E-5138C258AC0E}"/>
              </a:ext>
            </a:extLst>
          </p:cNvPr>
          <p:cNvSpPr txBox="1"/>
          <p:nvPr/>
        </p:nvSpPr>
        <p:spPr bwMode="auto">
          <a:xfrm>
            <a:off x="3096291" y="3791834"/>
            <a:ext cx="34548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algn="r">
              <a:lnSpc>
                <a:spcPct val="100000"/>
              </a:lnSpc>
              <a:spcBef>
                <a:spcPct val="50000"/>
              </a:spcBef>
              <a:spcAft>
                <a:spcPct val="0"/>
              </a:spcAft>
              <a:buClrTx/>
              <a:buFontTx/>
              <a:buNone/>
            </a:pPr>
            <a:r>
              <a:rPr lang="en-US" sz="1200" b="0" dirty="0">
                <a:latin typeface="Calibri" panose="020F0502020204030204" pitchFamily="34" charset="0"/>
              </a:rPr>
              <a:t>9</a:t>
            </a:r>
          </a:p>
        </p:txBody>
      </p:sp>
      <p:sp>
        <p:nvSpPr>
          <p:cNvPr id="71" name="TextBox 70">
            <a:extLst>
              <a:ext uri="{FF2B5EF4-FFF2-40B4-BE49-F238E27FC236}">
                <a16:creationId xmlns:a16="http://schemas.microsoft.com/office/drawing/2014/main" id="{FC3DEECA-0D73-7862-2D9F-15423F46E910}"/>
              </a:ext>
            </a:extLst>
          </p:cNvPr>
          <p:cNvSpPr txBox="1"/>
          <p:nvPr/>
        </p:nvSpPr>
        <p:spPr bwMode="auto">
          <a:xfrm>
            <a:off x="3838703" y="3823504"/>
            <a:ext cx="34548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algn="r">
              <a:lnSpc>
                <a:spcPct val="100000"/>
              </a:lnSpc>
              <a:spcBef>
                <a:spcPct val="50000"/>
              </a:spcBef>
              <a:spcAft>
                <a:spcPct val="0"/>
              </a:spcAft>
              <a:buClrTx/>
              <a:buFontTx/>
              <a:buNone/>
            </a:pPr>
            <a:r>
              <a:rPr lang="en-US" sz="1200" b="0" dirty="0">
                <a:latin typeface="Calibri" panose="020F0502020204030204" pitchFamily="34" charset="0"/>
              </a:rPr>
              <a:t>12</a:t>
            </a:r>
          </a:p>
        </p:txBody>
      </p:sp>
      <p:sp>
        <p:nvSpPr>
          <p:cNvPr id="72" name="TextBox 71">
            <a:extLst>
              <a:ext uri="{FF2B5EF4-FFF2-40B4-BE49-F238E27FC236}">
                <a16:creationId xmlns:a16="http://schemas.microsoft.com/office/drawing/2014/main" id="{61C7AED5-29C7-E9F0-FD98-51AA0886E399}"/>
              </a:ext>
            </a:extLst>
          </p:cNvPr>
          <p:cNvSpPr txBox="1"/>
          <p:nvPr/>
        </p:nvSpPr>
        <p:spPr bwMode="auto">
          <a:xfrm>
            <a:off x="4581115" y="3812159"/>
            <a:ext cx="34548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algn="r">
              <a:lnSpc>
                <a:spcPct val="100000"/>
              </a:lnSpc>
              <a:spcBef>
                <a:spcPct val="50000"/>
              </a:spcBef>
              <a:spcAft>
                <a:spcPct val="0"/>
              </a:spcAft>
              <a:buClrTx/>
              <a:buFontTx/>
              <a:buNone/>
            </a:pPr>
            <a:r>
              <a:rPr lang="en-US" sz="1200" b="0" dirty="0">
                <a:latin typeface="Calibri" panose="020F0502020204030204" pitchFamily="34" charset="0"/>
              </a:rPr>
              <a:t>15</a:t>
            </a:r>
          </a:p>
        </p:txBody>
      </p:sp>
      <p:sp>
        <p:nvSpPr>
          <p:cNvPr id="73" name="TextBox 72">
            <a:extLst>
              <a:ext uri="{FF2B5EF4-FFF2-40B4-BE49-F238E27FC236}">
                <a16:creationId xmlns:a16="http://schemas.microsoft.com/office/drawing/2014/main" id="{58B9B59C-3646-D162-7C9F-B75076DD4533}"/>
              </a:ext>
            </a:extLst>
          </p:cNvPr>
          <p:cNvSpPr txBox="1"/>
          <p:nvPr/>
        </p:nvSpPr>
        <p:spPr bwMode="auto">
          <a:xfrm>
            <a:off x="6752929" y="3787615"/>
            <a:ext cx="34548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algn="r">
              <a:lnSpc>
                <a:spcPct val="100000"/>
              </a:lnSpc>
              <a:spcBef>
                <a:spcPct val="50000"/>
              </a:spcBef>
              <a:spcAft>
                <a:spcPct val="0"/>
              </a:spcAft>
              <a:buClrTx/>
              <a:buFontTx/>
              <a:buNone/>
            </a:pPr>
            <a:r>
              <a:rPr lang="en-US" sz="1200" b="0" dirty="0">
                <a:latin typeface="Calibri" panose="020F0502020204030204" pitchFamily="34" charset="0"/>
              </a:rPr>
              <a:t>24</a:t>
            </a:r>
          </a:p>
        </p:txBody>
      </p:sp>
      <p:sp>
        <p:nvSpPr>
          <p:cNvPr id="74" name="TextBox 73">
            <a:extLst>
              <a:ext uri="{FF2B5EF4-FFF2-40B4-BE49-F238E27FC236}">
                <a16:creationId xmlns:a16="http://schemas.microsoft.com/office/drawing/2014/main" id="{EFD8A6E8-A66C-3487-665F-70901F552545}"/>
              </a:ext>
            </a:extLst>
          </p:cNvPr>
          <p:cNvSpPr txBox="1"/>
          <p:nvPr/>
        </p:nvSpPr>
        <p:spPr bwMode="auto">
          <a:xfrm>
            <a:off x="6021354" y="3817242"/>
            <a:ext cx="34548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algn="r">
              <a:lnSpc>
                <a:spcPct val="100000"/>
              </a:lnSpc>
              <a:spcBef>
                <a:spcPct val="50000"/>
              </a:spcBef>
              <a:spcAft>
                <a:spcPct val="0"/>
              </a:spcAft>
              <a:buClrTx/>
              <a:buFontTx/>
              <a:buNone/>
            </a:pPr>
            <a:r>
              <a:rPr lang="en-US" sz="1200" dirty="0">
                <a:latin typeface="Calibri" panose="020F0502020204030204" pitchFamily="34" charset="0"/>
              </a:rPr>
              <a:t>21</a:t>
            </a:r>
            <a:endParaRPr lang="en-US" sz="1200" b="0" dirty="0">
              <a:latin typeface="Calibri" panose="020F0502020204030204" pitchFamily="34" charset="0"/>
            </a:endParaRPr>
          </a:p>
        </p:txBody>
      </p:sp>
      <p:sp>
        <p:nvSpPr>
          <p:cNvPr id="75" name="TextBox 74">
            <a:extLst>
              <a:ext uri="{FF2B5EF4-FFF2-40B4-BE49-F238E27FC236}">
                <a16:creationId xmlns:a16="http://schemas.microsoft.com/office/drawing/2014/main" id="{1DD3A349-DC8F-62F6-A6A7-A7DE042951A4}"/>
              </a:ext>
            </a:extLst>
          </p:cNvPr>
          <p:cNvSpPr txBox="1"/>
          <p:nvPr/>
        </p:nvSpPr>
        <p:spPr bwMode="auto">
          <a:xfrm>
            <a:off x="6458184" y="2472021"/>
            <a:ext cx="1880204"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eaLnBrk="0" hangingPunct="0">
              <a:spcBef>
                <a:spcPct val="50000"/>
              </a:spcBef>
            </a:pPr>
            <a:r>
              <a:rPr lang="en-US" sz="1200" dirty="0">
                <a:solidFill>
                  <a:srgbClr val="000000"/>
                </a:solidFill>
                <a:latin typeface="Calibri" panose="020F0502020204030204" pitchFamily="34" charset="0"/>
                <a:ea typeface="+mn-ea"/>
                <a:cs typeface="Arial" panose="020B0604020202020204" pitchFamily="34" charset="0"/>
              </a:rPr>
              <a:t>Sacituzumab govitecan </a:t>
            </a:r>
            <a:br>
              <a:rPr lang="en-US" sz="1200" dirty="0">
                <a:solidFill>
                  <a:srgbClr val="000000"/>
                </a:solidFill>
                <a:latin typeface="Calibri" panose="020F0502020204030204" pitchFamily="34" charset="0"/>
                <a:ea typeface="+mn-ea"/>
                <a:cs typeface="Arial" panose="020B0604020202020204" pitchFamily="34" charset="0"/>
              </a:rPr>
            </a:br>
            <a:r>
              <a:rPr lang="en-US" sz="1200" dirty="0">
                <a:solidFill>
                  <a:srgbClr val="000000"/>
                </a:solidFill>
                <a:latin typeface="Calibri" panose="020F0502020204030204" pitchFamily="34" charset="0"/>
                <a:ea typeface="+mn-ea"/>
                <a:cs typeface="Arial" panose="020B0604020202020204" pitchFamily="34" charset="0"/>
              </a:rPr>
              <a:t>Chemotherapy</a:t>
            </a:r>
          </a:p>
        </p:txBody>
      </p:sp>
      <p:sp>
        <p:nvSpPr>
          <p:cNvPr id="76" name="TextBox 75">
            <a:extLst>
              <a:ext uri="{FF2B5EF4-FFF2-40B4-BE49-F238E27FC236}">
                <a16:creationId xmlns:a16="http://schemas.microsoft.com/office/drawing/2014/main" id="{B33D81B1-A1E1-F4CA-5B02-C977493E1049}"/>
              </a:ext>
            </a:extLst>
          </p:cNvPr>
          <p:cNvSpPr txBox="1"/>
          <p:nvPr/>
        </p:nvSpPr>
        <p:spPr bwMode="auto">
          <a:xfrm rot="16200000">
            <a:off x="-325858" y="2057751"/>
            <a:ext cx="1457235" cy="276999"/>
          </a:xfrm>
          <a:prstGeom prst="rect">
            <a:avLst/>
          </a:prstGeom>
          <a:solidFill>
            <a:srgbClr val="FFFFFF"/>
          </a:solidFill>
          <a:ln>
            <a:noFill/>
          </a:ln>
        </p:spPr>
        <p:txBody>
          <a:bodyPr wrap="square" rtlCol="0">
            <a:spAutoFit/>
          </a:bodyPr>
          <a:lstStyle/>
          <a:p>
            <a:pPr marL="0" marR="0" lvl="0" indent="0" algn="ctr" defTabSz="914400" eaLnBrk="0" fontAlgn="auto" latinLnBrk="0" hangingPunct="0">
              <a:lnSpc>
                <a:spcPct val="100000"/>
              </a:lnSpc>
              <a:spcBef>
                <a:spcPct val="50000"/>
              </a:spcBef>
              <a:spcAft>
                <a:spcPts val="0"/>
              </a:spcAft>
              <a:buClrTx/>
              <a:buSzTx/>
              <a:buFontTx/>
              <a:buNone/>
              <a:tabLst/>
              <a:defRPr/>
            </a:pPr>
            <a:r>
              <a:rPr lang="en-US" sz="1200" b="1" kern="0" dirty="0">
                <a:solidFill>
                  <a:srgbClr val="000000"/>
                </a:solidFill>
                <a:latin typeface="Calibri" panose="020F0502020204030204" pitchFamily="34" charset="0"/>
                <a:ea typeface="+mn-ea"/>
                <a:cs typeface="Arial" panose="020B0604020202020204" pitchFamily="34" charset="0"/>
              </a:rPr>
              <a:t>O</a:t>
            </a:r>
            <a:r>
              <a:rPr kumimoji="0" lang="en-US" sz="1200" b="1" i="0" u="none" strike="noStrike" kern="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S (%)</a:t>
            </a:r>
          </a:p>
        </p:txBody>
      </p:sp>
      <p:cxnSp>
        <p:nvCxnSpPr>
          <p:cNvPr id="77" name="Straight Connector 76">
            <a:extLst>
              <a:ext uri="{FF2B5EF4-FFF2-40B4-BE49-F238E27FC236}">
                <a16:creationId xmlns:a16="http://schemas.microsoft.com/office/drawing/2014/main" id="{E5303FC9-A57E-E2E1-7708-0214329FFA46}"/>
              </a:ext>
            </a:extLst>
          </p:cNvPr>
          <p:cNvCxnSpPr>
            <a:cxnSpLocks/>
          </p:cNvCxnSpPr>
          <p:nvPr/>
        </p:nvCxnSpPr>
        <p:spPr bwMode="auto">
          <a:xfrm flipH="1">
            <a:off x="6180286" y="2627409"/>
            <a:ext cx="237744" cy="0"/>
          </a:xfrm>
          <a:prstGeom prst="line">
            <a:avLst/>
          </a:prstGeom>
          <a:noFill/>
          <a:ln w="28575" cap="flat" cmpd="sng" algn="ctr">
            <a:solidFill>
              <a:schemeClr val="accent1">
                <a:lumMod val="75000"/>
              </a:schemeClr>
            </a:solidFill>
            <a:prstDash val="solid"/>
            <a:round/>
            <a:headEnd type="none" w="med" len="med"/>
            <a:tailEnd type="none" w="med" len="med"/>
          </a:ln>
          <a:effectLst/>
        </p:spPr>
      </p:cxnSp>
      <p:cxnSp>
        <p:nvCxnSpPr>
          <p:cNvPr id="78" name="Straight Connector 77">
            <a:extLst>
              <a:ext uri="{FF2B5EF4-FFF2-40B4-BE49-F238E27FC236}">
                <a16:creationId xmlns:a16="http://schemas.microsoft.com/office/drawing/2014/main" id="{6D7926D5-7695-F49B-4E6E-D8AB220D4B5C}"/>
              </a:ext>
            </a:extLst>
          </p:cNvPr>
          <p:cNvCxnSpPr>
            <a:cxnSpLocks/>
          </p:cNvCxnSpPr>
          <p:nvPr/>
        </p:nvCxnSpPr>
        <p:spPr bwMode="auto">
          <a:xfrm flipH="1">
            <a:off x="6189106" y="2804925"/>
            <a:ext cx="237744" cy="0"/>
          </a:xfrm>
          <a:prstGeom prst="line">
            <a:avLst/>
          </a:prstGeom>
          <a:noFill/>
          <a:ln w="28575" cap="flat" cmpd="sng" algn="ctr">
            <a:solidFill>
              <a:srgbClr val="E1471D"/>
            </a:solidFill>
            <a:prstDash val="solid"/>
            <a:round/>
            <a:headEnd type="none" w="med" len="med"/>
            <a:tailEnd type="none" w="med" len="med"/>
          </a:ln>
          <a:effectLst/>
        </p:spPr>
      </p:cxnSp>
      <p:sp>
        <p:nvSpPr>
          <p:cNvPr id="2" name="Freeform: Shape 1">
            <a:extLst>
              <a:ext uri="{FF2B5EF4-FFF2-40B4-BE49-F238E27FC236}">
                <a16:creationId xmlns:a16="http://schemas.microsoft.com/office/drawing/2014/main" id="{BDBC3A2A-524C-1B24-1122-AF4E01275751}"/>
              </a:ext>
            </a:extLst>
          </p:cNvPr>
          <p:cNvSpPr/>
          <p:nvPr/>
        </p:nvSpPr>
        <p:spPr bwMode="auto">
          <a:xfrm>
            <a:off x="1159315" y="1249869"/>
            <a:ext cx="5688392" cy="1852702"/>
          </a:xfrm>
          <a:custGeom>
            <a:avLst/>
            <a:gdLst>
              <a:gd name="connsiteX0" fmla="*/ 0 w 6610350"/>
              <a:gd name="connsiteY0" fmla="*/ 4762 h 2481262"/>
              <a:gd name="connsiteX1" fmla="*/ 90488 w 6610350"/>
              <a:gd name="connsiteY1" fmla="*/ 0 h 2481262"/>
              <a:gd name="connsiteX2" fmla="*/ 90488 w 6610350"/>
              <a:gd name="connsiteY2" fmla="*/ 33337 h 2481262"/>
              <a:gd name="connsiteX3" fmla="*/ 133350 w 6610350"/>
              <a:gd name="connsiteY3" fmla="*/ 33337 h 2481262"/>
              <a:gd name="connsiteX4" fmla="*/ 133350 w 6610350"/>
              <a:gd name="connsiteY4" fmla="*/ 66675 h 2481262"/>
              <a:gd name="connsiteX5" fmla="*/ 209550 w 6610350"/>
              <a:gd name="connsiteY5" fmla="*/ 66675 h 2481262"/>
              <a:gd name="connsiteX6" fmla="*/ 204788 w 6610350"/>
              <a:gd name="connsiteY6" fmla="*/ 95250 h 2481262"/>
              <a:gd name="connsiteX7" fmla="*/ 361950 w 6610350"/>
              <a:gd name="connsiteY7" fmla="*/ 104775 h 2481262"/>
              <a:gd name="connsiteX8" fmla="*/ 361950 w 6610350"/>
              <a:gd name="connsiteY8" fmla="*/ 123825 h 2481262"/>
              <a:gd name="connsiteX9" fmla="*/ 423863 w 6610350"/>
              <a:gd name="connsiteY9" fmla="*/ 119062 h 2481262"/>
              <a:gd name="connsiteX10" fmla="*/ 409575 w 6610350"/>
              <a:gd name="connsiteY10" fmla="*/ 166687 h 2481262"/>
              <a:gd name="connsiteX11" fmla="*/ 552450 w 6610350"/>
              <a:gd name="connsiteY11" fmla="*/ 171450 h 2481262"/>
              <a:gd name="connsiteX12" fmla="*/ 557213 w 6610350"/>
              <a:gd name="connsiteY12" fmla="*/ 200025 h 2481262"/>
              <a:gd name="connsiteX13" fmla="*/ 595313 w 6610350"/>
              <a:gd name="connsiteY13" fmla="*/ 204787 h 2481262"/>
              <a:gd name="connsiteX14" fmla="*/ 600075 w 6610350"/>
              <a:gd name="connsiteY14" fmla="*/ 238125 h 2481262"/>
              <a:gd name="connsiteX15" fmla="*/ 642938 w 6610350"/>
              <a:gd name="connsiteY15" fmla="*/ 238125 h 2481262"/>
              <a:gd name="connsiteX16" fmla="*/ 642938 w 6610350"/>
              <a:gd name="connsiteY16" fmla="*/ 276225 h 2481262"/>
              <a:gd name="connsiteX17" fmla="*/ 933450 w 6610350"/>
              <a:gd name="connsiteY17" fmla="*/ 261937 h 2481262"/>
              <a:gd name="connsiteX18" fmla="*/ 938213 w 6610350"/>
              <a:gd name="connsiteY18" fmla="*/ 300037 h 2481262"/>
              <a:gd name="connsiteX19" fmla="*/ 1023938 w 6610350"/>
              <a:gd name="connsiteY19" fmla="*/ 295275 h 2481262"/>
              <a:gd name="connsiteX20" fmla="*/ 1028700 w 6610350"/>
              <a:gd name="connsiteY20" fmla="*/ 357187 h 2481262"/>
              <a:gd name="connsiteX21" fmla="*/ 1147763 w 6610350"/>
              <a:gd name="connsiteY21" fmla="*/ 357187 h 2481262"/>
              <a:gd name="connsiteX22" fmla="*/ 1157288 w 6610350"/>
              <a:gd name="connsiteY22" fmla="*/ 390525 h 2481262"/>
              <a:gd name="connsiteX23" fmla="*/ 1228725 w 6610350"/>
              <a:gd name="connsiteY23" fmla="*/ 390525 h 2481262"/>
              <a:gd name="connsiteX24" fmla="*/ 1228725 w 6610350"/>
              <a:gd name="connsiteY24" fmla="*/ 390525 h 2481262"/>
              <a:gd name="connsiteX25" fmla="*/ 1323975 w 6610350"/>
              <a:gd name="connsiteY25" fmla="*/ 419100 h 2481262"/>
              <a:gd name="connsiteX26" fmla="*/ 1338263 w 6610350"/>
              <a:gd name="connsiteY26" fmla="*/ 471487 h 2481262"/>
              <a:gd name="connsiteX27" fmla="*/ 1400175 w 6610350"/>
              <a:gd name="connsiteY27" fmla="*/ 466725 h 2481262"/>
              <a:gd name="connsiteX28" fmla="*/ 1404938 w 6610350"/>
              <a:gd name="connsiteY28" fmla="*/ 490537 h 2481262"/>
              <a:gd name="connsiteX29" fmla="*/ 1466850 w 6610350"/>
              <a:gd name="connsiteY29" fmla="*/ 495300 h 2481262"/>
              <a:gd name="connsiteX30" fmla="*/ 1471613 w 6610350"/>
              <a:gd name="connsiteY30" fmla="*/ 509587 h 2481262"/>
              <a:gd name="connsiteX31" fmla="*/ 1528763 w 6610350"/>
              <a:gd name="connsiteY31" fmla="*/ 509587 h 2481262"/>
              <a:gd name="connsiteX32" fmla="*/ 1528763 w 6610350"/>
              <a:gd name="connsiteY32" fmla="*/ 557212 h 2481262"/>
              <a:gd name="connsiteX33" fmla="*/ 1714500 w 6610350"/>
              <a:gd name="connsiteY33" fmla="*/ 547687 h 2481262"/>
              <a:gd name="connsiteX34" fmla="*/ 1714500 w 6610350"/>
              <a:gd name="connsiteY34" fmla="*/ 590550 h 2481262"/>
              <a:gd name="connsiteX35" fmla="*/ 1752600 w 6610350"/>
              <a:gd name="connsiteY35" fmla="*/ 590550 h 2481262"/>
              <a:gd name="connsiteX36" fmla="*/ 1762125 w 6610350"/>
              <a:gd name="connsiteY36" fmla="*/ 619125 h 2481262"/>
              <a:gd name="connsiteX37" fmla="*/ 1809750 w 6610350"/>
              <a:gd name="connsiteY37" fmla="*/ 619125 h 2481262"/>
              <a:gd name="connsiteX38" fmla="*/ 1809750 w 6610350"/>
              <a:gd name="connsiteY38" fmla="*/ 647700 h 2481262"/>
              <a:gd name="connsiteX39" fmla="*/ 1847850 w 6610350"/>
              <a:gd name="connsiteY39" fmla="*/ 647700 h 2481262"/>
              <a:gd name="connsiteX40" fmla="*/ 1847850 w 6610350"/>
              <a:gd name="connsiteY40" fmla="*/ 714375 h 2481262"/>
              <a:gd name="connsiteX41" fmla="*/ 1905000 w 6610350"/>
              <a:gd name="connsiteY41" fmla="*/ 714375 h 2481262"/>
              <a:gd name="connsiteX42" fmla="*/ 1919288 w 6610350"/>
              <a:gd name="connsiteY42" fmla="*/ 738187 h 2481262"/>
              <a:gd name="connsiteX43" fmla="*/ 2009775 w 6610350"/>
              <a:gd name="connsiteY43" fmla="*/ 733425 h 2481262"/>
              <a:gd name="connsiteX44" fmla="*/ 2009775 w 6610350"/>
              <a:gd name="connsiteY44" fmla="*/ 804862 h 2481262"/>
              <a:gd name="connsiteX45" fmla="*/ 2038350 w 6610350"/>
              <a:gd name="connsiteY45" fmla="*/ 804862 h 2481262"/>
              <a:gd name="connsiteX46" fmla="*/ 2038350 w 6610350"/>
              <a:gd name="connsiteY46" fmla="*/ 823912 h 2481262"/>
              <a:gd name="connsiteX47" fmla="*/ 2038350 w 6610350"/>
              <a:gd name="connsiteY47" fmla="*/ 823912 h 2481262"/>
              <a:gd name="connsiteX48" fmla="*/ 2071688 w 6610350"/>
              <a:gd name="connsiteY48" fmla="*/ 852487 h 2481262"/>
              <a:gd name="connsiteX49" fmla="*/ 2071688 w 6610350"/>
              <a:gd name="connsiteY49" fmla="*/ 852487 h 2481262"/>
              <a:gd name="connsiteX50" fmla="*/ 2100263 w 6610350"/>
              <a:gd name="connsiteY50" fmla="*/ 885825 h 2481262"/>
              <a:gd name="connsiteX51" fmla="*/ 2190750 w 6610350"/>
              <a:gd name="connsiteY51" fmla="*/ 885825 h 2481262"/>
              <a:gd name="connsiteX52" fmla="*/ 2195513 w 6610350"/>
              <a:gd name="connsiteY52" fmla="*/ 933450 h 2481262"/>
              <a:gd name="connsiteX53" fmla="*/ 2247900 w 6610350"/>
              <a:gd name="connsiteY53" fmla="*/ 923925 h 2481262"/>
              <a:gd name="connsiteX54" fmla="*/ 2247900 w 6610350"/>
              <a:gd name="connsiteY54" fmla="*/ 966787 h 2481262"/>
              <a:gd name="connsiteX55" fmla="*/ 2352675 w 6610350"/>
              <a:gd name="connsiteY55" fmla="*/ 952500 h 2481262"/>
              <a:gd name="connsiteX56" fmla="*/ 2347913 w 6610350"/>
              <a:gd name="connsiteY56" fmla="*/ 985837 h 2481262"/>
              <a:gd name="connsiteX57" fmla="*/ 2400300 w 6610350"/>
              <a:gd name="connsiteY57" fmla="*/ 990600 h 2481262"/>
              <a:gd name="connsiteX58" fmla="*/ 2400300 w 6610350"/>
              <a:gd name="connsiteY58" fmla="*/ 990600 h 2481262"/>
              <a:gd name="connsiteX59" fmla="*/ 2400300 w 6610350"/>
              <a:gd name="connsiteY59" fmla="*/ 1019175 h 2481262"/>
              <a:gd name="connsiteX60" fmla="*/ 2476500 w 6610350"/>
              <a:gd name="connsiteY60" fmla="*/ 1009650 h 2481262"/>
              <a:gd name="connsiteX61" fmla="*/ 2476500 w 6610350"/>
              <a:gd name="connsiteY61" fmla="*/ 1047750 h 2481262"/>
              <a:gd name="connsiteX62" fmla="*/ 2500313 w 6610350"/>
              <a:gd name="connsiteY62" fmla="*/ 1047750 h 2481262"/>
              <a:gd name="connsiteX63" fmla="*/ 2500313 w 6610350"/>
              <a:gd name="connsiteY63" fmla="*/ 1047750 h 2481262"/>
              <a:gd name="connsiteX64" fmla="*/ 2566988 w 6610350"/>
              <a:gd name="connsiteY64" fmla="*/ 1081087 h 2481262"/>
              <a:gd name="connsiteX65" fmla="*/ 2562225 w 6610350"/>
              <a:gd name="connsiteY65" fmla="*/ 1123950 h 2481262"/>
              <a:gd name="connsiteX66" fmla="*/ 2609850 w 6610350"/>
              <a:gd name="connsiteY66" fmla="*/ 1123950 h 2481262"/>
              <a:gd name="connsiteX67" fmla="*/ 2609850 w 6610350"/>
              <a:gd name="connsiteY67" fmla="*/ 1162050 h 2481262"/>
              <a:gd name="connsiteX68" fmla="*/ 2609850 w 6610350"/>
              <a:gd name="connsiteY68" fmla="*/ 1162050 h 2481262"/>
              <a:gd name="connsiteX69" fmla="*/ 2638425 w 6610350"/>
              <a:gd name="connsiteY69" fmla="*/ 1185862 h 2481262"/>
              <a:gd name="connsiteX70" fmla="*/ 2638425 w 6610350"/>
              <a:gd name="connsiteY70" fmla="*/ 1185862 h 2481262"/>
              <a:gd name="connsiteX71" fmla="*/ 2662238 w 6610350"/>
              <a:gd name="connsiteY71" fmla="*/ 1228725 h 2481262"/>
              <a:gd name="connsiteX72" fmla="*/ 2800350 w 6610350"/>
              <a:gd name="connsiteY72" fmla="*/ 1233487 h 2481262"/>
              <a:gd name="connsiteX73" fmla="*/ 2805113 w 6610350"/>
              <a:gd name="connsiteY73" fmla="*/ 1266825 h 2481262"/>
              <a:gd name="connsiteX74" fmla="*/ 2881313 w 6610350"/>
              <a:gd name="connsiteY74" fmla="*/ 1266825 h 2481262"/>
              <a:gd name="connsiteX75" fmla="*/ 2876550 w 6610350"/>
              <a:gd name="connsiteY75" fmla="*/ 1290637 h 2481262"/>
              <a:gd name="connsiteX76" fmla="*/ 2876550 w 6610350"/>
              <a:gd name="connsiteY76" fmla="*/ 1290637 h 2481262"/>
              <a:gd name="connsiteX77" fmla="*/ 2909888 w 6610350"/>
              <a:gd name="connsiteY77" fmla="*/ 1338262 h 2481262"/>
              <a:gd name="connsiteX78" fmla="*/ 2909888 w 6610350"/>
              <a:gd name="connsiteY78" fmla="*/ 1338262 h 2481262"/>
              <a:gd name="connsiteX79" fmla="*/ 2947988 w 6610350"/>
              <a:gd name="connsiteY79" fmla="*/ 1385887 h 2481262"/>
              <a:gd name="connsiteX80" fmla="*/ 3028950 w 6610350"/>
              <a:gd name="connsiteY80" fmla="*/ 1385887 h 2481262"/>
              <a:gd name="connsiteX81" fmla="*/ 3028950 w 6610350"/>
              <a:gd name="connsiteY81" fmla="*/ 1419225 h 2481262"/>
              <a:gd name="connsiteX82" fmla="*/ 3095625 w 6610350"/>
              <a:gd name="connsiteY82" fmla="*/ 1419225 h 2481262"/>
              <a:gd name="connsiteX83" fmla="*/ 3095625 w 6610350"/>
              <a:gd name="connsiteY83" fmla="*/ 1462087 h 2481262"/>
              <a:gd name="connsiteX84" fmla="*/ 3162300 w 6610350"/>
              <a:gd name="connsiteY84" fmla="*/ 1462087 h 2481262"/>
              <a:gd name="connsiteX85" fmla="*/ 3162300 w 6610350"/>
              <a:gd name="connsiteY85" fmla="*/ 1485900 h 2481262"/>
              <a:gd name="connsiteX86" fmla="*/ 3257550 w 6610350"/>
              <a:gd name="connsiteY86" fmla="*/ 1485900 h 2481262"/>
              <a:gd name="connsiteX87" fmla="*/ 3243263 w 6610350"/>
              <a:gd name="connsiteY87" fmla="*/ 1547812 h 2481262"/>
              <a:gd name="connsiteX88" fmla="*/ 3314700 w 6610350"/>
              <a:gd name="connsiteY88" fmla="*/ 1543050 h 2481262"/>
              <a:gd name="connsiteX89" fmla="*/ 3314700 w 6610350"/>
              <a:gd name="connsiteY89" fmla="*/ 1543050 h 2481262"/>
              <a:gd name="connsiteX90" fmla="*/ 3405188 w 6610350"/>
              <a:gd name="connsiteY90" fmla="*/ 1581150 h 2481262"/>
              <a:gd name="connsiteX91" fmla="*/ 3405188 w 6610350"/>
              <a:gd name="connsiteY91" fmla="*/ 1614487 h 2481262"/>
              <a:gd name="connsiteX92" fmla="*/ 3586163 w 6610350"/>
              <a:gd name="connsiteY92" fmla="*/ 1614487 h 2481262"/>
              <a:gd name="connsiteX93" fmla="*/ 3586163 w 6610350"/>
              <a:gd name="connsiteY93" fmla="*/ 1638300 h 2481262"/>
              <a:gd name="connsiteX94" fmla="*/ 3643313 w 6610350"/>
              <a:gd name="connsiteY94" fmla="*/ 1633537 h 2481262"/>
              <a:gd name="connsiteX95" fmla="*/ 3643313 w 6610350"/>
              <a:gd name="connsiteY95" fmla="*/ 1633537 h 2481262"/>
              <a:gd name="connsiteX96" fmla="*/ 3724275 w 6610350"/>
              <a:gd name="connsiteY96" fmla="*/ 1666875 h 2481262"/>
              <a:gd name="connsiteX97" fmla="*/ 3724275 w 6610350"/>
              <a:gd name="connsiteY97" fmla="*/ 1666875 h 2481262"/>
              <a:gd name="connsiteX98" fmla="*/ 3814763 w 6610350"/>
              <a:gd name="connsiteY98" fmla="*/ 1704975 h 2481262"/>
              <a:gd name="connsiteX99" fmla="*/ 3814763 w 6610350"/>
              <a:gd name="connsiteY99" fmla="*/ 1757362 h 2481262"/>
              <a:gd name="connsiteX100" fmla="*/ 3890963 w 6610350"/>
              <a:gd name="connsiteY100" fmla="*/ 1762125 h 2481262"/>
              <a:gd name="connsiteX101" fmla="*/ 3881438 w 6610350"/>
              <a:gd name="connsiteY101" fmla="*/ 1800225 h 2481262"/>
              <a:gd name="connsiteX102" fmla="*/ 3952875 w 6610350"/>
              <a:gd name="connsiteY102" fmla="*/ 1804987 h 2481262"/>
              <a:gd name="connsiteX103" fmla="*/ 3957638 w 6610350"/>
              <a:gd name="connsiteY103" fmla="*/ 1862137 h 2481262"/>
              <a:gd name="connsiteX104" fmla="*/ 4029075 w 6610350"/>
              <a:gd name="connsiteY104" fmla="*/ 1862137 h 2481262"/>
              <a:gd name="connsiteX105" fmla="*/ 4029075 w 6610350"/>
              <a:gd name="connsiteY105" fmla="*/ 1924050 h 2481262"/>
              <a:gd name="connsiteX106" fmla="*/ 4100513 w 6610350"/>
              <a:gd name="connsiteY106" fmla="*/ 1924050 h 2481262"/>
              <a:gd name="connsiteX107" fmla="*/ 4143375 w 6610350"/>
              <a:gd name="connsiteY107" fmla="*/ 1924050 h 2481262"/>
              <a:gd name="connsiteX108" fmla="*/ 4138613 w 6610350"/>
              <a:gd name="connsiteY108" fmla="*/ 1966912 h 2481262"/>
              <a:gd name="connsiteX109" fmla="*/ 4214813 w 6610350"/>
              <a:gd name="connsiteY109" fmla="*/ 1971675 h 2481262"/>
              <a:gd name="connsiteX110" fmla="*/ 4214813 w 6610350"/>
              <a:gd name="connsiteY110" fmla="*/ 2014537 h 2481262"/>
              <a:gd name="connsiteX111" fmla="*/ 4319588 w 6610350"/>
              <a:gd name="connsiteY111" fmla="*/ 2014537 h 2481262"/>
              <a:gd name="connsiteX112" fmla="*/ 4319588 w 6610350"/>
              <a:gd name="connsiteY112" fmla="*/ 2014537 h 2481262"/>
              <a:gd name="connsiteX113" fmla="*/ 4386263 w 6610350"/>
              <a:gd name="connsiteY113" fmla="*/ 2047875 h 2481262"/>
              <a:gd name="connsiteX114" fmla="*/ 4376738 w 6610350"/>
              <a:gd name="connsiteY114" fmla="*/ 2105025 h 2481262"/>
              <a:gd name="connsiteX115" fmla="*/ 4605338 w 6610350"/>
              <a:gd name="connsiteY115" fmla="*/ 2105025 h 2481262"/>
              <a:gd name="connsiteX116" fmla="*/ 4605338 w 6610350"/>
              <a:gd name="connsiteY116" fmla="*/ 2105025 h 2481262"/>
              <a:gd name="connsiteX117" fmla="*/ 4605338 w 6610350"/>
              <a:gd name="connsiteY117" fmla="*/ 2147887 h 2481262"/>
              <a:gd name="connsiteX118" fmla="*/ 4791075 w 6610350"/>
              <a:gd name="connsiteY118" fmla="*/ 2147887 h 2481262"/>
              <a:gd name="connsiteX119" fmla="*/ 4791075 w 6610350"/>
              <a:gd name="connsiteY119" fmla="*/ 2176462 h 2481262"/>
              <a:gd name="connsiteX120" fmla="*/ 4953000 w 6610350"/>
              <a:gd name="connsiteY120" fmla="*/ 2176462 h 2481262"/>
              <a:gd name="connsiteX121" fmla="*/ 5072063 w 6610350"/>
              <a:gd name="connsiteY121" fmla="*/ 2176462 h 2481262"/>
              <a:gd name="connsiteX122" fmla="*/ 5072063 w 6610350"/>
              <a:gd name="connsiteY122" fmla="*/ 2233612 h 2481262"/>
              <a:gd name="connsiteX123" fmla="*/ 5400675 w 6610350"/>
              <a:gd name="connsiteY123" fmla="*/ 2233612 h 2481262"/>
              <a:gd name="connsiteX124" fmla="*/ 5400675 w 6610350"/>
              <a:gd name="connsiteY124" fmla="*/ 2233612 h 2481262"/>
              <a:gd name="connsiteX125" fmla="*/ 5500688 w 6610350"/>
              <a:gd name="connsiteY125" fmla="*/ 2233612 h 2481262"/>
              <a:gd name="connsiteX126" fmla="*/ 5500688 w 6610350"/>
              <a:gd name="connsiteY126" fmla="*/ 2305050 h 2481262"/>
              <a:gd name="connsiteX127" fmla="*/ 5586413 w 6610350"/>
              <a:gd name="connsiteY127" fmla="*/ 2305050 h 2481262"/>
              <a:gd name="connsiteX128" fmla="*/ 5586413 w 6610350"/>
              <a:gd name="connsiteY128" fmla="*/ 2328862 h 2481262"/>
              <a:gd name="connsiteX129" fmla="*/ 5629275 w 6610350"/>
              <a:gd name="connsiteY129" fmla="*/ 2328862 h 2481262"/>
              <a:gd name="connsiteX130" fmla="*/ 5629275 w 6610350"/>
              <a:gd name="connsiteY130" fmla="*/ 2390775 h 2481262"/>
              <a:gd name="connsiteX131" fmla="*/ 6134100 w 6610350"/>
              <a:gd name="connsiteY131" fmla="*/ 2390775 h 2481262"/>
              <a:gd name="connsiteX132" fmla="*/ 6134100 w 6610350"/>
              <a:gd name="connsiteY132" fmla="*/ 2481262 h 2481262"/>
              <a:gd name="connsiteX133" fmla="*/ 6610350 w 6610350"/>
              <a:gd name="connsiteY133" fmla="*/ 2481262 h 2481262"/>
              <a:gd name="connsiteX0" fmla="*/ 0 w 6610350"/>
              <a:gd name="connsiteY0" fmla="*/ 4762 h 2481262"/>
              <a:gd name="connsiteX1" fmla="*/ 90488 w 6610350"/>
              <a:gd name="connsiteY1" fmla="*/ 0 h 2481262"/>
              <a:gd name="connsiteX2" fmla="*/ 90488 w 6610350"/>
              <a:gd name="connsiteY2" fmla="*/ 33337 h 2481262"/>
              <a:gd name="connsiteX3" fmla="*/ 133350 w 6610350"/>
              <a:gd name="connsiteY3" fmla="*/ 33337 h 2481262"/>
              <a:gd name="connsiteX4" fmla="*/ 133350 w 6610350"/>
              <a:gd name="connsiteY4" fmla="*/ 66675 h 2481262"/>
              <a:gd name="connsiteX5" fmla="*/ 209550 w 6610350"/>
              <a:gd name="connsiteY5" fmla="*/ 66675 h 2481262"/>
              <a:gd name="connsiteX6" fmla="*/ 204788 w 6610350"/>
              <a:gd name="connsiteY6" fmla="*/ 95250 h 2481262"/>
              <a:gd name="connsiteX7" fmla="*/ 361950 w 6610350"/>
              <a:gd name="connsiteY7" fmla="*/ 104775 h 2481262"/>
              <a:gd name="connsiteX8" fmla="*/ 361950 w 6610350"/>
              <a:gd name="connsiteY8" fmla="*/ 123825 h 2481262"/>
              <a:gd name="connsiteX9" fmla="*/ 423863 w 6610350"/>
              <a:gd name="connsiteY9" fmla="*/ 119062 h 2481262"/>
              <a:gd name="connsiteX10" fmla="*/ 409575 w 6610350"/>
              <a:gd name="connsiteY10" fmla="*/ 166687 h 2481262"/>
              <a:gd name="connsiteX11" fmla="*/ 552450 w 6610350"/>
              <a:gd name="connsiteY11" fmla="*/ 171450 h 2481262"/>
              <a:gd name="connsiteX12" fmla="*/ 557213 w 6610350"/>
              <a:gd name="connsiteY12" fmla="*/ 200025 h 2481262"/>
              <a:gd name="connsiteX13" fmla="*/ 595313 w 6610350"/>
              <a:gd name="connsiteY13" fmla="*/ 204787 h 2481262"/>
              <a:gd name="connsiteX14" fmla="*/ 600075 w 6610350"/>
              <a:gd name="connsiteY14" fmla="*/ 238125 h 2481262"/>
              <a:gd name="connsiteX15" fmla="*/ 642938 w 6610350"/>
              <a:gd name="connsiteY15" fmla="*/ 238125 h 2481262"/>
              <a:gd name="connsiteX16" fmla="*/ 642938 w 6610350"/>
              <a:gd name="connsiteY16" fmla="*/ 276225 h 2481262"/>
              <a:gd name="connsiteX17" fmla="*/ 933450 w 6610350"/>
              <a:gd name="connsiteY17" fmla="*/ 261937 h 2481262"/>
              <a:gd name="connsiteX18" fmla="*/ 938213 w 6610350"/>
              <a:gd name="connsiteY18" fmla="*/ 300037 h 2481262"/>
              <a:gd name="connsiteX19" fmla="*/ 1023938 w 6610350"/>
              <a:gd name="connsiteY19" fmla="*/ 295275 h 2481262"/>
              <a:gd name="connsiteX20" fmla="*/ 1028700 w 6610350"/>
              <a:gd name="connsiteY20" fmla="*/ 357187 h 2481262"/>
              <a:gd name="connsiteX21" fmla="*/ 1147763 w 6610350"/>
              <a:gd name="connsiteY21" fmla="*/ 357187 h 2481262"/>
              <a:gd name="connsiteX22" fmla="*/ 1157288 w 6610350"/>
              <a:gd name="connsiteY22" fmla="*/ 390525 h 2481262"/>
              <a:gd name="connsiteX23" fmla="*/ 1228725 w 6610350"/>
              <a:gd name="connsiteY23" fmla="*/ 390525 h 2481262"/>
              <a:gd name="connsiteX24" fmla="*/ 1228725 w 6610350"/>
              <a:gd name="connsiteY24" fmla="*/ 390525 h 2481262"/>
              <a:gd name="connsiteX25" fmla="*/ 1323975 w 6610350"/>
              <a:gd name="connsiteY25" fmla="*/ 419100 h 2481262"/>
              <a:gd name="connsiteX26" fmla="*/ 1338263 w 6610350"/>
              <a:gd name="connsiteY26" fmla="*/ 471487 h 2481262"/>
              <a:gd name="connsiteX27" fmla="*/ 1400175 w 6610350"/>
              <a:gd name="connsiteY27" fmla="*/ 466725 h 2481262"/>
              <a:gd name="connsiteX28" fmla="*/ 1404938 w 6610350"/>
              <a:gd name="connsiteY28" fmla="*/ 490537 h 2481262"/>
              <a:gd name="connsiteX29" fmla="*/ 1466850 w 6610350"/>
              <a:gd name="connsiteY29" fmla="*/ 495300 h 2481262"/>
              <a:gd name="connsiteX30" fmla="*/ 1471613 w 6610350"/>
              <a:gd name="connsiteY30" fmla="*/ 509587 h 2481262"/>
              <a:gd name="connsiteX31" fmla="*/ 1528763 w 6610350"/>
              <a:gd name="connsiteY31" fmla="*/ 509587 h 2481262"/>
              <a:gd name="connsiteX32" fmla="*/ 1528763 w 6610350"/>
              <a:gd name="connsiteY32" fmla="*/ 557212 h 2481262"/>
              <a:gd name="connsiteX33" fmla="*/ 1714500 w 6610350"/>
              <a:gd name="connsiteY33" fmla="*/ 547687 h 2481262"/>
              <a:gd name="connsiteX34" fmla="*/ 1714500 w 6610350"/>
              <a:gd name="connsiteY34" fmla="*/ 590550 h 2481262"/>
              <a:gd name="connsiteX35" fmla="*/ 1752600 w 6610350"/>
              <a:gd name="connsiteY35" fmla="*/ 590550 h 2481262"/>
              <a:gd name="connsiteX36" fmla="*/ 1762125 w 6610350"/>
              <a:gd name="connsiteY36" fmla="*/ 619125 h 2481262"/>
              <a:gd name="connsiteX37" fmla="*/ 1809750 w 6610350"/>
              <a:gd name="connsiteY37" fmla="*/ 619125 h 2481262"/>
              <a:gd name="connsiteX38" fmla="*/ 1809750 w 6610350"/>
              <a:gd name="connsiteY38" fmla="*/ 647700 h 2481262"/>
              <a:gd name="connsiteX39" fmla="*/ 1847850 w 6610350"/>
              <a:gd name="connsiteY39" fmla="*/ 647700 h 2481262"/>
              <a:gd name="connsiteX40" fmla="*/ 1847850 w 6610350"/>
              <a:gd name="connsiteY40" fmla="*/ 714375 h 2481262"/>
              <a:gd name="connsiteX41" fmla="*/ 1905000 w 6610350"/>
              <a:gd name="connsiteY41" fmla="*/ 714375 h 2481262"/>
              <a:gd name="connsiteX42" fmla="*/ 1919288 w 6610350"/>
              <a:gd name="connsiteY42" fmla="*/ 738187 h 2481262"/>
              <a:gd name="connsiteX43" fmla="*/ 2009775 w 6610350"/>
              <a:gd name="connsiteY43" fmla="*/ 733425 h 2481262"/>
              <a:gd name="connsiteX44" fmla="*/ 2009775 w 6610350"/>
              <a:gd name="connsiteY44" fmla="*/ 804862 h 2481262"/>
              <a:gd name="connsiteX45" fmla="*/ 2038350 w 6610350"/>
              <a:gd name="connsiteY45" fmla="*/ 804862 h 2481262"/>
              <a:gd name="connsiteX46" fmla="*/ 2038350 w 6610350"/>
              <a:gd name="connsiteY46" fmla="*/ 823912 h 2481262"/>
              <a:gd name="connsiteX47" fmla="*/ 2038350 w 6610350"/>
              <a:gd name="connsiteY47" fmla="*/ 823912 h 2481262"/>
              <a:gd name="connsiteX48" fmla="*/ 2071688 w 6610350"/>
              <a:gd name="connsiteY48" fmla="*/ 852487 h 2481262"/>
              <a:gd name="connsiteX49" fmla="*/ 2071688 w 6610350"/>
              <a:gd name="connsiteY49" fmla="*/ 852487 h 2481262"/>
              <a:gd name="connsiteX50" fmla="*/ 2100263 w 6610350"/>
              <a:gd name="connsiteY50" fmla="*/ 885825 h 2481262"/>
              <a:gd name="connsiteX51" fmla="*/ 2190750 w 6610350"/>
              <a:gd name="connsiteY51" fmla="*/ 885825 h 2481262"/>
              <a:gd name="connsiteX52" fmla="*/ 2195513 w 6610350"/>
              <a:gd name="connsiteY52" fmla="*/ 933450 h 2481262"/>
              <a:gd name="connsiteX53" fmla="*/ 2247900 w 6610350"/>
              <a:gd name="connsiteY53" fmla="*/ 923925 h 2481262"/>
              <a:gd name="connsiteX54" fmla="*/ 2247900 w 6610350"/>
              <a:gd name="connsiteY54" fmla="*/ 966787 h 2481262"/>
              <a:gd name="connsiteX55" fmla="*/ 2352675 w 6610350"/>
              <a:gd name="connsiteY55" fmla="*/ 952500 h 2481262"/>
              <a:gd name="connsiteX56" fmla="*/ 2347913 w 6610350"/>
              <a:gd name="connsiteY56" fmla="*/ 985837 h 2481262"/>
              <a:gd name="connsiteX57" fmla="*/ 2400300 w 6610350"/>
              <a:gd name="connsiteY57" fmla="*/ 990600 h 2481262"/>
              <a:gd name="connsiteX58" fmla="*/ 2400300 w 6610350"/>
              <a:gd name="connsiteY58" fmla="*/ 990600 h 2481262"/>
              <a:gd name="connsiteX59" fmla="*/ 2400300 w 6610350"/>
              <a:gd name="connsiteY59" fmla="*/ 1019175 h 2481262"/>
              <a:gd name="connsiteX60" fmla="*/ 2476500 w 6610350"/>
              <a:gd name="connsiteY60" fmla="*/ 1009650 h 2481262"/>
              <a:gd name="connsiteX61" fmla="*/ 2476500 w 6610350"/>
              <a:gd name="connsiteY61" fmla="*/ 1047750 h 2481262"/>
              <a:gd name="connsiteX62" fmla="*/ 2500313 w 6610350"/>
              <a:gd name="connsiteY62" fmla="*/ 1047750 h 2481262"/>
              <a:gd name="connsiteX63" fmla="*/ 2500313 w 6610350"/>
              <a:gd name="connsiteY63" fmla="*/ 1047750 h 2481262"/>
              <a:gd name="connsiteX64" fmla="*/ 2566988 w 6610350"/>
              <a:gd name="connsiteY64" fmla="*/ 1081087 h 2481262"/>
              <a:gd name="connsiteX65" fmla="*/ 2562225 w 6610350"/>
              <a:gd name="connsiteY65" fmla="*/ 1123950 h 2481262"/>
              <a:gd name="connsiteX66" fmla="*/ 2609850 w 6610350"/>
              <a:gd name="connsiteY66" fmla="*/ 1123950 h 2481262"/>
              <a:gd name="connsiteX67" fmla="*/ 2609850 w 6610350"/>
              <a:gd name="connsiteY67" fmla="*/ 1162050 h 2481262"/>
              <a:gd name="connsiteX68" fmla="*/ 2609850 w 6610350"/>
              <a:gd name="connsiteY68" fmla="*/ 1162050 h 2481262"/>
              <a:gd name="connsiteX69" fmla="*/ 2638425 w 6610350"/>
              <a:gd name="connsiteY69" fmla="*/ 1185862 h 2481262"/>
              <a:gd name="connsiteX70" fmla="*/ 2638425 w 6610350"/>
              <a:gd name="connsiteY70" fmla="*/ 1185862 h 2481262"/>
              <a:gd name="connsiteX71" fmla="*/ 2662238 w 6610350"/>
              <a:gd name="connsiteY71" fmla="*/ 1228725 h 2481262"/>
              <a:gd name="connsiteX72" fmla="*/ 2800350 w 6610350"/>
              <a:gd name="connsiteY72" fmla="*/ 1233487 h 2481262"/>
              <a:gd name="connsiteX73" fmla="*/ 2805113 w 6610350"/>
              <a:gd name="connsiteY73" fmla="*/ 1266825 h 2481262"/>
              <a:gd name="connsiteX74" fmla="*/ 2881313 w 6610350"/>
              <a:gd name="connsiteY74" fmla="*/ 1266825 h 2481262"/>
              <a:gd name="connsiteX75" fmla="*/ 2876550 w 6610350"/>
              <a:gd name="connsiteY75" fmla="*/ 1290637 h 2481262"/>
              <a:gd name="connsiteX76" fmla="*/ 2876550 w 6610350"/>
              <a:gd name="connsiteY76" fmla="*/ 1290637 h 2481262"/>
              <a:gd name="connsiteX77" fmla="*/ 2909888 w 6610350"/>
              <a:gd name="connsiteY77" fmla="*/ 1338262 h 2481262"/>
              <a:gd name="connsiteX78" fmla="*/ 2909888 w 6610350"/>
              <a:gd name="connsiteY78" fmla="*/ 1338262 h 2481262"/>
              <a:gd name="connsiteX79" fmla="*/ 2947988 w 6610350"/>
              <a:gd name="connsiteY79" fmla="*/ 1385887 h 2481262"/>
              <a:gd name="connsiteX80" fmla="*/ 3028950 w 6610350"/>
              <a:gd name="connsiteY80" fmla="*/ 1385887 h 2481262"/>
              <a:gd name="connsiteX81" fmla="*/ 3028950 w 6610350"/>
              <a:gd name="connsiteY81" fmla="*/ 1419225 h 2481262"/>
              <a:gd name="connsiteX82" fmla="*/ 3095625 w 6610350"/>
              <a:gd name="connsiteY82" fmla="*/ 1419225 h 2481262"/>
              <a:gd name="connsiteX83" fmla="*/ 3095625 w 6610350"/>
              <a:gd name="connsiteY83" fmla="*/ 1462087 h 2481262"/>
              <a:gd name="connsiteX84" fmla="*/ 3162300 w 6610350"/>
              <a:gd name="connsiteY84" fmla="*/ 1462087 h 2481262"/>
              <a:gd name="connsiteX85" fmla="*/ 3162300 w 6610350"/>
              <a:gd name="connsiteY85" fmla="*/ 1485900 h 2481262"/>
              <a:gd name="connsiteX86" fmla="*/ 3257550 w 6610350"/>
              <a:gd name="connsiteY86" fmla="*/ 1485900 h 2481262"/>
              <a:gd name="connsiteX87" fmla="*/ 3243263 w 6610350"/>
              <a:gd name="connsiteY87" fmla="*/ 1547812 h 2481262"/>
              <a:gd name="connsiteX88" fmla="*/ 3314700 w 6610350"/>
              <a:gd name="connsiteY88" fmla="*/ 1543050 h 2481262"/>
              <a:gd name="connsiteX89" fmla="*/ 3314700 w 6610350"/>
              <a:gd name="connsiteY89" fmla="*/ 1543050 h 2481262"/>
              <a:gd name="connsiteX90" fmla="*/ 3405188 w 6610350"/>
              <a:gd name="connsiteY90" fmla="*/ 1581150 h 2481262"/>
              <a:gd name="connsiteX91" fmla="*/ 3405188 w 6610350"/>
              <a:gd name="connsiteY91" fmla="*/ 1614487 h 2481262"/>
              <a:gd name="connsiteX92" fmla="*/ 3586163 w 6610350"/>
              <a:gd name="connsiteY92" fmla="*/ 1614487 h 2481262"/>
              <a:gd name="connsiteX93" fmla="*/ 3586163 w 6610350"/>
              <a:gd name="connsiteY93" fmla="*/ 1638300 h 2481262"/>
              <a:gd name="connsiteX94" fmla="*/ 3643313 w 6610350"/>
              <a:gd name="connsiteY94" fmla="*/ 1633537 h 2481262"/>
              <a:gd name="connsiteX95" fmla="*/ 3643313 w 6610350"/>
              <a:gd name="connsiteY95" fmla="*/ 1633537 h 2481262"/>
              <a:gd name="connsiteX96" fmla="*/ 3724275 w 6610350"/>
              <a:gd name="connsiteY96" fmla="*/ 1666875 h 2481262"/>
              <a:gd name="connsiteX97" fmla="*/ 3724275 w 6610350"/>
              <a:gd name="connsiteY97" fmla="*/ 1666875 h 2481262"/>
              <a:gd name="connsiteX98" fmla="*/ 3814763 w 6610350"/>
              <a:gd name="connsiteY98" fmla="*/ 1704975 h 2481262"/>
              <a:gd name="connsiteX99" fmla="*/ 3814763 w 6610350"/>
              <a:gd name="connsiteY99" fmla="*/ 1757362 h 2481262"/>
              <a:gd name="connsiteX100" fmla="*/ 3890963 w 6610350"/>
              <a:gd name="connsiteY100" fmla="*/ 1762125 h 2481262"/>
              <a:gd name="connsiteX101" fmla="*/ 3881438 w 6610350"/>
              <a:gd name="connsiteY101" fmla="*/ 1800225 h 2481262"/>
              <a:gd name="connsiteX102" fmla="*/ 3952875 w 6610350"/>
              <a:gd name="connsiteY102" fmla="*/ 1804987 h 2481262"/>
              <a:gd name="connsiteX103" fmla="*/ 3957638 w 6610350"/>
              <a:gd name="connsiteY103" fmla="*/ 1862137 h 2481262"/>
              <a:gd name="connsiteX104" fmla="*/ 4029075 w 6610350"/>
              <a:gd name="connsiteY104" fmla="*/ 1862137 h 2481262"/>
              <a:gd name="connsiteX105" fmla="*/ 4029075 w 6610350"/>
              <a:gd name="connsiteY105" fmla="*/ 1924050 h 2481262"/>
              <a:gd name="connsiteX106" fmla="*/ 4100513 w 6610350"/>
              <a:gd name="connsiteY106" fmla="*/ 1924050 h 2481262"/>
              <a:gd name="connsiteX107" fmla="*/ 4143375 w 6610350"/>
              <a:gd name="connsiteY107" fmla="*/ 1924050 h 2481262"/>
              <a:gd name="connsiteX108" fmla="*/ 4138613 w 6610350"/>
              <a:gd name="connsiteY108" fmla="*/ 1966912 h 2481262"/>
              <a:gd name="connsiteX109" fmla="*/ 4214813 w 6610350"/>
              <a:gd name="connsiteY109" fmla="*/ 1971675 h 2481262"/>
              <a:gd name="connsiteX110" fmla="*/ 4214813 w 6610350"/>
              <a:gd name="connsiteY110" fmla="*/ 2014537 h 2481262"/>
              <a:gd name="connsiteX111" fmla="*/ 4319588 w 6610350"/>
              <a:gd name="connsiteY111" fmla="*/ 2014537 h 2481262"/>
              <a:gd name="connsiteX112" fmla="*/ 4319588 w 6610350"/>
              <a:gd name="connsiteY112" fmla="*/ 2014537 h 2481262"/>
              <a:gd name="connsiteX113" fmla="*/ 4333876 w 6610350"/>
              <a:gd name="connsiteY113" fmla="*/ 2052637 h 2481262"/>
              <a:gd name="connsiteX114" fmla="*/ 4376738 w 6610350"/>
              <a:gd name="connsiteY114" fmla="*/ 2105025 h 2481262"/>
              <a:gd name="connsiteX115" fmla="*/ 4605338 w 6610350"/>
              <a:gd name="connsiteY115" fmla="*/ 2105025 h 2481262"/>
              <a:gd name="connsiteX116" fmla="*/ 4605338 w 6610350"/>
              <a:gd name="connsiteY116" fmla="*/ 2105025 h 2481262"/>
              <a:gd name="connsiteX117" fmla="*/ 4605338 w 6610350"/>
              <a:gd name="connsiteY117" fmla="*/ 2147887 h 2481262"/>
              <a:gd name="connsiteX118" fmla="*/ 4791075 w 6610350"/>
              <a:gd name="connsiteY118" fmla="*/ 2147887 h 2481262"/>
              <a:gd name="connsiteX119" fmla="*/ 4791075 w 6610350"/>
              <a:gd name="connsiteY119" fmla="*/ 2176462 h 2481262"/>
              <a:gd name="connsiteX120" fmla="*/ 4953000 w 6610350"/>
              <a:gd name="connsiteY120" fmla="*/ 2176462 h 2481262"/>
              <a:gd name="connsiteX121" fmla="*/ 5072063 w 6610350"/>
              <a:gd name="connsiteY121" fmla="*/ 2176462 h 2481262"/>
              <a:gd name="connsiteX122" fmla="*/ 5072063 w 6610350"/>
              <a:gd name="connsiteY122" fmla="*/ 2233612 h 2481262"/>
              <a:gd name="connsiteX123" fmla="*/ 5400675 w 6610350"/>
              <a:gd name="connsiteY123" fmla="*/ 2233612 h 2481262"/>
              <a:gd name="connsiteX124" fmla="*/ 5400675 w 6610350"/>
              <a:gd name="connsiteY124" fmla="*/ 2233612 h 2481262"/>
              <a:gd name="connsiteX125" fmla="*/ 5500688 w 6610350"/>
              <a:gd name="connsiteY125" fmla="*/ 2233612 h 2481262"/>
              <a:gd name="connsiteX126" fmla="*/ 5500688 w 6610350"/>
              <a:gd name="connsiteY126" fmla="*/ 2305050 h 2481262"/>
              <a:gd name="connsiteX127" fmla="*/ 5586413 w 6610350"/>
              <a:gd name="connsiteY127" fmla="*/ 2305050 h 2481262"/>
              <a:gd name="connsiteX128" fmla="*/ 5586413 w 6610350"/>
              <a:gd name="connsiteY128" fmla="*/ 2328862 h 2481262"/>
              <a:gd name="connsiteX129" fmla="*/ 5629275 w 6610350"/>
              <a:gd name="connsiteY129" fmla="*/ 2328862 h 2481262"/>
              <a:gd name="connsiteX130" fmla="*/ 5629275 w 6610350"/>
              <a:gd name="connsiteY130" fmla="*/ 2390775 h 2481262"/>
              <a:gd name="connsiteX131" fmla="*/ 6134100 w 6610350"/>
              <a:gd name="connsiteY131" fmla="*/ 2390775 h 2481262"/>
              <a:gd name="connsiteX132" fmla="*/ 6134100 w 6610350"/>
              <a:gd name="connsiteY132" fmla="*/ 2481262 h 2481262"/>
              <a:gd name="connsiteX133" fmla="*/ 6610350 w 6610350"/>
              <a:gd name="connsiteY133" fmla="*/ 2481262 h 2481262"/>
              <a:gd name="connsiteX0" fmla="*/ 0 w 6610350"/>
              <a:gd name="connsiteY0" fmla="*/ 4762 h 2481262"/>
              <a:gd name="connsiteX1" fmla="*/ 90488 w 6610350"/>
              <a:gd name="connsiteY1" fmla="*/ 0 h 2481262"/>
              <a:gd name="connsiteX2" fmla="*/ 90488 w 6610350"/>
              <a:gd name="connsiteY2" fmla="*/ 33337 h 2481262"/>
              <a:gd name="connsiteX3" fmla="*/ 133350 w 6610350"/>
              <a:gd name="connsiteY3" fmla="*/ 33337 h 2481262"/>
              <a:gd name="connsiteX4" fmla="*/ 133350 w 6610350"/>
              <a:gd name="connsiteY4" fmla="*/ 66675 h 2481262"/>
              <a:gd name="connsiteX5" fmla="*/ 209550 w 6610350"/>
              <a:gd name="connsiteY5" fmla="*/ 66675 h 2481262"/>
              <a:gd name="connsiteX6" fmla="*/ 204788 w 6610350"/>
              <a:gd name="connsiteY6" fmla="*/ 95250 h 2481262"/>
              <a:gd name="connsiteX7" fmla="*/ 361950 w 6610350"/>
              <a:gd name="connsiteY7" fmla="*/ 104775 h 2481262"/>
              <a:gd name="connsiteX8" fmla="*/ 361950 w 6610350"/>
              <a:gd name="connsiteY8" fmla="*/ 123825 h 2481262"/>
              <a:gd name="connsiteX9" fmla="*/ 423863 w 6610350"/>
              <a:gd name="connsiteY9" fmla="*/ 119062 h 2481262"/>
              <a:gd name="connsiteX10" fmla="*/ 409575 w 6610350"/>
              <a:gd name="connsiteY10" fmla="*/ 166687 h 2481262"/>
              <a:gd name="connsiteX11" fmla="*/ 552450 w 6610350"/>
              <a:gd name="connsiteY11" fmla="*/ 171450 h 2481262"/>
              <a:gd name="connsiteX12" fmla="*/ 557213 w 6610350"/>
              <a:gd name="connsiteY12" fmla="*/ 200025 h 2481262"/>
              <a:gd name="connsiteX13" fmla="*/ 595313 w 6610350"/>
              <a:gd name="connsiteY13" fmla="*/ 204787 h 2481262"/>
              <a:gd name="connsiteX14" fmla="*/ 600075 w 6610350"/>
              <a:gd name="connsiteY14" fmla="*/ 238125 h 2481262"/>
              <a:gd name="connsiteX15" fmla="*/ 642938 w 6610350"/>
              <a:gd name="connsiteY15" fmla="*/ 238125 h 2481262"/>
              <a:gd name="connsiteX16" fmla="*/ 642938 w 6610350"/>
              <a:gd name="connsiteY16" fmla="*/ 276225 h 2481262"/>
              <a:gd name="connsiteX17" fmla="*/ 933450 w 6610350"/>
              <a:gd name="connsiteY17" fmla="*/ 261937 h 2481262"/>
              <a:gd name="connsiteX18" fmla="*/ 938213 w 6610350"/>
              <a:gd name="connsiteY18" fmla="*/ 300037 h 2481262"/>
              <a:gd name="connsiteX19" fmla="*/ 1023938 w 6610350"/>
              <a:gd name="connsiteY19" fmla="*/ 295275 h 2481262"/>
              <a:gd name="connsiteX20" fmla="*/ 1028700 w 6610350"/>
              <a:gd name="connsiteY20" fmla="*/ 357187 h 2481262"/>
              <a:gd name="connsiteX21" fmla="*/ 1147763 w 6610350"/>
              <a:gd name="connsiteY21" fmla="*/ 357187 h 2481262"/>
              <a:gd name="connsiteX22" fmla="*/ 1157288 w 6610350"/>
              <a:gd name="connsiteY22" fmla="*/ 390525 h 2481262"/>
              <a:gd name="connsiteX23" fmla="*/ 1228725 w 6610350"/>
              <a:gd name="connsiteY23" fmla="*/ 390525 h 2481262"/>
              <a:gd name="connsiteX24" fmla="*/ 1228725 w 6610350"/>
              <a:gd name="connsiteY24" fmla="*/ 390525 h 2481262"/>
              <a:gd name="connsiteX25" fmla="*/ 1323975 w 6610350"/>
              <a:gd name="connsiteY25" fmla="*/ 419100 h 2481262"/>
              <a:gd name="connsiteX26" fmla="*/ 1338263 w 6610350"/>
              <a:gd name="connsiteY26" fmla="*/ 471487 h 2481262"/>
              <a:gd name="connsiteX27" fmla="*/ 1400175 w 6610350"/>
              <a:gd name="connsiteY27" fmla="*/ 466725 h 2481262"/>
              <a:gd name="connsiteX28" fmla="*/ 1404938 w 6610350"/>
              <a:gd name="connsiteY28" fmla="*/ 490537 h 2481262"/>
              <a:gd name="connsiteX29" fmla="*/ 1466850 w 6610350"/>
              <a:gd name="connsiteY29" fmla="*/ 495300 h 2481262"/>
              <a:gd name="connsiteX30" fmla="*/ 1471613 w 6610350"/>
              <a:gd name="connsiteY30" fmla="*/ 509587 h 2481262"/>
              <a:gd name="connsiteX31" fmla="*/ 1528763 w 6610350"/>
              <a:gd name="connsiteY31" fmla="*/ 509587 h 2481262"/>
              <a:gd name="connsiteX32" fmla="*/ 1528763 w 6610350"/>
              <a:gd name="connsiteY32" fmla="*/ 557212 h 2481262"/>
              <a:gd name="connsiteX33" fmla="*/ 1714500 w 6610350"/>
              <a:gd name="connsiteY33" fmla="*/ 547687 h 2481262"/>
              <a:gd name="connsiteX34" fmla="*/ 1714500 w 6610350"/>
              <a:gd name="connsiteY34" fmla="*/ 590550 h 2481262"/>
              <a:gd name="connsiteX35" fmla="*/ 1752600 w 6610350"/>
              <a:gd name="connsiteY35" fmla="*/ 590550 h 2481262"/>
              <a:gd name="connsiteX36" fmla="*/ 1762125 w 6610350"/>
              <a:gd name="connsiteY36" fmla="*/ 619125 h 2481262"/>
              <a:gd name="connsiteX37" fmla="*/ 1809750 w 6610350"/>
              <a:gd name="connsiteY37" fmla="*/ 619125 h 2481262"/>
              <a:gd name="connsiteX38" fmla="*/ 1809750 w 6610350"/>
              <a:gd name="connsiteY38" fmla="*/ 647700 h 2481262"/>
              <a:gd name="connsiteX39" fmla="*/ 1847850 w 6610350"/>
              <a:gd name="connsiteY39" fmla="*/ 647700 h 2481262"/>
              <a:gd name="connsiteX40" fmla="*/ 1847850 w 6610350"/>
              <a:gd name="connsiteY40" fmla="*/ 714375 h 2481262"/>
              <a:gd name="connsiteX41" fmla="*/ 1905000 w 6610350"/>
              <a:gd name="connsiteY41" fmla="*/ 714375 h 2481262"/>
              <a:gd name="connsiteX42" fmla="*/ 1919288 w 6610350"/>
              <a:gd name="connsiteY42" fmla="*/ 738187 h 2481262"/>
              <a:gd name="connsiteX43" fmla="*/ 2009775 w 6610350"/>
              <a:gd name="connsiteY43" fmla="*/ 733425 h 2481262"/>
              <a:gd name="connsiteX44" fmla="*/ 2009775 w 6610350"/>
              <a:gd name="connsiteY44" fmla="*/ 804862 h 2481262"/>
              <a:gd name="connsiteX45" fmla="*/ 2038350 w 6610350"/>
              <a:gd name="connsiteY45" fmla="*/ 804862 h 2481262"/>
              <a:gd name="connsiteX46" fmla="*/ 2038350 w 6610350"/>
              <a:gd name="connsiteY46" fmla="*/ 823912 h 2481262"/>
              <a:gd name="connsiteX47" fmla="*/ 2038350 w 6610350"/>
              <a:gd name="connsiteY47" fmla="*/ 823912 h 2481262"/>
              <a:gd name="connsiteX48" fmla="*/ 2071688 w 6610350"/>
              <a:gd name="connsiteY48" fmla="*/ 852487 h 2481262"/>
              <a:gd name="connsiteX49" fmla="*/ 2071688 w 6610350"/>
              <a:gd name="connsiteY49" fmla="*/ 852487 h 2481262"/>
              <a:gd name="connsiteX50" fmla="*/ 2100263 w 6610350"/>
              <a:gd name="connsiteY50" fmla="*/ 885825 h 2481262"/>
              <a:gd name="connsiteX51" fmla="*/ 2190750 w 6610350"/>
              <a:gd name="connsiteY51" fmla="*/ 885825 h 2481262"/>
              <a:gd name="connsiteX52" fmla="*/ 2195513 w 6610350"/>
              <a:gd name="connsiteY52" fmla="*/ 933450 h 2481262"/>
              <a:gd name="connsiteX53" fmla="*/ 2247900 w 6610350"/>
              <a:gd name="connsiteY53" fmla="*/ 923925 h 2481262"/>
              <a:gd name="connsiteX54" fmla="*/ 2247900 w 6610350"/>
              <a:gd name="connsiteY54" fmla="*/ 966787 h 2481262"/>
              <a:gd name="connsiteX55" fmla="*/ 2352675 w 6610350"/>
              <a:gd name="connsiteY55" fmla="*/ 952500 h 2481262"/>
              <a:gd name="connsiteX56" fmla="*/ 2347913 w 6610350"/>
              <a:gd name="connsiteY56" fmla="*/ 985837 h 2481262"/>
              <a:gd name="connsiteX57" fmla="*/ 2400300 w 6610350"/>
              <a:gd name="connsiteY57" fmla="*/ 990600 h 2481262"/>
              <a:gd name="connsiteX58" fmla="*/ 2400300 w 6610350"/>
              <a:gd name="connsiteY58" fmla="*/ 990600 h 2481262"/>
              <a:gd name="connsiteX59" fmla="*/ 2400300 w 6610350"/>
              <a:gd name="connsiteY59" fmla="*/ 1019175 h 2481262"/>
              <a:gd name="connsiteX60" fmla="*/ 2476500 w 6610350"/>
              <a:gd name="connsiteY60" fmla="*/ 1009650 h 2481262"/>
              <a:gd name="connsiteX61" fmla="*/ 2476500 w 6610350"/>
              <a:gd name="connsiteY61" fmla="*/ 1047750 h 2481262"/>
              <a:gd name="connsiteX62" fmla="*/ 2500313 w 6610350"/>
              <a:gd name="connsiteY62" fmla="*/ 1047750 h 2481262"/>
              <a:gd name="connsiteX63" fmla="*/ 2500313 w 6610350"/>
              <a:gd name="connsiteY63" fmla="*/ 1047750 h 2481262"/>
              <a:gd name="connsiteX64" fmla="*/ 2566988 w 6610350"/>
              <a:gd name="connsiteY64" fmla="*/ 1081087 h 2481262"/>
              <a:gd name="connsiteX65" fmla="*/ 2562225 w 6610350"/>
              <a:gd name="connsiteY65" fmla="*/ 1123950 h 2481262"/>
              <a:gd name="connsiteX66" fmla="*/ 2609850 w 6610350"/>
              <a:gd name="connsiteY66" fmla="*/ 1123950 h 2481262"/>
              <a:gd name="connsiteX67" fmla="*/ 2609850 w 6610350"/>
              <a:gd name="connsiteY67" fmla="*/ 1162050 h 2481262"/>
              <a:gd name="connsiteX68" fmla="*/ 2609850 w 6610350"/>
              <a:gd name="connsiteY68" fmla="*/ 1162050 h 2481262"/>
              <a:gd name="connsiteX69" fmla="*/ 2638425 w 6610350"/>
              <a:gd name="connsiteY69" fmla="*/ 1185862 h 2481262"/>
              <a:gd name="connsiteX70" fmla="*/ 2638425 w 6610350"/>
              <a:gd name="connsiteY70" fmla="*/ 1185862 h 2481262"/>
              <a:gd name="connsiteX71" fmla="*/ 2662238 w 6610350"/>
              <a:gd name="connsiteY71" fmla="*/ 1228725 h 2481262"/>
              <a:gd name="connsiteX72" fmla="*/ 2800350 w 6610350"/>
              <a:gd name="connsiteY72" fmla="*/ 1233487 h 2481262"/>
              <a:gd name="connsiteX73" fmla="*/ 2805113 w 6610350"/>
              <a:gd name="connsiteY73" fmla="*/ 1266825 h 2481262"/>
              <a:gd name="connsiteX74" fmla="*/ 2881313 w 6610350"/>
              <a:gd name="connsiteY74" fmla="*/ 1266825 h 2481262"/>
              <a:gd name="connsiteX75" fmla="*/ 2876550 w 6610350"/>
              <a:gd name="connsiteY75" fmla="*/ 1290637 h 2481262"/>
              <a:gd name="connsiteX76" fmla="*/ 2876550 w 6610350"/>
              <a:gd name="connsiteY76" fmla="*/ 1290637 h 2481262"/>
              <a:gd name="connsiteX77" fmla="*/ 2909888 w 6610350"/>
              <a:gd name="connsiteY77" fmla="*/ 1338262 h 2481262"/>
              <a:gd name="connsiteX78" fmla="*/ 2909888 w 6610350"/>
              <a:gd name="connsiteY78" fmla="*/ 1338262 h 2481262"/>
              <a:gd name="connsiteX79" fmla="*/ 2947988 w 6610350"/>
              <a:gd name="connsiteY79" fmla="*/ 1385887 h 2481262"/>
              <a:gd name="connsiteX80" fmla="*/ 3028950 w 6610350"/>
              <a:gd name="connsiteY80" fmla="*/ 1385887 h 2481262"/>
              <a:gd name="connsiteX81" fmla="*/ 3028950 w 6610350"/>
              <a:gd name="connsiteY81" fmla="*/ 1419225 h 2481262"/>
              <a:gd name="connsiteX82" fmla="*/ 3095625 w 6610350"/>
              <a:gd name="connsiteY82" fmla="*/ 1419225 h 2481262"/>
              <a:gd name="connsiteX83" fmla="*/ 3095625 w 6610350"/>
              <a:gd name="connsiteY83" fmla="*/ 1462087 h 2481262"/>
              <a:gd name="connsiteX84" fmla="*/ 3162300 w 6610350"/>
              <a:gd name="connsiteY84" fmla="*/ 1462087 h 2481262"/>
              <a:gd name="connsiteX85" fmla="*/ 3162300 w 6610350"/>
              <a:gd name="connsiteY85" fmla="*/ 1485900 h 2481262"/>
              <a:gd name="connsiteX86" fmla="*/ 3257550 w 6610350"/>
              <a:gd name="connsiteY86" fmla="*/ 1485900 h 2481262"/>
              <a:gd name="connsiteX87" fmla="*/ 3243263 w 6610350"/>
              <a:gd name="connsiteY87" fmla="*/ 1547812 h 2481262"/>
              <a:gd name="connsiteX88" fmla="*/ 3314700 w 6610350"/>
              <a:gd name="connsiteY88" fmla="*/ 1543050 h 2481262"/>
              <a:gd name="connsiteX89" fmla="*/ 3314700 w 6610350"/>
              <a:gd name="connsiteY89" fmla="*/ 1543050 h 2481262"/>
              <a:gd name="connsiteX90" fmla="*/ 3405188 w 6610350"/>
              <a:gd name="connsiteY90" fmla="*/ 1581150 h 2481262"/>
              <a:gd name="connsiteX91" fmla="*/ 3405188 w 6610350"/>
              <a:gd name="connsiteY91" fmla="*/ 1614487 h 2481262"/>
              <a:gd name="connsiteX92" fmla="*/ 3586163 w 6610350"/>
              <a:gd name="connsiteY92" fmla="*/ 1614487 h 2481262"/>
              <a:gd name="connsiteX93" fmla="*/ 3586163 w 6610350"/>
              <a:gd name="connsiteY93" fmla="*/ 1638300 h 2481262"/>
              <a:gd name="connsiteX94" fmla="*/ 3643313 w 6610350"/>
              <a:gd name="connsiteY94" fmla="*/ 1633537 h 2481262"/>
              <a:gd name="connsiteX95" fmla="*/ 3643313 w 6610350"/>
              <a:gd name="connsiteY95" fmla="*/ 1633537 h 2481262"/>
              <a:gd name="connsiteX96" fmla="*/ 3724275 w 6610350"/>
              <a:gd name="connsiteY96" fmla="*/ 1666875 h 2481262"/>
              <a:gd name="connsiteX97" fmla="*/ 3724275 w 6610350"/>
              <a:gd name="connsiteY97" fmla="*/ 1666875 h 2481262"/>
              <a:gd name="connsiteX98" fmla="*/ 3814763 w 6610350"/>
              <a:gd name="connsiteY98" fmla="*/ 1704975 h 2481262"/>
              <a:gd name="connsiteX99" fmla="*/ 3814763 w 6610350"/>
              <a:gd name="connsiteY99" fmla="*/ 1757362 h 2481262"/>
              <a:gd name="connsiteX100" fmla="*/ 3890963 w 6610350"/>
              <a:gd name="connsiteY100" fmla="*/ 1762125 h 2481262"/>
              <a:gd name="connsiteX101" fmla="*/ 3881438 w 6610350"/>
              <a:gd name="connsiteY101" fmla="*/ 1800225 h 2481262"/>
              <a:gd name="connsiteX102" fmla="*/ 3952875 w 6610350"/>
              <a:gd name="connsiteY102" fmla="*/ 1804987 h 2481262"/>
              <a:gd name="connsiteX103" fmla="*/ 3957638 w 6610350"/>
              <a:gd name="connsiteY103" fmla="*/ 1862137 h 2481262"/>
              <a:gd name="connsiteX104" fmla="*/ 4029075 w 6610350"/>
              <a:gd name="connsiteY104" fmla="*/ 1862137 h 2481262"/>
              <a:gd name="connsiteX105" fmla="*/ 4029075 w 6610350"/>
              <a:gd name="connsiteY105" fmla="*/ 1924050 h 2481262"/>
              <a:gd name="connsiteX106" fmla="*/ 4100513 w 6610350"/>
              <a:gd name="connsiteY106" fmla="*/ 1924050 h 2481262"/>
              <a:gd name="connsiteX107" fmla="*/ 4143375 w 6610350"/>
              <a:gd name="connsiteY107" fmla="*/ 1924050 h 2481262"/>
              <a:gd name="connsiteX108" fmla="*/ 4138613 w 6610350"/>
              <a:gd name="connsiteY108" fmla="*/ 1966912 h 2481262"/>
              <a:gd name="connsiteX109" fmla="*/ 4214813 w 6610350"/>
              <a:gd name="connsiteY109" fmla="*/ 1971675 h 2481262"/>
              <a:gd name="connsiteX110" fmla="*/ 4214813 w 6610350"/>
              <a:gd name="connsiteY110" fmla="*/ 2014537 h 2481262"/>
              <a:gd name="connsiteX111" fmla="*/ 4319588 w 6610350"/>
              <a:gd name="connsiteY111" fmla="*/ 2014537 h 2481262"/>
              <a:gd name="connsiteX112" fmla="*/ 4319588 w 6610350"/>
              <a:gd name="connsiteY112" fmla="*/ 2014537 h 2481262"/>
              <a:gd name="connsiteX113" fmla="*/ 4333876 w 6610350"/>
              <a:gd name="connsiteY113" fmla="*/ 2052637 h 2481262"/>
              <a:gd name="connsiteX114" fmla="*/ 4410075 w 6610350"/>
              <a:gd name="connsiteY114" fmla="*/ 2095500 h 2481262"/>
              <a:gd name="connsiteX115" fmla="*/ 4605338 w 6610350"/>
              <a:gd name="connsiteY115" fmla="*/ 2105025 h 2481262"/>
              <a:gd name="connsiteX116" fmla="*/ 4605338 w 6610350"/>
              <a:gd name="connsiteY116" fmla="*/ 2105025 h 2481262"/>
              <a:gd name="connsiteX117" fmla="*/ 4605338 w 6610350"/>
              <a:gd name="connsiteY117" fmla="*/ 2147887 h 2481262"/>
              <a:gd name="connsiteX118" fmla="*/ 4791075 w 6610350"/>
              <a:gd name="connsiteY118" fmla="*/ 2147887 h 2481262"/>
              <a:gd name="connsiteX119" fmla="*/ 4791075 w 6610350"/>
              <a:gd name="connsiteY119" fmla="*/ 2176462 h 2481262"/>
              <a:gd name="connsiteX120" fmla="*/ 4953000 w 6610350"/>
              <a:gd name="connsiteY120" fmla="*/ 2176462 h 2481262"/>
              <a:gd name="connsiteX121" fmla="*/ 5072063 w 6610350"/>
              <a:gd name="connsiteY121" fmla="*/ 2176462 h 2481262"/>
              <a:gd name="connsiteX122" fmla="*/ 5072063 w 6610350"/>
              <a:gd name="connsiteY122" fmla="*/ 2233612 h 2481262"/>
              <a:gd name="connsiteX123" fmla="*/ 5400675 w 6610350"/>
              <a:gd name="connsiteY123" fmla="*/ 2233612 h 2481262"/>
              <a:gd name="connsiteX124" fmla="*/ 5400675 w 6610350"/>
              <a:gd name="connsiteY124" fmla="*/ 2233612 h 2481262"/>
              <a:gd name="connsiteX125" fmla="*/ 5500688 w 6610350"/>
              <a:gd name="connsiteY125" fmla="*/ 2233612 h 2481262"/>
              <a:gd name="connsiteX126" fmla="*/ 5500688 w 6610350"/>
              <a:gd name="connsiteY126" fmla="*/ 2305050 h 2481262"/>
              <a:gd name="connsiteX127" fmla="*/ 5586413 w 6610350"/>
              <a:gd name="connsiteY127" fmla="*/ 2305050 h 2481262"/>
              <a:gd name="connsiteX128" fmla="*/ 5586413 w 6610350"/>
              <a:gd name="connsiteY128" fmla="*/ 2328862 h 2481262"/>
              <a:gd name="connsiteX129" fmla="*/ 5629275 w 6610350"/>
              <a:gd name="connsiteY129" fmla="*/ 2328862 h 2481262"/>
              <a:gd name="connsiteX130" fmla="*/ 5629275 w 6610350"/>
              <a:gd name="connsiteY130" fmla="*/ 2390775 h 2481262"/>
              <a:gd name="connsiteX131" fmla="*/ 6134100 w 6610350"/>
              <a:gd name="connsiteY131" fmla="*/ 2390775 h 2481262"/>
              <a:gd name="connsiteX132" fmla="*/ 6134100 w 6610350"/>
              <a:gd name="connsiteY132" fmla="*/ 2481262 h 2481262"/>
              <a:gd name="connsiteX133" fmla="*/ 6610350 w 6610350"/>
              <a:gd name="connsiteY133" fmla="*/ 2481262 h 2481262"/>
              <a:gd name="connsiteX0" fmla="*/ 0 w 6610350"/>
              <a:gd name="connsiteY0" fmla="*/ 4762 h 2481262"/>
              <a:gd name="connsiteX1" fmla="*/ 90488 w 6610350"/>
              <a:gd name="connsiteY1" fmla="*/ 0 h 2481262"/>
              <a:gd name="connsiteX2" fmla="*/ 90488 w 6610350"/>
              <a:gd name="connsiteY2" fmla="*/ 33337 h 2481262"/>
              <a:gd name="connsiteX3" fmla="*/ 133350 w 6610350"/>
              <a:gd name="connsiteY3" fmla="*/ 33337 h 2481262"/>
              <a:gd name="connsiteX4" fmla="*/ 133350 w 6610350"/>
              <a:gd name="connsiteY4" fmla="*/ 66675 h 2481262"/>
              <a:gd name="connsiteX5" fmla="*/ 209550 w 6610350"/>
              <a:gd name="connsiteY5" fmla="*/ 66675 h 2481262"/>
              <a:gd name="connsiteX6" fmla="*/ 204788 w 6610350"/>
              <a:gd name="connsiteY6" fmla="*/ 95250 h 2481262"/>
              <a:gd name="connsiteX7" fmla="*/ 361950 w 6610350"/>
              <a:gd name="connsiteY7" fmla="*/ 104775 h 2481262"/>
              <a:gd name="connsiteX8" fmla="*/ 361950 w 6610350"/>
              <a:gd name="connsiteY8" fmla="*/ 123825 h 2481262"/>
              <a:gd name="connsiteX9" fmla="*/ 423863 w 6610350"/>
              <a:gd name="connsiteY9" fmla="*/ 119062 h 2481262"/>
              <a:gd name="connsiteX10" fmla="*/ 409575 w 6610350"/>
              <a:gd name="connsiteY10" fmla="*/ 166687 h 2481262"/>
              <a:gd name="connsiteX11" fmla="*/ 552450 w 6610350"/>
              <a:gd name="connsiteY11" fmla="*/ 171450 h 2481262"/>
              <a:gd name="connsiteX12" fmla="*/ 557213 w 6610350"/>
              <a:gd name="connsiteY12" fmla="*/ 200025 h 2481262"/>
              <a:gd name="connsiteX13" fmla="*/ 595313 w 6610350"/>
              <a:gd name="connsiteY13" fmla="*/ 204787 h 2481262"/>
              <a:gd name="connsiteX14" fmla="*/ 600075 w 6610350"/>
              <a:gd name="connsiteY14" fmla="*/ 238125 h 2481262"/>
              <a:gd name="connsiteX15" fmla="*/ 642938 w 6610350"/>
              <a:gd name="connsiteY15" fmla="*/ 238125 h 2481262"/>
              <a:gd name="connsiteX16" fmla="*/ 642938 w 6610350"/>
              <a:gd name="connsiteY16" fmla="*/ 276225 h 2481262"/>
              <a:gd name="connsiteX17" fmla="*/ 933450 w 6610350"/>
              <a:gd name="connsiteY17" fmla="*/ 261937 h 2481262"/>
              <a:gd name="connsiteX18" fmla="*/ 938213 w 6610350"/>
              <a:gd name="connsiteY18" fmla="*/ 300037 h 2481262"/>
              <a:gd name="connsiteX19" fmla="*/ 1023938 w 6610350"/>
              <a:gd name="connsiteY19" fmla="*/ 295275 h 2481262"/>
              <a:gd name="connsiteX20" fmla="*/ 1028700 w 6610350"/>
              <a:gd name="connsiteY20" fmla="*/ 357187 h 2481262"/>
              <a:gd name="connsiteX21" fmla="*/ 1147763 w 6610350"/>
              <a:gd name="connsiteY21" fmla="*/ 357187 h 2481262"/>
              <a:gd name="connsiteX22" fmla="*/ 1157288 w 6610350"/>
              <a:gd name="connsiteY22" fmla="*/ 390525 h 2481262"/>
              <a:gd name="connsiteX23" fmla="*/ 1228725 w 6610350"/>
              <a:gd name="connsiteY23" fmla="*/ 390525 h 2481262"/>
              <a:gd name="connsiteX24" fmla="*/ 1228725 w 6610350"/>
              <a:gd name="connsiteY24" fmla="*/ 390525 h 2481262"/>
              <a:gd name="connsiteX25" fmla="*/ 1323975 w 6610350"/>
              <a:gd name="connsiteY25" fmla="*/ 419100 h 2481262"/>
              <a:gd name="connsiteX26" fmla="*/ 1338263 w 6610350"/>
              <a:gd name="connsiteY26" fmla="*/ 471487 h 2481262"/>
              <a:gd name="connsiteX27" fmla="*/ 1400175 w 6610350"/>
              <a:gd name="connsiteY27" fmla="*/ 466725 h 2481262"/>
              <a:gd name="connsiteX28" fmla="*/ 1404938 w 6610350"/>
              <a:gd name="connsiteY28" fmla="*/ 490537 h 2481262"/>
              <a:gd name="connsiteX29" fmla="*/ 1466850 w 6610350"/>
              <a:gd name="connsiteY29" fmla="*/ 495300 h 2481262"/>
              <a:gd name="connsiteX30" fmla="*/ 1471613 w 6610350"/>
              <a:gd name="connsiteY30" fmla="*/ 509587 h 2481262"/>
              <a:gd name="connsiteX31" fmla="*/ 1528763 w 6610350"/>
              <a:gd name="connsiteY31" fmla="*/ 509587 h 2481262"/>
              <a:gd name="connsiteX32" fmla="*/ 1528763 w 6610350"/>
              <a:gd name="connsiteY32" fmla="*/ 557212 h 2481262"/>
              <a:gd name="connsiteX33" fmla="*/ 1714500 w 6610350"/>
              <a:gd name="connsiteY33" fmla="*/ 547687 h 2481262"/>
              <a:gd name="connsiteX34" fmla="*/ 1714500 w 6610350"/>
              <a:gd name="connsiteY34" fmla="*/ 590550 h 2481262"/>
              <a:gd name="connsiteX35" fmla="*/ 1752600 w 6610350"/>
              <a:gd name="connsiteY35" fmla="*/ 590550 h 2481262"/>
              <a:gd name="connsiteX36" fmla="*/ 1762125 w 6610350"/>
              <a:gd name="connsiteY36" fmla="*/ 619125 h 2481262"/>
              <a:gd name="connsiteX37" fmla="*/ 1809750 w 6610350"/>
              <a:gd name="connsiteY37" fmla="*/ 619125 h 2481262"/>
              <a:gd name="connsiteX38" fmla="*/ 1809750 w 6610350"/>
              <a:gd name="connsiteY38" fmla="*/ 647700 h 2481262"/>
              <a:gd name="connsiteX39" fmla="*/ 1847850 w 6610350"/>
              <a:gd name="connsiteY39" fmla="*/ 647700 h 2481262"/>
              <a:gd name="connsiteX40" fmla="*/ 1847850 w 6610350"/>
              <a:gd name="connsiteY40" fmla="*/ 714375 h 2481262"/>
              <a:gd name="connsiteX41" fmla="*/ 1905000 w 6610350"/>
              <a:gd name="connsiteY41" fmla="*/ 714375 h 2481262"/>
              <a:gd name="connsiteX42" fmla="*/ 1919288 w 6610350"/>
              <a:gd name="connsiteY42" fmla="*/ 738187 h 2481262"/>
              <a:gd name="connsiteX43" fmla="*/ 2009775 w 6610350"/>
              <a:gd name="connsiteY43" fmla="*/ 733425 h 2481262"/>
              <a:gd name="connsiteX44" fmla="*/ 2009775 w 6610350"/>
              <a:gd name="connsiteY44" fmla="*/ 804862 h 2481262"/>
              <a:gd name="connsiteX45" fmla="*/ 2038350 w 6610350"/>
              <a:gd name="connsiteY45" fmla="*/ 804862 h 2481262"/>
              <a:gd name="connsiteX46" fmla="*/ 2038350 w 6610350"/>
              <a:gd name="connsiteY46" fmla="*/ 823912 h 2481262"/>
              <a:gd name="connsiteX47" fmla="*/ 2038350 w 6610350"/>
              <a:gd name="connsiteY47" fmla="*/ 823912 h 2481262"/>
              <a:gd name="connsiteX48" fmla="*/ 2071688 w 6610350"/>
              <a:gd name="connsiteY48" fmla="*/ 852487 h 2481262"/>
              <a:gd name="connsiteX49" fmla="*/ 2071688 w 6610350"/>
              <a:gd name="connsiteY49" fmla="*/ 852487 h 2481262"/>
              <a:gd name="connsiteX50" fmla="*/ 2100263 w 6610350"/>
              <a:gd name="connsiteY50" fmla="*/ 885825 h 2481262"/>
              <a:gd name="connsiteX51" fmla="*/ 2190750 w 6610350"/>
              <a:gd name="connsiteY51" fmla="*/ 885825 h 2481262"/>
              <a:gd name="connsiteX52" fmla="*/ 2195513 w 6610350"/>
              <a:gd name="connsiteY52" fmla="*/ 933450 h 2481262"/>
              <a:gd name="connsiteX53" fmla="*/ 2247900 w 6610350"/>
              <a:gd name="connsiteY53" fmla="*/ 923925 h 2481262"/>
              <a:gd name="connsiteX54" fmla="*/ 2247900 w 6610350"/>
              <a:gd name="connsiteY54" fmla="*/ 966787 h 2481262"/>
              <a:gd name="connsiteX55" fmla="*/ 2352675 w 6610350"/>
              <a:gd name="connsiteY55" fmla="*/ 952500 h 2481262"/>
              <a:gd name="connsiteX56" fmla="*/ 2347913 w 6610350"/>
              <a:gd name="connsiteY56" fmla="*/ 985837 h 2481262"/>
              <a:gd name="connsiteX57" fmla="*/ 2400300 w 6610350"/>
              <a:gd name="connsiteY57" fmla="*/ 990600 h 2481262"/>
              <a:gd name="connsiteX58" fmla="*/ 2400300 w 6610350"/>
              <a:gd name="connsiteY58" fmla="*/ 990600 h 2481262"/>
              <a:gd name="connsiteX59" fmla="*/ 2400300 w 6610350"/>
              <a:gd name="connsiteY59" fmla="*/ 1019175 h 2481262"/>
              <a:gd name="connsiteX60" fmla="*/ 2476500 w 6610350"/>
              <a:gd name="connsiteY60" fmla="*/ 1009650 h 2481262"/>
              <a:gd name="connsiteX61" fmla="*/ 2476500 w 6610350"/>
              <a:gd name="connsiteY61" fmla="*/ 1047750 h 2481262"/>
              <a:gd name="connsiteX62" fmla="*/ 2500313 w 6610350"/>
              <a:gd name="connsiteY62" fmla="*/ 1047750 h 2481262"/>
              <a:gd name="connsiteX63" fmla="*/ 2500313 w 6610350"/>
              <a:gd name="connsiteY63" fmla="*/ 1047750 h 2481262"/>
              <a:gd name="connsiteX64" fmla="*/ 2566988 w 6610350"/>
              <a:gd name="connsiteY64" fmla="*/ 1081087 h 2481262"/>
              <a:gd name="connsiteX65" fmla="*/ 2562225 w 6610350"/>
              <a:gd name="connsiteY65" fmla="*/ 1123950 h 2481262"/>
              <a:gd name="connsiteX66" fmla="*/ 2609850 w 6610350"/>
              <a:gd name="connsiteY66" fmla="*/ 1123950 h 2481262"/>
              <a:gd name="connsiteX67" fmla="*/ 2609850 w 6610350"/>
              <a:gd name="connsiteY67" fmla="*/ 1162050 h 2481262"/>
              <a:gd name="connsiteX68" fmla="*/ 2609850 w 6610350"/>
              <a:gd name="connsiteY68" fmla="*/ 1162050 h 2481262"/>
              <a:gd name="connsiteX69" fmla="*/ 2638425 w 6610350"/>
              <a:gd name="connsiteY69" fmla="*/ 1185862 h 2481262"/>
              <a:gd name="connsiteX70" fmla="*/ 2638425 w 6610350"/>
              <a:gd name="connsiteY70" fmla="*/ 1185862 h 2481262"/>
              <a:gd name="connsiteX71" fmla="*/ 2662238 w 6610350"/>
              <a:gd name="connsiteY71" fmla="*/ 1228725 h 2481262"/>
              <a:gd name="connsiteX72" fmla="*/ 2800350 w 6610350"/>
              <a:gd name="connsiteY72" fmla="*/ 1233487 h 2481262"/>
              <a:gd name="connsiteX73" fmla="*/ 2805113 w 6610350"/>
              <a:gd name="connsiteY73" fmla="*/ 1266825 h 2481262"/>
              <a:gd name="connsiteX74" fmla="*/ 2881313 w 6610350"/>
              <a:gd name="connsiteY74" fmla="*/ 1266825 h 2481262"/>
              <a:gd name="connsiteX75" fmla="*/ 2876550 w 6610350"/>
              <a:gd name="connsiteY75" fmla="*/ 1290637 h 2481262"/>
              <a:gd name="connsiteX76" fmla="*/ 2876550 w 6610350"/>
              <a:gd name="connsiteY76" fmla="*/ 1290637 h 2481262"/>
              <a:gd name="connsiteX77" fmla="*/ 2909888 w 6610350"/>
              <a:gd name="connsiteY77" fmla="*/ 1338262 h 2481262"/>
              <a:gd name="connsiteX78" fmla="*/ 2909888 w 6610350"/>
              <a:gd name="connsiteY78" fmla="*/ 1338262 h 2481262"/>
              <a:gd name="connsiteX79" fmla="*/ 2947988 w 6610350"/>
              <a:gd name="connsiteY79" fmla="*/ 1385887 h 2481262"/>
              <a:gd name="connsiteX80" fmla="*/ 3028950 w 6610350"/>
              <a:gd name="connsiteY80" fmla="*/ 1385887 h 2481262"/>
              <a:gd name="connsiteX81" fmla="*/ 3028950 w 6610350"/>
              <a:gd name="connsiteY81" fmla="*/ 1419225 h 2481262"/>
              <a:gd name="connsiteX82" fmla="*/ 3095625 w 6610350"/>
              <a:gd name="connsiteY82" fmla="*/ 1419225 h 2481262"/>
              <a:gd name="connsiteX83" fmla="*/ 3095625 w 6610350"/>
              <a:gd name="connsiteY83" fmla="*/ 1462087 h 2481262"/>
              <a:gd name="connsiteX84" fmla="*/ 3162300 w 6610350"/>
              <a:gd name="connsiteY84" fmla="*/ 1462087 h 2481262"/>
              <a:gd name="connsiteX85" fmla="*/ 3162300 w 6610350"/>
              <a:gd name="connsiteY85" fmla="*/ 1485900 h 2481262"/>
              <a:gd name="connsiteX86" fmla="*/ 3257550 w 6610350"/>
              <a:gd name="connsiteY86" fmla="*/ 1485900 h 2481262"/>
              <a:gd name="connsiteX87" fmla="*/ 3243263 w 6610350"/>
              <a:gd name="connsiteY87" fmla="*/ 1547812 h 2481262"/>
              <a:gd name="connsiteX88" fmla="*/ 3314700 w 6610350"/>
              <a:gd name="connsiteY88" fmla="*/ 1543050 h 2481262"/>
              <a:gd name="connsiteX89" fmla="*/ 3314700 w 6610350"/>
              <a:gd name="connsiteY89" fmla="*/ 1543050 h 2481262"/>
              <a:gd name="connsiteX90" fmla="*/ 3405188 w 6610350"/>
              <a:gd name="connsiteY90" fmla="*/ 1581150 h 2481262"/>
              <a:gd name="connsiteX91" fmla="*/ 3405188 w 6610350"/>
              <a:gd name="connsiteY91" fmla="*/ 1614487 h 2481262"/>
              <a:gd name="connsiteX92" fmla="*/ 3586163 w 6610350"/>
              <a:gd name="connsiteY92" fmla="*/ 1614487 h 2481262"/>
              <a:gd name="connsiteX93" fmla="*/ 3586163 w 6610350"/>
              <a:gd name="connsiteY93" fmla="*/ 1638300 h 2481262"/>
              <a:gd name="connsiteX94" fmla="*/ 3643313 w 6610350"/>
              <a:gd name="connsiteY94" fmla="*/ 1633537 h 2481262"/>
              <a:gd name="connsiteX95" fmla="*/ 3643313 w 6610350"/>
              <a:gd name="connsiteY95" fmla="*/ 1633537 h 2481262"/>
              <a:gd name="connsiteX96" fmla="*/ 3724275 w 6610350"/>
              <a:gd name="connsiteY96" fmla="*/ 1666875 h 2481262"/>
              <a:gd name="connsiteX97" fmla="*/ 3724275 w 6610350"/>
              <a:gd name="connsiteY97" fmla="*/ 1666875 h 2481262"/>
              <a:gd name="connsiteX98" fmla="*/ 3814763 w 6610350"/>
              <a:gd name="connsiteY98" fmla="*/ 1704975 h 2481262"/>
              <a:gd name="connsiteX99" fmla="*/ 3814763 w 6610350"/>
              <a:gd name="connsiteY99" fmla="*/ 1757362 h 2481262"/>
              <a:gd name="connsiteX100" fmla="*/ 3890963 w 6610350"/>
              <a:gd name="connsiteY100" fmla="*/ 1762125 h 2481262"/>
              <a:gd name="connsiteX101" fmla="*/ 3881438 w 6610350"/>
              <a:gd name="connsiteY101" fmla="*/ 1800225 h 2481262"/>
              <a:gd name="connsiteX102" fmla="*/ 3952875 w 6610350"/>
              <a:gd name="connsiteY102" fmla="*/ 1804987 h 2481262"/>
              <a:gd name="connsiteX103" fmla="*/ 3957638 w 6610350"/>
              <a:gd name="connsiteY103" fmla="*/ 1862137 h 2481262"/>
              <a:gd name="connsiteX104" fmla="*/ 4029075 w 6610350"/>
              <a:gd name="connsiteY104" fmla="*/ 1862137 h 2481262"/>
              <a:gd name="connsiteX105" fmla="*/ 4029075 w 6610350"/>
              <a:gd name="connsiteY105" fmla="*/ 1924050 h 2481262"/>
              <a:gd name="connsiteX106" fmla="*/ 4100513 w 6610350"/>
              <a:gd name="connsiteY106" fmla="*/ 1924050 h 2481262"/>
              <a:gd name="connsiteX107" fmla="*/ 4143375 w 6610350"/>
              <a:gd name="connsiteY107" fmla="*/ 1924050 h 2481262"/>
              <a:gd name="connsiteX108" fmla="*/ 4138613 w 6610350"/>
              <a:gd name="connsiteY108" fmla="*/ 1966912 h 2481262"/>
              <a:gd name="connsiteX109" fmla="*/ 4214813 w 6610350"/>
              <a:gd name="connsiteY109" fmla="*/ 1971675 h 2481262"/>
              <a:gd name="connsiteX110" fmla="*/ 4214813 w 6610350"/>
              <a:gd name="connsiteY110" fmla="*/ 2014537 h 2481262"/>
              <a:gd name="connsiteX111" fmla="*/ 4319588 w 6610350"/>
              <a:gd name="connsiteY111" fmla="*/ 2014537 h 2481262"/>
              <a:gd name="connsiteX112" fmla="*/ 4319588 w 6610350"/>
              <a:gd name="connsiteY112" fmla="*/ 2014537 h 2481262"/>
              <a:gd name="connsiteX113" fmla="*/ 4362451 w 6610350"/>
              <a:gd name="connsiteY113" fmla="*/ 2038350 h 2481262"/>
              <a:gd name="connsiteX114" fmla="*/ 4410075 w 6610350"/>
              <a:gd name="connsiteY114" fmla="*/ 2095500 h 2481262"/>
              <a:gd name="connsiteX115" fmla="*/ 4605338 w 6610350"/>
              <a:gd name="connsiteY115" fmla="*/ 2105025 h 2481262"/>
              <a:gd name="connsiteX116" fmla="*/ 4605338 w 6610350"/>
              <a:gd name="connsiteY116" fmla="*/ 2105025 h 2481262"/>
              <a:gd name="connsiteX117" fmla="*/ 4605338 w 6610350"/>
              <a:gd name="connsiteY117" fmla="*/ 2147887 h 2481262"/>
              <a:gd name="connsiteX118" fmla="*/ 4791075 w 6610350"/>
              <a:gd name="connsiteY118" fmla="*/ 2147887 h 2481262"/>
              <a:gd name="connsiteX119" fmla="*/ 4791075 w 6610350"/>
              <a:gd name="connsiteY119" fmla="*/ 2176462 h 2481262"/>
              <a:gd name="connsiteX120" fmla="*/ 4953000 w 6610350"/>
              <a:gd name="connsiteY120" fmla="*/ 2176462 h 2481262"/>
              <a:gd name="connsiteX121" fmla="*/ 5072063 w 6610350"/>
              <a:gd name="connsiteY121" fmla="*/ 2176462 h 2481262"/>
              <a:gd name="connsiteX122" fmla="*/ 5072063 w 6610350"/>
              <a:gd name="connsiteY122" fmla="*/ 2233612 h 2481262"/>
              <a:gd name="connsiteX123" fmla="*/ 5400675 w 6610350"/>
              <a:gd name="connsiteY123" fmla="*/ 2233612 h 2481262"/>
              <a:gd name="connsiteX124" fmla="*/ 5400675 w 6610350"/>
              <a:gd name="connsiteY124" fmla="*/ 2233612 h 2481262"/>
              <a:gd name="connsiteX125" fmla="*/ 5500688 w 6610350"/>
              <a:gd name="connsiteY125" fmla="*/ 2233612 h 2481262"/>
              <a:gd name="connsiteX126" fmla="*/ 5500688 w 6610350"/>
              <a:gd name="connsiteY126" fmla="*/ 2305050 h 2481262"/>
              <a:gd name="connsiteX127" fmla="*/ 5586413 w 6610350"/>
              <a:gd name="connsiteY127" fmla="*/ 2305050 h 2481262"/>
              <a:gd name="connsiteX128" fmla="*/ 5586413 w 6610350"/>
              <a:gd name="connsiteY128" fmla="*/ 2328862 h 2481262"/>
              <a:gd name="connsiteX129" fmla="*/ 5629275 w 6610350"/>
              <a:gd name="connsiteY129" fmla="*/ 2328862 h 2481262"/>
              <a:gd name="connsiteX130" fmla="*/ 5629275 w 6610350"/>
              <a:gd name="connsiteY130" fmla="*/ 2390775 h 2481262"/>
              <a:gd name="connsiteX131" fmla="*/ 6134100 w 6610350"/>
              <a:gd name="connsiteY131" fmla="*/ 2390775 h 2481262"/>
              <a:gd name="connsiteX132" fmla="*/ 6134100 w 6610350"/>
              <a:gd name="connsiteY132" fmla="*/ 2481262 h 2481262"/>
              <a:gd name="connsiteX133" fmla="*/ 6610350 w 6610350"/>
              <a:gd name="connsiteY133" fmla="*/ 2481262 h 2481262"/>
              <a:gd name="connsiteX0" fmla="*/ 0 w 6610350"/>
              <a:gd name="connsiteY0" fmla="*/ 4762 h 2481262"/>
              <a:gd name="connsiteX1" fmla="*/ 90488 w 6610350"/>
              <a:gd name="connsiteY1" fmla="*/ 0 h 2481262"/>
              <a:gd name="connsiteX2" fmla="*/ 90488 w 6610350"/>
              <a:gd name="connsiteY2" fmla="*/ 33337 h 2481262"/>
              <a:gd name="connsiteX3" fmla="*/ 133350 w 6610350"/>
              <a:gd name="connsiteY3" fmla="*/ 33337 h 2481262"/>
              <a:gd name="connsiteX4" fmla="*/ 133350 w 6610350"/>
              <a:gd name="connsiteY4" fmla="*/ 66675 h 2481262"/>
              <a:gd name="connsiteX5" fmla="*/ 209550 w 6610350"/>
              <a:gd name="connsiteY5" fmla="*/ 66675 h 2481262"/>
              <a:gd name="connsiteX6" fmla="*/ 204788 w 6610350"/>
              <a:gd name="connsiteY6" fmla="*/ 95250 h 2481262"/>
              <a:gd name="connsiteX7" fmla="*/ 361950 w 6610350"/>
              <a:gd name="connsiteY7" fmla="*/ 104775 h 2481262"/>
              <a:gd name="connsiteX8" fmla="*/ 361950 w 6610350"/>
              <a:gd name="connsiteY8" fmla="*/ 123825 h 2481262"/>
              <a:gd name="connsiteX9" fmla="*/ 423863 w 6610350"/>
              <a:gd name="connsiteY9" fmla="*/ 119062 h 2481262"/>
              <a:gd name="connsiteX10" fmla="*/ 409575 w 6610350"/>
              <a:gd name="connsiteY10" fmla="*/ 166687 h 2481262"/>
              <a:gd name="connsiteX11" fmla="*/ 552450 w 6610350"/>
              <a:gd name="connsiteY11" fmla="*/ 171450 h 2481262"/>
              <a:gd name="connsiteX12" fmla="*/ 557213 w 6610350"/>
              <a:gd name="connsiteY12" fmla="*/ 200025 h 2481262"/>
              <a:gd name="connsiteX13" fmla="*/ 595313 w 6610350"/>
              <a:gd name="connsiteY13" fmla="*/ 204787 h 2481262"/>
              <a:gd name="connsiteX14" fmla="*/ 600075 w 6610350"/>
              <a:gd name="connsiteY14" fmla="*/ 238125 h 2481262"/>
              <a:gd name="connsiteX15" fmla="*/ 642938 w 6610350"/>
              <a:gd name="connsiteY15" fmla="*/ 238125 h 2481262"/>
              <a:gd name="connsiteX16" fmla="*/ 642938 w 6610350"/>
              <a:gd name="connsiteY16" fmla="*/ 276225 h 2481262"/>
              <a:gd name="connsiteX17" fmla="*/ 933450 w 6610350"/>
              <a:gd name="connsiteY17" fmla="*/ 261937 h 2481262"/>
              <a:gd name="connsiteX18" fmla="*/ 938213 w 6610350"/>
              <a:gd name="connsiteY18" fmla="*/ 300037 h 2481262"/>
              <a:gd name="connsiteX19" fmla="*/ 1023938 w 6610350"/>
              <a:gd name="connsiteY19" fmla="*/ 295275 h 2481262"/>
              <a:gd name="connsiteX20" fmla="*/ 1028700 w 6610350"/>
              <a:gd name="connsiteY20" fmla="*/ 357187 h 2481262"/>
              <a:gd name="connsiteX21" fmla="*/ 1147763 w 6610350"/>
              <a:gd name="connsiteY21" fmla="*/ 357187 h 2481262"/>
              <a:gd name="connsiteX22" fmla="*/ 1157288 w 6610350"/>
              <a:gd name="connsiteY22" fmla="*/ 390525 h 2481262"/>
              <a:gd name="connsiteX23" fmla="*/ 1228725 w 6610350"/>
              <a:gd name="connsiteY23" fmla="*/ 390525 h 2481262"/>
              <a:gd name="connsiteX24" fmla="*/ 1228725 w 6610350"/>
              <a:gd name="connsiteY24" fmla="*/ 390525 h 2481262"/>
              <a:gd name="connsiteX25" fmla="*/ 1323975 w 6610350"/>
              <a:gd name="connsiteY25" fmla="*/ 419100 h 2481262"/>
              <a:gd name="connsiteX26" fmla="*/ 1338263 w 6610350"/>
              <a:gd name="connsiteY26" fmla="*/ 471487 h 2481262"/>
              <a:gd name="connsiteX27" fmla="*/ 1400175 w 6610350"/>
              <a:gd name="connsiteY27" fmla="*/ 466725 h 2481262"/>
              <a:gd name="connsiteX28" fmla="*/ 1404938 w 6610350"/>
              <a:gd name="connsiteY28" fmla="*/ 490537 h 2481262"/>
              <a:gd name="connsiteX29" fmla="*/ 1466850 w 6610350"/>
              <a:gd name="connsiteY29" fmla="*/ 495300 h 2481262"/>
              <a:gd name="connsiteX30" fmla="*/ 1471613 w 6610350"/>
              <a:gd name="connsiteY30" fmla="*/ 509587 h 2481262"/>
              <a:gd name="connsiteX31" fmla="*/ 1528763 w 6610350"/>
              <a:gd name="connsiteY31" fmla="*/ 509587 h 2481262"/>
              <a:gd name="connsiteX32" fmla="*/ 1528763 w 6610350"/>
              <a:gd name="connsiteY32" fmla="*/ 557212 h 2481262"/>
              <a:gd name="connsiteX33" fmla="*/ 1714500 w 6610350"/>
              <a:gd name="connsiteY33" fmla="*/ 547687 h 2481262"/>
              <a:gd name="connsiteX34" fmla="*/ 1714500 w 6610350"/>
              <a:gd name="connsiteY34" fmla="*/ 590550 h 2481262"/>
              <a:gd name="connsiteX35" fmla="*/ 1752600 w 6610350"/>
              <a:gd name="connsiteY35" fmla="*/ 590550 h 2481262"/>
              <a:gd name="connsiteX36" fmla="*/ 1762125 w 6610350"/>
              <a:gd name="connsiteY36" fmla="*/ 619125 h 2481262"/>
              <a:gd name="connsiteX37" fmla="*/ 1809750 w 6610350"/>
              <a:gd name="connsiteY37" fmla="*/ 619125 h 2481262"/>
              <a:gd name="connsiteX38" fmla="*/ 1809750 w 6610350"/>
              <a:gd name="connsiteY38" fmla="*/ 647700 h 2481262"/>
              <a:gd name="connsiteX39" fmla="*/ 1847850 w 6610350"/>
              <a:gd name="connsiteY39" fmla="*/ 647700 h 2481262"/>
              <a:gd name="connsiteX40" fmla="*/ 1847850 w 6610350"/>
              <a:gd name="connsiteY40" fmla="*/ 714375 h 2481262"/>
              <a:gd name="connsiteX41" fmla="*/ 1905000 w 6610350"/>
              <a:gd name="connsiteY41" fmla="*/ 714375 h 2481262"/>
              <a:gd name="connsiteX42" fmla="*/ 1919288 w 6610350"/>
              <a:gd name="connsiteY42" fmla="*/ 738187 h 2481262"/>
              <a:gd name="connsiteX43" fmla="*/ 2009775 w 6610350"/>
              <a:gd name="connsiteY43" fmla="*/ 733425 h 2481262"/>
              <a:gd name="connsiteX44" fmla="*/ 2009775 w 6610350"/>
              <a:gd name="connsiteY44" fmla="*/ 804862 h 2481262"/>
              <a:gd name="connsiteX45" fmla="*/ 2038350 w 6610350"/>
              <a:gd name="connsiteY45" fmla="*/ 804862 h 2481262"/>
              <a:gd name="connsiteX46" fmla="*/ 2038350 w 6610350"/>
              <a:gd name="connsiteY46" fmla="*/ 823912 h 2481262"/>
              <a:gd name="connsiteX47" fmla="*/ 2038350 w 6610350"/>
              <a:gd name="connsiteY47" fmla="*/ 823912 h 2481262"/>
              <a:gd name="connsiteX48" fmla="*/ 2071688 w 6610350"/>
              <a:gd name="connsiteY48" fmla="*/ 852487 h 2481262"/>
              <a:gd name="connsiteX49" fmla="*/ 2071688 w 6610350"/>
              <a:gd name="connsiteY49" fmla="*/ 852487 h 2481262"/>
              <a:gd name="connsiteX50" fmla="*/ 2100263 w 6610350"/>
              <a:gd name="connsiteY50" fmla="*/ 885825 h 2481262"/>
              <a:gd name="connsiteX51" fmla="*/ 2190750 w 6610350"/>
              <a:gd name="connsiteY51" fmla="*/ 885825 h 2481262"/>
              <a:gd name="connsiteX52" fmla="*/ 2195513 w 6610350"/>
              <a:gd name="connsiteY52" fmla="*/ 933450 h 2481262"/>
              <a:gd name="connsiteX53" fmla="*/ 2247900 w 6610350"/>
              <a:gd name="connsiteY53" fmla="*/ 923925 h 2481262"/>
              <a:gd name="connsiteX54" fmla="*/ 2247900 w 6610350"/>
              <a:gd name="connsiteY54" fmla="*/ 966787 h 2481262"/>
              <a:gd name="connsiteX55" fmla="*/ 2352675 w 6610350"/>
              <a:gd name="connsiteY55" fmla="*/ 952500 h 2481262"/>
              <a:gd name="connsiteX56" fmla="*/ 2347913 w 6610350"/>
              <a:gd name="connsiteY56" fmla="*/ 985837 h 2481262"/>
              <a:gd name="connsiteX57" fmla="*/ 2400300 w 6610350"/>
              <a:gd name="connsiteY57" fmla="*/ 990600 h 2481262"/>
              <a:gd name="connsiteX58" fmla="*/ 2400300 w 6610350"/>
              <a:gd name="connsiteY58" fmla="*/ 990600 h 2481262"/>
              <a:gd name="connsiteX59" fmla="*/ 2400300 w 6610350"/>
              <a:gd name="connsiteY59" fmla="*/ 1019175 h 2481262"/>
              <a:gd name="connsiteX60" fmla="*/ 2476500 w 6610350"/>
              <a:gd name="connsiteY60" fmla="*/ 1009650 h 2481262"/>
              <a:gd name="connsiteX61" fmla="*/ 2476500 w 6610350"/>
              <a:gd name="connsiteY61" fmla="*/ 1047750 h 2481262"/>
              <a:gd name="connsiteX62" fmla="*/ 2500313 w 6610350"/>
              <a:gd name="connsiteY62" fmla="*/ 1047750 h 2481262"/>
              <a:gd name="connsiteX63" fmla="*/ 2500313 w 6610350"/>
              <a:gd name="connsiteY63" fmla="*/ 1047750 h 2481262"/>
              <a:gd name="connsiteX64" fmla="*/ 2566988 w 6610350"/>
              <a:gd name="connsiteY64" fmla="*/ 1081087 h 2481262"/>
              <a:gd name="connsiteX65" fmla="*/ 2562225 w 6610350"/>
              <a:gd name="connsiteY65" fmla="*/ 1123950 h 2481262"/>
              <a:gd name="connsiteX66" fmla="*/ 2609850 w 6610350"/>
              <a:gd name="connsiteY66" fmla="*/ 1123950 h 2481262"/>
              <a:gd name="connsiteX67" fmla="*/ 2609850 w 6610350"/>
              <a:gd name="connsiteY67" fmla="*/ 1162050 h 2481262"/>
              <a:gd name="connsiteX68" fmla="*/ 2609850 w 6610350"/>
              <a:gd name="connsiteY68" fmla="*/ 1162050 h 2481262"/>
              <a:gd name="connsiteX69" fmla="*/ 2638425 w 6610350"/>
              <a:gd name="connsiteY69" fmla="*/ 1185862 h 2481262"/>
              <a:gd name="connsiteX70" fmla="*/ 2638425 w 6610350"/>
              <a:gd name="connsiteY70" fmla="*/ 1185862 h 2481262"/>
              <a:gd name="connsiteX71" fmla="*/ 2662238 w 6610350"/>
              <a:gd name="connsiteY71" fmla="*/ 1228725 h 2481262"/>
              <a:gd name="connsiteX72" fmla="*/ 2800350 w 6610350"/>
              <a:gd name="connsiteY72" fmla="*/ 1233487 h 2481262"/>
              <a:gd name="connsiteX73" fmla="*/ 2805113 w 6610350"/>
              <a:gd name="connsiteY73" fmla="*/ 1266825 h 2481262"/>
              <a:gd name="connsiteX74" fmla="*/ 2881313 w 6610350"/>
              <a:gd name="connsiteY74" fmla="*/ 1266825 h 2481262"/>
              <a:gd name="connsiteX75" fmla="*/ 2876550 w 6610350"/>
              <a:gd name="connsiteY75" fmla="*/ 1290637 h 2481262"/>
              <a:gd name="connsiteX76" fmla="*/ 2876550 w 6610350"/>
              <a:gd name="connsiteY76" fmla="*/ 1290637 h 2481262"/>
              <a:gd name="connsiteX77" fmla="*/ 2909888 w 6610350"/>
              <a:gd name="connsiteY77" fmla="*/ 1338262 h 2481262"/>
              <a:gd name="connsiteX78" fmla="*/ 2909888 w 6610350"/>
              <a:gd name="connsiteY78" fmla="*/ 1338262 h 2481262"/>
              <a:gd name="connsiteX79" fmla="*/ 2947988 w 6610350"/>
              <a:gd name="connsiteY79" fmla="*/ 1385887 h 2481262"/>
              <a:gd name="connsiteX80" fmla="*/ 3028950 w 6610350"/>
              <a:gd name="connsiteY80" fmla="*/ 1385887 h 2481262"/>
              <a:gd name="connsiteX81" fmla="*/ 3028950 w 6610350"/>
              <a:gd name="connsiteY81" fmla="*/ 1419225 h 2481262"/>
              <a:gd name="connsiteX82" fmla="*/ 3095625 w 6610350"/>
              <a:gd name="connsiteY82" fmla="*/ 1419225 h 2481262"/>
              <a:gd name="connsiteX83" fmla="*/ 3095625 w 6610350"/>
              <a:gd name="connsiteY83" fmla="*/ 1462087 h 2481262"/>
              <a:gd name="connsiteX84" fmla="*/ 3162300 w 6610350"/>
              <a:gd name="connsiteY84" fmla="*/ 1462087 h 2481262"/>
              <a:gd name="connsiteX85" fmla="*/ 3162300 w 6610350"/>
              <a:gd name="connsiteY85" fmla="*/ 1485900 h 2481262"/>
              <a:gd name="connsiteX86" fmla="*/ 3257550 w 6610350"/>
              <a:gd name="connsiteY86" fmla="*/ 1485900 h 2481262"/>
              <a:gd name="connsiteX87" fmla="*/ 3252788 w 6610350"/>
              <a:gd name="connsiteY87" fmla="*/ 1538287 h 2481262"/>
              <a:gd name="connsiteX88" fmla="*/ 3314700 w 6610350"/>
              <a:gd name="connsiteY88" fmla="*/ 1543050 h 2481262"/>
              <a:gd name="connsiteX89" fmla="*/ 3314700 w 6610350"/>
              <a:gd name="connsiteY89" fmla="*/ 1543050 h 2481262"/>
              <a:gd name="connsiteX90" fmla="*/ 3405188 w 6610350"/>
              <a:gd name="connsiteY90" fmla="*/ 1581150 h 2481262"/>
              <a:gd name="connsiteX91" fmla="*/ 3405188 w 6610350"/>
              <a:gd name="connsiteY91" fmla="*/ 1614487 h 2481262"/>
              <a:gd name="connsiteX92" fmla="*/ 3586163 w 6610350"/>
              <a:gd name="connsiteY92" fmla="*/ 1614487 h 2481262"/>
              <a:gd name="connsiteX93" fmla="*/ 3586163 w 6610350"/>
              <a:gd name="connsiteY93" fmla="*/ 1638300 h 2481262"/>
              <a:gd name="connsiteX94" fmla="*/ 3643313 w 6610350"/>
              <a:gd name="connsiteY94" fmla="*/ 1633537 h 2481262"/>
              <a:gd name="connsiteX95" fmla="*/ 3643313 w 6610350"/>
              <a:gd name="connsiteY95" fmla="*/ 1633537 h 2481262"/>
              <a:gd name="connsiteX96" fmla="*/ 3724275 w 6610350"/>
              <a:gd name="connsiteY96" fmla="*/ 1666875 h 2481262"/>
              <a:gd name="connsiteX97" fmla="*/ 3724275 w 6610350"/>
              <a:gd name="connsiteY97" fmla="*/ 1666875 h 2481262"/>
              <a:gd name="connsiteX98" fmla="*/ 3814763 w 6610350"/>
              <a:gd name="connsiteY98" fmla="*/ 1704975 h 2481262"/>
              <a:gd name="connsiteX99" fmla="*/ 3814763 w 6610350"/>
              <a:gd name="connsiteY99" fmla="*/ 1757362 h 2481262"/>
              <a:gd name="connsiteX100" fmla="*/ 3890963 w 6610350"/>
              <a:gd name="connsiteY100" fmla="*/ 1762125 h 2481262"/>
              <a:gd name="connsiteX101" fmla="*/ 3881438 w 6610350"/>
              <a:gd name="connsiteY101" fmla="*/ 1800225 h 2481262"/>
              <a:gd name="connsiteX102" fmla="*/ 3952875 w 6610350"/>
              <a:gd name="connsiteY102" fmla="*/ 1804987 h 2481262"/>
              <a:gd name="connsiteX103" fmla="*/ 3957638 w 6610350"/>
              <a:gd name="connsiteY103" fmla="*/ 1862137 h 2481262"/>
              <a:gd name="connsiteX104" fmla="*/ 4029075 w 6610350"/>
              <a:gd name="connsiteY104" fmla="*/ 1862137 h 2481262"/>
              <a:gd name="connsiteX105" fmla="*/ 4029075 w 6610350"/>
              <a:gd name="connsiteY105" fmla="*/ 1924050 h 2481262"/>
              <a:gd name="connsiteX106" fmla="*/ 4100513 w 6610350"/>
              <a:gd name="connsiteY106" fmla="*/ 1924050 h 2481262"/>
              <a:gd name="connsiteX107" fmla="*/ 4143375 w 6610350"/>
              <a:gd name="connsiteY107" fmla="*/ 1924050 h 2481262"/>
              <a:gd name="connsiteX108" fmla="*/ 4138613 w 6610350"/>
              <a:gd name="connsiteY108" fmla="*/ 1966912 h 2481262"/>
              <a:gd name="connsiteX109" fmla="*/ 4214813 w 6610350"/>
              <a:gd name="connsiteY109" fmla="*/ 1971675 h 2481262"/>
              <a:gd name="connsiteX110" fmla="*/ 4214813 w 6610350"/>
              <a:gd name="connsiteY110" fmla="*/ 2014537 h 2481262"/>
              <a:gd name="connsiteX111" fmla="*/ 4319588 w 6610350"/>
              <a:gd name="connsiteY111" fmla="*/ 2014537 h 2481262"/>
              <a:gd name="connsiteX112" fmla="*/ 4319588 w 6610350"/>
              <a:gd name="connsiteY112" fmla="*/ 2014537 h 2481262"/>
              <a:gd name="connsiteX113" fmla="*/ 4362451 w 6610350"/>
              <a:gd name="connsiteY113" fmla="*/ 2038350 h 2481262"/>
              <a:gd name="connsiteX114" fmla="*/ 4410075 w 6610350"/>
              <a:gd name="connsiteY114" fmla="*/ 2095500 h 2481262"/>
              <a:gd name="connsiteX115" fmla="*/ 4605338 w 6610350"/>
              <a:gd name="connsiteY115" fmla="*/ 2105025 h 2481262"/>
              <a:gd name="connsiteX116" fmla="*/ 4605338 w 6610350"/>
              <a:gd name="connsiteY116" fmla="*/ 2105025 h 2481262"/>
              <a:gd name="connsiteX117" fmla="*/ 4605338 w 6610350"/>
              <a:gd name="connsiteY117" fmla="*/ 2147887 h 2481262"/>
              <a:gd name="connsiteX118" fmla="*/ 4791075 w 6610350"/>
              <a:gd name="connsiteY118" fmla="*/ 2147887 h 2481262"/>
              <a:gd name="connsiteX119" fmla="*/ 4791075 w 6610350"/>
              <a:gd name="connsiteY119" fmla="*/ 2176462 h 2481262"/>
              <a:gd name="connsiteX120" fmla="*/ 4953000 w 6610350"/>
              <a:gd name="connsiteY120" fmla="*/ 2176462 h 2481262"/>
              <a:gd name="connsiteX121" fmla="*/ 5072063 w 6610350"/>
              <a:gd name="connsiteY121" fmla="*/ 2176462 h 2481262"/>
              <a:gd name="connsiteX122" fmla="*/ 5072063 w 6610350"/>
              <a:gd name="connsiteY122" fmla="*/ 2233612 h 2481262"/>
              <a:gd name="connsiteX123" fmla="*/ 5400675 w 6610350"/>
              <a:gd name="connsiteY123" fmla="*/ 2233612 h 2481262"/>
              <a:gd name="connsiteX124" fmla="*/ 5400675 w 6610350"/>
              <a:gd name="connsiteY124" fmla="*/ 2233612 h 2481262"/>
              <a:gd name="connsiteX125" fmla="*/ 5500688 w 6610350"/>
              <a:gd name="connsiteY125" fmla="*/ 2233612 h 2481262"/>
              <a:gd name="connsiteX126" fmla="*/ 5500688 w 6610350"/>
              <a:gd name="connsiteY126" fmla="*/ 2305050 h 2481262"/>
              <a:gd name="connsiteX127" fmla="*/ 5586413 w 6610350"/>
              <a:gd name="connsiteY127" fmla="*/ 2305050 h 2481262"/>
              <a:gd name="connsiteX128" fmla="*/ 5586413 w 6610350"/>
              <a:gd name="connsiteY128" fmla="*/ 2328862 h 2481262"/>
              <a:gd name="connsiteX129" fmla="*/ 5629275 w 6610350"/>
              <a:gd name="connsiteY129" fmla="*/ 2328862 h 2481262"/>
              <a:gd name="connsiteX130" fmla="*/ 5629275 w 6610350"/>
              <a:gd name="connsiteY130" fmla="*/ 2390775 h 2481262"/>
              <a:gd name="connsiteX131" fmla="*/ 6134100 w 6610350"/>
              <a:gd name="connsiteY131" fmla="*/ 2390775 h 2481262"/>
              <a:gd name="connsiteX132" fmla="*/ 6134100 w 6610350"/>
              <a:gd name="connsiteY132" fmla="*/ 2481262 h 2481262"/>
              <a:gd name="connsiteX133" fmla="*/ 6610350 w 6610350"/>
              <a:gd name="connsiteY133" fmla="*/ 2481262 h 2481262"/>
              <a:gd name="connsiteX0" fmla="*/ 0 w 6610350"/>
              <a:gd name="connsiteY0" fmla="*/ 4762 h 2481262"/>
              <a:gd name="connsiteX1" fmla="*/ 90488 w 6610350"/>
              <a:gd name="connsiteY1" fmla="*/ 0 h 2481262"/>
              <a:gd name="connsiteX2" fmla="*/ 90488 w 6610350"/>
              <a:gd name="connsiteY2" fmla="*/ 33337 h 2481262"/>
              <a:gd name="connsiteX3" fmla="*/ 133350 w 6610350"/>
              <a:gd name="connsiteY3" fmla="*/ 33337 h 2481262"/>
              <a:gd name="connsiteX4" fmla="*/ 133350 w 6610350"/>
              <a:gd name="connsiteY4" fmla="*/ 66675 h 2481262"/>
              <a:gd name="connsiteX5" fmla="*/ 209550 w 6610350"/>
              <a:gd name="connsiteY5" fmla="*/ 66675 h 2481262"/>
              <a:gd name="connsiteX6" fmla="*/ 204788 w 6610350"/>
              <a:gd name="connsiteY6" fmla="*/ 95250 h 2481262"/>
              <a:gd name="connsiteX7" fmla="*/ 361950 w 6610350"/>
              <a:gd name="connsiteY7" fmla="*/ 104775 h 2481262"/>
              <a:gd name="connsiteX8" fmla="*/ 361950 w 6610350"/>
              <a:gd name="connsiteY8" fmla="*/ 123825 h 2481262"/>
              <a:gd name="connsiteX9" fmla="*/ 423863 w 6610350"/>
              <a:gd name="connsiteY9" fmla="*/ 119062 h 2481262"/>
              <a:gd name="connsiteX10" fmla="*/ 409575 w 6610350"/>
              <a:gd name="connsiteY10" fmla="*/ 166687 h 2481262"/>
              <a:gd name="connsiteX11" fmla="*/ 552450 w 6610350"/>
              <a:gd name="connsiteY11" fmla="*/ 171450 h 2481262"/>
              <a:gd name="connsiteX12" fmla="*/ 557213 w 6610350"/>
              <a:gd name="connsiteY12" fmla="*/ 200025 h 2481262"/>
              <a:gd name="connsiteX13" fmla="*/ 595313 w 6610350"/>
              <a:gd name="connsiteY13" fmla="*/ 204787 h 2481262"/>
              <a:gd name="connsiteX14" fmla="*/ 600075 w 6610350"/>
              <a:gd name="connsiteY14" fmla="*/ 238125 h 2481262"/>
              <a:gd name="connsiteX15" fmla="*/ 642938 w 6610350"/>
              <a:gd name="connsiteY15" fmla="*/ 238125 h 2481262"/>
              <a:gd name="connsiteX16" fmla="*/ 642938 w 6610350"/>
              <a:gd name="connsiteY16" fmla="*/ 276225 h 2481262"/>
              <a:gd name="connsiteX17" fmla="*/ 933450 w 6610350"/>
              <a:gd name="connsiteY17" fmla="*/ 261937 h 2481262"/>
              <a:gd name="connsiteX18" fmla="*/ 938213 w 6610350"/>
              <a:gd name="connsiteY18" fmla="*/ 300037 h 2481262"/>
              <a:gd name="connsiteX19" fmla="*/ 1023938 w 6610350"/>
              <a:gd name="connsiteY19" fmla="*/ 295275 h 2481262"/>
              <a:gd name="connsiteX20" fmla="*/ 1028700 w 6610350"/>
              <a:gd name="connsiteY20" fmla="*/ 357187 h 2481262"/>
              <a:gd name="connsiteX21" fmla="*/ 1147763 w 6610350"/>
              <a:gd name="connsiteY21" fmla="*/ 357187 h 2481262"/>
              <a:gd name="connsiteX22" fmla="*/ 1157288 w 6610350"/>
              <a:gd name="connsiteY22" fmla="*/ 390525 h 2481262"/>
              <a:gd name="connsiteX23" fmla="*/ 1228725 w 6610350"/>
              <a:gd name="connsiteY23" fmla="*/ 390525 h 2481262"/>
              <a:gd name="connsiteX24" fmla="*/ 1228725 w 6610350"/>
              <a:gd name="connsiteY24" fmla="*/ 390525 h 2481262"/>
              <a:gd name="connsiteX25" fmla="*/ 1323975 w 6610350"/>
              <a:gd name="connsiteY25" fmla="*/ 419100 h 2481262"/>
              <a:gd name="connsiteX26" fmla="*/ 1338263 w 6610350"/>
              <a:gd name="connsiteY26" fmla="*/ 471487 h 2481262"/>
              <a:gd name="connsiteX27" fmla="*/ 1400175 w 6610350"/>
              <a:gd name="connsiteY27" fmla="*/ 466725 h 2481262"/>
              <a:gd name="connsiteX28" fmla="*/ 1404938 w 6610350"/>
              <a:gd name="connsiteY28" fmla="*/ 490537 h 2481262"/>
              <a:gd name="connsiteX29" fmla="*/ 1466850 w 6610350"/>
              <a:gd name="connsiteY29" fmla="*/ 495300 h 2481262"/>
              <a:gd name="connsiteX30" fmla="*/ 1471613 w 6610350"/>
              <a:gd name="connsiteY30" fmla="*/ 509587 h 2481262"/>
              <a:gd name="connsiteX31" fmla="*/ 1528763 w 6610350"/>
              <a:gd name="connsiteY31" fmla="*/ 509587 h 2481262"/>
              <a:gd name="connsiteX32" fmla="*/ 1528763 w 6610350"/>
              <a:gd name="connsiteY32" fmla="*/ 557212 h 2481262"/>
              <a:gd name="connsiteX33" fmla="*/ 1714500 w 6610350"/>
              <a:gd name="connsiteY33" fmla="*/ 561974 h 2481262"/>
              <a:gd name="connsiteX34" fmla="*/ 1714500 w 6610350"/>
              <a:gd name="connsiteY34" fmla="*/ 590550 h 2481262"/>
              <a:gd name="connsiteX35" fmla="*/ 1752600 w 6610350"/>
              <a:gd name="connsiteY35" fmla="*/ 590550 h 2481262"/>
              <a:gd name="connsiteX36" fmla="*/ 1762125 w 6610350"/>
              <a:gd name="connsiteY36" fmla="*/ 619125 h 2481262"/>
              <a:gd name="connsiteX37" fmla="*/ 1809750 w 6610350"/>
              <a:gd name="connsiteY37" fmla="*/ 619125 h 2481262"/>
              <a:gd name="connsiteX38" fmla="*/ 1809750 w 6610350"/>
              <a:gd name="connsiteY38" fmla="*/ 647700 h 2481262"/>
              <a:gd name="connsiteX39" fmla="*/ 1847850 w 6610350"/>
              <a:gd name="connsiteY39" fmla="*/ 647700 h 2481262"/>
              <a:gd name="connsiteX40" fmla="*/ 1847850 w 6610350"/>
              <a:gd name="connsiteY40" fmla="*/ 714375 h 2481262"/>
              <a:gd name="connsiteX41" fmla="*/ 1905000 w 6610350"/>
              <a:gd name="connsiteY41" fmla="*/ 714375 h 2481262"/>
              <a:gd name="connsiteX42" fmla="*/ 1919288 w 6610350"/>
              <a:gd name="connsiteY42" fmla="*/ 738187 h 2481262"/>
              <a:gd name="connsiteX43" fmla="*/ 2009775 w 6610350"/>
              <a:gd name="connsiteY43" fmla="*/ 733425 h 2481262"/>
              <a:gd name="connsiteX44" fmla="*/ 2009775 w 6610350"/>
              <a:gd name="connsiteY44" fmla="*/ 804862 h 2481262"/>
              <a:gd name="connsiteX45" fmla="*/ 2038350 w 6610350"/>
              <a:gd name="connsiteY45" fmla="*/ 804862 h 2481262"/>
              <a:gd name="connsiteX46" fmla="*/ 2038350 w 6610350"/>
              <a:gd name="connsiteY46" fmla="*/ 823912 h 2481262"/>
              <a:gd name="connsiteX47" fmla="*/ 2038350 w 6610350"/>
              <a:gd name="connsiteY47" fmla="*/ 823912 h 2481262"/>
              <a:gd name="connsiteX48" fmla="*/ 2071688 w 6610350"/>
              <a:gd name="connsiteY48" fmla="*/ 852487 h 2481262"/>
              <a:gd name="connsiteX49" fmla="*/ 2071688 w 6610350"/>
              <a:gd name="connsiteY49" fmla="*/ 852487 h 2481262"/>
              <a:gd name="connsiteX50" fmla="*/ 2100263 w 6610350"/>
              <a:gd name="connsiteY50" fmla="*/ 885825 h 2481262"/>
              <a:gd name="connsiteX51" fmla="*/ 2190750 w 6610350"/>
              <a:gd name="connsiteY51" fmla="*/ 885825 h 2481262"/>
              <a:gd name="connsiteX52" fmla="*/ 2195513 w 6610350"/>
              <a:gd name="connsiteY52" fmla="*/ 933450 h 2481262"/>
              <a:gd name="connsiteX53" fmla="*/ 2247900 w 6610350"/>
              <a:gd name="connsiteY53" fmla="*/ 923925 h 2481262"/>
              <a:gd name="connsiteX54" fmla="*/ 2247900 w 6610350"/>
              <a:gd name="connsiteY54" fmla="*/ 966787 h 2481262"/>
              <a:gd name="connsiteX55" fmla="*/ 2352675 w 6610350"/>
              <a:gd name="connsiteY55" fmla="*/ 952500 h 2481262"/>
              <a:gd name="connsiteX56" fmla="*/ 2347913 w 6610350"/>
              <a:gd name="connsiteY56" fmla="*/ 985837 h 2481262"/>
              <a:gd name="connsiteX57" fmla="*/ 2400300 w 6610350"/>
              <a:gd name="connsiteY57" fmla="*/ 990600 h 2481262"/>
              <a:gd name="connsiteX58" fmla="*/ 2400300 w 6610350"/>
              <a:gd name="connsiteY58" fmla="*/ 990600 h 2481262"/>
              <a:gd name="connsiteX59" fmla="*/ 2400300 w 6610350"/>
              <a:gd name="connsiteY59" fmla="*/ 1019175 h 2481262"/>
              <a:gd name="connsiteX60" fmla="*/ 2476500 w 6610350"/>
              <a:gd name="connsiteY60" fmla="*/ 1009650 h 2481262"/>
              <a:gd name="connsiteX61" fmla="*/ 2476500 w 6610350"/>
              <a:gd name="connsiteY61" fmla="*/ 1047750 h 2481262"/>
              <a:gd name="connsiteX62" fmla="*/ 2500313 w 6610350"/>
              <a:gd name="connsiteY62" fmla="*/ 1047750 h 2481262"/>
              <a:gd name="connsiteX63" fmla="*/ 2500313 w 6610350"/>
              <a:gd name="connsiteY63" fmla="*/ 1047750 h 2481262"/>
              <a:gd name="connsiteX64" fmla="*/ 2566988 w 6610350"/>
              <a:gd name="connsiteY64" fmla="*/ 1081087 h 2481262"/>
              <a:gd name="connsiteX65" fmla="*/ 2562225 w 6610350"/>
              <a:gd name="connsiteY65" fmla="*/ 1123950 h 2481262"/>
              <a:gd name="connsiteX66" fmla="*/ 2609850 w 6610350"/>
              <a:gd name="connsiteY66" fmla="*/ 1123950 h 2481262"/>
              <a:gd name="connsiteX67" fmla="*/ 2609850 w 6610350"/>
              <a:gd name="connsiteY67" fmla="*/ 1162050 h 2481262"/>
              <a:gd name="connsiteX68" fmla="*/ 2609850 w 6610350"/>
              <a:gd name="connsiteY68" fmla="*/ 1162050 h 2481262"/>
              <a:gd name="connsiteX69" fmla="*/ 2638425 w 6610350"/>
              <a:gd name="connsiteY69" fmla="*/ 1185862 h 2481262"/>
              <a:gd name="connsiteX70" fmla="*/ 2638425 w 6610350"/>
              <a:gd name="connsiteY70" fmla="*/ 1185862 h 2481262"/>
              <a:gd name="connsiteX71" fmla="*/ 2662238 w 6610350"/>
              <a:gd name="connsiteY71" fmla="*/ 1228725 h 2481262"/>
              <a:gd name="connsiteX72" fmla="*/ 2800350 w 6610350"/>
              <a:gd name="connsiteY72" fmla="*/ 1233487 h 2481262"/>
              <a:gd name="connsiteX73" fmla="*/ 2805113 w 6610350"/>
              <a:gd name="connsiteY73" fmla="*/ 1266825 h 2481262"/>
              <a:gd name="connsiteX74" fmla="*/ 2881313 w 6610350"/>
              <a:gd name="connsiteY74" fmla="*/ 1266825 h 2481262"/>
              <a:gd name="connsiteX75" fmla="*/ 2876550 w 6610350"/>
              <a:gd name="connsiteY75" fmla="*/ 1290637 h 2481262"/>
              <a:gd name="connsiteX76" fmla="*/ 2876550 w 6610350"/>
              <a:gd name="connsiteY76" fmla="*/ 1290637 h 2481262"/>
              <a:gd name="connsiteX77" fmla="*/ 2909888 w 6610350"/>
              <a:gd name="connsiteY77" fmla="*/ 1338262 h 2481262"/>
              <a:gd name="connsiteX78" fmla="*/ 2909888 w 6610350"/>
              <a:gd name="connsiteY78" fmla="*/ 1338262 h 2481262"/>
              <a:gd name="connsiteX79" fmla="*/ 2947988 w 6610350"/>
              <a:gd name="connsiteY79" fmla="*/ 1385887 h 2481262"/>
              <a:gd name="connsiteX80" fmla="*/ 3028950 w 6610350"/>
              <a:gd name="connsiteY80" fmla="*/ 1385887 h 2481262"/>
              <a:gd name="connsiteX81" fmla="*/ 3028950 w 6610350"/>
              <a:gd name="connsiteY81" fmla="*/ 1419225 h 2481262"/>
              <a:gd name="connsiteX82" fmla="*/ 3095625 w 6610350"/>
              <a:gd name="connsiteY82" fmla="*/ 1419225 h 2481262"/>
              <a:gd name="connsiteX83" fmla="*/ 3095625 w 6610350"/>
              <a:gd name="connsiteY83" fmla="*/ 1462087 h 2481262"/>
              <a:gd name="connsiteX84" fmla="*/ 3162300 w 6610350"/>
              <a:gd name="connsiteY84" fmla="*/ 1462087 h 2481262"/>
              <a:gd name="connsiteX85" fmla="*/ 3162300 w 6610350"/>
              <a:gd name="connsiteY85" fmla="*/ 1485900 h 2481262"/>
              <a:gd name="connsiteX86" fmla="*/ 3257550 w 6610350"/>
              <a:gd name="connsiteY86" fmla="*/ 1485900 h 2481262"/>
              <a:gd name="connsiteX87" fmla="*/ 3252788 w 6610350"/>
              <a:gd name="connsiteY87" fmla="*/ 1538287 h 2481262"/>
              <a:gd name="connsiteX88" fmla="*/ 3314700 w 6610350"/>
              <a:gd name="connsiteY88" fmla="*/ 1543050 h 2481262"/>
              <a:gd name="connsiteX89" fmla="*/ 3314700 w 6610350"/>
              <a:gd name="connsiteY89" fmla="*/ 1543050 h 2481262"/>
              <a:gd name="connsiteX90" fmla="*/ 3405188 w 6610350"/>
              <a:gd name="connsiteY90" fmla="*/ 1581150 h 2481262"/>
              <a:gd name="connsiteX91" fmla="*/ 3405188 w 6610350"/>
              <a:gd name="connsiteY91" fmla="*/ 1614487 h 2481262"/>
              <a:gd name="connsiteX92" fmla="*/ 3586163 w 6610350"/>
              <a:gd name="connsiteY92" fmla="*/ 1614487 h 2481262"/>
              <a:gd name="connsiteX93" fmla="*/ 3586163 w 6610350"/>
              <a:gd name="connsiteY93" fmla="*/ 1638300 h 2481262"/>
              <a:gd name="connsiteX94" fmla="*/ 3643313 w 6610350"/>
              <a:gd name="connsiteY94" fmla="*/ 1633537 h 2481262"/>
              <a:gd name="connsiteX95" fmla="*/ 3643313 w 6610350"/>
              <a:gd name="connsiteY95" fmla="*/ 1633537 h 2481262"/>
              <a:gd name="connsiteX96" fmla="*/ 3724275 w 6610350"/>
              <a:gd name="connsiteY96" fmla="*/ 1666875 h 2481262"/>
              <a:gd name="connsiteX97" fmla="*/ 3724275 w 6610350"/>
              <a:gd name="connsiteY97" fmla="*/ 1666875 h 2481262"/>
              <a:gd name="connsiteX98" fmla="*/ 3814763 w 6610350"/>
              <a:gd name="connsiteY98" fmla="*/ 1704975 h 2481262"/>
              <a:gd name="connsiteX99" fmla="*/ 3814763 w 6610350"/>
              <a:gd name="connsiteY99" fmla="*/ 1757362 h 2481262"/>
              <a:gd name="connsiteX100" fmla="*/ 3890963 w 6610350"/>
              <a:gd name="connsiteY100" fmla="*/ 1762125 h 2481262"/>
              <a:gd name="connsiteX101" fmla="*/ 3881438 w 6610350"/>
              <a:gd name="connsiteY101" fmla="*/ 1800225 h 2481262"/>
              <a:gd name="connsiteX102" fmla="*/ 3952875 w 6610350"/>
              <a:gd name="connsiteY102" fmla="*/ 1804987 h 2481262"/>
              <a:gd name="connsiteX103" fmla="*/ 3957638 w 6610350"/>
              <a:gd name="connsiteY103" fmla="*/ 1862137 h 2481262"/>
              <a:gd name="connsiteX104" fmla="*/ 4029075 w 6610350"/>
              <a:gd name="connsiteY104" fmla="*/ 1862137 h 2481262"/>
              <a:gd name="connsiteX105" fmla="*/ 4029075 w 6610350"/>
              <a:gd name="connsiteY105" fmla="*/ 1924050 h 2481262"/>
              <a:gd name="connsiteX106" fmla="*/ 4100513 w 6610350"/>
              <a:gd name="connsiteY106" fmla="*/ 1924050 h 2481262"/>
              <a:gd name="connsiteX107" fmla="*/ 4143375 w 6610350"/>
              <a:gd name="connsiteY107" fmla="*/ 1924050 h 2481262"/>
              <a:gd name="connsiteX108" fmla="*/ 4138613 w 6610350"/>
              <a:gd name="connsiteY108" fmla="*/ 1966912 h 2481262"/>
              <a:gd name="connsiteX109" fmla="*/ 4214813 w 6610350"/>
              <a:gd name="connsiteY109" fmla="*/ 1971675 h 2481262"/>
              <a:gd name="connsiteX110" fmla="*/ 4214813 w 6610350"/>
              <a:gd name="connsiteY110" fmla="*/ 2014537 h 2481262"/>
              <a:gd name="connsiteX111" fmla="*/ 4319588 w 6610350"/>
              <a:gd name="connsiteY111" fmla="*/ 2014537 h 2481262"/>
              <a:gd name="connsiteX112" fmla="*/ 4319588 w 6610350"/>
              <a:gd name="connsiteY112" fmla="*/ 2014537 h 2481262"/>
              <a:gd name="connsiteX113" fmla="*/ 4362451 w 6610350"/>
              <a:gd name="connsiteY113" fmla="*/ 2038350 h 2481262"/>
              <a:gd name="connsiteX114" fmla="*/ 4410075 w 6610350"/>
              <a:gd name="connsiteY114" fmla="*/ 2095500 h 2481262"/>
              <a:gd name="connsiteX115" fmla="*/ 4605338 w 6610350"/>
              <a:gd name="connsiteY115" fmla="*/ 2105025 h 2481262"/>
              <a:gd name="connsiteX116" fmla="*/ 4605338 w 6610350"/>
              <a:gd name="connsiteY116" fmla="*/ 2105025 h 2481262"/>
              <a:gd name="connsiteX117" fmla="*/ 4605338 w 6610350"/>
              <a:gd name="connsiteY117" fmla="*/ 2147887 h 2481262"/>
              <a:gd name="connsiteX118" fmla="*/ 4791075 w 6610350"/>
              <a:gd name="connsiteY118" fmla="*/ 2147887 h 2481262"/>
              <a:gd name="connsiteX119" fmla="*/ 4791075 w 6610350"/>
              <a:gd name="connsiteY119" fmla="*/ 2176462 h 2481262"/>
              <a:gd name="connsiteX120" fmla="*/ 4953000 w 6610350"/>
              <a:gd name="connsiteY120" fmla="*/ 2176462 h 2481262"/>
              <a:gd name="connsiteX121" fmla="*/ 5072063 w 6610350"/>
              <a:gd name="connsiteY121" fmla="*/ 2176462 h 2481262"/>
              <a:gd name="connsiteX122" fmla="*/ 5072063 w 6610350"/>
              <a:gd name="connsiteY122" fmla="*/ 2233612 h 2481262"/>
              <a:gd name="connsiteX123" fmla="*/ 5400675 w 6610350"/>
              <a:gd name="connsiteY123" fmla="*/ 2233612 h 2481262"/>
              <a:gd name="connsiteX124" fmla="*/ 5400675 w 6610350"/>
              <a:gd name="connsiteY124" fmla="*/ 2233612 h 2481262"/>
              <a:gd name="connsiteX125" fmla="*/ 5500688 w 6610350"/>
              <a:gd name="connsiteY125" fmla="*/ 2233612 h 2481262"/>
              <a:gd name="connsiteX126" fmla="*/ 5500688 w 6610350"/>
              <a:gd name="connsiteY126" fmla="*/ 2305050 h 2481262"/>
              <a:gd name="connsiteX127" fmla="*/ 5586413 w 6610350"/>
              <a:gd name="connsiteY127" fmla="*/ 2305050 h 2481262"/>
              <a:gd name="connsiteX128" fmla="*/ 5586413 w 6610350"/>
              <a:gd name="connsiteY128" fmla="*/ 2328862 h 2481262"/>
              <a:gd name="connsiteX129" fmla="*/ 5629275 w 6610350"/>
              <a:gd name="connsiteY129" fmla="*/ 2328862 h 2481262"/>
              <a:gd name="connsiteX130" fmla="*/ 5629275 w 6610350"/>
              <a:gd name="connsiteY130" fmla="*/ 2390775 h 2481262"/>
              <a:gd name="connsiteX131" fmla="*/ 6134100 w 6610350"/>
              <a:gd name="connsiteY131" fmla="*/ 2390775 h 2481262"/>
              <a:gd name="connsiteX132" fmla="*/ 6134100 w 6610350"/>
              <a:gd name="connsiteY132" fmla="*/ 2481262 h 2481262"/>
              <a:gd name="connsiteX133" fmla="*/ 6610350 w 6610350"/>
              <a:gd name="connsiteY133" fmla="*/ 2481262 h 2481262"/>
              <a:gd name="connsiteX0" fmla="*/ 0 w 6610350"/>
              <a:gd name="connsiteY0" fmla="*/ 4762 h 2481262"/>
              <a:gd name="connsiteX1" fmla="*/ 90488 w 6610350"/>
              <a:gd name="connsiteY1" fmla="*/ 0 h 2481262"/>
              <a:gd name="connsiteX2" fmla="*/ 90488 w 6610350"/>
              <a:gd name="connsiteY2" fmla="*/ 33337 h 2481262"/>
              <a:gd name="connsiteX3" fmla="*/ 133350 w 6610350"/>
              <a:gd name="connsiteY3" fmla="*/ 33337 h 2481262"/>
              <a:gd name="connsiteX4" fmla="*/ 133350 w 6610350"/>
              <a:gd name="connsiteY4" fmla="*/ 66675 h 2481262"/>
              <a:gd name="connsiteX5" fmla="*/ 209550 w 6610350"/>
              <a:gd name="connsiteY5" fmla="*/ 66675 h 2481262"/>
              <a:gd name="connsiteX6" fmla="*/ 204788 w 6610350"/>
              <a:gd name="connsiteY6" fmla="*/ 95250 h 2481262"/>
              <a:gd name="connsiteX7" fmla="*/ 361950 w 6610350"/>
              <a:gd name="connsiteY7" fmla="*/ 104775 h 2481262"/>
              <a:gd name="connsiteX8" fmla="*/ 361950 w 6610350"/>
              <a:gd name="connsiteY8" fmla="*/ 123825 h 2481262"/>
              <a:gd name="connsiteX9" fmla="*/ 423863 w 6610350"/>
              <a:gd name="connsiteY9" fmla="*/ 119062 h 2481262"/>
              <a:gd name="connsiteX10" fmla="*/ 409575 w 6610350"/>
              <a:gd name="connsiteY10" fmla="*/ 166687 h 2481262"/>
              <a:gd name="connsiteX11" fmla="*/ 552450 w 6610350"/>
              <a:gd name="connsiteY11" fmla="*/ 171450 h 2481262"/>
              <a:gd name="connsiteX12" fmla="*/ 557213 w 6610350"/>
              <a:gd name="connsiteY12" fmla="*/ 200025 h 2481262"/>
              <a:gd name="connsiteX13" fmla="*/ 595313 w 6610350"/>
              <a:gd name="connsiteY13" fmla="*/ 204787 h 2481262"/>
              <a:gd name="connsiteX14" fmla="*/ 600075 w 6610350"/>
              <a:gd name="connsiteY14" fmla="*/ 238125 h 2481262"/>
              <a:gd name="connsiteX15" fmla="*/ 642938 w 6610350"/>
              <a:gd name="connsiteY15" fmla="*/ 238125 h 2481262"/>
              <a:gd name="connsiteX16" fmla="*/ 642938 w 6610350"/>
              <a:gd name="connsiteY16" fmla="*/ 276225 h 2481262"/>
              <a:gd name="connsiteX17" fmla="*/ 933450 w 6610350"/>
              <a:gd name="connsiteY17" fmla="*/ 280987 h 2481262"/>
              <a:gd name="connsiteX18" fmla="*/ 938213 w 6610350"/>
              <a:gd name="connsiteY18" fmla="*/ 300037 h 2481262"/>
              <a:gd name="connsiteX19" fmla="*/ 1023938 w 6610350"/>
              <a:gd name="connsiteY19" fmla="*/ 295275 h 2481262"/>
              <a:gd name="connsiteX20" fmla="*/ 1028700 w 6610350"/>
              <a:gd name="connsiteY20" fmla="*/ 357187 h 2481262"/>
              <a:gd name="connsiteX21" fmla="*/ 1147763 w 6610350"/>
              <a:gd name="connsiteY21" fmla="*/ 357187 h 2481262"/>
              <a:gd name="connsiteX22" fmla="*/ 1157288 w 6610350"/>
              <a:gd name="connsiteY22" fmla="*/ 390525 h 2481262"/>
              <a:gd name="connsiteX23" fmla="*/ 1228725 w 6610350"/>
              <a:gd name="connsiteY23" fmla="*/ 390525 h 2481262"/>
              <a:gd name="connsiteX24" fmla="*/ 1228725 w 6610350"/>
              <a:gd name="connsiteY24" fmla="*/ 390525 h 2481262"/>
              <a:gd name="connsiteX25" fmla="*/ 1323975 w 6610350"/>
              <a:gd name="connsiteY25" fmla="*/ 419100 h 2481262"/>
              <a:gd name="connsiteX26" fmla="*/ 1338263 w 6610350"/>
              <a:gd name="connsiteY26" fmla="*/ 471487 h 2481262"/>
              <a:gd name="connsiteX27" fmla="*/ 1400175 w 6610350"/>
              <a:gd name="connsiteY27" fmla="*/ 466725 h 2481262"/>
              <a:gd name="connsiteX28" fmla="*/ 1404938 w 6610350"/>
              <a:gd name="connsiteY28" fmla="*/ 490537 h 2481262"/>
              <a:gd name="connsiteX29" fmla="*/ 1466850 w 6610350"/>
              <a:gd name="connsiteY29" fmla="*/ 495300 h 2481262"/>
              <a:gd name="connsiteX30" fmla="*/ 1471613 w 6610350"/>
              <a:gd name="connsiteY30" fmla="*/ 509587 h 2481262"/>
              <a:gd name="connsiteX31" fmla="*/ 1528763 w 6610350"/>
              <a:gd name="connsiteY31" fmla="*/ 509587 h 2481262"/>
              <a:gd name="connsiteX32" fmla="*/ 1528763 w 6610350"/>
              <a:gd name="connsiteY32" fmla="*/ 557212 h 2481262"/>
              <a:gd name="connsiteX33" fmla="*/ 1714500 w 6610350"/>
              <a:gd name="connsiteY33" fmla="*/ 561974 h 2481262"/>
              <a:gd name="connsiteX34" fmla="*/ 1714500 w 6610350"/>
              <a:gd name="connsiteY34" fmla="*/ 590550 h 2481262"/>
              <a:gd name="connsiteX35" fmla="*/ 1752600 w 6610350"/>
              <a:gd name="connsiteY35" fmla="*/ 590550 h 2481262"/>
              <a:gd name="connsiteX36" fmla="*/ 1762125 w 6610350"/>
              <a:gd name="connsiteY36" fmla="*/ 619125 h 2481262"/>
              <a:gd name="connsiteX37" fmla="*/ 1809750 w 6610350"/>
              <a:gd name="connsiteY37" fmla="*/ 619125 h 2481262"/>
              <a:gd name="connsiteX38" fmla="*/ 1809750 w 6610350"/>
              <a:gd name="connsiteY38" fmla="*/ 647700 h 2481262"/>
              <a:gd name="connsiteX39" fmla="*/ 1847850 w 6610350"/>
              <a:gd name="connsiteY39" fmla="*/ 647700 h 2481262"/>
              <a:gd name="connsiteX40" fmla="*/ 1847850 w 6610350"/>
              <a:gd name="connsiteY40" fmla="*/ 714375 h 2481262"/>
              <a:gd name="connsiteX41" fmla="*/ 1905000 w 6610350"/>
              <a:gd name="connsiteY41" fmla="*/ 714375 h 2481262"/>
              <a:gd name="connsiteX42" fmla="*/ 1919288 w 6610350"/>
              <a:gd name="connsiteY42" fmla="*/ 738187 h 2481262"/>
              <a:gd name="connsiteX43" fmla="*/ 2009775 w 6610350"/>
              <a:gd name="connsiteY43" fmla="*/ 733425 h 2481262"/>
              <a:gd name="connsiteX44" fmla="*/ 2009775 w 6610350"/>
              <a:gd name="connsiteY44" fmla="*/ 804862 h 2481262"/>
              <a:gd name="connsiteX45" fmla="*/ 2038350 w 6610350"/>
              <a:gd name="connsiteY45" fmla="*/ 804862 h 2481262"/>
              <a:gd name="connsiteX46" fmla="*/ 2038350 w 6610350"/>
              <a:gd name="connsiteY46" fmla="*/ 823912 h 2481262"/>
              <a:gd name="connsiteX47" fmla="*/ 2038350 w 6610350"/>
              <a:gd name="connsiteY47" fmla="*/ 823912 h 2481262"/>
              <a:gd name="connsiteX48" fmla="*/ 2071688 w 6610350"/>
              <a:gd name="connsiteY48" fmla="*/ 852487 h 2481262"/>
              <a:gd name="connsiteX49" fmla="*/ 2071688 w 6610350"/>
              <a:gd name="connsiteY49" fmla="*/ 852487 h 2481262"/>
              <a:gd name="connsiteX50" fmla="*/ 2100263 w 6610350"/>
              <a:gd name="connsiteY50" fmla="*/ 885825 h 2481262"/>
              <a:gd name="connsiteX51" fmla="*/ 2190750 w 6610350"/>
              <a:gd name="connsiteY51" fmla="*/ 885825 h 2481262"/>
              <a:gd name="connsiteX52" fmla="*/ 2195513 w 6610350"/>
              <a:gd name="connsiteY52" fmla="*/ 933450 h 2481262"/>
              <a:gd name="connsiteX53" fmla="*/ 2247900 w 6610350"/>
              <a:gd name="connsiteY53" fmla="*/ 923925 h 2481262"/>
              <a:gd name="connsiteX54" fmla="*/ 2247900 w 6610350"/>
              <a:gd name="connsiteY54" fmla="*/ 966787 h 2481262"/>
              <a:gd name="connsiteX55" fmla="*/ 2352675 w 6610350"/>
              <a:gd name="connsiteY55" fmla="*/ 952500 h 2481262"/>
              <a:gd name="connsiteX56" fmla="*/ 2347913 w 6610350"/>
              <a:gd name="connsiteY56" fmla="*/ 985837 h 2481262"/>
              <a:gd name="connsiteX57" fmla="*/ 2400300 w 6610350"/>
              <a:gd name="connsiteY57" fmla="*/ 990600 h 2481262"/>
              <a:gd name="connsiteX58" fmla="*/ 2400300 w 6610350"/>
              <a:gd name="connsiteY58" fmla="*/ 990600 h 2481262"/>
              <a:gd name="connsiteX59" fmla="*/ 2400300 w 6610350"/>
              <a:gd name="connsiteY59" fmla="*/ 1019175 h 2481262"/>
              <a:gd name="connsiteX60" fmla="*/ 2476500 w 6610350"/>
              <a:gd name="connsiteY60" fmla="*/ 1009650 h 2481262"/>
              <a:gd name="connsiteX61" fmla="*/ 2476500 w 6610350"/>
              <a:gd name="connsiteY61" fmla="*/ 1047750 h 2481262"/>
              <a:gd name="connsiteX62" fmla="*/ 2500313 w 6610350"/>
              <a:gd name="connsiteY62" fmla="*/ 1047750 h 2481262"/>
              <a:gd name="connsiteX63" fmla="*/ 2500313 w 6610350"/>
              <a:gd name="connsiteY63" fmla="*/ 1047750 h 2481262"/>
              <a:gd name="connsiteX64" fmla="*/ 2566988 w 6610350"/>
              <a:gd name="connsiteY64" fmla="*/ 1081087 h 2481262"/>
              <a:gd name="connsiteX65" fmla="*/ 2562225 w 6610350"/>
              <a:gd name="connsiteY65" fmla="*/ 1123950 h 2481262"/>
              <a:gd name="connsiteX66" fmla="*/ 2609850 w 6610350"/>
              <a:gd name="connsiteY66" fmla="*/ 1123950 h 2481262"/>
              <a:gd name="connsiteX67" fmla="*/ 2609850 w 6610350"/>
              <a:gd name="connsiteY67" fmla="*/ 1162050 h 2481262"/>
              <a:gd name="connsiteX68" fmla="*/ 2609850 w 6610350"/>
              <a:gd name="connsiteY68" fmla="*/ 1162050 h 2481262"/>
              <a:gd name="connsiteX69" fmla="*/ 2638425 w 6610350"/>
              <a:gd name="connsiteY69" fmla="*/ 1185862 h 2481262"/>
              <a:gd name="connsiteX70" fmla="*/ 2638425 w 6610350"/>
              <a:gd name="connsiteY70" fmla="*/ 1185862 h 2481262"/>
              <a:gd name="connsiteX71" fmla="*/ 2662238 w 6610350"/>
              <a:gd name="connsiteY71" fmla="*/ 1228725 h 2481262"/>
              <a:gd name="connsiteX72" fmla="*/ 2800350 w 6610350"/>
              <a:gd name="connsiteY72" fmla="*/ 1233487 h 2481262"/>
              <a:gd name="connsiteX73" fmla="*/ 2805113 w 6610350"/>
              <a:gd name="connsiteY73" fmla="*/ 1266825 h 2481262"/>
              <a:gd name="connsiteX74" fmla="*/ 2881313 w 6610350"/>
              <a:gd name="connsiteY74" fmla="*/ 1266825 h 2481262"/>
              <a:gd name="connsiteX75" fmla="*/ 2876550 w 6610350"/>
              <a:gd name="connsiteY75" fmla="*/ 1290637 h 2481262"/>
              <a:gd name="connsiteX76" fmla="*/ 2876550 w 6610350"/>
              <a:gd name="connsiteY76" fmla="*/ 1290637 h 2481262"/>
              <a:gd name="connsiteX77" fmla="*/ 2909888 w 6610350"/>
              <a:gd name="connsiteY77" fmla="*/ 1338262 h 2481262"/>
              <a:gd name="connsiteX78" fmla="*/ 2909888 w 6610350"/>
              <a:gd name="connsiteY78" fmla="*/ 1338262 h 2481262"/>
              <a:gd name="connsiteX79" fmla="*/ 2947988 w 6610350"/>
              <a:gd name="connsiteY79" fmla="*/ 1385887 h 2481262"/>
              <a:gd name="connsiteX80" fmla="*/ 3028950 w 6610350"/>
              <a:gd name="connsiteY80" fmla="*/ 1385887 h 2481262"/>
              <a:gd name="connsiteX81" fmla="*/ 3028950 w 6610350"/>
              <a:gd name="connsiteY81" fmla="*/ 1419225 h 2481262"/>
              <a:gd name="connsiteX82" fmla="*/ 3095625 w 6610350"/>
              <a:gd name="connsiteY82" fmla="*/ 1419225 h 2481262"/>
              <a:gd name="connsiteX83" fmla="*/ 3095625 w 6610350"/>
              <a:gd name="connsiteY83" fmla="*/ 1462087 h 2481262"/>
              <a:gd name="connsiteX84" fmla="*/ 3162300 w 6610350"/>
              <a:gd name="connsiteY84" fmla="*/ 1462087 h 2481262"/>
              <a:gd name="connsiteX85" fmla="*/ 3162300 w 6610350"/>
              <a:gd name="connsiteY85" fmla="*/ 1485900 h 2481262"/>
              <a:gd name="connsiteX86" fmla="*/ 3257550 w 6610350"/>
              <a:gd name="connsiteY86" fmla="*/ 1485900 h 2481262"/>
              <a:gd name="connsiteX87" fmla="*/ 3252788 w 6610350"/>
              <a:gd name="connsiteY87" fmla="*/ 1538287 h 2481262"/>
              <a:gd name="connsiteX88" fmla="*/ 3314700 w 6610350"/>
              <a:gd name="connsiteY88" fmla="*/ 1543050 h 2481262"/>
              <a:gd name="connsiteX89" fmla="*/ 3314700 w 6610350"/>
              <a:gd name="connsiteY89" fmla="*/ 1543050 h 2481262"/>
              <a:gd name="connsiteX90" fmla="*/ 3405188 w 6610350"/>
              <a:gd name="connsiteY90" fmla="*/ 1581150 h 2481262"/>
              <a:gd name="connsiteX91" fmla="*/ 3405188 w 6610350"/>
              <a:gd name="connsiteY91" fmla="*/ 1614487 h 2481262"/>
              <a:gd name="connsiteX92" fmla="*/ 3586163 w 6610350"/>
              <a:gd name="connsiteY92" fmla="*/ 1614487 h 2481262"/>
              <a:gd name="connsiteX93" fmla="*/ 3586163 w 6610350"/>
              <a:gd name="connsiteY93" fmla="*/ 1638300 h 2481262"/>
              <a:gd name="connsiteX94" fmla="*/ 3643313 w 6610350"/>
              <a:gd name="connsiteY94" fmla="*/ 1633537 h 2481262"/>
              <a:gd name="connsiteX95" fmla="*/ 3643313 w 6610350"/>
              <a:gd name="connsiteY95" fmla="*/ 1633537 h 2481262"/>
              <a:gd name="connsiteX96" fmla="*/ 3724275 w 6610350"/>
              <a:gd name="connsiteY96" fmla="*/ 1666875 h 2481262"/>
              <a:gd name="connsiteX97" fmla="*/ 3724275 w 6610350"/>
              <a:gd name="connsiteY97" fmla="*/ 1666875 h 2481262"/>
              <a:gd name="connsiteX98" fmla="*/ 3814763 w 6610350"/>
              <a:gd name="connsiteY98" fmla="*/ 1704975 h 2481262"/>
              <a:gd name="connsiteX99" fmla="*/ 3814763 w 6610350"/>
              <a:gd name="connsiteY99" fmla="*/ 1757362 h 2481262"/>
              <a:gd name="connsiteX100" fmla="*/ 3890963 w 6610350"/>
              <a:gd name="connsiteY100" fmla="*/ 1762125 h 2481262"/>
              <a:gd name="connsiteX101" fmla="*/ 3881438 w 6610350"/>
              <a:gd name="connsiteY101" fmla="*/ 1800225 h 2481262"/>
              <a:gd name="connsiteX102" fmla="*/ 3952875 w 6610350"/>
              <a:gd name="connsiteY102" fmla="*/ 1804987 h 2481262"/>
              <a:gd name="connsiteX103" fmla="*/ 3957638 w 6610350"/>
              <a:gd name="connsiteY103" fmla="*/ 1862137 h 2481262"/>
              <a:gd name="connsiteX104" fmla="*/ 4029075 w 6610350"/>
              <a:gd name="connsiteY104" fmla="*/ 1862137 h 2481262"/>
              <a:gd name="connsiteX105" fmla="*/ 4029075 w 6610350"/>
              <a:gd name="connsiteY105" fmla="*/ 1924050 h 2481262"/>
              <a:gd name="connsiteX106" fmla="*/ 4100513 w 6610350"/>
              <a:gd name="connsiteY106" fmla="*/ 1924050 h 2481262"/>
              <a:gd name="connsiteX107" fmla="*/ 4143375 w 6610350"/>
              <a:gd name="connsiteY107" fmla="*/ 1924050 h 2481262"/>
              <a:gd name="connsiteX108" fmla="*/ 4138613 w 6610350"/>
              <a:gd name="connsiteY108" fmla="*/ 1966912 h 2481262"/>
              <a:gd name="connsiteX109" fmla="*/ 4214813 w 6610350"/>
              <a:gd name="connsiteY109" fmla="*/ 1971675 h 2481262"/>
              <a:gd name="connsiteX110" fmla="*/ 4214813 w 6610350"/>
              <a:gd name="connsiteY110" fmla="*/ 2014537 h 2481262"/>
              <a:gd name="connsiteX111" fmla="*/ 4319588 w 6610350"/>
              <a:gd name="connsiteY111" fmla="*/ 2014537 h 2481262"/>
              <a:gd name="connsiteX112" fmla="*/ 4319588 w 6610350"/>
              <a:gd name="connsiteY112" fmla="*/ 2014537 h 2481262"/>
              <a:gd name="connsiteX113" fmla="*/ 4362451 w 6610350"/>
              <a:gd name="connsiteY113" fmla="*/ 2038350 h 2481262"/>
              <a:gd name="connsiteX114" fmla="*/ 4410075 w 6610350"/>
              <a:gd name="connsiteY114" fmla="*/ 2095500 h 2481262"/>
              <a:gd name="connsiteX115" fmla="*/ 4605338 w 6610350"/>
              <a:gd name="connsiteY115" fmla="*/ 2105025 h 2481262"/>
              <a:gd name="connsiteX116" fmla="*/ 4605338 w 6610350"/>
              <a:gd name="connsiteY116" fmla="*/ 2105025 h 2481262"/>
              <a:gd name="connsiteX117" fmla="*/ 4605338 w 6610350"/>
              <a:gd name="connsiteY117" fmla="*/ 2147887 h 2481262"/>
              <a:gd name="connsiteX118" fmla="*/ 4791075 w 6610350"/>
              <a:gd name="connsiteY118" fmla="*/ 2147887 h 2481262"/>
              <a:gd name="connsiteX119" fmla="*/ 4791075 w 6610350"/>
              <a:gd name="connsiteY119" fmla="*/ 2176462 h 2481262"/>
              <a:gd name="connsiteX120" fmla="*/ 4953000 w 6610350"/>
              <a:gd name="connsiteY120" fmla="*/ 2176462 h 2481262"/>
              <a:gd name="connsiteX121" fmla="*/ 5072063 w 6610350"/>
              <a:gd name="connsiteY121" fmla="*/ 2176462 h 2481262"/>
              <a:gd name="connsiteX122" fmla="*/ 5072063 w 6610350"/>
              <a:gd name="connsiteY122" fmla="*/ 2233612 h 2481262"/>
              <a:gd name="connsiteX123" fmla="*/ 5400675 w 6610350"/>
              <a:gd name="connsiteY123" fmla="*/ 2233612 h 2481262"/>
              <a:gd name="connsiteX124" fmla="*/ 5400675 w 6610350"/>
              <a:gd name="connsiteY124" fmla="*/ 2233612 h 2481262"/>
              <a:gd name="connsiteX125" fmla="*/ 5500688 w 6610350"/>
              <a:gd name="connsiteY125" fmla="*/ 2233612 h 2481262"/>
              <a:gd name="connsiteX126" fmla="*/ 5500688 w 6610350"/>
              <a:gd name="connsiteY126" fmla="*/ 2305050 h 2481262"/>
              <a:gd name="connsiteX127" fmla="*/ 5586413 w 6610350"/>
              <a:gd name="connsiteY127" fmla="*/ 2305050 h 2481262"/>
              <a:gd name="connsiteX128" fmla="*/ 5586413 w 6610350"/>
              <a:gd name="connsiteY128" fmla="*/ 2328862 h 2481262"/>
              <a:gd name="connsiteX129" fmla="*/ 5629275 w 6610350"/>
              <a:gd name="connsiteY129" fmla="*/ 2328862 h 2481262"/>
              <a:gd name="connsiteX130" fmla="*/ 5629275 w 6610350"/>
              <a:gd name="connsiteY130" fmla="*/ 2390775 h 2481262"/>
              <a:gd name="connsiteX131" fmla="*/ 6134100 w 6610350"/>
              <a:gd name="connsiteY131" fmla="*/ 2390775 h 2481262"/>
              <a:gd name="connsiteX132" fmla="*/ 6134100 w 6610350"/>
              <a:gd name="connsiteY132" fmla="*/ 2481262 h 2481262"/>
              <a:gd name="connsiteX133" fmla="*/ 6610350 w 6610350"/>
              <a:gd name="connsiteY133" fmla="*/ 2481262 h 2481262"/>
              <a:gd name="connsiteX0" fmla="*/ 0 w 6610350"/>
              <a:gd name="connsiteY0" fmla="*/ 4762 h 2481262"/>
              <a:gd name="connsiteX1" fmla="*/ 90488 w 6610350"/>
              <a:gd name="connsiteY1" fmla="*/ 0 h 2481262"/>
              <a:gd name="connsiteX2" fmla="*/ 90488 w 6610350"/>
              <a:gd name="connsiteY2" fmla="*/ 33337 h 2481262"/>
              <a:gd name="connsiteX3" fmla="*/ 133350 w 6610350"/>
              <a:gd name="connsiteY3" fmla="*/ 33337 h 2481262"/>
              <a:gd name="connsiteX4" fmla="*/ 133350 w 6610350"/>
              <a:gd name="connsiteY4" fmla="*/ 66675 h 2481262"/>
              <a:gd name="connsiteX5" fmla="*/ 209550 w 6610350"/>
              <a:gd name="connsiteY5" fmla="*/ 66675 h 2481262"/>
              <a:gd name="connsiteX6" fmla="*/ 204788 w 6610350"/>
              <a:gd name="connsiteY6" fmla="*/ 95250 h 2481262"/>
              <a:gd name="connsiteX7" fmla="*/ 361950 w 6610350"/>
              <a:gd name="connsiteY7" fmla="*/ 104775 h 2481262"/>
              <a:gd name="connsiteX8" fmla="*/ 361950 w 6610350"/>
              <a:gd name="connsiteY8" fmla="*/ 123825 h 2481262"/>
              <a:gd name="connsiteX9" fmla="*/ 423863 w 6610350"/>
              <a:gd name="connsiteY9" fmla="*/ 119062 h 2481262"/>
              <a:gd name="connsiteX10" fmla="*/ 423862 w 6610350"/>
              <a:gd name="connsiteY10" fmla="*/ 166687 h 2481262"/>
              <a:gd name="connsiteX11" fmla="*/ 552450 w 6610350"/>
              <a:gd name="connsiteY11" fmla="*/ 171450 h 2481262"/>
              <a:gd name="connsiteX12" fmla="*/ 557213 w 6610350"/>
              <a:gd name="connsiteY12" fmla="*/ 200025 h 2481262"/>
              <a:gd name="connsiteX13" fmla="*/ 595313 w 6610350"/>
              <a:gd name="connsiteY13" fmla="*/ 204787 h 2481262"/>
              <a:gd name="connsiteX14" fmla="*/ 600075 w 6610350"/>
              <a:gd name="connsiteY14" fmla="*/ 238125 h 2481262"/>
              <a:gd name="connsiteX15" fmla="*/ 642938 w 6610350"/>
              <a:gd name="connsiteY15" fmla="*/ 238125 h 2481262"/>
              <a:gd name="connsiteX16" fmla="*/ 642938 w 6610350"/>
              <a:gd name="connsiteY16" fmla="*/ 276225 h 2481262"/>
              <a:gd name="connsiteX17" fmla="*/ 933450 w 6610350"/>
              <a:gd name="connsiteY17" fmla="*/ 280987 h 2481262"/>
              <a:gd name="connsiteX18" fmla="*/ 938213 w 6610350"/>
              <a:gd name="connsiteY18" fmla="*/ 300037 h 2481262"/>
              <a:gd name="connsiteX19" fmla="*/ 1023938 w 6610350"/>
              <a:gd name="connsiteY19" fmla="*/ 295275 h 2481262"/>
              <a:gd name="connsiteX20" fmla="*/ 1028700 w 6610350"/>
              <a:gd name="connsiteY20" fmla="*/ 357187 h 2481262"/>
              <a:gd name="connsiteX21" fmla="*/ 1147763 w 6610350"/>
              <a:gd name="connsiteY21" fmla="*/ 357187 h 2481262"/>
              <a:gd name="connsiteX22" fmla="*/ 1157288 w 6610350"/>
              <a:gd name="connsiteY22" fmla="*/ 390525 h 2481262"/>
              <a:gd name="connsiteX23" fmla="*/ 1228725 w 6610350"/>
              <a:gd name="connsiteY23" fmla="*/ 390525 h 2481262"/>
              <a:gd name="connsiteX24" fmla="*/ 1228725 w 6610350"/>
              <a:gd name="connsiteY24" fmla="*/ 390525 h 2481262"/>
              <a:gd name="connsiteX25" fmla="*/ 1323975 w 6610350"/>
              <a:gd name="connsiteY25" fmla="*/ 419100 h 2481262"/>
              <a:gd name="connsiteX26" fmla="*/ 1338263 w 6610350"/>
              <a:gd name="connsiteY26" fmla="*/ 471487 h 2481262"/>
              <a:gd name="connsiteX27" fmla="*/ 1400175 w 6610350"/>
              <a:gd name="connsiteY27" fmla="*/ 466725 h 2481262"/>
              <a:gd name="connsiteX28" fmla="*/ 1404938 w 6610350"/>
              <a:gd name="connsiteY28" fmla="*/ 490537 h 2481262"/>
              <a:gd name="connsiteX29" fmla="*/ 1466850 w 6610350"/>
              <a:gd name="connsiteY29" fmla="*/ 495300 h 2481262"/>
              <a:gd name="connsiteX30" fmla="*/ 1471613 w 6610350"/>
              <a:gd name="connsiteY30" fmla="*/ 509587 h 2481262"/>
              <a:gd name="connsiteX31" fmla="*/ 1528763 w 6610350"/>
              <a:gd name="connsiteY31" fmla="*/ 509587 h 2481262"/>
              <a:gd name="connsiteX32" fmla="*/ 1528763 w 6610350"/>
              <a:gd name="connsiteY32" fmla="*/ 557212 h 2481262"/>
              <a:gd name="connsiteX33" fmla="*/ 1714500 w 6610350"/>
              <a:gd name="connsiteY33" fmla="*/ 561974 h 2481262"/>
              <a:gd name="connsiteX34" fmla="*/ 1714500 w 6610350"/>
              <a:gd name="connsiteY34" fmla="*/ 590550 h 2481262"/>
              <a:gd name="connsiteX35" fmla="*/ 1752600 w 6610350"/>
              <a:gd name="connsiteY35" fmla="*/ 590550 h 2481262"/>
              <a:gd name="connsiteX36" fmla="*/ 1762125 w 6610350"/>
              <a:gd name="connsiteY36" fmla="*/ 619125 h 2481262"/>
              <a:gd name="connsiteX37" fmla="*/ 1809750 w 6610350"/>
              <a:gd name="connsiteY37" fmla="*/ 619125 h 2481262"/>
              <a:gd name="connsiteX38" fmla="*/ 1809750 w 6610350"/>
              <a:gd name="connsiteY38" fmla="*/ 647700 h 2481262"/>
              <a:gd name="connsiteX39" fmla="*/ 1847850 w 6610350"/>
              <a:gd name="connsiteY39" fmla="*/ 647700 h 2481262"/>
              <a:gd name="connsiteX40" fmla="*/ 1847850 w 6610350"/>
              <a:gd name="connsiteY40" fmla="*/ 714375 h 2481262"/>
              <a:gd name="connsiteX41" fmla="*/ 1905000 w 6610350"/>
              <a:gd name="connsiteY41" fmla="*/ 714375 h 2481262"/>
              <a:gd name="connsiteX42" fmla="*/ 1919288 w 6610350"/>
              <a:gd name="connsiteY42" fmla="*/ 738187 h 2481262"/>
              <a:gd name="connsiteX43" fmla="*/ 2009775 w 6610350"/>
              <a:gd name="connsiteY43" fmla="*/ 733425 h 2481262"/>
              <a:gd name="connsiteX44" fmla="*/ 2009775 w 6610350"/>
              <a:gd name="connsiteY44" fmla="*/ 804862 h 2481262"/>
              <a:gd name="connsiteX45" fmla="*/ 2038350 w 6610350"/>
              <a:gd name="connsiteY45" fmla="*/ 804862 h 2481262"/>
              <a:gd name="connsiteX46" fmla="*/ 2038350 w 6610350"/>
              <a:gd name="connsiteY46" fmla="*/ 823912 h 2481262"/>
              <a:gd name="connsiteX47" fmla="*/ 2038350 w 6610350"/>
              <a:gd name="connsiteY47" fmla="*/ 823912 h 2481262"/>
              <a:gd name="connsiteX48" fmla="*/ 2071688 w 6610350"/>
              <a:gd name="connsiteY48" fmla="*/ 852487 h 2481262"/>
              <a:gd name="connsiteX49" fmla="*/ 2071688 w 6610350"/>
              <a:gd name="connsiteY49" fmla="*/ 852487 h 2481262"/>
              <a:gd name="connsiteX50" fmla="*/ 2100263 w 6610350"/>
              <a:gd name="connsiteY50" fmla="*/ 885825 h 2481262"/>
              <a:gd name="connsiteX51" fmla="*/ 2190750 w 6610350"/>
              <a:gd name="connsiteY51" fmla="*/ 885825 h 2481262"/>
              <a:gd name="connsiteX52" fmla="*/ 2195513 w 6610350"/>
              <a:gd name="connsiteY52" fmla="*/ 933450 h 2481262"/>
              <a:gd name="connsiteX53" fmla="*/ 2247900 w 6610350"/>
              <a:gd name="connsiteY53" fmla="*/ 923925 h 2481262"/>
              <a:gd name="connsiteX54" fmla="*/ 2247900 w 6610350"/>
              <a:gd name="connsiteY54" fmla="*/ 966787 h 2481262"/>
              <a:gd name="connsiteX55" fmla="*/ 2352675 w 6610350"/>
              <a:gd name="connsiteY55" fmla="*/ 952500 h 2481262"/>
              <a:gd name="connsiteX56" fmla="*/ 2347913 w 6610350"/>
              <a:gd name="connsiteY56" fmla="*/ 985837 h 2481262"/>
              <a:gd name="connsiteX57" fmla="*/ 2400300 w 6610350"/>
              <a:gd name="connsiteY57" fmla="*/ 990600 h 2481262"/>
              <a:gd name="connsiteX58" fmla="*/ 2400300 w 6610350"/>
              <a:gd name="connsiteY58" fmla="*/ 990600 h 2481262"/>
              <a:gd name="connsiteX59" fmla="*/ 2400300 w 6610350"/>
              <a:gd name="connsiteY59" fmla="*/ 1019175 h 2481262"/>
              <a:gd name="connsiteX60" fmla="*/ 2476500 w 6610350"/>
              <a:gd name="connsiteY60" fmla="*/ 1009650 h 2481262"/>
              <a:gd name="connsiteX61" fmla="*/ 2476500 w 6610350"/>
              <a:gd name="connsiteY61" fmla="*/ 1047750 h 2481262"/>
              <a:gd name="connsiteX62" fmla="*/ 2500313 w 6610350"/>
              <a:gd name="connsiteY62" fmla="*/ 1047750 h 2481262"/>
              <a:gd name="connsiteX63" fmla="*/ 2500313 w 6610350"/>
              <a:gd name="connsiteY63" fmla="*/ 1047750 h 2481262"/>
              <a:gd name="connsiteX64" fmla="*/ 2566988 w 6610350"/>
              <a:gd name="connsiteY64" fmla="*/ 1081087 h 2481262"/>
              <a:gd name="connsiteX65" fmla="*/ 2562225 w 6610350"/>
              <a:gd name="connsiteY65" fmla="*/ 1123950 h 2481262"/>
              <a:gd name="connsiteX66" fmla="*/ 2609850 w 6610350"/>
              <a:gd name="connsiteY66" fmla="*/ 1123950 h 2481262"/>
              <a:gd name="connsiteX67" fmla="*/ 2609850 w 6610350"/>
              <a:gd name="connsiteY67" fmla="*/ 1162050 h 2481262"/>
              <a:gd name="connsiteX68" fmla="*/ 2609850 w 6610350"/>
              <a:gd name="connsiteY68" fmla="*/ 1162050 h 2481262"/>
              <a:gd name="connsiteX69" fmla="*/ 2638425 w 6610350"/>
              <a:gd name="connsiteY69" fmla="*/ 1185862 h 2481262"/>
              <a:gd name="connsiteX70" fmla="*/ 2638425 w 6610350"/>
              <a:gd name="connsiteY70" fmla="*/ 1185862 h 2481262"/>
              <a:gd name="connsiteX71" fmla="*/ 2662238 w 6610350"/>
              <a:gd name="connsiteY71" fmla="*/ 1228725 h 2481262"/>
              <a:gd name="connsiteX72" fmla="*/ 2800350 w 6610350"/>
              <a:gd name="connsiteY72" fmla="*/ 1233487 h 2481262"/>
              <a:gd name="connsiteX73" fmla="*/ 2805113 w 6610350"/>
              <a:gd name="connsiteY73" fmla="*/ 1266825 h 2481262"/>
              <a:gd name="connsiteX74" fmla="*/ 2881313 w 6610350"/>
              <a:gd name="connsiteY74" fmla="*/ 1266825 h 2481262"/>
              <a:gd name="connsiteX75" fmla="*/ 2876550 w 6610350"/>
              <a:gd name="connsiteY75" fmla="*/ 1290637 h 2481262"/>
              <a:gd name="connsiteX76" fmla="*/ 2876550 w 6610350"/>
              <a:gd name="connsiteY76" fmla="*/ 1290637 h 2481262"/>
              <a:gd name="connsiteX77" fmla="*/ 2909888 w 6610350"/>
              <a:gd name="connsiteY77" fmla="*/ 1338262 h 2481262"/>
              <a:gd name="connsiteX78" fmla="*/ 2909888 w 6610350"/>
              <a:gd name="connsiteY78" fmla="*/ 1338262 h 2481262"/>
              <a:gd name="connsiteX79" fmla="*/ 2947988 w 6610350"/>
              <a:gd name="connsiteY79" fmla="*/ 1385887 h 2481262"/>
              <a:gd name="connsiteX80" fmla="*/ 3028950 w 6610350"/>
              <a:gd name="connsiteY80" fmla="*/ 1385887 h 2481262"/>
              <a:gd name="connsiteX81" fmla="*/ 3028950 w 6610350"/>
              <a:gd name="connsiteY81" fmla="*/ 1419225 h 2481262"/>
              <a:gd name="connsiteX82" fmla="*/ 3095625 w 6610350"/>
              <a:gd name="connsiteY82" fmla="*/ 1419225 h 2481262"/>
              <a:gd name="connsiteX83" fmla="*/ 3095625 w 6610350"/>
              <a:gd name="connsiteY83" fmla="*/ 1462087 h 2481262"/>
              <a:gd name="connsiteX84" fmla="*/ 3162300 w 6610350"/>
              <a:gd name="connsiteY84" fmla="*/ 1462087 h 2481262"/>
              <a:gd name="connsiteX85" fmla="*/ 3162300 w 6610350"/>
              <a:gd name="connsiteY85" fmla="*/ 1485900 h 2481262"/>
              <a:gd name="connsiteX86" fmla="*/ 3257550 w 6610350"/>
              <a:gd name="connsiteY86" fmla="*/ 1485900 h 2481262"/>
              <a:gd name="connsiteX87" fmla="*/ 3252788 w 6610350"/>
              <a:gd name="connsiteY87" fmla="*/ 1538287 h 2481262"/>
              <a:gd name="connsiteX88" fmla="*/ 3314700 w 6610350"/>
              <a:gd name="connsiteY88" fmla="*/ 1543050 h 2481262"/>
              <a:gd name="connsiteX89" fmla="*/ 3314700 w 6610350"/>
              <a:gd name="connsiteY89" fmla="*/ 1543050 h 2481262"/>
              <a:gd name="connsiteX90" fmla="*/ 3405188 w 6610350"/>
              <a:gd name="connsiteY90" fmla="*/ 1581150 h 2481262"/>
              <a:gd name="connsiteX91" fmla="*/ 3405188 w 6610350"/>
              <a:gd name="connsiteY91" fmla="*/ 1614487 h 2481262"/>
              <a:gd name="connsiteX92" fmla="*/ 3586163 w 6610350"/>
              <a:gd name="connsiteY92" fmla="*/ 1614487 h 2481262"/>
              <a:gd name="connsiteX93" fmla="*/ 3586163 w 6610350"/>
              <a:gd name="connsiteY93" fmla="*/ 1638300 h 2481262"/>
              <a:gd name="connsiteX94" fmla="*/ 3643313 w 6610350"/>
              <a:gd name="connsiteY94" fmla="*/ 1633537 h 2481262"/>
              <a:gd name="connsiteX95" fmla="*/ 3643313 w 6610350"/>
              <a:gd name="connsiteY95" fmla="*/ 1633537 h 2481262"/>
              <a:gd name="connsiteX96" fmla="*/ 3724275 w 6610350"/>
              <a:gd name="connsiteY96" fmla="*/ 1666875 h 2481262"/>
              <a:gd name="connsiteX97" fmla="*/ 3724275 w 6610350"/>
              <a:gd name="connsiteY97" fmla="*/ 1666875 h 2481262"/>
              <a:gd name="connsiteX98" fmla="*/ 3814763 w 6610350"/>
              <a:gd name="connsiteY98" fmla="*/ 1704975 h 2481262"/>
              <a:gd name="connsiteX99" fmla="*/ 3814763 w 6610350"/>
              <a:gd name="connsiteY99" fmla="*/ 1757362 h 2481262"/>
              <a:gd name="connsiteX100" fmla="*/ 3890963 w 6610350"/>
              <a:gd name="connsiteY100" fmla="*/ 1762125 h 2481262"/>
              <a:gd name="connsiteX101" fmla="*/ 3881438 w 6610350"/>
              <a:gd name="connsiteY101" fmla="*/ 1800225 h 2481262"/>
              <a:gd name="connsiteX102" fmla="*/ 3952875 w 6610350"/>
              <a:gd name="connsiteY102" fmla="*/ 1804987 h 2481262"/>
              <a:gd name="connsiteX103" fmla="*/ 3957638 w 6610350"/>
              <a:gd name="connsiteY103" fmla="*/ 1862137 h 2481262"/>
              <a:gd name="connsiteX104" fmla="*/ 4029075 w 6610350"/>
              <a:gd name="connsiteY104" fmla="*/ 1862137 h 2481262"/>
              <a:gd name="connsiteX105" fmla="*/ 4029075 w 6610350"/>
              <a:gd name="connsiteY105" fmla="*/ 1924050 h 2481262"/>
              <a:gd name="connsiteX106" fmla="*/ 4100513 w 6610350"/>
              <a:gd name="connsiteY106" fmla="*/ 1924050 h 2481262"/>
              <a:gd name="connsiteX107" fmla="*/ 4143375 w 6610350"/>
              <a:gd name="connsiteY107" fmla="*/ 1924050 h 2481262"/>
              <a:gd name="connsiteX108" fmla="*/ 4138613 w 6610350"/>
              <a:gd name="connsiteY108" fmla="*/ 1966912 h 2481262"/>
              <a:gd name="connsiteX109" fmla="*/ 4214813 w 6610350"/>
              <a:gd name="connsiteY109" fmla="*/ 1971675 h 2481262"/>
              <a:gd name="connsiteX110" fmla="*/ 4214813 w 6610350"/>
              <a:gd name="connsiteY110" fmla="*/ 2014537 h 2481262"/>
              <a:gd name="connsiteX111" fmla="*/ 4319588 w 6610350"/>
              <a:gd name="connsiteY111" fmla="*/ 2014537 h 2481262"/>
              <a:gd name="connsiteX112" fmla="*/ 4319588 w 6610350"/>
              <a:gd name="connsiteY112" fmla="*/ 2014537 h 2481262"/>
              <a:gd name="connsiteX113" fmla="*/ 4362451 w 6610350"/>
              <a:gd name="connsiteY113" fmla="*/ 2038350 h 2481262"/>
              <a:gd name="connsiteX114" fmla="*/ 4410075 w 6610350"/>
              <a:gd name="connsiteY114" fmla="*/ 2095500 h 2481262"/>
              <a:gd name="connsiteX115" fmla="*/ 4605338 w 6610350"/>
              <a:gd name="connsiteY115" fmla="*/ 2105025 h 2481262"/>
              <a:gd name="connsiteX116" fmla="*/ 4605338 w 6610350"/>
              <a:gd name="connsiteY116" fmla="*/ 2105025 h 2481262"/>
              <a:gd name="connsiteX117" fmla="*/ 4605338 w 6610350"/>
              <a:gd name="connsiteY117" fmla="*/ 2147887 h 2481262"/>
              <a:gd name="connsiteX118" fmla="*/ 4791075 w 6610350"/>
              <a:gd name="connsiteY118" fmla="*/ 2147887 h 2481262"/>
              <a:gd name="connsiteX119" fmla="*/ 4791075 w 6610350"/>
              <a:gd name="connsiteY119" fmla="*/ 2176462 h 2481262"/>
              <a:gd name="connsiteX120" fmla="*/ 4953000 w 6610350"/>
              <a:gd name="connsiteY120" fmla="*/ 2176462 h 2481262"/>
              <a:gd name="connsiteX121" fmla="*/ 5072063 w 6610350"/>
              <a:gd name="connsiteY121" fmla="*/ 2176462 h 2481262"/>
              <a:gd name="connsiteX122" fmla="*/ 5072063 w 6610350"/>
              <a:gd name="connsiteY122" fmla="*/ 2233612 h 2481262"/>
              <a:gd name="connsiteX123" fmla="*/ 5400675 w 6610350"/>
              <a:gd name="connsiteY123" fmla="*/ 2233612 h 2481262"/>
              <a:gd name="connsiteX124" fmla="*/ 5400675 w 6610350"/>
              <a:gd name="connsiteY124" fmla="*/ 2233612 h 2481262"/>
              <a:gd name="connsiteX125" fmla="*/ 5500688 w 6610350"/>
              <a:gd name="connsiteY125" fmla="*/ 2233612 h 2481262"/>
              <a:gd name="connsiteX126" fmla="*/ 5500688 w 6610350"/>
              <a:gd name="connsiteY126" fmla="*/ 2305050 h 2481262"/>
              <a:gd name="connsiteX127" fmla="*/ 5586413 w 6610350"/>
              <a:gd name="connsiteY127" fmla="*/ 2305050 h 2481262"/>
              <a:gd name="connsiteX128" fmla="*/ 5586413 w 6610350"/>
              <a:gd name="connsiteY128" fmla="*/ 2328862 h 2481262"/>
              <a:gd name="connsiteX129" fmla="*/ 5629275 w 6610350"/>
              <a:gd name="connsiteY129" fmla="*/ 2328862 h 2481262"/>
              <a:gd name="connsiteX130" fmla="*/ 5629275 w 6610350"/>
              <a:gd name="connsiteY130" fmla="*/ 2390775 h 2481262"/>
              <a:gd name="connsiteX131" fmla="*/ 6134100 w 6610350"/>
              <a:gd name="connsiteY131" fmla="*/ 2390775 h 2481262"/>
              <a:gd name="connsiteX132" fmla="*/ 6134100 w 6610350"/>
              <a:gd name="connsiteY132" fmla="*/ 2481262 h 2481262"/>
              <a:gd name="connsiteX133" fmla="*/ 6610350 w 6610350"/>
              <a:gd name="connsiteY133" fmla="*/ 2481262 h 2481262"/>
              <a:gd name="connsiteX0" fmla="*/ 0 w 6610350"/>
              <a:gd name="connsiteY0" fmla="*/ 4762 h 2481262"/>
              <a:gd name="connsiteX1" fmla="*/ 90488 w 6610350"/>
              <a:gd name="connsiteY1" fmla="*/ 0 h 2481262"/>
              <a:gd name="connsiteX2" fmla="*/ 90488 w 6610350"/>
              <a:gd name="connsiteY2" fmla="*/ 33337 h 2481262"/>
              <a:gd name="connsiteX3" fmla="*/ 133350 w 6610350"/>
              <a:gd name="connsiteY3" fmla="*/ 33337 h 2481262"/>
              <a:gd name="connsiteX4" fmla="*/ 133350 w 6610350"/>
              <a:gd name="connsiteY4" fmla="*/ 66675 h 2481262"/>
              <a:gd name="connsiteX5" fmla="*/ 209550 w 6610350"/>
              <a:gd name="connsiteY5" fmla="*/ 66675 h 2481262"/>
              <a:gd name="connsiteX6" fmla="*/ 204788 w 6610350"/>
              <a:gd name="connsiteY6" fmla="*/ 95250 h 2481262"/>
              <a:gd name="connsiteX7" fmla="*/ 361950 w 6610350"/>
              <a:gd name="connsiteY7" fmla="*/ 104775 h 2481262"/>
              <a:gd name="connsiteX8" fmla="*/ 361950 w 6610350"/>
              <a:gd name="connsiteY8" fmla="*/ 123825 h 2481262"/>
              <a:gd name="connsiteX9" fmla="*/ 423863 w 6610350"/>
              <a:gd name="connsiteY9" fmla="*/ 119062 h 2481262"/>
              <a:gd name="connsiteX10" fmla="*/ 423862 w 6610350"/>
              <a:gd name="connsiteY10" fmla="*/ 166687 h 2481262"/>
              <a:gd name="connsiteX11" fmla="*/ 552450 w 6610350"/>
              <a:gd name="connsiteY11" fmla="*/ 171450 h 2481262"/>
              <a:gd name="connsiteX12" fmla="*/ 557213 w 6610350"/>
              <a:gd name="connsiteY12" fmla="*/ 200025 h 2481262"/>
              <a:gd name="connsiteX13" fmla="*/ 595313 w 6610350"/>
              <a:gd name="connsiteY13" fmla="*/ 204787 h 2481262"/>
              <a:gd name="connsiteX14" fmla="*/ 600075 w 6610350"/>
              <a:gd name="connsiteY14" fmla="*/ 238125 h 2481262"/>
              <a:gd name="connsiteX15" fmla="*/ 642938 w 6610350"/>
              <a:gd name="connsiteY15" fmla="*/ 238125 h 2481262"/>
              <a:gd name="connsiteX16" fmla="*/ 642938 w 6610350"/>
              <a:gd name="connsiteY16" fmla="*/ 276225 h 2481262"/>
              <a:gd name="connsiteX17" fmla="*/ 933450 w 6610350"/>
              <a:gd name="connsiteY17" fmla="*/ 280987 h 2481262"/>
              <a:gd name="connsiteX18" fmla="*/ 938213 w 6610350"/>
              <a:gd name="connsiteY18" fmla="*/ 300037 h 2481262"/>
              <a:gd name="connsiteX19" fmla="*/ 1023938 w 6610350"/>
              <a:gd name="connsiteY19" fmla="*/ 295275 h 2481262"/>
              <a:gd name="connsiteX20" fmla="*/ 1028700 w 6610350"/>
              <a:gd name="connsiteY20" fmla="*/ 357187 h 2481262"/>
              <a:gd name="connsiteX21" fmla="*/ 1147763 w 6610350"/>
              <a:gd name="connsiteY21" fmla="*/ 357187 h 2481262"/>
              <a:gd name="connsiteX22" fmla="*/ 1157288 w 6610350"/>
              <a:gd name="connsiteY22" fmla="*/ 390525 h 2481262"/>
              <a:gd name="connsiteX23" fmla="*/ 1228725 w 6610350"/>
              <a:gd name="connsiteY23" fmla="*/ 390525 h 2481262"/>
              <a:gd name="connsiteX24" fmla="*/ 1228725 w 6610350"/>
              <a:gd name="connsiteY24" fmla="*/ 390525 h 2481262"/>
              <a:gd name="connsiteX25" fmla="*/ 1323975 w 6610350"/>
              <a:gd name="connsiteY25" fmla="*/ 419100 h 2481262"/>
              <a:gd name="connsiteX26" fmla="*/ 1338263 w 6610350"/>
              <a:gd name="connsiteY26" fmla="*/ 471487 h 2481262"/>
              <a:gd name="connsiteX27" fmla="*/ 1400175 w 6610350"/>
              <a:gd name="connsiteY27" fmla="*/ 466725 h 2481262"/>
              <a:gd name="connsiteX28" fmla="*/ 1404938 w 6610350"/>
              <a:gd name="connsiteY28" fmla="*/ 490537 h 2481262"/>
              <a:gd name="connsiteX29" fmla="*/ 1466850 w 6610350"/>
              <a:gd name="connsiteY29" fmla="*/ 495300 h 2481262"/>
              <a:gd name="connsiteX30" fmla="*/ 1471613 w 6610350"/>
              <a:gd name="connsiteY30" fmla="*/ 509587 h 2481262"/>
              <a:gd name="connsiteX31" fmla="*/ 1528763 w 6610350"/>
              <a:gd name="connsiteY31" fmla="*/ 509587 h 2481262"/>
              <a:gd name="connsiteX32" fmla="*/ 1528763 w 6610350"/>
              <a:gd name="connsiteY32" fmla="*/ 557212 h 2481262"/>
              <a:gd name="connsiteX33" fmla="*/ 1714500 w 6610350"/>
              <a:gd name="connsiteY33" fmla="*/ 561974 h 2481262"/>
              <a:gd name="connsiteX34" fmla="*/ 1714500 w 6610350"/>
              <a:gd name="connsiteY34" fmla="*/ 590550 h 2481262"/>
              <a:gd name="connsiteX35" fmla="*/ 1752600 w 6610350"/>
              <a:gd name="connsiteY35" fmla="*/ 590550 h 2481262"/>
              <a:gd name="connsiteX36" fmla="*/ 1762125 w 6610350"/>
              <a:gd name="connsiteY36" fmla="*/ 619125 h 2481262"/>
              <a:gd name="connsiteX37" fmla="*/ 1809750 w 6610350"/>
              <a:gd name="connsiteY37" fmla="*/ 619125 h 2481262"/>
              <a:gd name="connsiteX38" fmla="*/ 1809750 w 6610350"/>
              <a:gd name="connsiteY38" fmla="*/ 647700 h 2481262"/>
              <a:gd name="connsiteX39" fmla="*/ 1847850 w 6610350"/>
              <a:gd name="connsiteY39" fmla="*/ 647700 h 2481262"/>
              <a:gd name="connsiteX40" fmla="*/ 1847850 w 6610350"/>
              <a:gd name="connsiteY40" fmla="*/ 714375 h 2481262"/>
              <a:gd name="connsiteX41" fmla="*/ 1905000 w 6610350"/>
              <a:gd name="connsiteY41" fmla="*/ 714375 h 2481262"/>
              <a:gd name="connsiteX42" fmla="*/ 1919288 w 6610350"/>
              <a:gd name="connsiteY42" fmla="*/ 738187 h 2481262"/>
              <a:gd name="connsiteX43" fmla="*/ 2009775 w 6610350"/>
              <a:gd name="connsiteY43" fmla="*/ 733425 h 2481262"/>
              <a:gd name="connsiteX44" fmla="*/ 2009775 w 6610350"/>
              <a:gd name="connsiteY44" fmla="*/ 804862 h 2481262"/>
              <a:gd name="connsiteX45" fmla="*/ 2038350 w 6610350"/>
              <a:gd name="connsiteY45" fmla="*/ 804862 h 2481262"/>
              <a:gd name="connsiteX46" fmla="*/ 2038350 w 6610350"/>
              <a:gd name="connsiteY46" fmla="*/ 823912 h 2481262"/>
              <a:gd name="connsiteX47" fmla="*/ 2038350 w 6610350"/>
              <a:gd name="connsiteY47" fmla="*/ 823912 h 2481262"/>
              <a:gd name="connsiteX48" fmla="*/ 2071688 w 6610350"/>
              <a:gd name="connsiteY48" fmla="*/ 852487 h 2481262"/>
              <a:gd name="connsiteX49" fmla="*/ 2071688 w 6610350"/>
              <a:gd name="connsiteY49" fmla="*/ 852487 h 2481262"/>
              <a:gd name="connsiteX50" fmla="*/ 2100263 w 6610350"/>
              <a:gd name="connsiteY50" fmla="*/ 885825 h 2481262"/>
              <a:gd name="connsiteX51" fmla="*/ 2190750 w 6610350"/>
              <a:gd name="connsiteY51" fmla="*/ 885825 h 2481262"/>
              <a:gd name="connsiteX52" fmla="*/ 2195513 w 6610350"/>
              <a:gd name="connsiteY52" fmla="*/ 933450 h 2481262"/>
              <a:gd name="connsiteX53" fmla="*/ 2247900 w 6610350"/>
              <a:gd name="connsiteY53" fmla="*/ 923925 h 2481262"/>
              <a:gd name="connsiteX54" fmla="*/ 2247900 w 6610350"/>
              <a:gd name="connsiteY54" fmla="*/ 966787 h 2481262"/>
              <a:gd name="connsiteX55" fmla="*/ 2352675 w 6610350"/>
              <a:gd name="connsiteY55" fmla="*/ 952500 h 2481262"/>
              <a:gd name="connsiteX56" fmla="*/ 2347913 w 6610350"/>
              <a:gd name="connsiteY56" fmla="*/ 985837 h 2481262"/>
              <a:gd name="connsiteX57" fmla="*/ 2400300 w 6610350"/>
              <a:gd name="connsiteY57" fmla="*/ 990600 h 2481262"/>
              <a:gd name="connsiteX58" fmla="*/ 2400300 w 6610350"/>
              <a:gd name="connsiteY58" fmla="*/ 990600 h 2481262"/>
              <a:gd name="connsiteX59" fmla="*/ 2400300 w 6610350"/>
              <a:gd name="connsiteY59" fmla="*/ 1019175 h 2481262"/>
              <a:gd name="connsiteX60" fmla="*/ 2476500 w 6610350"/>
              <a:gd name="connsiteY60" fmla="*/ 1009650 h 2481262"/>
              <a:gd name="connsiteX61" fmla="*/ 2476500 w 6610350"/>
              <a:gd name="connsiteY61" fmla="*/ 1047750 h 2481262"/>
              <a:gd name="connsiteX62" fmla="*/ 2500313 w 6610350"/>
              <a:gd name="connsiteY62" fmla="*/ 1047750 h 2481262"/>
              <a:gd name="connsiteX63" fmla="*/ 2500313 w 6610350"/>
              <a:gd name="connsiteY63" fmla="*/ 1047750 h 2481262"/>
              <a:gd name="connsiteX64" fmla="*/ 2566988 w 6610350"/>
              <a:gd name="connsiteY64" fmla="*/ 1081087 h 2481262"/>
              <a:gd name="connsiteX65" fmla="*/ 2562225 w 6610350"/>
              <a:gd name="connsiteY65" fmla="*/ 1123950 h 2481262"/>
              <a:gd name="connsiteX66" fmla="*/ 2609850 w 6610350"/>
              <a:gd name="connsiteY66" fmla="*/ 1123950 h 2481262"/>
              <a:gd name="connsiteX67" fmla="*/ 2609850 w 6610350"/>
              <a:gd name="connsiteY67" fmla="*/ 1162050 h 2481262"/>
              <a:gd name="connsiteX68" fmla="*/ 2609850 w 6610350"/>
              <a:gd name="connsiteY68" fmla="*/ 1162050 h 2481262"/>
              <a:gd name="connsiteX69" fmla="*/ 2638425 w 6610350"/>
              <a:gd name="connsiteY69" fmla="*/ 1185862 h 2481262"/>
              <a:gd name="connsiteX70" fmla="*/ 2638425 w 6610350"/>
              <a:gd name="connsiteY70" fmla="*/ 1185862 h 2481262"/>
              <a:gd name="connsiteX71" fmla="*/ 2662238 w 6610350"/>
              <a:gd name="connsiteY71" fmla="*/ 1228725 h 2481262"/>
              <a:gd name="connsiteX72" fmla="*/ 2800350 w 6610350"/>
              <a:gd name="connsiteY72" fmla="*/ 1233487 h 2481262"/>
              <a:gd name="connsiteX73" fmla="*/ 2805113 w 6610350"/>
              <a:gd name="connsiteY73" fmla="*/ 1266825 h 2481262"/>
              <a:gd name="connsiteX74" fmla="*/ 2881313 w 6610350"/>
              <a:gd name="connsiteY74" fmla="*/ 1266825 h 2481262"/>
              <a:gd name="connsiteX75" fmla="*/ 2876550 w 6610350"/>
              <a:gd name="connsiteY75" fmla="*/ 1290637 h 2481262"/>
              <a:gd name="connsiteX76" fmla="*/ 2876550 w 6610350"/>
              <a:gd name="connsiteY76" fmla="*/ 1290637 h 2481262"/>
              <a:gd name="connsiteX77" fmla="*/ 2909888 w 6610350"/>
              <a:gd name="connsiteY77" fmla="*/ 1338262 h 2481262"/>
              <a:gd name="connsiteX78" fmla="*/ 2909888 w 6610350"/>
              <a:gd name="connsiteY78" fmla="*/ 1338262 h 2481262"/>
              <a:gd name="connsiteX79" fmla="*/ 2947988 w 6610350"/>
              <a:gd name="connsiteY79" fmla="*/ 1385887 h 2481262"/>
              <a:gd name="connsiteX80" fmla="*/ 3028950 w 6610350"/>
              <a:gd name="connsiteY80" fmla="*/ 1385887 h 2481262"/>
              <a:gd name="connsiteX81" fmla="*/ 3028950 w 6610350"/>
              <a:gd name="connsiteY81" fmla="*/ 1419225 h 2481262"/>
              <a:gd name="connsiteX82" fmla="*/ 3095625 w 6610350"/>
              <a:gd name="connsiteY82" fmla="*/ 1419225 h 2481262"/>
              <a:gd name="connsiteX83" fmla="*/ 3095625 w 6610350"/>
              <a:gd name="connsiteY83" fmla="*/ 1462087 h 2481262"/>
              <a:gd name="connsiteX84" fmla="*/ 3162300 w 6610350"/>
              <a:gd name="connsiteY84" fmla="*/ 1462087 h 2481262"/>
              <a:gd name="connsiteX85" fmla="*/ 3162300 w 6610350"/>
              <a:gd name="connsiteY85" fmla="*/ 1485900 h 2481262"/>
              <a:gd name="connsiteX86" fmla="*/ 3257550 w 6610350"/>
              <a:gd name="connsiteY86" fmla="*/ 1485900 h 2481262"/>
              <a:gd name="connsiteX87" fmla="*/ 3252788 w 6610350"/>
              <a:gd name="connsiteY87" fmla="*/ 1538287 h 2481262"/>
              <a:gd name="connsiteX88" fmla="*/ 3314700 w 6610350"/>
              <a:gd name="connsiteY88" fmla="*/ 1543050 h 2481262"/>
              <a:gd name="connsiteX89" fmla="*/ 3314700 w 6610350"/>
              <a:gd name="connsiteY89" fmla="*/ 1543050 h 2481262"/>
              <a:gd name="connsiteX90" fmla="*/ 3405188 w 6610350"/>
              <a:gd name="connsiteY90" fmla="*/ 1581150 h 2481262"/>
              <a:gd name="connsiteX91" fmla="*/ 3405188 w 6610350"/>
              <a:gd name="connsiteY91" fmla="*/ 1614487 h 2481262"/>
              <a:gd name="connsiteX92" fmla="*/ 3586163 w 6610350"/>
              <a:gd name="connsiteY92" fmla="*/ 1614487 h 2481262"/>
              <a:gd name="connsiteX93" fmla="*/ 3586163 w 6610350"/>
              <a:gd name="connsiteY93" fmla="*/ 1638300 h 2481262"/>
              <a:gd name="connsiteX94" fmla="*/ 3643313 w 6610350"/>
              <a:gd name="connsiteY94" fmla="*/ 1633537 h 2481262"/>
              <a:gd name="connsiteX95" fmla="*/ 3648051 w 6610350"/>
              <a:gd name="connsiteY95" fmla="*/ 1680915 h 2481262"/>
              <a:gd name="connsiteX96" fmla="*/ 3724275 w 6610350"/>
              <a:gd name="connsiteY96" fmla="*/ 1666875 h 2481262"/>
              <a:gd name="connsiteX97" fmla="*/ 3724275 w 6610350"/>
              <a:gd name="connsiteY97" fmla="*/ 1666875 h 2481262"/>
              <a:gd name="connsiteX98" fmla="*/ 3814763 w 6610350"/>
              <a:gd name="connsiteY98" fmla="*/ 1704975 h 2481262"/>
              <a:gd name="connsiteX99" fmla="*/ 3814763 w 6610350"/>
              <a:gd name="connsiteY99" fmla="*/ 1757362 h 2481262"/>
              <a:gd name="connsiteX100" fmla="*/ 3890963 w 6610350"/>
              <a:gd name="connsiteY100" fmla="*/ 1762125 h 2481262"/>
              <a:gd name="connsiteX101" fmla="*/ 3881438 w 6610350"/>
              <a:gd name="connsiteY101" fmla="*/ 1800225 h 2481262"/>
              <a:gd name="connsiteX102" fmla="*/ 3952875 w 6610350"/>
              <a:gd name="connsiteY102" fmla="*/ 1804987 h 2481262"/>
              <a:gd name="connsiteX103" fmla="*/ 3957638 w 6610350"/>
              <a:gd name="connsiteY103" fmla="*/ 1862137 h 2481262"/>
              <a:gd name="connsiteX104" fmla="*/ 4029075 w 6610350"/>
              <a:gd name="connsiteY104" fmla="*/ 1862137 h 2481262"/>
              <a:gd name="connsiteX105" fmla="*/ 4029075 w 6610350"/>
              <a:gd name="connsiteY105" fmla="*/ 1924050 h 2481262"/>
              <a:gd name="connsiteX106" fmla="*/ 4100513 w 6610350"/>
              <a:gd name="connsiteY106" fmla="*/ 1924050 h 2481262"/>
              <a:gd name="connsiteX107" fmla="*/ 4143375 w 6610350"/>
              <a:gd name="connsiteY107" fmla="*/ 1924050 h 2481262"/>
              <a:gd name="connsiteX108" fmla="*/ 4138613 w 6610350"/>
              <a:gd name="connsiteY108" fmla="*/ 1966912 h 2481262"/>
              <a:gd name="connsiteX109" fmla="*/ 4214813 w 6610350"/>
              <a:gd name="connsiteY109" fmla="*/ 1971675 h 2481262"/>
              <a:gd name="connsiteX110" fmla="*/ 4214813 w 6610350"/>
              <a:gd name="connsiteY110" fmla="*/ 2014537 h 2481262"/>
              <a:gd name="connsiteX111" fmla="*/ 4319588 w 6610350"/>
              <a:gd name="connsiteY111" fmla="*/ 2014537 h 2481262"/>
              <a:gd name="connsiteX112" fmla="*/ 4319588 w 6610350"/>
              <a:gd name="connsiteY112" fmla="*/ 2014537 h 2481262"/>
              <a:gd name="connsiteX113" fmla="*/ 4362451 w 6610350"/>
              <a:gd name="connsiteY113" fmla="*/ 2038350 h 2481262"/>
              <a:gd name="connsiteX114" fmla="*/ 4410075 w 6610350"/>
              <a:gd name="connsiteY114" fmla="*/ 2095500 h 2481262"/>
              <a:gd name="connsiteX115" fmla="*/ 4605338 w 6610350"/>
              <a:gd name="connsiteY115" fmla="*/ 2105025 h 2481262"/>
              <a:gd name="connsiteX116" fmla="*/ 4605338 w 6610350"/>
              <a:gd name="connsiteY116" fmla="*/ 2105025 h 2481262"/>
              <a:gd name="connsiteX117" fmla="*/ 4605338 w 6610350"/>
              <a:gd name="connsiteY117" fmla="*/ 2147887 h 2481262"/>
              <a:gd name="connsiteX118" fmla="*/ 4791075 w 6610350"/>
              <a:gd name="connsiteY118" fmla="*/ 2147887 h 2481262"/>
              <a:gd name="connsiteX119" fmla="*/ 4791075 w 6610350"/>
              <a:gd name="connsiteY119" fmla="*/ 2176462 h 2481262"/>
              <a:gd name="connsiteX120" fmla="*/ 4953000 w 6610350"/>
              <a:gd name="connsiteY120" fmla="*/ 2176462 h 2481262"/>
              <a:gd name="connsiteX121" fmla="*/ 5072063 w 6610350"/>
              <a:gd name="connsiteY121" fmla="*/ 2176462 h 2481262"/>
              <a:gd name="connsiteX122" fmla="*/ 5072063 w 6610350"/>
              <a:gd name="connsiteY122" fmla="*/ 2233612 h 2481262"/>
              <a:gd name="connsiteX123" fmla="*/ 5400675 w 6610350"/>
              <a:gd name="connsiteY123" fmla="*/ 2233612 h 2481262"/>
              <a:gd name="connsiteX124" fmla="*/ 5400675 w 6610350"/>
              <a:gd name="connsiteY124" fmla="*/ 2233612 h 2481262"/>
              <a:gd name="connsiteX125" fmla="*/ 5500688 w 6610350"/>
              <a:gd name="connsiteY125" fmla="*/ 2233612 h 2481262"/>
              <a:gd name="connsiteX126" fmla="*/ 5500688 w 6610350"/>
              <a:gd name="connsiteY126" fmla="*/ 2305050 h 2481262"/>
              <a:gd name="connsiteX127" fmla="*/ 5586413 w 6610350"/>
              <a:gd name="connsiteY127" fmla="*/ 2305050 h 2481262"/>
              <a:gd name="connsiteX128" fmla="*/ 5586413 w 6610350"/>
              <a:gd name="connsiteY128" fmla="*/ 2328862 h 2481262"/>
              <a:gd name="connsiteX129" fmla="*/ 5629275 w 6610350"/>
              <a:gd name="connsiteY129" fmla="*/ 2328862 h 2481262"/>
              <a:gd name="connsiteX130" fmla="*/ 5629275 w 6610350"/>
              <a:gd name="connsiteY130" fmla="*/ 2390775 h 2481262"/>
              <a:gd name="connsiteX131" fmla="*/ 6134100 w 6610350"/>
              <a:gd name="connsiteY131" fmla="*/ 2390775 h 2481262"/>
              <a:gd name="connsiteX132" fmla="*/ 6134100 w 6610350"/>
              <a:gd name="connsiteY132" fmla="*/ 2481262 h 2481262"/>
              <a:gd name="connsiteX133" fmla="*/ 6610350 w 6610350"/>
              <a:gd name="connsiteY133" fmla="*/ 2481262 h 2481262"/>
              <a:gd name="connsiteX0" fmla="*/ 0 w 6610350"/>
              <a:gd name="connsiteY0" fmla="*/ 4762 h 2481262"/>
              <a:gd name="connsiteX1" fmla="*/ 90488 w 6610350"/>
              <a:gd name="connsiteY1" fmla="*/ 0 h 2481262"/>
              <a:gd name="connsiteX2" fmla="*/ 90488 w 6610350"/>
              <a:gd name="connsiteY2" fmla="*/ 33337 h 2481262"/>
              <a:gd name="connsiteX3" fmla="*/ 133350 w 6610350"/>
              <a:gd name="connsiteY3" fmla="*/ 33337 h 2481262"/>
              <a:gd name="connsiteX4" fmla="*/ 133350 w 6610350"/>
              <a:gd name="connsiteY4" fmla="*/ 66675 h 2481262"/>
              <a:gd name="connsiteX5" fmla="*/ 209550 w 6610350"/>
              <a:gd name="connsiteY5" fmla="*/ 66675 h 2481262"/>
              <a:gd name="connsiteX6" fmla="*/ 204788 w 6610350"/>
              <a:gd name="connsiteY6" fmla="*/ 95250 h 2481262"/>
              <a:gd name="connsiteX7" fmla="*/ 361950 w 6610350"/>
              <a:gd name="connsiteY7" fmla="*/ 104775 h 2481262"/>
              <a:gd name="connsiteX8" fmla="*/ 361950 w 6610350"/>
              <a:gd name="connsiteY8" fmla="*/ 123825 h 2481262"/>
              <a:gd name="connsiteX9" fmla="*/ 423863 w 6610350"/>
              <a:gd name="connsiteY9" fmla="*/ 119062 h 2481262"/>
              <a:gd name="connsiteX10" fmla="*/ 423862 w 6610350"/>
              <a:gd name="connsiteY10" fmla="*/ 166687 h 2481262"/>
              <a:gd name="connsiteX11" fmla="*/ 552450 w 6610350"/>
              <a:gd name="connsiteY11" fmla="*/ 171450 h 2481262"/>
              <a:gd name="connsiteX12" fmla="*/ 557213 w 6610350"/>
              <a:gd name="connsiteY12" fmla="*/ 200025 h 2481262"/>
              <a:gd name="connsiteX13" fmla="*/ 595313 w 6610350"/>
              <a:gd name="connsiteY13" fmla="*/ 204787 h 2481262"/>
              <a:gd name="connsiteX14" fmla="*/ 600075 w 6610350"/>
              <a:gd name="connsiteY14" fmla="*/ 238125 h 2481262"/>
              <a:gd name="connsiteX15" fmla="*/ 642938 w 6610350"/>
              <a:gd name="connsiteY15" fmla="*/ 238125 h 2481262"/>
              <a:gd name="connsiteX16" fmla="*/ 642938 w 6610350"/>
              <a:gd name="connsiteY16" fmla="*/ 276225 h 2481262"/>
              <a:gd name="connsiteX17" fmla="*/ 933450 w 6610350"/>
              <a:gd name="connsiteY17" fmla="*/ 280987 h 2481262"/>
              <a:gd name="connsiteX18" fmla="*/ 938213 w 6610350"/>
              <a:gd name="connsiteY18" fmla="*/ 300037 h 2481262"/>
              <a:gd name="connsiteX19" fmla="*/ 1023938 w 6610350"/>
              <a:gd name="connsiteY19" fmla="*/ 295275 h 2481262"/>
              <a:gd name="connsiteX20" fmla="*/ 1028700 w 6610350"/>
              <a:gd name="connsiteY20" fmla="*/ 357187 h 2481262"/>
              <a:gd name="connsiteX21" fmla="*/ 1147763 w 6610350"/>
              <a:gd name="connsiteY21" fmla="*/ 357187 h 2481262"/>
              <a:gd name="connsiteX22" fmla="*/ 1157288 w 6610350"/>
              <a:gd name="connsiteY22" fmla="*/ 390525 h 2481262"/>
              <a:gd name="connsiteX23" fmla="*/ 1228725 w 6610350"/>
              <a:gd name="connsiteY23" fmla="*/ 390525 h 2481262"/>
              <a:gd name="connsiteX24" fmla="*/ 1228725 w 6610350"/>
              <a:gd name="connsiteY24" fmla="*/ 390525 h 2481262"/>
              <a:gd name="connsiteX25" fmla="*/ 1323975 w 6610350"/>
              <a:gd name="connsiteY25" fmla="*/ 419100 h 2481262"/>
              <a:gd name="connsiteX26" fmla="*/ 1338263 w 6610350"/>
              <a:gd name="connsiteY26" fmla="*/ 471487 h 2481262"/>
              <a:gd name="connsiteX27" fmla="*/ 1400175 w 6610350"/>
              <a:gd name="connsiteY27" fmla="*/ 466725 h 2481262"/>
              <a:gd name="connsiteX28" fmla="*/ 1404938 w 6610350"/>
              <a:gd name="connsiteY28" fmla="*/ 490537 h 2481262"/>
              <a:gd name="connsiteX29" fmla="*/ 1466850 w 6610350"/>
              <a:gd name="connsiteY29" fmla="*/ 495300 h 2481262"/>
              <a:gd name="connsiteX30" fmla="*/ 1471613 w 6610350"/>
              <a:gd name="connsiteY30" fmla="*/ 509587 h 2481262"/>
              <a:gd name="connsiteX31" fmla="*/ 1528763 w 6610350"/>
              <a:gd name="connsiteY31" fmla="*/ 509587 h 2481262"/>
              <a:gd name="connsiteX32" fmla="*/ 1528763 w 6610350"/>
              <a:gd name="connsiteY32" fmla="*/ 557212 h 2481262"/>
              <a:gd name="connsiteX33" fmla="*/ 1714500 w 6610350"/>
              <a:gd name="connsiteY33" fmla="*/ 561974 h 2481262"/>
              <a:gd name="connsiteX34" fmla="*/ 1714500 w 6610350"/>
              <a:gd name="connsiteY34" fmla="*/ 590550 h 2481262"/>
              <a:gd name="connsiteX35" fmla="*/ 1752600 w 6610350"/>
              <a:gd name="connsiteY35" fmla="*/ 590550 h 2481262"/>
              <a:gd name="connsiteX36" fmla="*/ 1762125 w 6610350"/>
              <a:gd name="connsiteY36" fmla="*/ 619125 h 2481262"/>
              <a:gd name="connsiteX37" fmla="*/ 1809750 w 6610350"/>
              <a:gd name="connsiteY37" fmla="*/ 619125 h 2481262"/>
              <a:gd name="connsiteX38" fmla="*/ 1809750 w 6610350"/>
              <a:gd name="connsiteY38" fmla="*/ 647700 h 2481262"/>
              <a:gd name="connsiteX39" fmla="*/ 1847850 w 6610350"/>
              <a:gd name="connsiteY39" fmla="*/ 647700 h 2481262"/>
              <a:gd name="connsiteX40" fmla="*/ 1847850 w 6610350"/>
              <a:gd name="connsiteY40" fmla="*/ 714375 h 2481262"/>
              <a:gd name="connsiteX41" fmla="*/ 1905000 w 6610350"/>
              <a:gd name="connsiteY41" fmla="*/ 714375 h 2481262"/>
              <a:gd name="connsiteX42" fmla="*/ 1919288 w 6610350"/>
              <a:gd name="connsiteY42" fmla="*/ 738187 h 2481262"/>
              <a:gd name="connsiteX43" fmla="*/ 2009775 w 6610350"/>
              <a:gd name="connsiteY43" fmla="*/ 733425 h 2481262"/>
              <a:gd name="connsiteX44" fmla="*/ 2009775 w 6610350"/>
              <a:gd name="connsiteY44" fmla="*/ 804862 h 2481262"/>
              <a:gd name="connsiteX45" fmla="*/ 2038350 w 6610350"/>
              <a:gd name="connsiteY45" fmla="*/ 804862 h 2481262"/>
              <a:gd name="connsiteX46" fmla="*/ 2038350 w 6610350"/>
              <a:gd name="connsiteY46" fmla="*/ 823912 h 2481262"/>
              <a:gd name="connsiteX47" fmla="*/ 2038350 w 6610350"/>
              <a:gd name="connsiteY47" fmla="*/ 823912 h 2481262"/>
              <a:gd name="connsiteX48" fmla="*/ 2071688 w 6610350"/>
              <a:gd name="connsiteY48" fmla="*/ 852487 h 2481262"/>
              <a:gd name="connsiteX49" fmla="*/ 2071688 w 6610350"/>
              <a:gd name="connsiteY49" fmla="*/ 852487 h 2481262"/>
              <a:gd name="connsiteX50" fmla="*/ 2100263 w 6610350"/>
              <a:gd name="connsiteY50" fmla="*/ 885825 h 2481262"/>
              <a:gd name="connsiteX51" fmla="*/ 2190750 w 6610350"/>
              <a:gd name="connsiteY51" fmla="*/ 885825 h 2481262"/>
              <a:gd name="connsiteX52" fmla="*/ 2195513 w 6610350"/>
              <a:gd name="connsiteY52" fmla="*/ 933450 h 2481262"/>
              <a:gd name="connsiteX53" fmla="*/ 2247900 w 6610350"/>
              <a:gd name="connsiteY53" fmla="*/ 923925 h 2481262"/>
              <a:gd name="connsiteX54" fmla="*/ 2247900 w 6610350"/>
              <a:gd name="connsiteY54" fmla="*/ 966787 h 2481262"/>
              <a:gd name="connsiteX55" fmla="*/ 2352675 w 6610350"/>
              <a:gd name="connsiteY55" fmla="*/ 952500 h 2481262"/>
              <a:gd name="connsiteX56" fmla="*/ 2347913 w 6610350"/>
              <a:gd name="connsiteY56" fmla="*/ 985837 h 2481262"/>
              <a:gd name="connsiteX57" fmla="*/ 2400300 w 6610350"/>
              <a:gd name="connsiteY57" fmla="*/ 990600 h 2481262"/>
              <a:gd name="connsiteX58" fmla="*/ 2400300 w 6610350"/>
              <a:gd name="connsiteY58" fmla="*/ 990600 h 2481262"/>
              <a:gd name="connsiteX59" fmla="*/ 2400300 w 6610350"/>
              <a:gd name="connsiteY59" fmla="*/ 1019175 h 2481262"/>
              <a:gd name="connsiteX60" fmla="*/ 2476500 w 6610350"/>
              <a:gd name="connsiteY60" fmla="*/ 1009650 h 2481262"/>
              <a:gd name="connsiteX61" fmla="*/ 2476500 w 6610350"/>
              <a:gd name="connsiteY61" fmla="*/ 1047750 h 2481262"/>
              <a:gd name="connsiteX62" fmla="*/ 2500313 w 6610350"/>
              <a:gd name="connsiteY62" fmla="*/ 1047750 h 2481262"/>
              <a:gd name="connsiteX63" fmla="*/ 2500313 w 6610350"/>
              <a:gd name="connsiteY63" fmla="*/ 1047750 h 2481262"/>
              <a:gd name="connsiteX64" fmla="*/ 2566988 w 6610350"/>
              <a:gd name="connsiteY64" fmla="*/ 1081087 h 2481262"/>
              <a:gd name="connsiteX65" fmla="*/ 2562225 w 6610350"/>
              <a:gd name="connsiteY65" fmla="*/ 1123950 h 2481262"/>
              <a:gd name="connsiteX66" fmla="*/ 2609850 w 6610350"/>
              <a:gd name="connsiteY66" fmla="*/ 1123950 h 2481262"/>
              <a:gd name="connsiteX67" fmla="*/ 2609850 w 6610350"/>
              <a:gd name="connsiteY67" fmla="*/ 1162050 h 2481262"/>
              <a:gd name="connsiteX68" fmla="*/ 2609850 w 6610350"/>
              <a:gd name="connsiteY68" fmla="*/ 1162050 h 2481262"/>
              <a:gd name="connsiteX69" fmla="*/ 2638425 w 6610350"/>
              <a:gd name="connsiteY69" fmla="*/ 1185862 h 2481262"/>
              <a:gd name="connsiteX70" fmla="*/ 2638425 w 6610350"/>
              <a:gd name="connsiteY70" fmla="*/ 1185862 h 2481262"/>
              <a:gd name="connsiteX71" fmla="*/ 2662238 w 6610350"/>
              <a:gd name="connsiteY71" fmla="*/ 1228725 h 2481262"/>
              <a:gd name="connsiteX72" fmla="*/ 2800350 w 6610350"/>
              <a:gd name="connsiteY72" fmla="*/ 1233487 h 2481262"/>
              <a:gd name="connsiteX73" fmla="*/ 2805113 w 6610350"/>
              <a:gd name="connsiteY73" fmla="*/ 1266825 h 2481262"/>
              <a:gd name="connsiteX74" fmla="*/ 2881313 w 6610350"/>
              <a:gd name="connsiteY74" fmla="*/ 1266825 h 2481262"/>
              <a:gd name="connsiteX75" fmla="*/ 2876550 w 6610350"/>
              <a:gd name="connsiteY75" fmla="*/ 1290637 h 2481262"/>
              <a:gd name="connsiteX76" fmla="*/ 2876550 w 6610350"/>
              <a:gd name="connsiteY76" fmla="*/ 1290637 h 2481262"/>
              <a:gd name="connsiteX77" fmla="*/ 2909888 w 6610350"/>
              <a:gd name="connsiteY77" fmla="*/ 1338262 h 2481262"/>
              <a:gd name="connsiteX78" fmla="*/ 2909888 w 6610350"/>
              <a:gd name="connsiteY78" fmla="*/ 1338262 h 2481262"/>
              <a:gd name="connsiteX79" fmla="*/ 2947988 w 6610350"/>
              <a:gd name="connsiteY79" fmla="*/ 1385887 h 2481262"/>
              <a:gd name="connsiteX80" fmla="*/ 3028950 w 6610350"/>
              <a:gd name="connsiteY80" fmla="*/ 1385887 h 2481262"/>
              <a:gd name="connsiteX81" fmla="*/ 3028950 w 6610350"/>
              <a:gd name="connsiteY81" fmla="*/ 1419225 h 2481262"/>
              <a:gd name="connsiteX82" fmla="*/ 3095625 w 6610350"/>
              <a:gd name="connsiteY82" fmla="*/ 1419225 h 2481262"/>
              <a:gd name="connsiteX83" fmla="*/ 3095625 w 6610350"/>
              <a:gd name="connsiteY83" fmla="*/ 1462087 h 2481262"/>
              <a:gd name="connsiteX84" fmla="*/ 3162300 w 6610350"/>
              <a:gd name="connsiteY84" fmla="*/ 1462087 h 2481262"/>
              <a:gd name="connsiteX85" fmla="*/ 3162300 w 6610350"/>
              <a:gd name="connsiteY85" fmla="*/ 1485900 h 2481262"/>
              <a:gd name="connsiteX86" fmla="*/ 3257550 w 6610350"/>
              <a:gd name="connsiteY86" fmla="*/ 1485900 h 2481262"/>
              <a:gd name="connsiteX87" fmla="*/ 3252788 w 6610350"/>
              <a:gd name="connsiteY87" fmla="*/ 1538287 h 2481262"/>
              <a:gd name="connsiteX88" fmla="*/ 3314700 w 6610350"/>
              <a:gd name="connsiteY88" fmla="*/ 1543050 h 2481262"/>
              <a:gd name="connsiteX89" fmla="*/ 3314700 w 6610350"/>
              <a:gd name="connsiteY89" fmla="*/ 1543050 h 2481262"/>
              <a:gd name="connsiteX90" fmla="*/ 3405188 w 6610350"/>
              <a:gd name="connsiteY90" fmla="*/ 1581150 h 2481262"/>
              <a:gd name="connsiteX91" fmla="*/ 3405188 w 6610350"/>
              <a:gd name="connsiteY91" fmla="*/ 1614487 h 2481262"/>
              <a:gd name="connsiteX92" fmla="*/ 3586163 w 6610350"/>
              <a:gd name="connsiteY92" fmla="*/ 1614487 h 2481262"/>
              <a:gd name="connsiteX93" fmla="*/ 3586163 w 6610350"/>
              <a:gd name="connsiteY93" fmla="*/ 1638300 h 2481262"/>
              <a:gd name="connsiteX94" fmla="*/ 3643313 w 6610350"/>
              <a:gd name="connsiteY94" fmla="*/ 1633537 h 2481262"/>
              <a:gd name="connsiteX95" fmla="*/ 3648051 w 6610350"/>
              <a:gd name="connsiteY95" fmla="*/ 1680915 h 2481262"/>
              <a:gd name="connsiteX96" fmla="*/ 3724275 w 6610350"/>
              <a:gd name="connsiteY96" fmla="*/ 1666875 h 2481262"/>
              <a:gd name="connsiteX97" fmla="*/ 3729013 w 6610350"/>
              <a:gd name="connsiteY97" fmla="*/ 1685827 h 2481262"/>
              <a:gd name="connsiteX98" fmla="*/ 3814763 w 6610350"/>
              <a:gd name="connsiteY98" fmla="*/ 1704975 h 2481262"/>
              <a:gd name="connsiteX99" fmla="*/ 3814763 w 6610350"/>
              <a:gd name="connsiteY99" fmla="*/ 1757362 h 2481262"/>
              <a:gd name="connsiteX100" fmla="*/ 3890963 w 6610350"/>
              <a:gd name="connsiteY100" fmla="*/ 1762125 h 2481262"/>
              <a:gd name="connsiteX101" fmla="*/ 3881438 w 6610350"/>
              <a:gd name="connsiteY101" fmla="*/ 1800225 h 2481262"/>
              <a:gd name="connsiteX102" fmla="*/ 3952875 w 6610350"/>
              <a:gd name="connsiteY102" fmla="*/ 1804987 h 2481262"/>
              <a:gd name="connsiteX103" fmla="*/ 3957638 w 6610350"/>
              <a:gd name="connsiteY103" fmla="*/ 1862137 h 2481262"/>
              <a:gd name="connsiteX104" fmla="*/ 4029075 w 6610350"/>
              <a:gd name="connsiteY104" fmla="*/ 1862137 h 2481262"/>
              <a:gd name="connsiteX105" fmla="*/ 4029075 w 6610350"/>
              <a:gd name="connsiteY105" fmla="*/ 1924050 h 2481262"/>
              <a:gd name="connsiteX106" fmla="*/ 4100513 w 6610350"/>
              <a:gd name="connsiteY106" fmla="*/ 1924050 h 2481262"/>
              <a:gd name="connsiteX107" fmla="*/ 4143375 w 6610350"/>
              <a:gd name="connsiteY107" fmla="*/ 1924050 h 2481262"/>
              <a:gd name="connsiteX108" fmla="*/ 4138613 w 6610350"/>
              <a:gd name="connsiteY108" fmla="*/ 1966912 h 2481262"/>
              <a:gd name="connsiteX109" fmla="*/ 4214813 w 6610350"/>
              <a:gd name="connsiteY109" fmla="*/ 1971675 h 2481262"/>
              <a:gd name="connsiteX110" fmla="*/ 4214813 w 6610350"/>
              <a:gd name="connsiteY110" fmla="*/ 2014537 h 2481262"/>
              <a:gd name="connsiteX111" fmla="*/ 4319588 w 6610350"/>
              <a:gd name="connsiteY111" fmla="*/ 2014537 h 2481262"/>
              <a:gd name="connsiteX112" fmla="*/ 4319588 w 6610350"/>
              <a:gd name="connsiteY112" fmla="*/ 2014537 h 2481262"/>
              <a:gd name="connsiteX113" fmla="*/ 4362451 w 6610350"/>
              <a:gd name="connsiteY113" fmla="*/ 2038350 h 2481262"/>
              <a:gd name="connsiteX114" fmla="*/ 4410075 w 6610350"/>
              <a:gd name="connsiteY114" fmla="*/ 2095500 h 2481262"/>
              <a:gd name="connsiteX115" fmla="*/ 4605338 w 6610350"/>
              <a:gd name="connsiteY115" fmla="*/ 2105025 h 2481262"/>
              <a:gd name="connsiteX116" fmla="*/ 4605338 w 6610350"/>
              <a:gd name="connsiteY116" fmla="*/ 2105025 h 2481262"/>
              <a:gd name="connsiteX117" fmla="*/ 4605338 w 6610350"/>
              <a:gd name="connsiteY117" fmla="*/ 2147887 h 2481262"/>
              <a:gd name="connsiteX118" fmla="*/ 4791075 w 6610350"/>
              <a:gd name="connsiteY118" fmla="*/ 2147887 h 2481262"/>
              <a:gd name="connsiteX119" fmla="*/ 4791075 w 6610350"/>
              <a:gd name="connsiteY119" fmla="*/ 2176462 h 2481262"/>
              <a:gd name="connsiteX120" fmla="*/ 4953000 w 6610350"/>
              <a:gd name="connsiteY120" fmla="*/ 2176462 h 2481262"/>
              <a:gd name="connsiteX121" fmla="*/ 5072063 w 6610350"/>
              <a:gd name="connsiteY121" fmla="*/ 2176462 h 2481262"/>
              <a:gd name="connsiteX122" fmla="*/ 5072063 w 6610350"/>
              <a:gd name="connsiteY122" fmla="*/ 2233612 h 2481262"/>
              <a:gd name="connsiteX123" fmla="*/ 5400675 w 6610350"/>
              <a:gd name="connsiteY123" fmla="*/ 2233612 h 2481262"/>
              <a:gd name="connsiteX124" fmla="*/ 5400675 w 6610350"/>
              <a:gd name="connsiteY124" fmla="*/ 2233612 h 2481262"/>
              <a:gd name="connsiteX125" fmla="*/ 5500688 w 6610350"/>
              <a:gd name="connsiteY125" fmla="*/ 2233612 h 2481262"/>
              <a:gd name="connsiteX126" fmla="*/ 5500688 w 6610350"/>
              <a:gd name="connsiteY126" fmla="*/ 2305050 h 2481262"/>
              <a:gd name="connsiteX127" fmla="*/ 5586413 w 6610350"/>
              <a:gd name="connsiteY127" fmla="*/ 2305050 h 2481262"/>
              <a:gd name="connsiteX128" fmla="*/ 5586413 w 6610350"/>
              <a:gd name="connsiteY128" fmla="*/ 2328862 h 2481262"/>
              <a:gd name="connsiteX129" fmla="*/ 5629275 w 6610350"/>
              <a:gd name="connsiteY129" fmla="*/ 2328862 h 2481262"/>
              <a:gd name="connsiteX130" fmla="*/ 5629275 w 6610350"/>
              <a:gd name="connsiteY130" fmla="*/ 2390775 h 2481262"/>
              <a:gd name="connsiteX131" fmla="*/ 6134100 w 6610350"/>
              <a:gd name="connsiteY131" fmla="*/ 2390775 h 2481262"/>
              <a:gd name="connsiteX132" fmla="*/ 6134100 w 6610350"/>
              <a:gd name="connsiteY132" fmla="*/ 2481262 h 2481262"/>
              <a:gd name="connsiteX133" fmla="*/ 6610350 w 6610350"/>
              <a:gd name="connsiteY133" fmla="*/ 2481262 h 2481262"/>
              <a:gd name="connsiteX0" fmla="*/ 0 w 6610350"/>
              <a:gd name="connsiteY0" fmla="*/ 4762 h 2481262"/>
              <a:gd name="connsiteX1" fmla="*/ 90488 w 6610350"/>
              <a:gd name="connsiteY1" fmla="*/ 0 h 2481262"/>
              <a:gd name="connsiteX2" fmla="*/ 90488 w 6610350"/>
              <a:gd name="connsiteY2" fmla="*/ 33337 h 2481262"/>
              <a:gd name="connsiteX3" fmla="*/ 133350 w 6610350"/>
              <a:gd name="connsiteY3" fmla="*/ 33337 h 2481262"/>
              <a:gd name="connsiteX4" fmla="*/ 133350 w 6610350"/>
              <a:gd name="connsiteY4" fmla="*/ 66675 h 2481262"/>
              <a:gd name="connsiteX5" fmla="*/ 209550 w 6610350"/>
              <a:gd name="connsiteY5" fmla="*/ 66675 h 2481262"/>
              <a:gd name="connsiteX6" fmla="*/ 204788 w 6610350"/>
              <a:gd name="connsiteY6" fmla="*/ 95250 h 2481262"/>
              <a:gd name="connsiteX7" fmla="*/ 361950 w 6610350"/>
              <a:gd name="connsiteY7" fmla="*/ 104775 h 2481262"/>
              <a:gd name="connsiteX8" fmla="*/ 361950 w 6610350"/>
              <a:gd name="connsiteY8" fmla="*/ 123825 h 2481262"/>
              <a:gd name="connsiteX9" fmla="*/ 423863 w 6610350"/>
              <a:gd name="connsiteY9" fmla="*/ 119062 h 2481262"/>
              <a:gd name="connsiteX10" fmla="*/ 423862 w 6610350"/>
              <a:gd name="connsiteY10" fmla="*/ 166687 h 2481262"/>
              <a:gd name="connsiteX11" fmla="*/ 552450 w 6610350"/>
              <a:gd name="connsiteY11" fmla="*/ 171450 h 2481262"/>
              <a:gd name="connsiteX12" fmla="*/ 557213 w 6610350"/>
              <a:gd name="connsiteY12" fmla="*/ 200025 h 2481262"/>
              <a:gd name="connsiteX13" fmla="*/ 595313 w 6610350"/>
              <a:gd name="connsiteY13" fmla="*/ 204787 h 2481262"/>
              <a:gd name="connsiteX14" fmla="*/ 600075 w 6610350"/>
              <a:gd name="connsiteY14" fmla="*/ 238125 h 2481262"/>
              <a:gd name="connsiteX15" fmla="*/ 642938 w 6610350"/>
              <a:gd name="connsiteY15" fmla="*/ 238125 h 2481262"/>
              <a:gd name="connsiteX16" fmla="*/ 642938 w 6610350"/>
              <a:gd name="connsiteY16" fmla="*/ 276225 h 2481262"/>
              <a:gd name="connsiteX17" fmla="*/ 933450 w 6610350"/>
              <a:gd name="connsiteY17" fmla="*/ 280987 h 2481262"/>
              <a:gd name="connsiteX18" fmla="*/ 938213 w 6610350"/>
              <a:gd name="connsiteY18" fmla="*/ 300037 h 2481262"/>
              <a:gd name="connsiteX19" fmla="*/ 1023938 w 6610350"/>
              <a:gd name="connsiteY19" fmla="*/ 295275 h 2481262"/>
              <a:gd name="connsiteX20" fmla="*/ 1028700 w 6610350"/>
              <a:gd name="connsiteY20" fmla="*/ 357187 h 2481262"/>
              <a:gd name="connsiteX21" fmla="*/ 1147763 w 6610350"/>
              <a:gd name="connsiteY21" fmla="*/ 357187 h 2481262"/>
              <a:gd name="connsiteX22" fmla="*/ 1157288 w 6610350"/>
              <a:gd name="connsiteY22" fmla="*/ 390525 h 2481262"/>
              <a:gd name="connsiteX23" fmla="*/ 1228725 w 6610350"/>
              <a:gd name="connsiteY23" fmla="*/ 390525 h 2481262"/>
              <a:gd name="connsiteX24" fmla="*/ 1228725 w 6610350"/>
              <a:gd name="connsiteY24" fmla="*/ 390525 h 2481262"/>
              <a:gd name="connsiteX25" fmla="*/ 1323975 w 6610350"/>
              <a:gd name="connsiteY25" fmla="*/ 419100 h 2481262"/>
              <a:gd name="connsiteX26" fmla="*/ 1338263 w 6610350"/>
              <a:gd name="connsiteY26" fmla="*/ 471487 h 2481262"/>
              <a:gd name="connsiteX27" fmla="*/ 1400175 w 6610350"/>
              <a:gd name="connsiteY27" fmla="*/ 466725 h 2481262"/>
              <a:gd name="connsiteX28" fmla="*/ 1404938 w 6610350"/>
              <a:gd name="connsiteY28" fmla="*/ 490537 h 2481262"/>
              <a:gd name="connsiteX29" fmla="*/ 1466850 w 6610350"/>
              <a:gd name="connsiteY29" fmla="*/ 495300 h 2481262"/>
              <a:gd name="connsiteX30" fmla="*/ 1471613 w 6610350"/>
              <a:gd name="connsiteY30" fmla="*/ 509587 h 2481262"/>
              <a:gd name="connsiteX31" fmla="*/ 1528763 w 6610350"/>
              <a:gd name="connsiteY31" fmla="*/ 509587 h 2481262"/>
              <a:gd name="connsiteX32" fmla="*/ 1528763 w 6610350"/>
              <a:gd name="connsiteY32" fmla="*/ 557212 h 2481262"/>
              <a:gd name="connsiteX33" fmla="*/ 1714500 w 6610350"/>
              <a:gd name="connsiteY33" fmla="*/ 561974 h 2481262"/>
              <a:gd name="connsiteX34" fmla="*/ 1714500 w 6610350"/>
              <a:gd name="connsiteY34" fmla="*/ 590550 h 2481262"/>
              <a:gd name="connsiteX35" fmla="*/ 1752600 w 6610350"/>
              <a:gd name="connsiteY35" fmla="*/ 590550 h 2481262"/>
              <a:gd name="connsiteX36" fmla="*/ 1762125 w 6610350"/>
              <a:gd name="connsiteY36" fmla="*/ 619125 h 2481262"/>
              <a:gd name="connsiteX37" fmla="*/ 1809750 w 6610350"/>
              <a:gd name="connsiteY37" fmla="*/ 619125 h 2481262"/>
              <a:gd name="connsiteX38" fmla="*/ 1809750 w 6610350"/>
              <a:gd name="connsiteY38" fmla="*/ 647700 h 2481262"/>
              <a:gd name="connsiteX39" fmla="*/ 1847850 w 6610350"/>
              <a:gd name="connsiteY39" fmla="*/ 647700 h 2481262"/>
              <a:gd name="connsiteX40" fmla="*/ 1847850 w 6610350"/>
              <a:gd name="connsiteY40" fmla="*/ 714375 h 2481262"/>
              <a:gd name="connsiteX41" fmla="*/ 1905000 w 6610350"/>
              <a:gd name="connsiteY41" fmla="*/ 714375 h 2481262"/>
              <a:gd name="connsiteX42" fmla="*/ 1919288 w 6610350"/>
              <a:gd name="connsiteY42" fmla="*/ 738187 h 2481262"/>
              <a:gd name="connsiteX43" fmla="*/ 2009775 w 6610350"/>
              <a:gd name="connsiteY43" fmla="*/ 733425 h 2481262"/>
              <a:gd name="connsiteX44" fmla="*/ 2009775 w 6610350"/>
              <a:gd name="connsiteY44" fmla="*/ 804862 h 2481262"/>
              <a:gd name="connsiteX45" fmla="*/ 2038350 w 6610350"/>
              <a:gd name="connsiteY45" fmla="*/ 804862 h 2481262"/>
              <a:gd name="connsiteX46" fmla="*/ 2038350 w 6610350"/>
              <a:gd name="connsiteY46" fmla="*/ 823912 h 2481262"/>
              <a:gd name="connsiteX47" fmla="*/ 2038350 w 6610350"/>
              <a:gd name="connsiteY47" fmla="*/ 823912 h 2481262"/>
              <a:gd name="connsiteX48" fmla="*/ 2071688 w 6610350"/>
              <a:gd name="connsiteY48" fmla="*/ 852487 h 2481262"/>
              <a:gd name="connsiteX49" fmla="*/ 2071688 w 6610350"/>
              <a:gd name="connsiteY49" fmla="*/ 852487 h 2481262"/>
              <a:gd name="connsiteX50" fmla="*/ 2100263 w 6610350"/>
              <a:gd name="connsiteY50" fmla="*/ 885825 h 2481262"/>
              <a:gd name="connsiteX51" fmla="*/ 2190750 w 6610350"/>
              <a:gd name="connsiteY51" fmla="*/ 885825 h 2481262"/>
              <a:gd name="connsiteX52" fmla="*/ 2195513 w 6610350"/>
              <a:gd name="connsiteY52" fmla="*/ 933450 h 2481262"/>
              <a:gd name="connsiteX53" fmla="*/ 2247900 w 6610350"/>
              <a:gd name="connsiteY53" fmla="*/ 923925 h 2481262"/>
              <a:gd name="connsiteX54" fmla="*/ 2247900 w 6610350"/>
              <a:gd name="connsiteY54" fmla="*/ 966787 h 2481262"/>
              <a:gd name="connsiteX55" fmla="*/ 2352675 w 6610350"/>
              <a:gd name="connsiteY55" fmla="*/ 952500 h 2481262"/>
              <a:gd name="connsiteX56" fmla="*/ 2347913 w 6610350"/>
              <a:gd name="connsiteY56" fmla="*/ 985837 h 2481262"/>
              <a:gd name="connsiteX57" fmla="*/ 2400300 w 6610350"/>
              <a:gd name="connsiteY57" fmla="*/ 990600 h 2481262"/>
              <a:gd name="connsiteX58" fmla="*/ 2400300 w 6610350"/>
              <a:gd name="connsiteY58" fmla="*/ 990600 h 2481262"/>
              <a:gd name="connsiteX59" fmla="*/ 2400300 w 6610350"/>
              <a:gd name="connsiteY59" fmla="*/ 1019175 h 2481262"/>
              <a:gd name="connsiteX60" fmla="*/ 2476500 w 6610350"/>
              <a:gd name="connsiteY60" fmla="*/ 1009650 h 2481262"/>
              <a:gd name="connsiteX61" fmla="*/ 2476500 w 6610350"/>
              <a:gd name="connsiteY61" fmla="*/ 1047750 h 2481262"/>
              <a:gd name="connsiteX62" fmla="*/ 2500313 w 6610350"/>
              <a:gd name="connsiteY62" fmla="*/ 1047750 h 2481262"/>
              <a:gd name="connsiteX63" fmla="*/ 2500313 w 6610350"/>
              <a:gd name="connsiteY63" fmla="*/ 1047750 h 2481262"/>
              <a:gd name="connsiteX64" fmla="*/ 2566988 w 6610350"/>
              <a:gd name="connsiteY64" fmla="*/ 1081087 h 2481262"/>
              <a:gd name="connsiteX65" fmla="*/ 2562225 w 6610350"/>
              <a:gd name="connsiteY65" fmla="*/ 1123950 h 2481262"/>
              <a:gd name="connsiteX66" fmla="*/ 2609850 w 6610350"/>
              <a:gd name="connsiteY66" fmla="*/ 1123950 h 2481262"/>
              <a:gd name="connsiteX67" fmla="*/ 2609850 w 6610350"/>
              <a:gd name="connsiteY67" fmla="*/ 1162050 h 2481262"/>
              <a:gd name="connsiteX68" fmla="*/ 2609850 w 6610350"/>
              <a:gd name="connsiteY68" fmla="*/ 1162050 h 2481262"/>
              <a:gd name="connsiteX69" fmla="*/ 2638425 w 6610350"/>
              <a:gd name="connsiteY69" fmla="*/ 1185862 h 2481262"/>
              <a:gd name="connsiteX70" fmla="*/ 2638425 w 6610350"/>
              <a:gd name="connsiteY70" fmla="*/ 1185862 h 2481262"/>
              <a:gd name="connsiteX71" fmla="*/ 2662238 w 6610350"/>
              <a:gd name="connsiteY71" fmla="*/ 1228725 h 2481262"/>
              <a:gd name="connsiteX72" fmla="*/ 2800350 w 6610350"/>
              <a:gd name="connsiteY72" fmla="*/ 1233487 h 2481262"/>
              <a:gd name="connsiteX73" fmla="*/ 2805113 w 6610350"/>
              <a:gd name="connsiteY73" fmla="*/ 1266825 h 2481262"/>
              <a:gd name="connsiteX74" fmla="*/ 2881313 w 6610350"/>
              <a:gd name="connsiteY74" fmla="*/ 1266825 h 2481262"/>
              <a:gd name="connsiteX75" fmla="*/ 2876550 w 6610350"/>
              <a:gd name="connsiteY75" fmla="*/ 1290637 h 2481262"/>
              <a:gd name="connsiteX76" fmla="*/ 2876550 w 6610350"/>
              <a:gd name="connsiteY76" fmla="*/ 1290637 h 2481262"/>
              <a:gd name="connsiteX77" fmla="*/ 2909888 w 6610350"/>
              <a:gd name="connsiteY77" fmla="*/ 1338262 h 2481262"/>
              <a:gd name="connsiteX78" fmla="*/ 2909888 w 6610350"/>
              <a:gd name="connsiteY78" fmla="*/ 1338262 h 2481262"/>
              <a:gd name="connsiteX79" fmla="*/ 2947988 w 6610350"/>
              <a:gd name="connsiteY79" fmla="*/ 1385887 h 2481262"/>
              <a:gd name="connsiteX80" fmla="*/ 3028950 w 6610350"/>
              <a:gd name="connsiteY80" fmla="*/ 1385887 h 2481262"/>
              <a:gd name="connsiteX81" fmla="*/ 3028950 w 6610350"/>
              <a:gd name="connsiteY81" fmla="*/ 1419225 h 2481262"/>
              <a:gd name="connsiteX82" fmla="*/ 3095625 w 6610350"/>
              <a:gd name="connsiteY82" fmla="*/ 1419225 h 2481262"/>
              <a:gd name="connsiteX83" fmla="*/ 3095625 w 6610350"/>
              <a:gd name="connsiteY83" fmla="*/ 1462087 h 2481262"/>
              <a:gd name="connsiteX84" fmla="*/ 3162300 w 6610350"/>
              <a:gd name="connsiteY84" fmla="*/ 1462087 h 2481262"/>
              <a:gd name="connsiteX85" fmla="*/ 3162300 w 6610350"/>
              <a:gd name="connsiteY85" fmla="*/ 1485900 h 2481262"/>
              <a:gd name="connsiteX86" fmla="*/ 3257550 w 6610350"/>
              <a:gd name="connsiteY86" fmla="*/ 1485900 h 2481262"/>
              <a:gd name="connsiteX87" fmla="*/ 3252788 w 6610350"/>
              <a:gd name="connsiteY87" fmla="*/ 1538287 h 2481262"/>
              <a:gd name="connsiteX88" fmla="*/ 3314700 w 6610350"/>
              <a:gd name="connsiteY88" fmla="*/ 1543050 h 2481262"/>
              <a:gd name="connsiteX89" fmla="*/ 3314700 w 6610350"/>
              <a:gd name="connsiteY89" fmla="*/ 1543050 h 2481262"/>
              <a:gd name="connsiteX90" fmla="*/ 3405188 w 6610350"/>
              <a:gd name="connsiteY90" fmla="*/ 1581150 h 2481262"/>
              <a:gd name="connsiteX91" fmla="*/ 3405188 w 6610350"/>
              <a:gd name="connsiteY91" fmla="*/ 1614487 h 2481262"/>
              <a:gd name="connsiteX92" fmla="*/ 3586163 w 6610350"/>
              <a:gd name="connsiteY92" fmla="*/ 1614487 h 2481262"/>
              <a:gd name="connsiteX93" fmla="*/ 3586163 w 6610350"/>
              <a:gd name="connsiteY93" fmla="*/ 1638300 h 2481262"/>
              <a:gd name="connsiteX94" fmla="*/ 3643313 w 6610350"/>
              <a:gd name="connsiteY94" fmla="*/ 1633537 h 2481262"/>
              <a:gd name="connsiteX95" fmla="*/ 3648051 w 6610350"/>
              <a:gd name="connsiteY95" fmla="*/ 1680915 h 2481262"/>
              <a:gd name="connsiteX96" fmla="*/ 3724275 w 6610350"/>
              <a:gd name="connsiteY96" fmla="*/ 1666875 h 2481262"/>
              <a:gd name="connsiteX97" fmla="*/ 3762178 w 6610350"/>
              <a:gd name="connsiteY97" fmla="*/ 1728467 h 2481262"/>
              <a:gd name="connsiteX98" fmla="*/ 3814763 w 6610350"/>
              <a:gd name="connsiteY98" fmla="*/ 1704975 h 2481262"/>
              <a:gd name="connsiteX99" fmla="*/ 3814763 w 6610350"/>
              <a:gd name="connsiteY99" fmla="*/ 1757362 h 2481262"/>
              <a:gd name="connsiteX100" fmla="*/ 3890963 w 6610350"/>
              <a:gd name="connsiteY100" fmla="*/ 1762125 h 2481262"/>
              <a:gd name="connsiteX101" fmla="*/ 3881438 w 6610350"/>
              <a:gd name="connsiteY101" fmla="*/ 1800225 h 2481262"/>
              <a:gd name="connsiteX102" fmla="*/ 3952875 w 6610350"/>
              <a:gd name="connsiteY102" fmla="*/ 1804987 h 2481262"/>
              <a:gd name="connsiteX103" fmla="*/ 3957638 w 6610350"/>
              <a:gd name="connsiteY103" fmla="*/ 1862137 h 2481262"/>
              <a:gd name="connsiteX104" fmla="*/ 4029075 w 6610350"/>
              <a:gd name="connsiteY104" fmla="*/ 1862137 h 2481262"/>
              <a:gd name="connsiteX105" fmla="*/ 4029075 w 6610350"/>
              <a:gd name="connsiteY105" fmla="*/ 1924050 h 2481262"/>
              <a:gd name="connsiteX106" fmla="*/ 4100513 w 6610350"/>
              <a:gd name="connsiteY106" fmla="*/ 1924050 h 2481262"/>
              <a:gd name="connsiteX107" fmla="*/ 4143375 w 6610350"/>
              <a:gd name="connsiteY107" fmla="*/ 1924050 h 2481262"/>
              <a:gd name="connsiteX108" fmla="*/ 4138613 w 6610350"/>
              <a:gd name="connsiteY108" fmla="*/ 1966912 h 2481262"/>
              <a:gd name="connsiteX109" fmla="*/ 4214813 w 6610350"/>
              <a:gd name="connsiteY109" fmla="*/ 1971675 h 2481262"/>
              <a:gd name="connsiteX110" fmla="*/ 4214813 w 6610350"/>
              <a:gd name="connsiteY110" fmla="*/ 2014537 h 2481262"/>
              <a:gd name="connsiteX111" fmla="*/ 4319588 w 6610350"/>
              <a:gd name="connsiteY111" fmla="*/ 2014537 h 2481262"/>
              <a:gd name="connsiteX112" fmla="*/ 4319588 w 6610350"/>
              <a:gd name="connsiteY112" fmla="*/ 2014537 h 2481262"/>
              <a:gd name="connsiteX113" fmla="*/ 4362451 w 6610350"/>
              <a:gd name="connsiteY113" fmla="*/ 2038350 h 2481262"/>
              <a:gd name="connsiteX114" fmla="*/ 4410075 w 6610350"/>
              <a:gd name="connsiteY114" fmla="*/ 2095500 h 2481262"/>
              <a:gd name="connsiteX115" fmla="*/ 4605338 w 6610350"/>
              <a:gd name="connsiteY115" fmla="*/ 2105025 h 2481262"/>
              <a:gd name="connsiteX116" fmla="*/ 4605338 w 6610350"/>
              <a:gd name="connsiteY116" fmla="*/ 2105025 h 2481262"/>
              <a:gd name="connsiteX117" fmla="*/ 4605338 w 6610350"/>
              <a:gd name="connsiteY117" fmla="*/ 2147887 h 2481262"/>
              <a:gd name="connsiteX118" fmla="*/ 4791075 w 6610350"/>
              <a:gd name="connsiteY118" fmla="*/ 2147887 h 2481262"/>
              <a:gd name="connsiteX119" fmla="*/ 4791075 w 6610350"/>
              <a:gd name="connsiteY119" fmla="*/ 2176462 h 2481262"/>
              <a:gd name="connsiteX120" fmla="*/ 4953000 w 6610350"/>
              <a:gd name="connsiteY120" fmla="*/ 2176462 h 2481262"/>
              <a:gd name="connsiteX121" fmla="*/ 5072063 w 6610350"/>
              <a:gd name="connsiteY121" fmla="*/ 2176462 h 2481262"/>
              <a:gd name="connsiteX122" fmla="*/ 5072063 w 6610350"/>
              <a:gd name="connsiteY122" fmla="*/ 2233612 h 2481262"/>
              <a:gd name="connsiteX123" fmla="*/ 5400675 w 6610350"/>
              <a:gd name="connsiteY123" fmla="*/ 2233612 h 2481262"/>
              <a:gd name="connsiteX124" fmla="*/ 5400675 w 6610350"/>
              <a:gd name="connsiteY124" fmla="*/ 2233612 h 2481262"/>
              <a:gd name="connsiteX125" fmla="*/ 5500688 w 6610350"/>
              <a:gd name="connsiteY125" fmla="*/ 2233612 h 2481262"/>
              <a:gd name="connsiteX126" fmla="*/ 5500688 w 6610350"/>
              <a:gd name="connsiteY126" fmla="*/ 2305050 h 2481262"/>
              <a:gd name="connsiteX127" fmla="*/ 5586413 w 6610350"/>
              <a:gd name="connsiteY127" fmla="*/ 2305050 h 2481262"/>
              <a:gd name="connsiteX128" fmla="*/ 5586413 w 6610350"/>
              <a:gd name="connsiteY128" fmla="*/ 2328862 h 2481262"/>
              <a:gd name="connsiteX129" fmla="*/ 5629275 w 6610350"/>
              <a:gd name="connsiteY129" fmla="*/ 2328862 h 2481262"/>
              <a:gd name="connsiteX130" fmla="*/ 5629275 w 6610350"/>
              <a:gd name="connsiteY130" fmla="*/ 2390775 h 2481262"/>
              <a:gd name="connsiteX131" fmla="*/ 6134100 w 6610350"/>
              <a:gd name="connsiteY131" fmla="*/ 2390775 h 2481262"/>
              <a:gd name="connsiteX132" fmla="*/ 6134100 w 6610350"/>
              <a:gd name="connsiteY132" fmla="*/ 2481262 h 2481262"/>
              <a:gd name="connsiteX133" fmla="*/ 6610350 w 6610350"/>
              <a:gd name="connsiteY133" fmla="*/ 2481262 h 2481262"/>
              <a:gd name="connsiteX0" fmla="*/ 0 w 6610350"/>
              <a:gd name="connsiteY0" fmla="*/ 4762 h 2481262"/>
              <a:gd name="connsiteX1" fmla="*/ 90488 w 6610350"/>
              <a:gd name="connsiteY1" fmla="*/ 0 h 2481262"/>
              <a:gd name="connsiteX2" fmla="*/ 90488 w 6610350"/>
              <a:gd name="connsiteY2" fmla="*/ 33337 h 2481262"/>
              <a:gd name="connsiteX3" fmla="*/ 133350 w 6610350"/>
              <a:gd name="connsiteY3" fmla="*/ 33337 h 2481262"/>
              <a:gd name="connsiteX4" fmla="*/ 133350 w 6610350"/>
              <a:gd name="connsiteY4" fmla="*/ 66675 h 2481262"/>
              <a:gd name="connsiteX5" fmla="*/ 209550 w 6610350"/>
              <a:gd name="connsiteY5" fmla="*/ 66675 h 2481262"/>
              <a:gd name="connsiteX6" fmla="*/ 204788 w 6610350"/>
              <a:gd name="connsiteY6" fmla="*/ 95250 h 2481262"/>
              <a:gd name="connsiteX7" fmla="*/ 361950 w 6610350"/>
              <a:gd name="connsiteY7" fmla="*/ 104775 h 2481262"/>
              <a:gd name="connsiteX8" fmla="*/ 361950 w 6610350"/>
              <a:gd name="connsiteY8" fmla="*/ 123825 h 2481262"/>
              <a:gd name="connsiteX9" fmla="*/ 423863 w 6610350"/>
              <a:gd name="connsiteY9" fmla="*/ 119062 h 2481262"/>
              <a:gd name="connsiteX10" fmla="*/ 423862 w 6610350"/>
              <a:gd name="connsiteY10" fmla="*/ 166687 h 2481262"/>
              <a:gd name="connsiteX11" fmla="*/ 552450 w 6610350"/>
              <a:gd name="connsiteY11" fmla="*/ 171450 h 2481262"/>
              <a:gd name="connsiteX12" fmla="*/ 557213 w 6610350"/>
              <a:gd name="connsiteY12" fmla="*/ 200025 h 2481262"/>
              <a:gd name="connsiteX13" fmla="*/ 595313 w 6610350"/>
              <a:gd name="connsiteY13" fmla="*/ 204787 h 2481262"/>
              <a:gd name="connsiteX14" fmla="*/ 600075 w 6610350"/>
              <a:gd name="connsiteY14" fmla="*/ 238125 h 2481262"/>
              <a:gd name="connsiteX15" fmla="*/ 642938 w 6610350"/>
              <a:gd name="connsiteY15" fmla="*/ 238125 h 2481262"/>
              <a:gd name="connsiteX16" fmla="*/ 642938 w 6610350"/>
              <a:gd name="connsiteY16" fmla="*/ 276225 h 2481262"/>
              <a:gd name="connsiteX17" fmla="*/ 933450 w 6610350"/>
              <a:gd name="connsiteY17" fmla="*/ 280987 h 2481262"/>
              <a:gd name="connsiteX18" fmla="*/ 938213 w 6610350"/>
              <a:gd name="connsiteY18" fmla="*/ 300037 h 2481262"/>
              <a:gd name="connsiteX19" fmla="*/ 1023938 w 6610350"/>
              <a:gd name="connsiteY19" fmla="*/ 295275 h 2481262"/>
              <a:gd name="connsiteX20" fmla="*/ 1028700 w 6610350"/>
              <a:gd name="connsiteY20" fmla="*/ 357187 h 2481262"/>
              <a:gd name="connsiteX21" fmla="*/ 1147763 w 6610350"/>
              <a:gd name="connsiteY21" fmla="*/ 357187 h 2481262"/>
              <a:gd name="connsiteX22" fmla="*/ 1157288 w 6610350"/>
              <a:gd name="connsiteY22" fmla="*/ 390525 h 2481262"/>
              <a:gd name="connsiteX23" fmla="*/ 1228725 w 6610350"/>
              <a:gd name="connsiteY23" fmla="*/ 390525 h 2481262"/>
              <a:gd name="connsiteX24" fmla="*/ 1228725 w 6610350"/>
              <a:gd name="connsiteY24" fmla="*/ 390525 h 2481262"/>
              <a:gd name="connsiteX25" fmla="*/ 1323975 w 6610350"/>
              <a:gd name="connsiteY25" fmla="*/ 419100 h 2481262"/>
              <a:gd name="connsiteX26" fmla="*/ 1338263 w 6610350"/>
              <a:gd name="connsiteY26" fmla="*/ 471487 h 2481262"/>
              <a:gd name="connsiteX27" fmla="*/ 1400175 w 6610350"/>
              <a:gd name="connsiteY27" fmla="*/ 466725 h 2481262"/>
              <a:gd name="connsiteX28" fmla="*/ 1404938 w 6610350"/>
              <a:gd name="connsiteY28" fmla="*/ 490537 h 2481262"/>
              <a:gd name="connsiteX29" fmla="*/ 1466850 w 6610350"/>
              <a:gd name="connsiteY29" fmla="*/ 495300 h 2481262"/>
              <a:gd name="connsiteX30" fmla="*/ 1471613 w 6610350"/>
              <a:gd name="connsiteY30" fmla="*/ 509587 h 2481262"/>
              <a:gd name="connsiteX31" fmla="*/ 1528763 w 6610350"/>
              <a:gd name="connsiteY31" fmla="*/ 509587 h 2481262"/>
              <a:gd name="connsiteX32" fmla="*/ 1528763 w 6610350"/>
              <a:gd name="connsiteY32" fmla="*/ 557212 h 2481262"/>
              <a:gd name="connsiteX33" fmla="*/ 1714500 w 6610350"/>
              <a:gd name="connsiteY33" fmla="*/ 561974 h 2481262"/>
              <a:gd name="connsiteX34" fmla="*/ 1714500 w 6610350"/>
              <a:gd name="connsiteY34" fmla="*/ 590550 h 2481262"/>
              <a:gd name="connsiteX35" fmla="*/ 1752600 w 6610350"/>
              <a:gd name="connsiteY35" fmla="*/ 590550 h 2481262"/>
              <a:gd name="connsiteX36" fmla="*/ 1762125 w 6610350"/>
              <a:gd name="connsiteY36" fmla="*/ 619125 h 2481262"/>
              <a:gd name="connsiteX37" fmla="*/ 1809750 w 6610350"/>
              <a:gd name="connsiteY37" fmla="*/ 619125 h 2481262"/>
              <a:gd name="connsiteX38" fmla="*/ 1809750 w 6610350"/>
              <a:gd name="connsiteY38" fmla="*/ 647700 h 2481262"/>
              <a:gd name="connsiteX39" fmla="*/ 1847850 w 6610350"/>
              <a:gd name="connsiteY39" fmla="*/ 647700 h 2481262"/>
              <a:gd name="connsiteX40" fmla="*/ 1847850 w 6610350"/>
              <a:gd name="connsiteY40" fmla="*/ 714375 h 2481262"/>
              <a:gd name="connsiteX41" fmla="*/ 1905000 w 6610350"/>
              <a:gd name="connsiteY41" fmla="*/ 714375 h 2481262"/>
              <a:gd name="connsiteX42" fmla="*/ 1919288 w 6610350"/>
              <a:gd name="connsiteY42" fmla="*/ 738187 h 2481262"/>
              <a:gd name="connsiteX43" fmla="*/ 2009775 w 6610350"/>
              <a:gd name="connsiteY43" fmla="*/ 733425 h 2481262"/>
              <a:gd name="connsiteX44" fmla="*/ 2009775 w 6610350"/>
              <a:gd name="connsiteY44" fmla="*/ 804862 h 2481262"/>
              <a:gd name="connsiteX45" fmla="*/ 2038350 w 6610350"/>
              <a:gd name="connsiteY45" fmla="*/ 804862 h 2481262"/>
              <a:gd name="connsiteX46" fmla="*/ 2038350 w 6610350"/>
              <a:gd name="connsiteY46" fmla="*/ 823912 h 2481262"/>
              <a:gd name="connsiteX47" fmla="*/ 2038350 w 6610350"/>
              <a:gd name="connsiteY47" fmla="*/ 823912 h 2481262"/>
              <a:gd name="connsiteX48" fmla="*/ 2071688 w 6610350"/>
              <a:gd name="connsiteY48" fmla="*/ 852487 h 2481262"/>
              <a:gd name="connsiteX49" fmla="*/ 2071688 w 6610350"/>
              <a:gd name="connsiteY49" fmla="*/ 852487 h 2481262"/>
              <a:gd name="connsiteX50" fmla="*/ 2100263 w 6610350"/>
              <a:gd name="connsiteY50" fmla="*/ 885825 h 2481262"/>
              <a:gd name="connsiteX51" fmla="*/ 2190750 w 6610350"/>
              <a:gd name="connsiteY51" fmla="*/ 885825 h 2481262"/>
              <a:gd name="connsiteX52" fmla="*/ 2195513 w 6610350"/>
              <a:gd name="connsiteY52" fmla="*/ 933450 h 2481262"/>
              <a:gd name="connsiteX53" fmla="*/ 2247900 w 6610350"/>
              <a:gd name="connsiteY53" fmla="*/ 923925 h 2481262"/>
              <a:gd name="connsiteX54" fmla="*/ 2247900 w 6610350"/>
              <a:gd name="connsiteY54" fmla="*/ 966787 h 2481262"/>
              <a:gd name="connsiteX55" fmla="*/ 2352675 w 6610350"/>
              <a:gd name="connsiteY55" fmla="*/ 952500 h 2481262"/>
              <a:gd name="connsiteX56" fmla="*/ 2347913 w 6610350"/>
              <a:gd name="connsiteY56" fmla="*/ 985837 h 2481262"/>
              <a:gd name="connsiteX57" fmla="*/ 2400300 w 6610350"/>
              <a:gd name="connsiteY57" fmla="*/ 990600 h 2481262"/>
              <a:gd name="connsiteX58" fmla="*/ 2400300 w 6610350"/>
              <a:gd name="connsiteY58" fmla="*/ 990600 h 2481262"/>
              <a:gd name="connsiteX59" fmla="*/ 2400300 w 6610350"/>
              <a:gd name="connsiteY59" fmla="*/ 1019175 h 2481262"/>
              <a:gd name="connsiteX60" fmla="*/ 2476500 w 6610350"/>
              <a:gd name="connsiteY60" fmla="*/ 1009650 h 2481262"/>
              <a:gd name="connsiteX61" fmla="*/ 2476500 w 6610350"/>
              <a:gd name="connsiteY61" fmla="*/ 1047750 h 2481262"/>
              <a:gd name="connsiteX62" fmla="*/ 2500313 w 6610350"/>
              <a:gd name="connsiteY62" fmla="*/ 1047750 h 2481262"/>
              <a:gd name="connsiteX63" fmla="*/ 2500313 w 6610350"/>
              <a:gd name="connsiteY63" fmla="*/ 1047750 h 2481262"/>
              <a:gd name="connsiteX64" fmla="*/ 2566988 w 6610350"/>
              <a:gd name="connsiteY64" fmla="*/ 1081087 h 2481262"/>
              <a:gd name="connsiteX65" fmla="*/ 2562225 w 6610350"/>
              <a:gd name="connsiteY65" fmla="*/ 1123950 h 2481262"/>
              <a:gd name="connsiteX66" fmla="*/ 2609850 w 6610350"/>
              <a:gd name="connsiteY66" fmla="*/ 1123950 h 2481262"/>
              <a:gd name="connsiteX67" fmla="*/ 2609850 w 6610350"/>
              <a:gd name="connsiteY67" fmla="*/ 1162050 h 2481262"/>
              <a:gd name="connsiteX68" fmla="*/ 2609850 w 6610350"/>
              <a:gd name="connsiteY68" fmla="*/ 1162050 h 2481262"/>
              <a:gd name="connsiteX69" fmla="*/ 2638425 w 6610350"/>
              <a:gd name="connsiteY69" fmla="*/ 1185862 h 2481262"/>
              <a:gd name="connsiteX70" fmla="*/ 2638425 w 6610350"/>
              <a:gd name="connsiteY70" fmla="*/ 1185862 h 2481262"/>
              <a:gd name="connsiteX71" fmla="*/ 2662238 w 6610350"/>
              <a:gd name="connsiteY71" fmla="*/ 1228725 h 2481262"/>
              <a:gd name="connsiteX72" fmla="*/ 2800350 w 6610350"/>
              <a:gd name="connsiteY72" fmla="*/ 1233487 h 2481262"/>
              <a:gd name="connsiteX73" fmla="*/ 2805113 w 6610350"/>
              <a:gd name="connsiteY73" fmla="*/ 1266825 h 2481262"/>
              <a:gd name="connsiteX74" fmla="*/ 2881313 w 6610350"/>
              <a:gd name="connsiteY74" fmla="*/ 1266825 h 2481262"/>
              <a:gd name="connsiteX75" fmla="*/ 2876550 w 6610350"/>
              <a:gd name="connsiteY75" fmla="*/ 1290637 h 2481262"/>
              <a:gd name="connsiteX76" fmla="*/ 2876550 w 6610350"/>
              <a:gd name="connsiteY76" fmla="*/ 1290637 h 2481262"/>
              <a:gd name="connsiteX77" fmla="*/ 2909888 w 6610350"/>
              <a:gd name="connsiteY77" fmla="*/ 1338262 h 2481262"/>
              <a:gd name="connsiteX78" fmla="*/ 2909888 w 6610350"/>
              <a:gd name="connsiteY78" fmla="*/ 1338262 h 2481262"/>
              <a:gd name="connsiteX79" fmla="*/ 2947988 w 6610350"/>
              <a:gd name="connsiteY79" fmla="*/ 1385887 h 2481262"/>
              <a:gd name="connsiteX80" fmla="*/ 3028950 w 6610350"/>
              <a:gd name="connsiteY80" fmla="*/ 1385887 h 2481262"/>
              <a:gd name="connsiteX81" fmla="*/ 3028950 w 6610350"/>
              <a:gd name="connsiteY81" fmla="*/ 1419225 h 2481262"/>
              <a:gd name="connsiteX82" fmla="*/ 3095625 w 6610350"/>
              <a:gd name="connsiteY82" fmla="*/ 1419225 h 2481262"/>
              <a:gd name="connsiteX83" fmla="*/ 3095625 w 6610350"/>
              <a:gd name="connsiteY83" fmla="*/ 1462087 h 2481262"/>
              <a:gd name="connsiteX84" fmla="*/ 3162300 w 6610350"/>
              <a:gd name="connsiteY84" fmla="*/ 1462087 h 2481262"/>
              <a:gd name="connsiteX85" fmla="*/ 3162300 w 6610350"/>
              <a:gd name="connsiteY85" fmla="*/ 1485900 h 2481262"/>
              <a:gd name="connsiteX86" fmla="*/ 3257550 w 6610350"/>
              <a:gd name="connsiteY86" fmla="*/ 1485900 h 2481262"/>
              <a:gd name="connsiteX87" fmla="*/ 3252788 w 6610350"/>
              <a:gd name="connsiteY87" fmla="*/ 1538287 h 2481262"/>
              <a:gd name="connsiteX88" fmla="*/ 3314700 w 6610350"/>
              <a:gd name="connsiteY88" fmla="*/ 1543050 h 2481262"/>
              <a:gd name="connsiteX89" fmla="*/ 3314700 w 6610350"/>
              <a:gd name="connsiteY89" fmla="*/ 1543050 h 2481262"/>
              <a:gd name="connsiteX90" fmla="*/ 3405188 w 6610350"/>
              <a:gd name="connsiteY90" fmla="*/ 1581150 h 2481262"/>
              <a:gd name="connsiteX91" fmla="*/ 3405188 w 6610350"/>
              <a:gd name="connsiteY91" fmla="*/ 1614487 h 2481262"/>
              <a:gd name="connsiteX92" fmla="*/ 3586163 w 6610350"/>
              <a:gd name="connsiteY92" fmla="*/ 1614487 h 2481262"/>
              <a:gd name="connsiteX93" fmla="*/ 3586163 w 6610350"/>
              <a:gd name="connsiteY93" fmla="*/ 1638300 h 2481262"/>
              <a:gd name="connsiteX94" fmla="*/ 3643313 w 6610350"/>
              <a:gd name="connsiteY94" fmla="*/ 1633537 h 2481262"/>
              <a:gd name="connsiteX95" fmla="*/ 3648051 w 6610350"/>
              <a:gd name="connsiteY95" fmla="*/ 1680915 h 2481262"/>
              <a:gd name="connsiteX96" fmla="*/ 3724275 w 6610350"/>
              <a:gd name="connsiteY96" fmla="*/ 1676351 h 2481262"/>
              <a:gd name="connsiteX97" fmla="*/ 3762178 w 6610350"/>
              <a:gd name="connsiteY97" fmla="*/ 1728467 h 2481262"/>
              <a:gd name="connsiteX98" fmla="*/ 3814763 w 6610350"/>
              <a:gd name="connsiteY98" fmla="*/ 1704975 h 2481262"/>
              <a:gd name="connsiteX99" fmla="*/ 3814763 w 6610350"/>
              <a:gd name="connsiteY99" fmla="*/ 1757362 h 2481262"/>
              <a:gd name="connsiteX100" fmla="*/ 3890963 w 6610350"/>
              <a:gd name="connsiteY100" fmla="*/ 1762125 h 2481262"/>
              <a:gd name="connsiteX101" fmla="*/ 3881438 w 6610350"/>
              <a:gd name="connsiteY101" fmla="*/ 1800225 h 2481262"/>
              <a:gd name="connsiteX102" fmla="*/ 3952875 w 6610350"/>
              <a:gd name="connsiteY102" fmla="*/ 1804987 h 2481262"/>
              <a:gd name="connsiteX103" fmla="*/ 3957638 w 6610350"/>
              <a:gd name="connsiteY103" fmla="*/ 1862137 h 2481262"/>
              <a:gd name="connsiteX104" fmla="*/ 4029075 w 6610350"/>
              <a:gd name="connsiteY104" fmla="*/ 1862137 h 2481262"/>
              <a:gd name="connsiteX105" fmla="*/ 4029075 w 6610350"/>
              <a:gd name="connsiteY105" fmla="*/ 1924050 h 2481262"/>
              <a:gd name="connsiteX106" fmla="*/ 4100513 w 6610350"/>
              <a:gd name="connsiteY106" fmla="*/ 1924050 h 2481262"/>
              <a:gd name="connsiteX107" fmla="*/ 4143375 w 6610350"/>
              <a:gd name="connsiteY107" fmla="*/ 1924050 h 2481262"/>
              <a:gd name="connsiteX108" fmla="*/ 4138613 w 6610350"/>
              <a:gd name="connsiteY108" fmla="*/ 1966912 h 2481262"/>
              <a:gd name="connsiteX109" fmla="*/ 4214813 w 6610350"/>
              <a:gd name="connsiteY109" fmla="*/ 1971675 h 2481262"/>
              <a:gd name="connsiteX110" fmla="*/ 4214813 w 6610350"/>
              <a:gd name="connsiteY110" fmla="*/ 2014537 h 2481262"/>
              <a:gd name="connsiteX111" fmla="*/ 4319588 w 6610350"/>
              <a:gd name="connsiteY111" fmla="*/ 2014537 h 2481262"/>
              <a:gd name="connsiteX112" fmla="*/ 4319588 w 6610350"/>
              <a:gd name="connsiteY112" fmla="*/ 2014537 h 2481262"/>
              <a:gd name="connsiteX113" fmla="*/ 4362451 w 6610350"/>
              <a:gd name="connsiteY113" fmla="*/ 2038350 h 2481262"/>
              <a:gd name="connsiteX114" fmla="*/ 4410075 w 6610350"/>
              <a:gd name="connsiteY114" fmla="*/ 2095500 h 2481262"/>
              <a:gd name="connsiteX115" fmla="*/ 4605338 w 6610350"/>
              <a:gd name="connsiteY115" fmla="*/ 2105025 h 2481262"/>
              <a:gd name="connsiteX116" fmla="*/ 4605338 w 6610350"/>
              <a:gd name="connsiteY116" fmla="*/ 2105025 h 2481262"/>
              <a:gd name="connsiteX117" fmla="*/ 4605338 w 6610350"/>
              <a:gd name="connsiteY117" fmla="*/ 2147887 h 2481262"/>
              <a:gd name="connsiteX118" fmla="*/ 4791075 w 6610350"/>
              <a:gd name="connsiteY118" fmla="*/ 2147887 h 2481262"/>
              <a:gd name="connsiteX119" fmla="*/ 4791075 w 6610350"/>
              <a:gd name="connsiteY119" fmla="*/ 2176462 h 2481262"/>
              <a:gd name="connsiteX120" fmla="*/ 4953000 w 6610350"/>
              <a:gd name="connsiteY120" fmla="*/ 2176462 h 2481262"/>
              <a:gd name="connsiteX121" fmla="*/ 5072063 w 6610350"/>
              <a:gd name="connsiteY121" fmla="*/ 2176462 h 2481262"/>
              <a:gd name="connsiteX122" fmla="*/ 5072063 w 6610350"/>
              <a:gd name="connsiteY122" fmla="*/ 2233612 h 2481262"/>
              <a:gd name="connsiteX123" fmla="*/ 5400675 w 6610350"/>
              <a:gd name="connsiteY123" fmla="*/ 2233612 h 2481262"/>
              <a:gd name="connsiteX124" fmla="*/ 5400675 w 6610350"/>
              <a:gd name="connsiteY124" fmla="*/ 2233612 h 2481262"/>
              <a:gd name="connsiteX125" fmla="*/ 5500688 w 6610350"/>
              <a:gd name="connsiteY125" fmla="*/ 2233612 h 2481262"/>
              <a:gd name="connsiteX126" fmla="*/ 5500688 w 6610350"/>
              <a:gd name="connsiteY126" fmla="*/ 2305050 h 2481262"/>
              <a:gd name="connsiteX127" fmla="*/ 5586413 w 6610350"/>
              <a:gd name="connsiteY127" fmla="*/ 2305050 h 2481262"/>
              <a:gd name="connsiteX128" fmla="*/ 5586413 w 6610350"/>
              <a:gd name="connsiteY128" fmla="*/ 2328862 h 2481262"/>
              <a:gd name="connsiteX129" fmla="*/ 5629275 w 6610350"/>
              <a:gd name="connsiteY129" fmla="*/ 2328862 h 2481262"/>
              <a:gd name="connsiteX130" fmla="*/ 5629275 w 6610350"/>
              <a:gd name="connsiteY130" fmla="*/ 2390775 h 2481262"/>
              <a:gd name="connsiteX131" fmla="*/ 6134100 w 6610350"/>
              <a:gd name="connsiteY131" fmla="*/ 2390775 h 2481262"/>
              <a:gd name="connsiteX132" fmla="*/ 6134100 w 6610350"/>
              <a:gd name="connsiteY132" fmla="*/ 2481262 h 2481262"/>
              <a:gd name="connsiteX133" fmla="*/ 6610350 w 6610350"/>
              <a:gd name="connsiteY133" fmla="*/ 2481262 h 2481262"/>
              <a:gd name="connsiteX0" fmla="*/ 0 w 6610350"/>
              <a:gd name="connsiteY0" fmla="*/ 4762 h 2481262"/>
              <a:gd name="connsiteX1" fmla="*/ 90488 w 6610350"/>
              <a:gd name="connsiteY1" fmla="*/ 0 h 2481262"/>
              <a:gd name="connsiteX2" fmla="*/ 90488 w 6610350"/>
              <a:gd name="connsiteY2" fmla="*/ 33337 h 2481262"/>
              <a:gd name="connsiteX3" fmla="*/ 133350 w 6610350"/>
              <a:gd name="connsiteY3" fmla="*/ 33337 h 2481262"/>
              <a:gd name="connsiteX4" fmla="*/ 133350 w 6610350"/>
              <a:gd name="connsiteY4" fmla="*/ 66675 h 2481262"/>
              <a:gd name="connsiteX5" fmla="*/ 209550 w 6610350"/>
              <a:gd name="connsiteY5" fmla="*/ 66675 h 2481262"/>
              <a:gd name="connsiteX6" fmla="*/ 204788 w 6610350"/>
              <a:gd name="connsiteY6" fmla="*/ 95250 h 2481262"/>
              <a:gd name="connsiteX7" fmla="*/ 361950 w 6610350"/>
              <a:gd name="connsiteY7" fmla="*/ 104775 h 2481262"/>
              <a:gd name="connsiteX8" fmla="*/ 361950 w 6610350"/>
              <a:gd name="connsiteY8" fmla="*/ 123825 h 2481262"/>
              <a:gd name="connsiteX9" fmla="*/ 423863 w 6610350"/>
              <a:gd name="connsiteY9" fmla="*/ 119062 h 2481262"/>
              <a:gd name="connsiteX10" fmla="*/ 423862 w 6610350"/>
              <a:gd name="connsiteY10" fmla="*/ 166687 h 2481262"/>
              <a:gd name="connsiteX11" fmla="*/ 552450 w 6610350"/>
              <a:gd name="connsiteY11" fmla="*/ 171450 h 2481262"/>
              <a:gd name="connsiteX12" fmla="*/ 557213 w 6610350"/>
              <a:gd name="connsiteY12" fmla="*/ 200025 h 2481262"/>
              <a:gd name="connsiteX13" fmla="*/ 595313 w 6610350"/>
              <a:gd name="connsiteY13" fmla="*/ 204787 h 2481262"/>
              <a:gd name="connsiteX14" fmla="*/ 600075 w 6610350"/>
              <a:gd name="connsiteY14" fmla="*/ 238125 h 2481262"/>
              <a:gd name="connsiteX15" fmla="*/ 642938 w 6610350"/>
              <a:gd name="connsiteY15" fmla="*/ 238125 h 2481262"/>
              <a:gd name="connsiteX16" fmla="*/ 642938 w 6610350"/>
              <a:gd name="connsiteY16" fmla="*/ 276225 h 2481262"/>
              <a:gd name="connsiteX17" fmla="*/ 933450 w 6610350"/>
              <a:gd name="connsiteY17" fmla="*/ 280987 h 2481262"/>
              <a:gd name="connsiteX18" fmla="*/ 938213 w 6610350"/>
              <a:gd name="connsiteY18" fmla="*/ 300037 h 2481262"/>
              <a:gd name="connsiteX19" fmla="*/ 1023938 w 6610350"/>
              <a:gd name="connsiteY19" fmla="*/ 295275 h 2481262"/>
              <a:gd name="connsiteX20" fmla="*/ 1028700 w 6610350"/>
              <a:gd name="connsiteY20" fmla="*/ 357187 h 2481262"/>
              <a:gd name="connsiteX21" fmla="*/ 1147763 w 6610350"/>
              <a:gd name="connsiteY21" fmla="*/ 357187 h 2481262"/>
              <a:gd name="connsiteX22" fmla="*/ 1157288 w 6610350"/>
              <a:gd name="connsiteY22" fmla="*/ 390525 h 2481262"/>
              <a:gd name="connsiteX23" fmla="*/ 1228725 w 6610350"/>
              <a:gd name="connsiteY23" fmla="*/ 390525 h 2481262"/>
              <a:gd name="connsiteX24" fmla="*/ 1228725 w 6610350"/>
              <a:gd name="connsiteY24" fmla="*/ 390525 h 2481262"/>
              <a:gd name="connsiteX25" fmla="*/ 1323975 w 6610350"/>
              <a:gd name="connsiteY25" fmla="*/ 419100 h 2481262"/>
              <a:gd name="connsiteX26" fmla="*/ 1338263 w 6610350"/>
              <a:gd name="connsiteY26" fmla="*/ 471487 h 2481262"/>
              <a:gd name="connsiteX27" fmla="*/ 1400175 w 6610350"/>
              <a:gd name="connsiteY27" fmla="*/ 466725 h 2481262"/>
              <a:gd name="connsiteX28" fmla="*/ 1404938 w 6610350"/>
              <a:gd name="connsiteY28" fmla="*/ 490537 h 2481262"/>
              <a:gd name="connsiteX29" fmla="*/ 1466850 w 6610350"/>
              <a:gd name="connsiteY29" fmla="*/ 495300 h 2481262"/>
              <a:gd name="connsiteX30" fmla="*/ 1471613 w 6610350"/>
              <a:gd name="connsiteY30" fmla="*/ 509587 h 2481262"/>
              <a:gd name="connsiteX31" fmla="*/ 1528763 w 6610350"/>
              <a:gd name="connsiteY31" fmla="*/ 509587 h 2481262"/>
              <a:gd name="connsiteX32" fmla="*/ 1528763 w 6610350"/>
              <a:gd name="connsiteY32" fmla="*/ 557212 h 2481262"/>
              <a:gd name="connsiteX33" fmla="*/ 1714500 w 6610350"/>
              <a:gd name="connsiteY33" fmla="*/ 561974 h 2481262"/>
              <a:gd name="connsiteX34" fmla="*/ 1714500 w 6610350"/>
              <a:gd name="connsiteY34" fmla="*/ 590550 h 2481262"/>
              <a:gd name="connsiteX35" fmla="*/ 1752600 w 6610350"/>
              <a:gd name="connsiteY35" fmla="*/ 590550 h 2481262"/>
              <a:gd name="connsiteX36" fmla="*/ 1762125 w 6610350"/>
              <a:gd name="connsiteY36" fmla="*/ 619125 h 2481262"/>
              <a:gd name="connsiteX37" fmla="*/ 1809750 w 6610350"/>
              <a:gd name="connsiteY37" fmla="*/ 619125 h 2481262"/>
              <a:gd name="connsiteX38" fmla="*/ 1809750 w 6610350"/>
              <a:gd name="connsiteY38" fmla="*/ 647700 h 2481262"/>
              <a:gd name="connsiteX39" fmla="*/ 1847850 w 6610350"/>
              <a:gd name="connsiteY39" fmla="*/ 647700 h 2481262"/>
              <a:gd name="connsiteX40" fmla="*/ 1847850 w 6610350"/>
              <a:gd name="connsiteY40" fmla="*/ 714375 h 2481262"/>
              <a:gd name="connsiteX41" fmla="*/ 1905000 w 6610350"/>
              <a:gd name="connsiteY41" fmla="*/ 714375 h 2481262"/>
              <a:gd name="connsiteX42" fmla="*/ 1919288 w 6610350"/>
              <a:gd name="connsiteY42" fmla="*/ 738187 h 2481262"/>
              <a:gd name="connsiteX43" fmla="*/ 2009775 w 6610350"/>
              <a:gd name="connsiteY43" fmla="*/ 733425 h 2481262"/>
              <a:gd name="connsiteX44" fmla="*/ 2009775 w 6610350"/>
              <a:gd name="connsiteY44" fmla="*/ 804862 h 2481262"/>
              <a:gd name="connsiteX45" fmla="*/ 2038350 w 6610350"/>
              <a:gd name="connsiteY45" fmla="*/ 804862 h 2481262"/>
              <a:gd name="connsiteX46" fmla="*/ 2038350 w 6610350"/>
              <a:gd name="connsiteY46" fmla="*/ 823912 h 2481262"/>
              <a:gd name="connsiteX47" fmla="*/ 2038350 w 6610350"/>
              <a:gd name="connsiteY47" fmla="*/ 823912 h 2481262"/>
              <a:gd name="connsiteX48" fmla="*/ 2071688 w 6610350"/>
              <a:gd name="connsiteY48" fmla="*/ 852487 h 2481262"/>
              <a:gd name="connsiteX49" fmla="*/ 2071688 w 6610350"/>
              <a:gd name="connsiteY49" fmla="*/ 852487 h 2481262"/>
              <a:gd name="connsiteX50" fmla="*/ 2100263 w 6610350"/>
              <a:gd name="connsiteY50" fmla="*/ 885825 h 2481262"/>
              <a:gd name="connsiteX51" fmla="*/ 2190750 w 6610350"/>
              <a:gd name="connsiteY51" fmla="*/ 885825 h 2481262"/>
              <a:gd name="connsiteX52" fmla="*/ 2195513 w 6610350"/>
              <a:gd name="connsiteY52" fmla="*/ 933450 h 2481262"/>
              <a:gd name="connsiteX53" fmla="*/ 2247900 w 6610350"/>
              <a:gd name="connsiteY53" fmla="*/ 923925 h 2481262"/>
              <a:gd name="connsiteX54" fmla="*/ 2247900 w 6610350"/>
              <a:gd name="connsiteY54" fmla="*/ 966787 h 2481262"/>
              <a:gd name="connsiteX55" fmla="*/ 2352675 w 6610350"/>
              <a:gd name="connsiteY55" fmla="*/ 952500 h 2481262"/>
              <a:gd name="connsiteX56" fmla="*/ 2347913 w 6610350"/>
              <a:gd name="connsiteY56" fmla="*/ 985837 h 2481262"/>
              <a:gd name="connsiteX57" fmla="*/ 2400300 w 6610350"/>
              <a:gd name="connsiteY57" fmla="*/ 990600 h 2481262"/>
              <a:gd name="connsiteX58" fmla="*/ 2400300 w 6610350"/>
              <a:gd name="connsiteY58" fmla="*/ 990600 h 2481262"/>
              <a:gd name="connsiteX59" fmla="*/ 2400300 w 6610350"/>
              <a:gd name="connsiteY59" fmla="*/ 1019175 h 2481262"/>
              <a:gd name="connsiteX60" fmla="*/ 2476500 w 6610350"/>
              <a:gd name="connsiteY60" fmla="*/ 1009650 h 2481262"/>
              <a:gd name="connsiteX61" fmla="*/ 2476500 w 6610350"/>
              <a:gd name="connsiteY61" fmla="*/ 1047750 h 2481262"/>
              <a:gd name="connsiteX62" fmla="*/ 2500313 w 6610350"/>
              <a:gd name="connsiteY62" fmla="*/ 1047750 h 2481262"/>
              <a:gd name="connsiteX63" fmla="*/ 2500313 w 6610350"/>
              <a:gd name="connsiteY63" fmla="*/ 1047750 h 2481262"/>
              <a:gd name="connsiteX64" fmla="*/ 2566988 w 6610350"/>
              <a:gd name="connsiteY64" fmla="*/ 1081087 h 2481262"/>
              <a:gd name="connsiteX65" fmla="*/ 2562225 w 6610350"/>
              <a:gd name="connsiteY65" fmla="*/ 1123950 h 2481262"/>
              <a:gd name="connsiteX66" fmla="*/ 2609850 w 6610350"/>
              <a:gd name="connsiteY66" fmla="*/ 1123950 h 2481262"/>
              <a:gd name="connsiteX67" fmla="*/ 2609850 w 6610350"/>
              <a:gd name="connsiteY67" fmla="*/ 1162050 h 2481262"/>
              <a:gd name="connsiteX68" fmla="*/ 2609850 w 6610350"/>
              <a:gd name="connsiteY68" fmla="*/ 1162050 h 2481262"/>
              <a:gd name="connsiteX69" fmla="*/ 2638425 w 6610350"/>
              <a:gd name="connsiteY69" fmla="*/ 1185862 h 2481262"/>
              <a:gd name="connsiteX70" fmla="*/ 2638425 w 6610350"/>
              <a:gd name="connsiteY70" fmla="*/ 1185862 h 2481262"/>
              <a:gd name="connsiteX71" fmla="*/ 2662238 w 6610350"/>
              <a:gd name="connsiteY71" fmla="*/ 1228725 h 2481262"/>
              <a:gd name="connsiteX72" fmla="*/ 2800350 w 6610350"/>
              <a:gd name="connsiteY72" fmla="*/ 1233487 h 2481262"/>
              <a:gd name="connsiteX73" fmla="*/ 2805113 w 6610350"/>
              <a:gd name="connsiteY73" fmla="*/ 1266825 h 2481262"/>
              <a:gd name="connsiteX74" fmla="*/ 2881313 w 6610350"/>
              <a:gd name="connsiteY74" fmla="*/ 1266825 h 2481262"/>
              <a:gd name="connsiteX75" fmla="*/ 2876550 w 6610350"/>
              <a:gd name="connsiteY75" fmla="*/ 1290637 h 2481262"/>
              <a:gd name="connsiteX76" fmla="*/ 2876550 w 6610350"/>
              <a:gd name="connsiteY76" fmla="*/ 1290637 h 2481262"/>
              <a:gd name="connsiteX77" fmla="*/ 2909888 w 6610350"/>
              <a:gd name="connsiteY77" fmla="*/ 1338262 h 2481262"/>
              <a:gd name="connsiteX78" fmla="*/ 2909888 w 6610350"/>
              <a:gd name="connsiteY78" fmla="*/ 1338262 h 2481262"/>
              <a:gd name="connsiteX79" fmla="*/ 2947988 w 6610350"/>
              <a:gd name="connsiteY79" fmla="*/ 1385887 h 2481262"/>
              <a:gd name="connsiteX80" fmla="*/ 3028950 w 6610350"/>
              <a:gd name="connsiteY80" fmla="*/ 1385887 h 2481262"/>
              <a:gd name="connsiteX81" fmla="*/ 3028950 w 6610350"/>
              <a:gd name="connsiteY81" fmla="*/ 1419225 h 2481262"/>
              <a:gd name="connsiteX82" fmla="*/ 3095625 w 6610350"/>
              <a:gd name="connsiteY82" fmla="*/ 1419225 h 2481262"/>
              <a:gd name="connsiteX83" fmla="*/ 3095625 w 6610350"/>
              <a:gd name="connsiteY83" fmla="*/ 1462087 h 2481262"/>
              <a:gd name="connsiteX84" fmla="*/ 3162300 w 6610350"/>
              <a:gd name="connsiteY84" fmla="*/ 1462087 h 2481262"/>
              <a:gd name="connsiteX85" fmla="*/ 3162300 w 6610350"/>
              <a:gd name="connsiteY85" fmla="*/ 1485900 h 2481262"/>
              <a:gd name="connsiteX86" fmla="*/ 3257550 w 6610350"/>
              <a:gd name="connsiteY86" fmla="*/ 1485900 h 2481262"/>
              <a:gd name="connsiteX87" fmla="*/ 3252788 w 6610350"/>
              <a:gd name="connsiteY87" fmla="*/ 1538287 h 2481262"/>
              <a:gd name="connsiteX88" fmla="*/ 3314700 w 6610350"/>
              <a:gd name="connsiteY88" fmla="*/ 1543050 h 2481262"/>
              <a:gd name="connsiteX89" fmla="*/ 3314700 w 6610350"/>
              <a:gd name="connsiteY89" fmla="*/ 1543050 h 2481262"/>
              <a:gd name="connsiteX90" fmla="*/ 3405188 w 6610350"/>
              <a:gd name="connsiteY90" fmla="*/ 1581150 h 2481262"/>
              <a:gd name="connsiteX91" fmla="*/ 3405188 w 6610350"/>
              <a:gd name="connsiteY91" fmla="*/ 1614487 h 2481262"/>
              <a:gd name="connsiteX92" fmla="*/ 3586163 w 6610350"/>
              <a:gd name="connsiteY92" fmla="*/ 1614487 h 2481262"/>
              <a:gd name="connsiteX93" fmla="*/ 3586163 w 6610350"/>
              <a:gd name="connsiteY93" fmla="*/ 1638300 h 2481262"/>
              <a:gd name="connsiteX94" fmla="*/ 3643313 w 6610350"/>
              <a:gd name="connsiteY94" fmla="*/ 1633537 h 2481262"/>
              <a:gd name="connsiteX95" fmla="*/ 3648051 w 6610350"/>
              <a:gd name="connsiteY95" fmla="*/ 1680915 h 2481262"/>
              <a:gd name="connsiteX96" fmla="*/ 3724275 w 6610350"/>
              <a:gd name="connsiteY96" fmla="*/ 1676351 h 2481262"/>
              <a:gd name="connsiteX97" fmla="*/ 3719538 w 6610350"/>
              <a:gd name="connsiteY97" fmla="*/ 1704777 h 2481262"/>
              <a:gd name="connsiteX98" fmla="*/ 3814763 w 6610350"/>
              <a:gd name="connsiteY98" fmla="*/ 1704975 h 2481262"/>
              <a:gd name="connsiteX99" fmla="*/ 3814763 w 6610350"/>
              <a:gd name="connsiteY99" fmla="*/ 1757362 h 2481262"/>
              <a:gd name="connsiteX100" fmla="*/ 3890963 w 6610350"/>
              <a:gd name="connsiteY100" fmla="*/ 1762125 h 2481262"/>
              <a:gd name="connsiteX101" fmla="*/ 3881438 w 6610350"/>
              <a:gd name="connsiteY101" fmla="*/ 1800225 h 2481262"/>
              <a:gd name="connsiteX102" fmla="*/ 3952875 w 6610350"/>
              <a:gd name="connsiteY102" fmla="*/ 1804987 h 2481262"/>
              <a:gd name="connsiteX103" fmla="*/ 3957638 w 6610350"/>
              <a:gd name="connsiteY103" fmla="*/ 1862137 h 2481262"/>
              <a:gd name="connsiteX104" fmla="*/ 4029075 w 6610350"/>
              <a:gd name="connsiteY104" fmla="*/ 1862137 h 2481262"/>
              <a:gd name="connsiteX105" fmla="*/ 4029075 w 6610350"/>
              <a:gd name="connsiteY105" fmla="*/ 1924050 h 2481262"/>
              <a:gd name="connsiteX106" fmla="*/ 4100513 w 6610350"/>
              <a:gd name="connsiteY106" fmla="*/ 1924050 h 2481262"/>
              <a:gd name="connsiteX107" fmla="*/ 4143375 w 6610350"/>
              <a:gd name="connsiteY107" fmla="*/ 1924050 h 2481262"/>
              <a:gd name="connsiteX108" fmla="*/ 4138613 w 6610350"/>
              <a:gd name="connsiteY108" fmla="*/ 1966912 h 2481262"/>
              <a:gd name="connsiteX109" fmla="*/ 4214813 w 6610350"/>
              <a:gd name="connsiteY109" fmla="*/ 1971675 h 2481262"/>
              <a:gd name="connsiteX110" fmla="*/ 4214813 w 6610350"/>
              <a:gd name="connsiteY110" fmla="*/ 2014537 h 2481262"/>
              <a:gd name="connsiteX111" fmla="*/ 4319588 w 6610350"/>
              <a:gd name="connsiteY111" fmla="*/ 2014537 h 2481262"/>
              <a:gd name="connsiteX112" fmla="*/ 4319588 w 6610350"/>
              <a:gd name="connsiteY112" fmla="*/ 2014537 h 2481262"/>
              <a:gd name="connsiteX113" fmla="*/ 4362451 w 6610350"/>
              <a:gd name="connsiteY113" fmla="*/ 2038350 h 2481262"/>
              <a:gd name="connsiteX114" fmla="*/ 4410075 w 6610350"/>
              <a:gd name="connsiteY114" fmla="*/ 2095500 h 2481262"/>
              <a:gd name="connsiteX115" fmla="*/ 4605338 w 6610350"/>
              <a:gd name="connsiteY115" fmla="*/ 2105025 h 2481262"/>
              <a:gd name="connsiteX116" fmla="*/ 4605338 w 6610350"/>
              <a:gd name="connsiteY116" fmla="*/ 2105025 h 2481262"/>
              <a:gd name="connsiteX117" fmla="*/ 4605338 w 6610350"/>
              <a:gd name="connsiteY117" fmla="*/ 2147887 h 2481262"/>
              <a:gd name="connsiteX118" fmla="*/ 4791075 w 6610350"/>
              <a:gd name="connsiteY118" fmla="*/ 2147887 h 2481262"/>
              <a:gd name="connsiteX119" fmla="*/ 4791075 w 6610350"/>
              <a:gd name="connsiteY119" fmla="*/ 2176462 h 2481262"/>
              <a:gd name="connsiteX120" fmla="*/ 4953000 w 6610350"/>
              <a:gd name="connsiteY120" fmla="*/ 2176462 h 2481262"/>
              <a:gd name="connsiteX121" fmla="*/ 5072063 w 6610350"/>
              <a:gd name="connsiteY121" fmla="*/ 2176462 h 2481262"/>
              <a:gd name="connsiteX122" fmla="*/ 5072063 w 6610350"/>
              <a:gd name="connsiteY122" fmla="*/ 2233612 h 2481262"/>
              <a:gd name="connsiteX123" fmla="*/ 5400675 w 6610350"/>
              <a:gd name="connsiteY123" fmla="*/ 2233612 h 2481262"/>
              <a:gd name="connsiteX124" fmla="*/ 5400675 w 6610350"/>
              <a:gd name="connsiteY124" fmla="*/ 2233612 h 2481262"/>
              <a:gd name="connsiteX125" fmla="*/ 5500688 w 6610350"/>
              <a:gd name="connsiteY125" fmla="*/ 2233612 h 2481262"/>
              <a:gd name="connsiteX126" fmla="*/ 5500688 w 6610350"/>
              <a:gd name="connsiteY126" fmla="*/ 2305050 h 2481262"/>
              <a:gd name="connsiteX127" fmla="*/ 5586413 w 6610350"/>
              <a:gd name="connsiteY127" fmla="*/ 2305050 h 2481262"/>
              <a:gd name="connsiteX128" fmla="*/ 5586413 w 6610350"/>
              <a:gd name="connsiteY128" fmla="*/ 2328862 h 2481262"/>
              <a:gd name="connsiteX129" fmla="*/ 5629275 w 6610350"/>
              <a:gd name="connsiteY129" fmla="*/ 2328862 h 2481262"/>
              <a:gd name="connsiteX130" fmla="*/ 5629275 w 6610350"/>
              <a:gd name="connsiteY130" fmla="*/ 2390775 h 2481262"/>
              <a:gd name="connsiteX131" fmla="*/ 6134100 w 6610350"/>
              <a:gd name="connsiteY131" fmla="*/ 2390775 h 2481262"/>
              <a:gd name="connsiteX132" fmla="*/ 6134100 w 6610350"/>
              <a:gd name="connsiteY132" fmla="*/ 2481262 h 2481262"/>
              <a:gd name="connsiteX133" fmla="*/ 6610350 w 6610350"/>
              <a:gd name="connsiteY133" fmla="*/ 2481262 h 2481262"/>
              <a:gd name="connsiteX0" fmla="*/ 0 w 6610350"/>
              <a:gd name="connsiteY0" fmla="*/ 4762 h 2481262"/>
              <a:gd name="connsiteX1" fmla="*/ 90488 w 6610350"/>
              <a:gd name="connsiteY1" fmla="*/ 0 h 2481262"/>
              <a:gd name="connsiteX2" fmla="*/ 90488 w 6610350"/>
              <a:gd name="connsiteY2" fmla="*/ 33337 h 2481262"/>
              <a:gd name="connsiteX3" fmla="*/ 133350 w 6610350"/>
              <a:gd name="connsiteY3" fmla="*/ 33337 h 2481262"/>
              <a:gd name="connsiteX4" fmla="*/ 133350 w 6610350"/>
              <a:gd name="connsiteY4" fmla="*/ 66675 h 2481262"/>
              <a:gd name="connsiteX5" fmla="*/ 209550 w 6610350"/>
              <a:gd name="connsiteY5" fmla="*/ 66675 h 2481262"/>
              <a:gd name="connsiteX6" fmla="*/ 204788 w 6610350"/>
              <a:gd name="connsiteY6" fmla="*/ 95250 h 2481262"/>
              <a:gd name="connsiteX7" fmla="*/ 361950 w 6610350"/>
              <a:gd name="connsiteY7" fmla="*/ 104775 h 2481262"/>
              <a:gd name="connsiteX8" fmla="*/ 361950 w 6610350"/>
              <a:gd name="connsiteY8" fmla="*/ 123825 h 2481262"/>
              <a:gd name="connsiteX9" fmla="*/ 423863 w 6610350"/>
              <a:gd name="connsiteY9" fmla="*/ 119062 h 2481262"/>
              <a:gd name="connsiteX10" fmla="*/ 423862 w 6610350"/>
              <a:gd name="connsiteY10" fmla="*/ 166687 h 2481262"/>
              <a:gd name="connsiteX11" fmla="*/ 552450 w 6610350"/>
              <a:gd name="connsiteY11" fmla="*/ 171450 h 2481262"/>
              <a:gd name="connsiteX12" fmla="*/ 557213 w 6610350"/>
              <a:gd name="connsiteY12" fmla="*/ 200025 h 2481262"/>
              <a:gd name="connsiteX13" fmla="*/ 595313 w 6610350"/>
              <a:gd name="connsiteY13" fmla="*/ 204787 h 2481262"/>
              <a:gd name="connsiteX14" fmla="*/ 600075 w 6610350"/>
              <a:gd name="connsiteY14" fmla="*/ 238125 h 2481262"/>
              <a:gd name="connsiteX15" fmla="*/ 642938 w 6610350"/>
              <a:gd name="connsiteY15" fmla="*/ 238125 h 2481262"/>
              <a:gd name="connsiteX16" fmla="*/ 642938 w 6610350"/>
              <a:gd name="connsiteY16" fmla="*/ 276225 h 2481262"/>
              <a:gd name="connsiteX17" fmla="*/ 933450 w 6610350"/>
              <a:gd name="connsiteY17" fmla="*/ 280987 h 2481262"/>
              <a:gd name="connsiteX18" fmla="*/ 938213 w 6610350"/>
              <a:gd name="connsiteY18" fmla="*/ 300037 h 2481262"/>
              <a:gd name="connsiteX19" fmla="*/ 1023938 w 6610350"/>
              <a:gd name="connsiteY19" fmla="*/ 295275 h 2481262"/>
              <a:gd name="connsiteX20" fmla="*/ 1028700 w 6610350"/>
              <a:gd name="connsiteY20" fmla="*/ 357187 h 2481262"/>
              <a:gd name="connsiteX21" fmla="*/ 1147763 w 6610350"/>
              <a:gd name="connsiteY21" fmla="*/ 357187 h 2481262"/>
              <a:gd name="connsiteX22" fmla="*/ 1157288 w 6610350"/>
              <a:gd name="connsiteY22" fmla="*/ 390525 h 2481262"/>
              <a:gd name="connsiteX23" fmla="*/ 1228725 w 6610350"/>
              <a:gd name="connsiteY23" fmla="*/ 390525 h 2481262"/>
              <a:gd name="connsiteX24" fmla="*/ 1228725 w 6610350"/>
              <a:gd name="connsiteY24" fmla="*/ 390525 h 2481262"/>
              <a:gd name="connsiteX25" fmla="*/ 1323975 w 6610350"/>
              <a:gd name="connsiteY25" fmla="*/ 419100 h 2481262"/>
              <a:gd name="connsiteX26" fmla="*/ 1338263 w 6610350"/>
              <a:gd name="connsiteY26" fmla="*/ 471487 h 2481262"/>
              <a:gd name="connsiteX27" fmla="*/ 1400175 w 6610350"/>
              <a:gd name="connsiteY27" fmla="*/ 466725 h 2481262"/>
              <a:gd name="connsiteX28" fmla="*/ 1404938 w 6610350"/>
              <a:gd name="connsiteY28" fmla="*/ 490537 h 2481262"/>
              <a:gd name="connsiteX29" fmla="*/ 1466850 w 6610350"/>
              <a:gd name="connsiteY29" fmla="*/ 495300 h 2481262"/>
              <a:gd name="connsiteX30" fmla="*/ 1471613 w 6610350"/>
              <a:gd name="connsiteY30" fmla="*/ 509587 h 2481262"/>
              <a:gd name="connsiteX31" fmla="*/ 1528763 w 6610350"/>
              <a:gd name="connsiteY31" fmla="*/ 509587 h 2481262"/>
              <a:gd name="connsiteX32" fmla="*/ 1528763 w 6610350"/>
              <a:gd name="connsiteY32" fmla="*/ 557212 h 2481262"/>
              <a:gd name="connsiteX33" fmla="*/ 1714500 w 6610350"/>
              <a:gd name="connsiteY33" fmla="*/ 561974 h 2481262"/>
              <a:gd name="connsiteX34" fmla="*/ 1714500 w 6610350"/>
              <a:gd name="connsiteY34" fmla="*/ 590550 h 2481262"/>
              <a:gd name="connsiteX35" fmla="*/ 1752600 w 6610350"/>
              <a:gd name="connsiteY35" fmla="*/ 590550 h 2481262"/>
              <a:gd name="connsiteX36" fmla="*/ 1762125 w 6610350"/>
              <a:gd name="connsiteY36" fmla="*/ 619125 h 2481262"/>
              <a:gd name="connsiteX37" fmla="*/ 1809750 w 6610350"/>
              <a:gd name="connsiteY37" fmla="*/ 619125 h 2481262"/>
              <a:gd name="connsiteX38" fmla="*/ 1809750 w 6610350"/>
              <a:gd name="connsiteY38" fmla="*/ 647700 h 2481262"/>
              <a:gd name="connsiteX39" fmla="*/ 1847850 w 6610350"/>
              <a:gd name="connsiteY39" fmla="*/ 647700 h 2481262"/>
              <a:gd name="connsiteX40" fmla="*/ 1847850 w 6610350"/>
              <a:gd name="connsiteY40" fmla="*/ 714375 h 2481262"/>
              <a:gd name="connsiteX41" fmla="*/ 1905000 w 6610350"/>
              <a:gd name="connsiteY41" fmla="*/ 714375 h 2481262"/>
              <a:gd name="connsiteX42" fmla="*/ 1919288 w 6610350"/>
              <a:gd name="connsiteY42" fmla="*/ 738187 h 2481262"/>
              <a:gd name="connsiteX43" fmla="*/ 2009775 w 6610350"/>
              <a:gd name="connsiteY43" fmla="*/ 733425 h 2481262"/>
              <a:gd name="connsiteX44" fmla="*/ 2009775 w 6610350"/>
              <a:gd name="connsiteY44" fmla="*/ 804862 h 2481262"/>
              <a:gd name="connsiteX45" fmla="*/ 2038350 w 6610350"/>
              <a:gd name="connsiteY45" fmla="*/ 804862 h 2481262"/>
              <a:gd name="connsiteX46" fmla="*/ 2038350 w 6610350"/>
              <a:gd name="connsiteY46" fmla="*/ 823912 h 2481262"/>
              <a:gd name="connsiteX47" fmla="*/ 2038350 w 6610350"/>
              <a:gd name="connsiteY47" fmla="*/ 823912 h 2481262"/>
              <a:gd name="connsiteX48" fmla="*/ 2071688 w 6610350"/>
              <a:gd name="connsiteY48" fmla="*/ 852487 h 2481262"/>
              <a:gd name="connsiteX49" fmla="*/ 2071688 w 6610350"/>
              <a:gd name="connsiteY49" fmla="*/ 852487 h 2481262"/>
              <a:gd name="connsiteX50" fmla="*/ 2100263 w 6610350"/>
              <a:gd name="connsiteY50" fmla="*/ 885825 h 2481262"/>
              <a:gd name="connsiteX51" fmla="*/ 2190750 w 6610350"/>
              <a:gd name="connsiteY51" fmla="*/ 885825 h 2481262"/>
              <a:gd name="connsiteX52" fmla="*/ 2195513 w 6610350"/>
              <a:gd name="connsiteY52" fmla="*/ 933450 h 2481262"/>
              <a:gd name="connsiteX53" fmla="*/ 2247900 w 6610350"/>
              <a:gd name="connsiteY53" fmla="*/ 923925 h 2481262"/>
              <a:gd name="connsiteX54" fmla="*/ 2247900 w 6610350"/>
              <a:gd name="connsiteY54" fmla="*/ 966787 h 2481262"/>
              <a:gd name="connsiteX55" fmla="*/ 2352675 w 6610350"/>
              <a:gd name="connsiteY55" fmla="*/ 952500 h 2481262"/>
              <a:gd name="connsiteX56" fmla="*/ 2347913 w 6610350"/>
              <a:gd name="connsiteY56" fmla="*/ 985837 h 2481262"/>
              <a:gd name="connsiteX57" fmla="*/ 2400300 w 6610350"/>
              <a:gd name="connsiteY57" fmla="*/ 990600 h 2481262"/>
              <a:gd name="connsiteX58" fmla="*/ 2400300 w 6610350"/>
              <a:gd name="connsiteY58" fmla="*/ 990600 h 2481262"/>
              <a:gd name="connsiteX59" fmla="*/ 2400300 w 6610350"/>
              <a:gd name="connsiteY59" fmla="*/ 1019175 h 2481262"/>
              <a:gd name="connsiteX60" fmla="*/ 2476500 w 6610350"/>
              <a:gd name="connsiteY60" fmla="*/ 1009650 h 2481262"/>
              <a:gd name="connsiteX61" fmla="*/ 2476500 w 6610350"/>
              <a:gd name="connsiteY61" fmla="*/ 1047750 h 2481262"/>
              <a:gd name="connsiteX62" fmla="*/ 2500313 w 6610350"/>
              <a:gd name="connsiteY62" fmla="*/ 1047750 h 2481262"/>
              <a:gd name="connsiteX63" fmla="*/ 2500313 w 6610350"/>
              <a:gd name="connsiteY63" fmla="*/ 1047750 h 2481262"/>
              <a:gd name="connsiteX64" fmla="*/ 2566988 w 6610350"/>
              <a:gd name="connsiteY64" fmla="*/ 1081087 h 2481262"/>
              <a:gd name="connsiteX65" fmla="*/ 2562225 w 6610350"/>
              <a:gd name="connsiteY65" fmla="*/ 1123950 h 2481262"/>
              <a:gd name="connsiteX66" fmla="*/ 2609850 w 6610350"/>
              <a:gd name="connsiteY66" fmla="*/ 1123950 h 2481262"/>
              <a:gd name="connsiteX67" fmla="*/ 2609850 w 6610350"/>
              <a:gd name="connsiteY67" fmla="*/ 1162050 h 2481262"/>
              <a:gd name="connsiteX68" fmla="*/ 2609850 w 6610350"/>
              <a:gd name="connsiteY68" fmla="*/ 1162050 h 2481262"/>
              <a:gd name="connsiteX69" fmla="*/ 2638425 w 6610350"/>
              <a:gd name="connsiteY69" fmla="*/ 1185862 h 2481262"/>
              <a:gd name="connsiteX70" fmla="*/ 2638425 w 6610350"/>
              <a:gd name="connsiteY70" fmla="*/ 1185862 h 2481262"/>
              <a:gd name="connsiteX71" fmla="*/ 2662238 w 6610350"/>
              <a:gd name="connsiteY71" fmla="*/ 1228725 h 2481262"/>
              <a:gd name="connsiteX72" fmla="*/ 2800350 w 6610350"/>
              <a:gd name="connsiteY72" fmla="*/ 1233487 h 2481262"/>
              <a:gd name="connsiteX73" fmla="*/ 2805113 w 6610350"/>
              <a:gd name="connsiteY73" fmla="*/ 1266825 h 2481262"/>
              <a:gd name="connsiteX74" fmla="*/ 2881313 w 6610350"/>
              <a:gd name="connsiteY74" fmla="*/ 1266825 h 2481262"/>
              <a:gd name="connsiteX75" fmla="*/ 2876550 w 6610350"/>
              <a:gd name="connsiteY75" fmla="*/ 1290637 h 2481262"/>
              <a:gd name="connsiteX76" fmla="*/ 2876550 w 6610350"/>
              <a:gd name="connsiteY76" fmla="*/ 1290637 h 2481262"/>
              <a:gd name="connsiteX77" fmla="*/ 2909888 w 6610350"/>
              <a:gd name="connsiteY77" fmla="*/ 1338262 h 2481262"/>
              <a:gd name="connsiteX78" fmla="*/ 2909888 w 6610350"/>
              <a:gd name="connsiteY78" fmla="*/ 1338262 h 2481262"/>
              <a:gd name="connsiteX79" fmla="*/ 2947988 w 6610350"/>
              <a:gd name="connsiteY79" fmla="*/ 1385887 h 2481262"/>
              <a:gd name="connsiteX80" fmla="*/ 3028950 w 6610350"/>
              <a:gd name="connsiteY80" fmla="*/ 1385887 h 2481262"/>
              <a:gd name="connsiteX81" fmla="*/ 3028950 w 6610350"/>
              <a:gd name="connsiteY81" fmla="*/ 1419225 h 2481262"/>
              <a:gd name="connsiteX82" fmla="*/ 3095625 w 6610350"/>
              <a:gd name="connsiteY82" fmla="*/ 1419225 h 2481262"/>
              <a:gd name="connsiteX83" fmla="*/ 3095625 w 6610350"/>
              <a:gd name="connsiteY83" fmla="*/ 1462087 h 2481262"/>
              <a:gd name="connsiteX84" fmla="*/ 3162300 w 6610350"/>
              <a:gd name="connsiteY84" fmla="*/ 1462087 h 2481262"/>
              <a:gd name="connsiteX85" fmla="*/ 3162300 w 6610350"/>
              <a:gd name="connsiteY85" fmla="*/ 1485900 h 2481262"/>
              <a:gd name="connsiteX86" fmla="*/ 3257550 w 6610350"/>
              <a:gd name="connsiteY86" fmla="*/ 1485900 h 2481262"/>
              <a:gd name="connsiteX87" fmla="*/ 3252788 w 6610350"/>
              <a:gd name="connsiteY87" fmla="*/ 1538287 h 2481262"/>
              <a:gd name="connsiteX88" fmla="*/ 3314700 w 6610350"/>
              <a:gd name="connsiteY88" fmla="*/ 1543050 h 2481262"/>
              <a:gd name="connsiteX89" fmla="*/ 3314700 w 6610350"/>
              <a:gd name="connsiteY89" fmla="*/ 1543050 h 2481262"/>
              <a:gd name="connsiteX90" fmla="*/ 3405188 w 6610350"/>
              <a:gd name="connsiteY90" fmla="*/ 1581150 h 2481262"/>
              <a:gd name="connsiteX91" fmla="*/ 3405188 w 6610350"/>
              <a:gd name="connsiteY91" fmla="*/ 1614487 h 2481262"/>
              <a:gd name="connsiteX92" fmla="*/ 3586163 w 6610350"/>
              <a:gd name="connsiteY92" fmla="*/ 1614487 h 2481262"/>
              <a:gd name="connsiteX93" fmla="*/ 3586163 w 6610350"/>
              <a:gd name="connsiteY93" fmla="*/ 1638300 h 2481262"/>
              <a:gd name="connsiteX94" fmla="*/ 3643313 w 6610350"/>
              <a:gd name="connsiteY94" fmla="*/ 1633537 h 2481262"/>
              <a:gd name="connsiteX95" fmla="*/ 3648051 w 6610350"/>
              <a:gd name="connsiteY95" fmla="*/ 1680915 h 2481262"/>
              <a:gd name="connsiteX96" fmla="*/ 3724275 w 6610350"/>
              <a:gd name="connsiteY96" fmla="*/ 1676351 h 2481262"/>
              <a:gd name="connsiteX97" fmla="*/ 3733752 w 6610350"/>
              <a:gd name="connsiteY97" fmla="*/ 1704777 h 2481262"/>
              <a:gd name="connsiteX98" fmla="*/ 3814763 w 6610350"/>
              <a:gd name="connsiteY98" fmla="*/ 1704975 h 2481262"/>
              <a:gd name="connsiteX99" fmla="*/ 3814763 w 6610350"/>
              <a:gd name="connsiteY99" fmla="*/ 1757362 h 2481262"/>
              <a:gd name="connsiteX100" fmla="*/ 3890963 w 6610350"/>
              <a:gd name="connsiteY100" fmla="*/ 1762125 h 2481262"/>
              <a:gd name="connsiteX101" fmla="*/ 3881438 w 6610350"/>
              <a:gd name="connsiteY101" fmla="*/ 1800225 h 2481262"/>
              <a:gd name="connsiteX102" fmla="*/ 3952875 w 6610350"/>
              <a:gd name="connsiteY102" fmla="*/ 1804987 h 2481262"/>
              <a:gd name="connsiteX103" fmla="*/ 3957638 w 6610350"/>
              <a:gd name="connsiteY103" fmla="*/ 1862137 h 2481262"/>
              <a:gd name="connsiteX104" fmla="*/ 4029075 w 6610350"/>
              <a:gd name="connsiteY104" fmla="*/ 1862137 h 2481262"/>
              <a:gd name="connsiteX105" fmla="*/ 4029075 w 6610350"/>
              <a:gd name="connsiteY105" fmla="*/ 1924050 h 2481262"/>
              <a:gd name="connsiteX106" fmla="*/ 4100513 w 6610350"/>
              <a:gd name="connsiteY106" fmla="*/ 1924050 h 2481262"/>
              <a:gd name="connsiteX107" fmla="*/ 4143375 w 6610350"/>
              <a:gd name="connsiteY107" fmla="*/ 1924050 h 2481262"/>
              <a:gd name="connsiteX108" fmla="*/ 4138613 w 6610350"/>
              <a:gd name="connsiteY108" fmla="*/ 1966912 h 2481262"/>
              <a:gd name="connsiteX109" fmla="*/ 4214813 w 6610350"/>
              <a:gd name="connsiteY109" fmla="*/ 1971675 h 2481262"/>
              <a:gd name="connsiteX110" fmla="*/ 4214813 w 6610350"/>
              <a:gd name="connsiteY110" fmla="*/ 2014537 h 2481262"/>
              <a:gd name="connsiteX111" fmla="*/ 4319588 w 6610350"/>
              <a:gd name="connsiteY111" fmla="*/ 2014537 h 2481262"/>
              <a:gd name="connsiteX112" fmla="*/ 4319588 w 6610350"/>
              <a:gd name="connsiteY112" fmla="*/ 2014537 h 2481262"/>
              <a:gd name="connsiteX113" fmla="*/ 4362451 w 6610350"/>
              <a:gd name="connsiteY113" fmla="*/ 2038350 h 2481262"/>
              <a:gd name="connsiteX114" fmla="*/ 4410075 w 6610350"/>
              <a:gd name="connsiteY114" fmla="*/ 2095500 h 2481262"/>
              <a:gd name="connsiteX115" fmla="*/ 4605338 w 6610350"/>
              <a:gd name="connsiteY115" fmla="*/ 2105025 h 2481262"/>
              <a:gd name="connsiteX116" fmla="*/ 4605338 w 6610350"/>
              <a:gd name="connsiteY116" fmla="*/ 2105025 h 2481262"/>
              <a:gd name="connsiteX117" fmla="*/ 4605338 w 6610350"/>
              <a:gd name="connsiteY117" fmla="*/ 2147887 h 2481262"/>
              <a:gd name="connsiteX118" fmla="*/ 4791075 w 6610350"/>
              <a:gd name="connsiteY118" fmla="*/ 2147887 h 2481262"/>
              <a:gd name="connsiteX119" fmla="*/ 4791075 w 6610350"/>
              <a:gd name="connsiteY119" fmla="*/ 2176462 h 2481262"/>
              <a:gd name="connsiteX120" fmla="*/ 4953000 w 6610350"/>
              <a:gd name="connsiteY120" fmla="*/ 2176462 h 2481262"/>
              <a:gd name="connsiteX121" fmla="*/ 5072063 w 6610350"/>
              <a:gd name="connsiteY121" fmla="*/ 2176462 h 2481262"/>
              <a:gd name="connsiteX122" fmla="*/ 5072063 w 6610350"/>
              <a:gd name="connsiteY122" fmla="*/ 2233612 h 2481262"/>
              <a:gd name="connsiteX123" fmla="*/ 5400675 w 6610350"/>
              <a:gd name="connsiteY123" fmla="*/ 2233612 h 2481262"/>
              <a:gd name="connsiteX124" fmla="*/ 5400675 w 6610350"/>
              <a:gd name="connsiteY124" fmla="*/ 2233612 h 2481262"/>
              <a:gd name="connsiteX125" fmla="*/ 5500688 w 6610350"/>
              <a:gd name="connsiteY125" fmla="*/ 2233612 h 2481262"/>
              <a:gd name="connsiteX126" fmla="*/ 5500688 w 6610350"/>
              <a:gd name="connsiteY126" fmla="*/ 2305050 h 2481262"/>
              <a:gd name="connsiteX127" fmla="*/ 5586413 w 6610350"/>
              <a:gd name="connsiteY127" fmla="*/ 2305050 h 2481262"/>
              <a:gd name="connsiteX128" fmla="*/ 5586413 w 6610350"/>
              <a:gd name="connsiteY128" fmla="*/ 2328862 h 2481262"/>
              <a:gd name="connsiteX129" fmla="*/ 5629275 w 6610350"/>
              <a:gd name="connsiteY129" fmla="*/ 2328862 h 2481262"/>
              <a:gd name="connsiteX130" fmla="*/ 5629275 w 6610350"/>
              <a:gd name="connsiteY130" fmla="*/ 2390775 h 2481262"/>
              <a:gd name="connsiteX131" fmla="*/ 6134100 w 6610350"/>
              <a:gd name="connsiteY131" fmla="*/ 2390775 h 2481262"/>
              <a:gd name="connsiteX132" fmla="*/ 6134100 w 6610350"/>
              <a:gd name="connsiteY132" fmla="*/ 2481262 h 2481262"/>
              <a:gd name="connsiteX133" fmla="*/ 6610350 w 6610350"/>
              <a:gd name="connsiteY133" fmla="*/ 2481262 h 2481262"/>
              <a:gd name="connsiteX0" fmla="*/ 0 w 6610350"/>
              <a:gd name="connsiteY0" fmla="*/ 4762 h 2481262"/>
              <a:gd name="connsiteX1" fmla="*/ 90488 w 6610350"/>
              <a:gd name="connsiteY1" fmla="*/ 0 h 2481262"/>
              <a:gd name="connsiteX2" fmla="*/ 90488 w 6610350"/>
              <a:gd name="connsiteY2" fmla="*/ 33337 h 2481262"/>
              <a:gd name="connsiteX3" fmla="*/ 133350 w 6610350"/>
              <a:gd name="connsiteY3" fmla="*/ 33337 h 2481262"/>
              <a:gd name="connsiteX4" fmla="*/ 133350 w 6610350"/>
              <a:gd name="connsiteY4" fmla="*/ 66675 h 2481262"/>
              <a:gd name="connsiteX5" fmla="*/ 209550 w 6610350"/>
              <a:gd name="connsiteY5" fmla="*/ 66675 h 2481262"/>
              <a:gd name="connsiteX6" fmla="*/ 204788 w 6610350"/>
              <a:gd name="connsiteY6" fmla="*/ 95250 h 2481262"/>
              <a:gd name="connsiteX7" fmla="*/ 361950 w 6610350"/>
              <a:gd name="connsiteY7" fmla="*/ 104775 h 2481262"/>
              <a:gd name="connsiteX8" fmla="*/ 361950 w 6610350"/>
              <a:gd name="connsiteY8" fmla="*/ 123825 h 2481262"/>
              <a:gd name="connsiteX9" fmla="*/ 423863 w 6610350"/>
              <a:gd name="connsiteY9" fmla="*/ 119062 h 2481262"/>
              <a:gd name="connsiteX10" fmla="*/ 423862 w 6610350"/>
              <a:gd name="connsiteY10" fmla="*/ 166687 h 2481262"/>
              <a:gd name="connsiteX11" fmla="*/ 552450 w 6610350"/>
              <a:gd name="connsiteY11" fmla="*/ 171450 h 2481262"/>
              <a:gd name="connsiteX12" fmla="*/ 557213 w 6610350"/>
              <a:gd name="connsiteY12" fmla="*/ 200025 h 2481262"/>
              <a:gd name="connsiteX13" fmla="*/ 595313 w 6610350"/>
              <a:gd name="connsiteY13" fmla="*/ 204787 h 2481262"/>
              <a:gd name="connsiteX14" fmla="*/ 600075 w 6610350"/>
              <a:gd name="connsiteY14" fmla="*/ 238125 h 2481262"/>
              <a:gd name="connsiteX15" fmla="*/ 642938 w 6610350"/>
              <a:gd name="connsiteY15" fmla="*/ 238125 h 2481262"/>
              <a:gd name="connsiteX16" fmla="*/ 642938 w 6610350"/>
              <a:gd name="connsiteY16" fmla="*/ 276225 h 2481262"/>
              <a:gd name="connsiteX17" fmla="*/ 933450 w 6610350"/>
              <a:gd name="connsiteY17" fmla="*/ 280987 h 2481262"/>
              <a:gd name="connsiteX18" fmla="*/ 938213 w 6610350"/>
              <a:gd name="connsiteY18" fmla="*/ 300037 h 2481262"/>
              <a:gd name="connsiteX19" fmla="*/ 1023938 w 6610350"/>
              <a:gd name="connsiteY19" fmla="*/ 295275 h 2481262"/>
              <a:gd name="connsiteX20" fmla="*/ 1028700 w 6610350"/>
              <a:gd name="connsiteY20" fmla="*/ 357187 h 2481262"/>
              <a:gd name="connsiteX21" fmla="*/ 1147763 w 6610350"/>
              <a:gd name="connsiteY21" fmla="*/ 357187 h 2481262"/>
              <a:gd name="connsiteX22" fmla="*/ 1157288 w 6610350"/>
              <a:gd name="connsiteY22" fmla="*/ 390525 h 2481262"/>
              <a:gd name="connsiteX23" fmla="*/ 1228725 w 6610350"/>
              <a:gd name="connsiteY23" fmla="*/ 390525 h 2481262"/>
              <a:gd name="connsiteX24" fmla="*/ 1228725 w 6610350"/>
              <a:gd name="connsiteY24" fmla="*/ 390525 h 2481262"/>
              <a:gd name="connsiteX25" fmla="*/ 1323975 w 6610350"/>
              <a:gd name="connsiteY25" fmla="*/ 419100 h 2481262"/>
              <a:gd name="connsiteX26" fmla="*/ 1338263 w 6610350"/>
              <a:gd name="connsiteY26" fmla="*/ 471487 h 2481262"/>
              <a:gd name="connsiteX27" fmla="*/ 1400175 w 6610350"/>
              <a:gd name="connsiteY27" fmla="*/ 466725 h 2481262"/>
              <a:gd name="connsiteX28" fmla="*/ 1404938 w 6610350"/>
              <a:gd name="connsiteY28" fmla="*/ 490537 h 2481262"/>
              <a:gd name="connsiteX29" fmla="*/ 1466850 w 6610350"/>
              <a:gd name="connsiteY29" fmla="*/ 495300 h 2481262"/>
              <a:gd name="connsiteX30" fmla="*/ 1471613 w 6610350"/>
              <a:gd name="connsiteY30" fmla="*/ 509587 h 2481262"/>
              <a:gd name="connsiteX31" fmla="*/ 1528763 w 6610350"/>
              <a:gd name="connsiteY31" fmla="*/ 509587 h 2481262"/>
              <a:gd name="connsiteX32" fmla="*/ 1528763 w 6610350"/>
              <a:gd name="connsiteY32" fmla="*/ 557212 h 2481262"/>
              <a:gd name="connsiteX33" fmla="*/ 1714500 w 6610350"/>
              <a:gd name="connsiteY33" fmla="*/ 561974 h 2481262"/>
              <a:gd name="connsiteX34" fmla="*/ 1714500 w 6610350"/>
              <a:gd name="connsiteY34" fmla="*/ 590550 h 2481262"/>
              <a:gd name="connsiteX35" fmla="*/ 1752600 w 6610350"/>
              <a:gd name="connsiteY35" fmla="*/ 590550 h 2481262"/>
              <a:gd name="connsiteX36" fmla="*/ 1762125 w 6610350"/>
              <a:gd name="connsiteY36" fmla="*/ 619125 h 2481262"/>
              <a:gd name="connsiteX37" fmla="*/ 1809750 w 6610350"/>
              <a:gd name="connsiteY37" fmla="*/ 619125 h 2481262"/>
              <a:gd name="connsiteX38" fmla="*/ 1809750 w 6610350"/>
              <a:gd name="connsiteY38" fmla="*/ 647700 h 2481262"/>
              <a:gd name="connsiteX39" fmla="*/ 1847850 w 6610350"/>
              <a:gd name="connsiteY39" fmla="*/ 647700 h 2481262"/>
              <a:gd name="connsiteX40" fmla="*/ 1847850 w 6610350"/>
              <a:gd name="connsiteY40" fmla="*/ 714375 h 2481262"/>
              <a:gd name="connsiteX41" fmla="*/ 1905000 w 6610350"/>
              <a:gd name="connsiteY41" fmla="*/ 714375 h 2481262"/>
              <a:gd name="connsiteX42" fmla="*/ 1919288 w 6610350"/>
              <a:gd name="connsiteY42" fmla="*/ 738187 h 2481262"/>
              <a:gd name="connsiteX43" fmla="*/ 2009775 w 6610350"/>
              <a:gd name="connsiteY43" fmla="*/ 733425 h 2481262"/>
              <a:gd name="connsiteX44" fmla="*/ 2009775 w 6610350"/>
              <a:gd name="connsiteY44" fmla="*/ 804862 h 2481262"/>
              <a:gd name="connsiteX45" fmla="*/ 2038350 w 6610350"/>
              <a:gd name="connsiteY45" fmla="*/ 804862 h 2481262"/>
              <a:gd name="connsiteX46" fmla="*/ 2038350 w 6610350"/>
              <a:gd name="connsiteY46" fmla="*/ 823912 h 2481262"/>
              <a:gd name="connsiteX47" fmla="*/ 2038350 w 6610350"/>
              <a:gd name="connsiteY47" fmla="*/ 823912 h 2481262"/>
              <a:gd name="connsiteX48" fmla="*/ 2071688 w 6610350"/>
              <a:gd name="connsiteY48" fmla="*/ 852487 h 2481262"/>
              <a:gd name="connsiteX49" fmla="*/ 2071688 w 6610350"/>
              <a:gd name="connsiteY49" fmla="*/ 852487 h 2481262"/>
              <a:gd name="connsiteX50" fmla="*/ 2100263 w 6610350"/>
              <a:gd name="connsiteY50" fmla="*/ 885825 h 2481262"/>
              <a:gd name="connsiteX51" fmla="*/ 2190750 w 6610350"/>
              <a:gd name="connsiteY51" fmla="*/ 885825 h 2481262"/>
              <a:gd name="connsiteX52" fmla="*/ 2195513 w 6610350"/>
              <a:gd name="connsiteY52" fmla="*/ 933450 h 2481262"/>
              <a:gd name="connsiteX53" fmla="*/ 2247900 w 6610350"/>
              <a:gd name="connsiteY53" fmla="*/ 923925 h 2481262"/>
              <a:gd name="connsiteX54" fmla="*/ 2247900 w 6610350"/>
              <a:gd name="connsiteY54" fmla="*/ 966787 h 2481262"/>
              <a:gd name="connsiteX55" fmla="*/ 2352675 w 6610350"/>
              <a:gd name="connsiteY55" fmla="*/ 952500 h 2481262"/>
              <a:gd name="connsiteX56" fmla="*/ 2347913 w 6610350"/>
              <a:gd name="connsiteY56" fmla="*/ 985837 h 2481262"/>
              <a:gd name="connsiteX57" fmla="*/ 2400300 w 6610350"/>
              <a:gd name="connsiteY57" fmla="*/ 990600 h 2481262"/>
              <a:gd name="connsiteX58" fmla="*/ 2400300 w 6610350"/>
              <a:gd name="connsiteY58" fmla="*/ 990600 h 2481262"/>
              <a:gd name="connsiteX59" fmla="*/ 2400300 w 6610350"/>
              <a:gd name="connsiteY59" fmla="*/ 1019175 h 2481262"/>
              <a:gd name="connsiteX60" fmla="*/ 2476500 w 6610350"/>
              <a:gd name="connsiteY60" fmla="*/ 1009650 h 2481262"/>
              <a:gd name="connsiteX61" fmla="*/ 2476500 w 6610350"/>
              <a:gd name="connsiteY61" fmla="*/ 1047750 h 2481262"/>
              <a:gd name="connsiteX62" fmla="*/ 2500313 w 6610350"/>
              <a:gd name="connsiteY62" fmla="*/ 1047750 h 2481262"/>
              <a:gd name="connsiteX63" fmla="*/ 2500313 w 6610350"/>
              <a:gd name="connsiteY63" fmla="*/ 1047750 h 2481262"/>
              <a:gd name="connsiteX64" fmla="*/ 2566988 w 6610350"/>
              <a:gd name="connsiteY64" fmla="*/ 1081087 h 2481262"/>
              <a:gd name="connsiteX65" fmla="*/ 2562225 w 6610350"/>
              <a:gd name="connsiteY65" fmla="*/ 1123950 h 2481262"/>
              <a:gd name="connsiteX66" fmla="*/ 2609850 w 6610350"/>
              <a:gd name="connsiteY66" fmla="*/ 1123950 h 2481262"/>
              <a:gd name="connsiteX67" fmla="*/ 2609850 w 6610350"/>
              <a:gd name="connsiteY67" fmla="*/ 1162050 h 2481262"/>
              <a:gd name="connsiteX68" fmla="*/ 2609850 w 6610350"/>
              <a:gd name="connsiteY68" fmla="*/ 1162050 h 2481262"/>
              <a:gd name="connsiteX69" fmla="*/ 2638425 w 6610350"/>
              <a:gd name="connsiteY69" fmla="*/ 1185862 h 2481262"/>
              <a:gd name="connsiteX70" fmla="*/ 2638425 w 6610350"/>
              <a:gd name="connsiteY70" fmla="*/ 1185862 h 2481262"/>
              <a:gd name="connsiteX71" fmla="*/ 2662238 w 6610350"/>
              <a:gd name="connsiteY71" fmla="*/ 1228725 h 2481262"/>
              <a:gd name="connsiteX72" fmla="*/ 2800350 w 6610350"/>
              <a:gd name="connsiteY72" fmla="*/ 1233487 h 2481262"/>
              <a:gd name="connsiteX73" fmla="*/ 2805113 w 6610350"/>
              <a:gd name="connsiteY73" fmla="*/ 1266825 h 2481262"/>
              <a:gd name="connsiteX74" fmla="*/ 2881313 w 6610350"/>
              <a:gd name="connsiteY74" fmla="*/ 1266825 h 2481262"/>
              <a:gd name="connsiteX75" fmla="*/ 2876550 w 6610350"/>
              <a:gd name="connsiteY75" fmla="*/ 1290637 h 2481262"/>
              <a:gd name="connsiteX76" fmla="*/ 2876550 w 6610350"/>
              <a:gd name="connsiteY76" fmla="*/ 1290637 h 2481262"/>
              <a:gd name="connsiteX77" fmla="*/ 2909888 w 6610350"/>
              <a:gd name="connsiteY77" fmla="*/ 1338262 h 2481262"/>
              <a:gd name="connsiteX78" fmla="*/ 2909888 w 6610350"/>
              <a:gd name="connsiteY78" fmla="*/ 1338262 h 2481262"/>
              <a:gd name="connsiteX79" fmla="*/ 2947988 w 6610350"/>
              <a:gd name="connsiteY79" fmla="*/ 1385887 h 2481262"/>
              <a:gd name="connsiteX80" fmla="*/ 3028950 w 6610350"/>
              <a:gd name="connsiteY80" fmla="*/ 1385887 h 2481262"/>
              <a:gd name="connsiteX81" fmla="*/ 3028950 w 6610350"/>
              <a:gd name="connsiteY81" fmla="*/ 1419225 h 2481262"/>
              <a:gd name="connsiteX82" fmla="*/ 3095625 w 6610350"/>
              <a:gd name="connsiteY82" fmla="*/ 1419225 h 2481262"/>
              <a:gd name="connsiteX83" fmla="*/ 3095625 w 6610350"/>
              <a:gd name="connsiteY83" fmla="*/ 1462087 h 2481262"/>
              <a:gd name="connsiteX84" fmla="*/ 3162300 w 6610350"/>
              <a:gd name="connsiteY84" fmla="*/ 1462087 h 2481262"/>
              <a:gd name="connsiteX85" fmla="*/ 3162300 w 6610350"/>
              <a:gd name="connsiteY85" fmla="*/ 1485900 h 2481262"/>
              <a:gd name="connsiteX86" fmla="*/ 3257550 w 6610350"/>
              <a:gd name="connsiteY86" fmla="*/ 1485900 h 2481262"/>
              <a:gd name="connsiteX87" fmla="*/ 3252788 w 6610350"/>
              <a:gd name="connsiteY87" fmla="*/ 1538287 h 2481262"/>
              <a:gd name="connsiteX88" fmla="*/ 3314700 w 6610350"/>
              <a:gd name="connsiteY88" fmla="*/ 1543050 h 2481262"/>
              <a:gd name="connsiteX89" fmla="*/ 3314700 w 6610350"/>
              <a:gd name="connsiteY89" fmla="*/ 1543050 h 2481262"/>
              <a:gd name="connsiteX90" fmla="*/ 3405188 w 6610350"/>
              <a:gd name="connsiteY90" fmla="*/ 1581150 h 2481262"/>
              <a:gd name="connsiteX91" fmla="*/ 3405188 w 6610350"/>
              <a:gd name="connsiteY91" fmla="*/ 1614487 h 2481262"/>
              <a:gd name="connsiteX92" fmla="*/ 3586163 w 6610350"/>
              <a:gd name="connsiteY92" fmla="*/ 1614487 h 2481262"/>
              <a:gd name="connsiteX93" fmla="*/ 3586163 w 6610350"/>
              <a:gd name="connsiteY93" fmla="*/ 1638300 h 2481262"/>
              <a:gd name="connsiteX94" fmla="*/ 3643313 w 6610350"/>
              <a:gd name="connsiteY94" fmla="*/ 1633537 h 2481262"/>
              <a:gd name="connsiteX95" fmla="*/ 3648051 w 6610350"/>
              <a:gd name="connsiteY95" fmla="*/ 1680915 h 2481262"/>
              <a:gd name="connsiteX96" fmla="*/ 3724275 w 6610350"/>
              <a:gd name="connsiteY96" fmla="*/ 1676351 h 2481262"/>
              <a:gd name="connsiteX97" fmla="*/ 3729014 w 6610350"/>
              <a:gd name="connsiteY97" fmla="*/ 1714253 h 2481262"/>
              <a:gd name="connsiteX98" fmla="*/ 3814763 w 6610350"/>
              <a:gd name="connsiteY98" fmla="*/ 1704975 h 2481262"/>
              <a:gd name="connsiteX99" fmla="*/ 3814763 w 6610350"/>
              <a:gd name="connsiteY99" fmla="*/ 1757362 h 2481262"/>
              <a:gd name="connsiteX100" fmla="*/ 3890963 w 6610350"/>
              <a:gd name="connsiteY100" fmla="*/ 1762125 h 2481262"/>
              <a:gd name="connsiteX101" fmla="*/ 3881438 w 6610350"/>
              <a:gd name="connsiteY101" fmla="*/ 1800225 h 2481262"/>
              <a:gd name="connsiteX102" fmla="*/ 3952875 w 6610350"/>
              <a:gd name="connsiteY102" fmla="*/ 1804987 h 2481262"/>
              <a:gd name="connsiteX103" fmla="*/ 3957638 w 6610350"/>
              <a:gd name="connsiteY103" fmla="*/ 1862137 h 2481262"/>
              <a:gd name="connsiteX104" fmla="*/ 4029075 w 6610350"/>
              <a:gd name="connsiteY104" fmla="*/ 1862137 h 2481262"/>
              <a:gd name="connsiteX105" fmla="*/ 4029075 w 6610350"/>
              <a:gd name="connsiteY105" fmla="*/ 1924050 h 2481262"/>
              <a:gd name="connsiteX106" fmla="*/ 4100513 w 6610350"/>
              <a:gd name="connsiteY106" fmla="*/ 1924050 h 2481262"/>
              <a:gd name="connsiteX107" fmla="*/ 4143375 w 6610350"/>
              <a:gd name="connsiteY107" fmla="*/ 1924050 h 2481262"/>
              <a:gd name="connsiteX108" fmla="*/ 4138613 w 6610350"/>
              <a:gd name="connsiteY108" fmla="*/ 1966912 h 2481262"/>
              <a:gd name="connsiteX109" fmla="*/ 4214813 w 6610350"/>
              <a:gd name="connsiteY109" fmla="*/ 1971675 h 2481262"/>
              <a:gd name="connsiteX110" fmla="*/ 4214813 w 6610350"/>
              <a:gd name="connsiteY110" fmla="*/ 2014537 h 2481262"/>
              <a:gd name="connsiteX111" fmla="*/ 4319588 w 6610350"/>
              <a:gd name="connsiteY111" fmla="*/ 2014537 h 2481262"/>
              <a:gd name="connsiteX112" fmla="*/ 4319588 w 6610350"/>
              <a:gd name="connsiteY112" fmla="*/ 2014537 h 2481262"/>
              <a:gd name="connsiteX113" fmla="*/ 4362451 w 6610350"/>
              <a:gd name="connsiteY113" fmla="*/ 2038350 h 2481262"/>
              <a:gd name="connsiteX114" fmla="*/ 4410075 w 6610350"/>
              <a:gd name="connsiteY114" fmla="*/ 2095500 h 2481262"/>
              <a:gd name="connsiteX115" fmla="*/ 4605338 w 6610350"/>
              <a:gd name="connsiteY115" fmla="*/ 2105025 h 2481262"/>
              <a:gd name="connsiteX116" fmla="*/ 4605338 w 6610350"/>
              <a:gd name="connsiteY116" fmla="*/ 2105025 h 2481262"/>
              <a:gd name="connsiteX117" fmla="*/ 4605338 w 6610350"/>
              <a:gd name="connsiteY117" fmla="*/ 2147887 h 2481262"/>
              <a:gd name="connsiteX118" fmla="*/ 4791075 w 6610350"/>
              <a:gd name="connsiteY118" fmla="*/ 2147887 h 2481262"/>
              <a:gd name="connsiteX119" fmla="*/ 4791075 w 6610350"/>
              <a:gd name="connsiteY119" fmla="*/ 2176462 h 2481262"/>
              <a:gd name="connsiteX120" fmla="*/ 4953000 w 6610350"/>
              <a:gd name="connsiteY120" fmla="*/ 2176462 h 2481262"/>
              <a:gd name="connsiteX121" fmla="*/ 5072063 w 6610350"/>
              <a:gd name="connsiteY121" fmla="*/ 2176462 h 2481262"/>
              <a:gd name="connsiteX122" fmla="*/ 5072063 w 6610350"/>
              <a:gd name="connsiteY122" fmla="*/ 2233612 h 2481262"/>
              <a:gd name="connsiteX123" fmla="*/ 5400675 w 6610350"/>
              <a:gd name="connsiteY123" fmla="*/ 2233612 h 2481262"/>
              <a:gd name="connsiteX124" fmla="*/ 5400675 w 6610350"/>
              <a:gd name="connsiteY124" fmla="*/ 2233612 h 2481262"/>
              <a:gd name="connsiteX125" fmla="*/ 5500688 w 6610350"/>
              <a:gd name="connsiteY125" fmla="*/ 2233612 h 2481262"/>
              <a:gd name="connsiteX126" fmla="*/ 5500688 w 6610350"/>
              <a:gd name="connsiteY126" fmla="*/ 2305050 h 2481262"/>
              <a:gd name="connsiteX127" fmla="*/ 5586413 w 6610350"/>
              <a:gd name="connsiteY127" fmla="*/ 2305050 h 2481262"/>
              <a:gd name="connsiteX128" fmla="*/ 5586413 w 6610350"/>
              <a:gd name="connsiteY128" fmla="*/ 2328862 h 2481262"/>
              <a:gd name="connsiteX129" fmla="*/ 5629275 w 6610350"/>
              <a:gd name="connsiteY129" fmla="*/ 2328862 h 2481262"/>
              <a:gd name="connsiteX130" fmla="*/ 5629275 w 6610350"/>
              <a:gd name="connsiteY130" fmla="*/ 2390775 h 2481262"/>
              <a:gd name="connsiteX131" fmla="*/ 6134100 w 6610350"/>
              <a:gd name="connsiteY131" fmla="*/ 2390775 h 2481262"/>
              <a:gd name="connsiteX132" fmla="*/ 6134100 w 6610350"/>
              <a:gd name="connsiteY132" fmla="*/ 2481262 h 2481262"/>
              <a:gd name="connsiteX133" fmla="*/ 6610350 w 6610350"/>
              <a:gd name="connsiteY133" fmla="*/ 2481262 h 2481262"/>
              <a:gd name="connsiteX0" fmla="*/ 0 w 6610350"/>
              <a:gd name="connsiteY0" fmla="*/ 4762 h 2481262"/>
              <a:gd name="connsiteX1" fmla="*/ 90488 w 6610350"/>
              <a:gd name="connsiteY1" fmla="*/ 0 h 2481262"/>
              <a:gd name="connsiteX2" fmla="*/ 90488 w 6610350"/>
              <a:gd name="connsiteY2" fmla="*/ 33337 h 2481262"/>
              <a:gd name="connsiteX3" fmla="*/ 133350 w 6610350"/>
              <a:gd name="connsiteY3" fmla="*/ 33337 h 2481262"/>
              <a:gd name="connsiteX4" fmla="*/ 133350 w 6610350"/>
              <a:gd name="connsiteY4" fmla="*/ 66675 h 2481262"/>
              <a:gd name="connsiteX5" fmla="*/ 209550 w 6610350"/>
              <a:gd name="connsiteY5" fmla="*/ 66675 h 2481262"/>
              <a:gd name="connsiteX6" fmla="*/ 204788 w 6610350"/>
              <a:gd name="connsiteY6" fmla="*/ 95250 h 2481262"/>
              <a:gd name="connsiteX7" fmla="*/ 361950 w 6610350"/>
              <a:gd name="connsiteY7" fmla="*/ 104775 h 2481262"/>
              <a:gd name="connsiteX8" fmla="*/ 361950 w 6610350"/>
              <a:gd name="connsiteY8" fmla="*/ 123825 h 2481262"/>
              <a:gd name="connsiteX9" fmla="*/ 423863 w 6610350"/>
              <a:gd name="connsiteY9" fmla="*/ 119062 h 2481262"/>
              <a:gd name="connsiteX10" fmla="*/ 423862 w 6610350"/>
              <a:gd name="connsiteY10" fmla="*/ 166687 h 2481262"/>
              <a:gd name="connsiteX11" fmla="*/ 552450 w 6610350"/>
              <a:gd name="connsiteY11" fmla="*/ 171450 h 2481262"/>
              <a:gd name="connsiteX12" fmla="*/ 557213 w 6610350"/>
              <a:gd name="connsiteY12" fmla="*/ 200025 h 2481262"/>
              <a:gd name="connsiteX13" fmla="*/ 595313 w 6610350"/>
              <a:gd name="connsiteY13" fmla="*/ 204787 h 2481262"/>
              <a:gd name="connsiteX14" fmla="*/ 600075 w 6610350"/>
              <a:gd name="connsiteY14" fmla="*/ 238125 h 2481262"/>
              <a:gd name="connsiteX15" fmla="*/ 642938 w 6610350"/>
              <a:gd name="connsiteY15" fmla="*/ 238125 h 2481262"/>
              <a:gd name="connsiteX16" fmla="*/ 642938 w 6610350"/>
              <a:gd name="connsiteY16" fmla="*/ 276225 h 2481262"/>
              <a:gd name="connsiteX17" fmla="*/ 933450 w 6610350"/>
              <a:gd name="connsiteY17" fmla="*/ 280987 h 2481262"/>
              <a:gd name="connsiteX18" fmla="*/ 938213 w 6610350"/>
              <a:gd name="connsiteY18" fmla="*/ 300037 h 2481262"/>
              <a:gd name="connsiteX19" fmla="*/ 1023938 w 6610350"/>
              <a:gd name="connsiteY19" fmla="*/ 295275 h 2481262"/>
              <a:gd name="connsiteX20" fmla="*/ 1028700 w 6610350"/>
              <a:gd name="connsiteY20" fmla="*/ 357187 h 2481262"/>
              <a:gd name="connsiteX21" fmla="*/ 1147763 w 6610350"/>
              <a:gd name="connsiteY21" fmla="*/ 357187 h 2481262"/>
              <a:gd name="connsiteX22" fmla="*/ 1157288 w 6610350"/>
              <a:gd name="connsiteY22" fmla="*/ 390525 h 2481262"/>
              <a:gd name="connsiteX23" fmla="*/ 1228725 w 6610350"/>
              <a:gd name="connsiteY23" fmla="*/ 390525 h 2481262"/>
              <a:gd name="connsiteX24" fmla="*/ 1228725 w 6610350"/>
              <a:gd name="connsiteY24" fmla="*/ 390525 h 2481262"/>
              <a:gd name="connsiteX25" fmla="*/ 1323975 w 6610350"/>
              <a:gd name="connsiteY25" fmla="*/ 419100 h 2481262"/>
              <a:gd name="connsiteX26" fmla="*/ 1338263 w 6610350"/>
              <a:gd name="connsiteY26" fmla="*/ 471487 h 2481262"/>
              <a:gd name="connsiteX27" fmla="*/ 1400175 w 6610350"/>
              <a:gd name="connsiteY27" fmla="*/ 466725 h 2481262"/>
              <a:gd name="connsiteX28" fmla="*/ 1404938 w 6610350"/>
              <a:gd name="connsiteY28" fmla="*/ 490537 h 2481262"/>
              <a:gd name="connsiteX29" fmla="*/ 1466850 w 6610350"/>
              <a:gd name="connsiteY29" fmla="*/ 495300 h 2481262"/>
              <a:gd name="connsiteX30" fmla="*/ 1471613 w 6610350"/>
              <a:gd name="connsiteY30" fmla="*/ 509587 h 2481262"/>
              <a:gd name="connsiteX31" fmla="*/ 1528763 w 6610350"/>
              <a:gd name="connsiteY31" fmla="*/ 509587 h 2481262"/>
              <a:gd name="connsiteX32" fmla="*/ 1528763 w 6610350"/>
              <a:gd name="connsiteY32" fmla="*/ 557212 h 2481262"/>
              <a:gd name="connsiteX33" fmla="*/ 1714500 w 6610350"/>
              <a:gd name="connsiteY33" fmla="*/ 561974 h 2481262"/>
              <a:gd name="connsiteX34" fmla="*/ 1714500 w 6610350"/>
              <a:gd name="connsiteY34" fmla="*/ 590550 h 2481262"/>
              <a:gd name="connsiteX35" fmla="*/ 1752600 w 6610350"/>
              <a:gd name="connsiteY35" fmla="*/ 590550 h 2481262"/>
              <a:gd name="connsiteX36" fmla="*/ 1762125 w 6610350"/>
              <a:gd name="connsiteY36" fmla="*/ 619125 h 2481262"/>
              <a:gd name="connsiteX37" fmla="*/ 1809750 w 6610350"/>
              <a:gd name="connsiteY37" fmla="*/ 619125 h 2481262"/>
              <a:gd name="connsiteX38" fmla="*/ 1809750 w 6610350"/>
              <a:gd name="connsiteY38" fmla="*/ 647700 h 2481262"/>
              <a:gd name="connsiteX39" fmla="*/ 1847850 w 6610350"/>
              <a:gd name="connsiteY39" fmla="*/ 647700 h 2481262"/>
              <a:gd name="connsiteX40" fmla="*/ 1847850 w 6610350"/>
              <a:gd name="connsiteY40" fmla="*/ 714375 h 2481262"/>
              <a:gd name="connsiteX41" fmla="*/ 1905000 w 6610350"/>
              <a:gd name="connsiteY41" fmla="*/ 714375 h 2481262"/>
              <a:gd name="connsiteX42" fmla="*/ 1919288 w 6610350"/>
              <a:gd name="connsiteY42" fmla="*/ 738187 h 2481262"/>
              <a:gd name="connsiteX43" fmla="*/ 2009775 w 6610350"/>
              <a:gd name="connsiteY43" fmla="*/ 733425 h 2481262"/>
              <a:gd name="connsiteX44" fmla="*/ 2009775 w 6610350"/>
              <a:gd name="connsiteY44" fmla="*/ 804862 h 2481262"/>
              <a:gd name="connsiteX45" fmla="*/ 2038350 w 6610350"/>
              <a:gd name="connsiteY45" fmla="*/ 804862 h 2481262"/>
              <a:gd name="connsiteX46" fmla="*/ 2038350 w 6610350"/>
              <a:gd name="connsiteY46" fmla="*/ 823912 h 2481262"/>
              <a:gd name="connsiteX47" fmla="*/ 2038350 w 6610350"/>
              <a:gd name="connsiteY47" fmla="*/ 823912 h 2481262"/>
              <a:gd name="connsiteX48" fmla="*/ 2071688 w 6610350"/>
              <a:gd name="connsiteY48" fmla="*/ 852487 h 2481262"/>
              <a:gd name="connsiteX49" fmla="*/ 2071688 w 6610350"/>
              <a:gd name="connsiteY49" fmla="*/ 852487 h 2481262"/>
              <a:gd name="connsiteX50" fmla="*/ 2100263 w 6610350"/>
              <a:gd name="connsiteY50" fmla="*/ 885825 h 2481262"/>
              <a:gd name="connsiteX51" fmla="*/ 2190750 w 6610350"/>
              <a:gd name="connsiteY51" fmla="*/ 885825 h 2481262"/>
              <a:gd name="connsiteX52" fmla="*/ 2195513 w 6610350"/>
              <a:gd name="connsiteY52" fmla="*/ 933450 h 2481262"/>
              <a:gd name="connsiteX53" fmla="*/ 2247900 w 6610350"/>
              <a:gd name="connsiteY53" fmla="*/ 923925 h 2481262"/>
              <a:gd name="connsiteX54" fmla="*/ 2247900 w 6610350"/>
              <a:gd name="connsiteY54" fmla="*/ 966787 h 2481262"/>
              <a:gd name="connsiteX55" fmla="*/ 2352675 w 6610350"/>
              <a:gd name="connsiteY55" fmla="*/ 952500 h 2481262"/>
              <a:gd name="connsiteX56" fmla="*/ 2347913 w 6610350"/>
              <a:gd name="connsiteY56" fmla="*/ 985837 h 2481262"/>
              <a:gd name="connsiteX57" fmla="*/ 2400300 w 6610350"/>
              <a:gd name="connsiteY57" fmla="*/ 990600 h 2481262"/>
              <a:gd name="connsiteX58" fmla="*/ 2400300 w 6610350"/>
              <a:gd name="connsiteY58" fmla="*/ 990600 h 2481262"/>
              <a:gd name="connsiteX59" fmla="*/ 2400300 w 6610350"/>
              <a:gd name="connsiteY59" fmla="*/ 1019175 h 2481262"/>
              <a:gd name="connsiteX60" fmla="*/ 2476500 w 6610350"/>
              <a:gd name="connsiteY60" fmla="*/ 1009650 h 2481262"/>
              <a:gd name="connsiteX61" fmla="*/ 2476500 w 6610350"/>
              <a:gd name="connsiteY61" fmla="*/ 1047750 h 2481262"/>
              <a:gd name="connsiteX62" fmla="*/ 2500313 w 6610350"/>
              <a:gd name="connsiteY62" fmla="*/ 1047750 h 2481262"/>
              <a:gd name="connsiteX63" fmla="*/ 2500313 w 6610350"/>
              <a:gd name="connsiteY63" fmla="*/ 1047750 h 2481262"/>
              <a:gd name="connsiteX64" fmla="*/ 2566988 w 6610350"/>
              <a:gd name="connsiteY64" fmla="*/ 1081087 h 2481262"/>
              <a:gd name="connsiteX65" fmla="*/ 2562225 w 6610350"/>
              <a:gd name="connsiteY65" fmla="*/ 1123950 h 2481262"/>
              <a:gd name="connsiteX66" fmla="*/ 2609850 w 6610350"/>
              <a:gd name="connsiteY66" fmla="*/ 1123950 h 2481262"/>
              <a:gd name="connsiteX67" fmla="*/ 2609850 w 6610350"/>
              <a:gd name="connsiteY67" fmla="*/ 1162050 h 2481262"/>
              <a:gd name="connsiteX68" fmla="*/ 2609850 w 6610350"/>
              <a:gd name="connsiteY68" fmla="*/ 1162050 h 2481262"/>
              <a:gd name="connsiteX69" fmla="*/ 2638425 w 6610350"/>
              <a:gd name="connsiteY69" fmla="*/ 1185862 h 2481262"/>
              <a:gd name="connsiteX70" fmla="*/ 2638425 w 6610350"/>
              <a:gd name="connsiteY70" fmla="*/ 1185862 h 2481262"/>
              <a:gd name="connsiteX71" fmla="*/ 2662238 w 6610350"/>
              <a:gd name="connsiteY71" fmla="*/ 1228725 h 2481262"/>
              <a:gd name="connsiteX72" fmla="*/ 2800350 w 6610350"/>
              <a:gd name="connsiteY72" fmla="*/ 1233487 h 2481262"/>
              <a:gd name="connsiteX73" fmla="*/ 2805113 w 6610350"/>
              <a:gd name="connsiteY73" fmla="*/ 1266825 h 2481262"/>
              <a:gd name="connsiteX74" fmla="*/ 2881313 w 6610350"/>
              <a:gd name="connsiteY74" fmla="*/ 1266825 h 2481262"/>
              <a:gd name="connsiteX75" fmla="*/ 2876550 w 6610350"/>
              <a:gd name="connsiteY75" fmla="*/ 1290637 h 2481262"/>
              <a:gd name="connsiteX76" fmla="*/ 2876550 w 6610350"/>
              <a:gd name="connsiteY76" fmla="*/ 1290637 h 2481262"/>
              <a:gd name="connsiteX77" fmla="*/ 2909888 w 6610350"/>
              <a:gd name="connsiteY77" fmla="*/ 1338262 h 2481262"/>
              <a:gd name="connsiteX78" fmla="*/ 2909888 w 6610350"/>
              <a:gd name="connsiteY78" fmla="*/ 1338262 h 2481262"/>
              <a:gd name="connsiteX79" fmla="*/ 2947988 w 6610350"/>
              <a:gd name="connsiteY79" fmla="*/ 1385887 h 2481262"/>
              <a:gd name="connsiteX80" fmla="*/ 3028950 w 6610350"/>
              <a:gd name="connsiteY80" fmla="*/ 1385887 h 2481262"/>
              <a:gd name="connsiteX81" fmla="*/ 3028950 w 6610350"/>
              <a:gd name="connsiteY81" fmla="*/ 1419225 h 2481262"/>
              <a:gd name="connsiteX82" fmla="*/ 3095625 w 6610350"/>
              <a:gd name="connsiteY82" fmla="*/ 1419225 h 2481262"/>
              <a:gd name="connsiteX83" fmla="*/ 3095625 w 6610350"/>
              <a:gd name="connsiteY83" fmla="*/ 1462087 h 2481262"/>
              <a:gd name="connsiteX84" fmla="*/ 3162300 w 6610350"/>
              <a:gd name="connsiteY84" fmla="*/ 1462087 h 2481262"/>
              <a:gd name="connsiteX85" fmla="*/ 3162300 w 6610350"/>
              <a:gd name="connsiteY85" fmla="*/ 1485900 h 2481262"/>
              <a:gd name="connsiteX86" fmla="*/ 3257550 w 6610350"/>
              <a:gd name="connsiteY86" fmla="*/ 1485900 h 2481262"/>
              <a:gd name="connsiteX87" fmla="*/ 3252788 w 6610350"/>
              <a:gd name="connsiteY87" fmla="*/ 1538287 h 2481262"/>
              <a:gd name="connsiteX88" fmla="*/ 3314700 w 6610350"/>
              <a:gd name="connsiteY88" fmla="*/ 1543050 h 2481262"/>
              <a:gd name="connsiteX89" fmla="*/ 3319438 w 6610350"/>
              <a:gd name="connsiteY89" fmla="*/ 1585690 h 2481262"/>
              <a:gd name="connsiteX90" fmla="*/ 3405188 w 6610350"/>
              <a:gd name="connsiteY90" fmla="*/ 1581150 h 2481262"/>
              <a:gd name="connsiteX91" fmla="*/ 3405188 w 6610350"/>
              <a:gd name="connsiteY91" fmla="*/ 1614487 h 2481262"/>
              <a:gd name="connsiteX92" fmla="*/ 3586163 w 6610350"/>
              <a:gd name="connsiteY92" fmla="*/ 1614487 h 2481262"/>
              <a:gd name="connsiteX93" fmla="*/ 3586163 w 6610350"/>
              <a:gd name="connsiteY93" fmla="*/ 1638300 h 2481262"/>
              <a:gd name="connsiteX94" fmla="*/ 3643313 w 6610350"/>
              <a:gd name="connsiteY94" fmla="*/ 1633537 h 2481262"/>
              <a:gd name="connsiteX95" fmla="*/ 3648051 w 6610350"/>
              <a:gd name="connsiteY95" fmla="*/ 1680915 h 2481262"/>
              <a:gd name="connsiteX96" fmla="*/ 3724275 w 6610350"/>
              <a:gd name="connsiteY96" fmla="*/ 1676351 h 2481262"/>
              <a:gd name="connsiteX97" fmla="*/ 3729014 w 6610350"/>
              <a:gd name="connsiteY97" fmla="*/ 1714253 h 2481262"/>
              <a:gd name="connsiteX98" fmla="*/ 3814763 w 6610350"/>
              <a:gd name="connsiteY98" fmla="*/ 1704975 h 2481262"/>
              <a:gd name="connsiteX99" fmla="*/ 3814763 w 6610350"/>
              <a:gd name="connsiteY99" fmla="*/ 1757362 h 2481262"/>
              <a:gd name="connsiteX100" fmla="*/ 3890963 w 6610350"/>
              <a:gd name="connsiteY100" fmla="*/ 1762125 h 2481262"/>
              <a:gd name="connsiteX101" fmla="*/ 3881438 w 6610350"/>
              <a:gd name="connsiteY101" fmla="*/ 1800225 h 2481262"/>
              <a:gd name="connsiteX102" fmla="*/ 3952875 w 6610350"/>
              <a:gd name="connsiteY102" fmla="*/ 1804987 h 2481262"/>
              <a:gd name="connsiteX103" fmla="*/ 3957638 w 6610350"/>
              <a:gd name="connsiteY103" fmla="*/ 1862137 h 2481262"/>
              <a:gd name="connsiteX104" fmla="*/ 4029075 w 6610350"/>
              <a:gd name="connsiteY104" fmla="*/ 1862137 h 2481262"/>
              <a:gd name="connsiteX105" fmla="*/ 4029075 w 6610350"/>
              <a:gd name="connsiteY105" fmla="*/ 1924050 h 2481262"/>
              <a:gd name="connsiteX106" fmla="*/ 4100513 w 6610350"/>
              <a:gd name="connsiteY106" fmla="*/ 1924050 h 2481262"/>
              <a:gd name="connsiteX107" fmla="*/ 4143375 w 6610350"/>
              <a:gd name="connsiteY107" fmla="*/ 1924050 h 2481262"/>
              <a:gd name="connsiteX108" fmla="*/ 4138613 w 6610350"/>
              <a:gd name="connsiteY108" fmla="*/ 1966912 h 2481262"/>
              <a:gd name="connsiteX109" fmla="*/ 4214813 w 6610350"/>
              <a:gd name="connsiteY109" fmla="*/ 1971675 h 2481262"/>
              <a:gd name="connsiteX110" fmla="*/ 4214813 w 6610350"/>
              <a:gd name="connsiteY110" fmla="*/ 2014537 h 2481262"/>
              <a:gd name="connsiteX111" fmla="*/ 4319588 w 6610350"/>
              <a:gd name="connsiteY111" fmla="*/ 2014537 h 2481262"/>
              <a:gd name="connsiteX112" fmla="*/ 4319588 w 6610350"/>
              <a:gd name="connsiteY112" fmla="*/ 2014537 h 2481262"/>
              <a:gd name="connsiteX113" fmla="*/ 4362451 w 6610350"/>
              <a:gd name="connsiteY113" fmla="*/ 2038350 h 2481262"/>
              <a:gd name="connsiteX114" fmla="*/ 4410075 w 6610350"/>
              <a:gd name="connsiteY114" fmla="*/ 2095500 h 2481262"/>
              <a:gd name="connsiteX115" fmla="*/ 4605338 w 6610350"/>
              <a:gd name="connsiteY115" fmla="*/ 2105025 h 2481262"/>
              <a:gd name="connsiteX116" fmla="*/ 4605338 w 6610350"/>
              <a:gd name="connsiteY116" fmla="*/ 2105025 h 2481262"/>
              <a:gd name="connsiteX117" fmla="*/ 4605338 w 6610350"/>
              <a:gd name="connsiteY117" fmla="*/ 2147887 h 2481262"/>
              <a:gd name="connsiteX118" fmla="*/ 4791075 w 6610350"/>
              <a:gd name="connsiteY118" fmla="*/ 2147887 h 2481262"/>
              <a:gd name="connsiteX119" fmla="*/ 4791075 w 6610350"/>
              <a:gd name="connsiteY119" fmla="*/ 2176462 h 2481262"/>
              <a:gd name="connsiteX120" fmla="*/ 4953000 w 6610350"/>
              <a:gd name="connsiteY120" fmla="*/ 2176462 h 2481262"/>
              <a:gd name="connsiteX121" fmla="*/ 5072063 w 6610350"/>
              <a:gd name="connsiteY121" fmla="*/ 2176462 h 2481262"/>
              <a:gd name="connsiteX122" fmla="*/ 5072063 w 6610350"/>
              <a:gd name="connsiteY122" fmla="*/ 2233612 h 2481262"/>
              <a:gd name="connsiteX123" fmla="*/ 5400675 w 6610350"/>
              <a:gd name="connsiteY123" fmla="*/ 2233612 h 2481262"/>
              <a:gd name="connsiteX124" fmla="*/ 5400675 w 6610350"/>
              <a:gd name="connsiteY124" fmla="*/ 2233612 h 2481262"/>
              <a:gd name="connsiteX125" fmla="*/ 5500688 w 6610350"/>
              <a:gd name="connsiteY125" fmla="*/ 2233612 h 2481262"/>
              <a:gd name="connsiteX126" fmla="*/ 5500688 w 6610350"/>
              <a:gd name="connsiteY126" fmla="*/ 2305050 h 2481262"/>
              <a:gd name="connsiteX127" fmla="*/ 5586413 w 6610350"/>
              <a:gd name="connsiteY127" fmla="*/ 2305050 h 2481262"/>
              <a:gd name="connsiteX128" fmla="*/ 5586413 w 6610350"/>
              <a:gd name="connsiteY128" fmla="*/ 2328862 h 2481262"/>
              <a:gd name="connsiteX129" fmla="*/ 5629275 w 6610350"/>
              <a:gd name="connsiteY129" fmla="*/ 2328862 h 2481262"/>
              <a:gd name="connsiteX130" fmla="*/ 5629275 w 6610350"/>
              <a:gd name="connsiteY130" fmla="*/ 2390775 h 2481262"/>
              <a:gd name="connsiteX131" fmla="*/ 6134100 w 6610350"/>
              <a:gd name="connsiteY131" fmla="*/ 2390775 h 2481262"/>
              <a:gd name="connsiteX132" fmla="*/ 6134100 w 6610350"/>
              <a:gd name="connsiteY132" fmla="*/ 2481262 h 2481262"/>
              <a:gd name="connsiteX133" fmla="*/ 6610350 w 6610350"/>
              <a:gd name="connsiteY133" fmla="*/ 2481262 h 2481262"/>
              <a:gd name="connsiteX0" fmla="*/ 0 w 6610350"/>
              <a:gd name="connsiteY0" fmla="*/ 4762 h 2481262"/>
              <a:gd name="connsiteX1" fmla="*/ 90488 w 6610350"/>
              <a:gd name="connsiteY1" fmla="*/ 0 h 2481262"/>
              <a:gd name="connsiteX2" fmla="*/ 90488 w 6610350"/>
              <a:gd name="connsiteY2" fmla="*/ 33337 h 2481262"/>
              <a:gd name="connsiteX3" fmla="*/ 133350 w 6610350"/>
              <a:gd name="connsiteY3" fmla="*/ 33337 h 2481262"/>
              <a:gd name="connsiteX4" fmla="*/ 133350 w 6610350"/>
              <a:gd name="connsiteY4" fmla="*/ 66675 h 2481262"/>
              <a:gd name="connsiteX5" fmla="*/ 209550 w 6610350"/>
              <a:gd name="connsiteY5" fmla="*/ 66675 h 2481262"/>
              <a:gd name="connsiteX6" fmla="*/ 204788 w 6610350"/>
              <a:gd name="connsiteY6" fmla="*/ 95250 h 2481262"/>
              <a:gd name="connsiteX7" fmla="*/ 361950 w 6610350"/>
              <a:gd name="connsiteY7" fmla="*/ 104775 h 2481262"/>
              <a:gd name="connsiteX8" fmla="*/ 361950 w 6610350"/>
              <a:gd name="connsiteY8" fmla="*/ 123825 h 2481262"/>
              <a:gd name="connsiteX9" fmla="*/ 423863 w 6610350"/>
              <a:gd name="connsiteY9" fmla="*/ 119062 h 2481262"/>
              <a:gd name="connsiteX10" fmla="*/ 423862 w 6610350"/>
              <a:gd name="connsiteY10" fmla="*/ 166687 h 2481262"/>
              <a:gd name="connsiteX11" fmla="*/ 552450 w 6610350"/>
              <a:gd name="connsiteY11" fmla="*/ 171450 h 2481262"/>
              <a:gd name="connsiteX12" fmla="*/ 557213 w 6610350"/>
              <a:gd name="connsiteY12" fmla="*/ 200025 h 2481262"/>
              <a:gd name="connsiteX13" fmla="*/ 595313 w 6610350"/>
              <a:gd name="connsiteY13" fmla="*/ 204787 h 2481262"/>
              <a:gd name="connsiteX14" fmla="*/ 600075 w 6610350"/>
              <a:gd name="connsiteY14" fmla="*/ 238125 h 2481262"/>
              <a:gd name="connsiteX15" fmla="*/ 642938 w 6610350"/>
              <a:gd name="connsiteY15" fmla="*/ 238125 h 2481262"/>
              <a:gd name="connsiteX16" fmla="*/ 642938 w 6610350"/>
              <a:gd name="connsiteY16" fmla="*/ 276225 h 2481262"/>
              <a:gd name="connsiteX17" fmla="*/ 933450 w 6610350"/>
              <a:gd name="connsiteY17" fmla="*/ 280987 h 2481262"/>
              <a:gd name="connsiteX18" fmla="*/ 938213 w 6610350"/>
              <a:gd name="connsiteY18" fmla="*/ 300037 h 2481262"/>
              <a:gd name="connsiteX19" fmla="*/ 1023938 w 6610350"/>
              <a:gd name="connsiteY19" fmla="*/ 295275 h 2481262"/>
              <a:gd name="connsiteX20" fmla="*/ 1028700 w 6610350"/>
              <a:gd name="connsiteY20" fmla="*/ 357187 h 2481262"/>
              <a:gd name="connsiteX21" fmla="*/ 1147763 w 6610350"/>
              <a:gd name="connsiteY21" fmla="*/ 357187 h 2481262"/>
              <a:gd name="connsiteX22" fmla="*/ 1157288 w 6610350"/>
              <a:gd name="connsiteY22" fmla="*/ 390525 h 2481262"/>
              <a:gd name="connsiteX23" fmla="*/ 1228725 w 6610350"/>
              <a:gd name="connsiteY23" fmla="*/ 390525 h 2481262"/>
              <a:gd name="connsiteX24" fmla="*/ 1228725 w 6610350"/>
              <a:gd name="connsiteY24" fmla="*/ 390525 h 2481262"/>
              <a:gd name="connsiteX25" fmla="*/ 1323975 w 6610350"/>
              <a:gd name="connsiteY25" fmla="*/ 419100 h 2481262"/>
              <a:gd name="connsiteX26" fmla="*/ 1338263 w 6610350"/>
              <a:gd name="connsiteY26" fmla="*/ 471487 h 2481262"/>
              <a:gd name="connsiteX27" fmla="*/ 1400175 w 6610350"/>
              <a:gd name="connsiteY27" fmla="*/ 466725 h 2481262"/>
              <a:gd name="connsiteX28" fmla="*/ 1404938 w 6610350"/>
              <a:gd name="connsiteY28" fmla="*/ 490537 h 2481262"/>
              <a:gd name="connsiteX29" fmla="*/ 1466850 w 6610350"/>
              <a:gd name="connsiteY29" fmla="*/ 495300 h 2481262"/>
              <a:gd name="connsiteX30" fmla="*/ 1471613 w 6610350"/>
              <a:gd name="connsiteY30" fmla="*/ 509587 h 2481262"/>
              <a:gd name="connsiteX31" fmla="*/ 1528763 w 6610350"/>
              <a:gd name="connsiteY31" fmla="*/ 509587 h 2481262"/>
              <a:gd name="connsiteX32" fmla="*/ 1528763 w 6610350"/>
              <a:gd name="connsiteY32" fmla="*/ 557212 h 2481262"/>
              <a:gd name="connsiteX33" fmla="*/ 1714500 w 6610350"/>
              <a:gd name="connsiteY33" fmla="*/ 561974 h 2481262"/>
              <a:gd name="connsiteX34" fmla="*/ 1714500 w 6610350"/>
              <a:gd name="connsiteY34" fmla="*/ 590550 h 2481262"/>
              <a:gd name="connsiteX35" fmla="*/ 1752600 w 6610350"/>
              <a:gd name="connsiteY35" fmla="*/ 590550 h 2481262"/>
              <a:gd name="connsiteX36" fmla="*/ 1762125 w 6610350"/>
              <a:gd name="connsiteY36" fmla="*/ 619125 h 2481262"/>
              <a:gd name="connsiteX37" fmla="*/ 1809750 w 6610350"/>
              <a:gd name="connsiteY37" fmla="*/ 619125 h 2481262"/>
              <a:gd name="connsiteX38" fmla="*/ 1809750 w 6610350"/>
              <a:gd name="connsiteY38" fmla="*/ 647700 h 2481262"/>
              <a:gd name="connsiteX39" fmla="*/ 1847850 w 6610350"/>
              <a:gd name="connsiteY39" fmla="*/ 647700 h 2481262"/>
              <a:gd name="connsiteX40" fmla="*/ 1847850 w 6610350"/>
              <a:gd name="connsiteY40" fmla="*/ 714375 h 2481262"/>
              <a:gd name="connsiteX41" fmla="*/ 1905000 w 6610350"/>
              <a:gd name="connsiteY41" fmla="*/ 714375 h 2481262"/>
              <a:gd name="connsiteX42" fmla="*/ 1919288 w 6610350"/>
              <a:gd name="connsiteY42" fmla="*/ 738187 h 2481262"/>
              <a:gd name="connsiteX43" fmla="*/ 2009775 w 6610350"/>
              <a:gd name="connsiteY43" fmla="*/ 733425 h 2481262"/>
              <a:gd name="connsiteX44" fmla="*/ 2009775 w 6610350"/>
              <a:gd name="connsiteY44" fmla="*/ 804862 h 2481262"/>
              <a:gd name="connsiteX45" fmla="*/ 2038350 w 6610350"/>
              <a:gd name="connsiteY45" fmla="*/ 804862 h 2481262"/>
              <a:gd name="connsiteX46" fmla="*/ 2038350 w 6610350"/>
              <a:gd name="connsiteY46" fmla="*/ 823912 h 2481262"/>
              <a:gd name="connsiteX47" fmla="*/ 2038350 w 6610350"/>
              <a:gd name="connsiteY47" fmla="*/ 823912 h 2481262"/>
              <a:gd name="connsiteX48" fmla="*/ 2071688 w 6610350"/>
              <a:gd name="connsiteY48" fmla="*/ 852487 h 2481262"/>
              <a:gd name="connsiteX49" fmla="*/ 2071688 w 6610350"/>
              <a:gd name="connsiteY49" fmla="*/ 852487 h 2481262"/>
              <a:gd name="connsiteX50" fmla="*/ 2100263 w 6610350"/>
              <a:gd name="connsiteY50" fmla="*/ 885825 h 2481262"/>
              <a:gd name="connsiteX51" fmla="*/ 2190750 w 6610350"/>
              <a:gd name="connsiteY51" fmla="*/ 885825 h 2481262"/>
              <a:gd name="connsiteX52" fmla="*/ 2195513 w 6610350"/>
              <a:gd name="connsiteY52" fmla="*/ 933450 h 2481262"/>
              <a:gd name="connsiteX53" fmla="*/ 2247900 w 6610350"/>
              <a:gd name="connsiteY53" fmla="*/ 923925 h 2481262"/>
              <a:gd name="connsiteX54" fmla="*/ 2247900 w 6610350"/>
              <a:gd name="connsiteY54" fmla="*/ 966787 h 2481262"/>
              <a:gd name="connsiteX55" fmla="*/ 2352675 w 6610350"/>
              <a:gd name="connsiteY55" fmla="*/ 952500 h 2481262"/>
              <a:gd name="connsiteX56" fmla="*/ 2347913 w 6610350"/>
              <a:gd name="connsiteY56" fmla="*/ 985837 h 2481262"/>
              <a:gd name="connsiteX57" fmla="*/ 2400300 w 6610350"/>
              <a:gd name="connsiteY57" fmla="*/ 990600 h 2481262"/>
              <a:gd name="connsiteX58" fmla="*/ 2400300 w 6610350"/>
              <a:gd name="connsiteY58" fmla="*/ 990600 h 2481262"/>
              <a:gd name="connsiteX59" fmla="*/ 2400300 w 6610350"/>
              <a:gd name="connsiteY59" fmla="*/ 1019175 h 2481262"/>
              <a:gd name="connsiteX60" fmla="*/ 2476500 w 6610350"/>
              <a:gd name="connsiteY60" fmla="*/ 1009650 h 2481262"/>
              <a:gd name="connsiteX61" fmla="*/ 2476500 w 6610350"/>
              <a:gd name="connsiteY61" fmla="*/ 1047750 h 2481262"/>
              <a:gd name="connsiteX62" fmla="*/ 2500313 w 6610350"/>
              <a:gd name="connsiteY62" fmla="*/ 1047750 h 2481262"/>
              <a:gd name="connsiteX63" fmla="*/ 2500313 w 6610350"/>
              <a:gd name="connsiteY63" fmla="*/ 1047750 h 2481262"/>
              <a:gd name="connsiteX64" fmla="*/ 2566988 w 6610350"/>
              <a:gd name="connsiteY64" fmla="*/ 1081087 h 2481262"/>
              <a:gd name="connsiteX65" fmla="*/ 2562225 w 6610350"/>
              <a:gd name="connsiteY65" fmla="*/ 1123950 h 2481262"/>
              <a:gd name="connsiteX66" fmla="*/ 2609850 w 6610350"/>
              <a:gd name="connsiteY66" fmla="*/ 1123950 h 2481262"/>
              <a:gd name="connsiteX67" fmla="*/ 2609850 w 6610350"/>
              <a:gd name="connsiteY67" fmla="*/ 1162050 h 2481262"/>
              <a:gd name="connsiteX68" fmla="*/ 2609850 w 6610350"/>
              <a:gd name="connsiteY68" fmla="*/ 1162050 h 2481262"/>
              <a:gd name="connsiteX69" fmla="*/ 2638425 w 6610350"/>
              <a:gd name="connsiteY69" fmla="*/ 1185862 h 2481262"/>
              <a:gd name="connsiteX70" fmla="*/ 2638425 w 6610350"/>
              <a:gd name="connsiteY70" fmla="*/ 1185862 h 2481262"/>
              <a:gd name="connsiteX71" fmla="*/ 2662238 w 6610350"/>
              <a:gd name="connsiteY71" fmla="*/ 1228725 h 2481262"/>
              <a:gd name="connsiteX72" fmla="*/ 2800350 w 6610350"/>
              <a:gd name="connsiteY72" fmla="*/ 1233487 h 2481262"/>
              <a:gd name="connsiteX73" fmla="*/ 2805113 w 6610350"/>
              <a:gd name="connsiteY73" fmla="*/ 1266825 h 2481262"/>
              <a:gd name="connsiteX74" fmla="*/ 2881313 w 6610350"/>
              <a:gd name="connsiteY74" fmla="*/ 1266825 h 2481262"/>
              <a:gd name="connsiteX75" fmla="*/ 2876550 w 6610350"/>
              <a:gd name="connsiteY75" fmla="*/ 1290637 h 2481262"/>
              <a:gd name="connsiteX76" fmla="*/ 2876550 w 6610350"/>
              <a:gd name="connsiteY76" fmla="*/ 1290637 h 2481262"/>
              <a:gd name="connsiteX77" fmla="*/ 2909888 w 6610350"/>
              <a:gd name="connsiteY77" fmla="*/ 1338262 h 2481262"/>
              <a:gd name="connsiteX78" fmla="*/ 2938315 w 6610350"/>
              <a:gd name="connsiteY78" fmla="*/ 1338262 h 2481262"/>
              <a:gd name="connsiteX79" fmla="*/ 2947988 w 6610350"/>
              <a:gd name="connsiteY79" fmla="*/ 1385887 h 2481262"/>
              <a:gd name="connsiteX80" fmla="*/ 3028950 w 6610350"/>
              <a:gd name="connsiteY80" fmla="*/ 1385887 h 2481262"/>
              <a:gd name="connsiteX81" fmla="*/ 3028950 w 6610350"/>
              <a:gd name="connsiteY81" fmla="*/ 1419225 h 2481262"/>
              <a:gd name="connsiteX82" fmla="*/ 3095625 w 6610350"/>
              <a:gd name="connsiteY82" fmla="*/ 1419225 h 2481262"/>
              <a:gd name="connsiteX83" fmla="*/ 3095625 w 6610350"/>
              <a:gd name="connsiteY83" fmla="*/ 1462087 h 2481262"/>
              <a:gd name="connsiteX84" fmla="*/ 3162300 w 6610350"/>
              <a:gd name="connsiteY84" fmla="*/ 1462087 h 2481262"/>
              <a:gd name="connsiteX85" fmla="*/ 3162300 w 6610350"/>
              <a:gd name="connsiteY85" fmla="*/ 1485900 h 2481262"/>
              <a:gd name="connsiteX86" fmla="*/ 3257550 w 6610350"/>
              <a:gd name="connsiteY86" fmla="*/ 1485900 h 2481262"/>
              <a:gd name="connsiteX87" fmla="*/ 3252788 w 6610350"/>
              <a:gd name="connsiteY87" fmla="*/ 1538287 h 2481262"/>
              <a:gd name="connsiteX88" fmla="*/ 3314700 w 6610350"/>
              <a:gd name="connsiteY88" fmla="*/ 1543050 h 2481262"/>
              <a:gd name="connsiteX89" fmla="*/ 3319438 w 6610350"/>
              <a:gd name="connsiteY89" fmla="*/ 1585690 h 2481262"/>
              <a:gd name="connsiteX90" fmla="*/ 3405188 w 6610350"/>
              <a:gd name="connsiteY90" fmla="*/ 1581150 h 2481262"/>
              <a:gd name="connsiteX91" fmla="*/ 3405188 w 6610350"/>
              <a:gd name="connsiteY91" fmla="*/ 1614487 h 2481262"/>
              <a:gd name="connsiteX92" fmla="*/ 3586163 w 6610350"/>
              <a:gd name="connsiteY92" fmla="*/ 1614487 h 2481262"/>
              <a:gd name="connsiteX93" fmla="*/ 3586163 w 6610350"/>
              <a:gd name="connsiteY93" fmla="*/ 1638300 h 2481262"/>
              <a:gd name="connsiteX94" fmla="*/ 3643313 w 6610350"/>
              <a:gd name="connsiteY94" fmla="*/ 1633537 h 2481262"/>
              <a:gd name="connsiteX95" fmla="*/ 3648051 w 6610350"/>
              <a:gd name="connsiteY95" fmla="*/ 1680915 h 2481262"/>
              <a:gd name="connsiteX96" fmla="*/ 3724275 w 6610350"/>
              <a:gd name="connsiteY96" fmla="*/ 1676351 h 2481262"/>
              <a:gd name="connsiteX97" fmla="*/ 3729014 w 6610350"/>
              <a:gd name="connsiteY97" fmla="*/ 1714253 h 2481262"/>
              <a:gd name="connsiteX98" fmla="*/ 3814763 w 6610350"/>
              <a:gd name="connsiteY98" fmla="*/ 1704975 h 2481262"/>
              <a:gd name="connsiteX99" fmla="*/ 3814763 w 6610350"/>
              <a:gd name="connsiteY99" fmla="*/ 1757362 h 2481262"/>
              <a:gd name="connsiteX100" fmla="*/ 3890963 w 6610350"/>
              <a:gd name="connsiteY100" fmla="*/ 1762125 h 2481262"/>
              <a:gd name="connsiteX101" fmla="*/ 3881438 w 6610350"/>
              <a:gd name="connsiteY101" fmla="*/ 1800225 h 2481262"/>
              <a:gd name="connsiteX102" fmla="*/ 3952875 w 6610350"/>
              <a:gd name="connsiteY102" fmla="*/ 1804987 h 2481262"/>
              <a:gd name="connsiteX103" fmla="*/ 3957638 w 6610350"/>
              <a:gd name="connsiteY103" fmla="*/ 1862137 h 2481262"/>
              <a:gd name="connsiteX104" fmla="*/ 4029075 w 6610350"/>
              <a:gd name="connsiteY104" fmla="*/ 1862137 h 2481262"/>
              <a:gd name="connsiteX105" fmla="*/ 4029075 w 6610350"/>
              <a:gd name="connsiteY105" fmla="*/ 1924050 h 2481262"/>
              <a:gd name="connsiteX106" fmla="*/ 4100513 w 6610350"/>
              <a:gd name="connsiteY106" fmla="*/ 1924050 h 2481262"/>
              <a:gd name="connsiteX107" fmla="*/ 4143375 w 6610350"/>
              <a:gd name="connsiteY107" fmla="*/ 1924050 h 2481262"/>
              <a:gd name="connsiteX108" fmla="*/ 4138613 w 6610350"/>
              <a:gd name="connsiteY108" fmla="*/ 1966912 h 2481262"/>
              <a:gd name="connsiteX109" fmla="*/ 4214813 w 6610350"/>
              <a:gd name="connsiteY109" fmla="*/ 1971675 h 2481262"/>
              <a:gd name="connsiteX110" fmla="*/ 4214813 w 6610350"/>
              <a:gd name="connsiteY110" fmla="*/ 2014537 h 2481262"/>
              <a:gd name="connsiteX111" fmla="*/ 4319588 w 6610350"/>
              <a:gd name="connsiteY111" fmla="*/ 2014537 h 2481262"/>
              <a:gd name="connsiteX112" fmla="*/ 4319588 w 6610350"/>
              <a:gd name="connsiteY112" fmla="*/ 2014537 h 2481262"/>
              <a:gd name="connsiteX113" fmla="*/ 4362451 w 6610350"/>
              <a:gd name="connsiteY113" fmla="*/ 2038350 h 2481262"/>
              <a:gd name="connsiteX114" fmla="*/ 4410075 w 6610350"/>
              <a:gd name="connsiteY114" fmla="*/ 2095500 h 2481262"/>
              <a:gd name="connsiteX115" fmla="*/ 4605338 w 6610350"/>
              <a:gd name="connsiteY115" fmla="*/ 2105025 h 2481262"/>
              <a:gd name="connsiteX116" fmla="*/ 4605338 w 6610350"/>
              <a:gd name="connsiteY116" fmla="*/ 2105025 h 2481262"/>
              <a:gd name="connsiteX117" fmla="*/ 4605338 w 6610350"/>
              <a:gd name="connsiteY117" fmla="*/ 2147887 h 2481262"/>
              <a:gd name="connsiteX118" fmla="*/ 4791075 w 6610350"/>
              <a:gd name="connsiteY118" fmla="*/ 2147887 h 2481262"/>
              <a:gd name="connsiteX119" fmla="*/ 4791075 w 6610350"/>
              <a:gd name="connsiteY119" fmla="*/ 2176462 h 2481262"/>
              <a:gd name="connsiteX120" fmla="*/ 4953000 w 6610350"/>
              <a:gd name="connsiteY120" fmla="*/ 2176462 h 2481262"/>
              <a:gd name="connsiteX121" fmla="*/ 5072063 w 6610350"/>
              <a:gd name="connsiteY121" fmla="*/ 2176462 h 2481262"/>
              <a:gd name="connsiteX122" fmla="*/ 5072063 w 6610350"/>
              <a:gd name="connsiteY122" fmla="*/ 2233612 h 2481262"/>
              <a:gd name="connsiteX123" fmla="*/ 5400675 w 6610350"/>
              <a:gd name="connsiteY123" fmla="*/ 2233612 h 2481262"/>
              <a:gd name="connsiteX124" fmla="*/ 5400675 w 6610350"/>
              <a:gd name="connsiteY124" fmla="*/ 2233612 h 2481262"/>
              <a:gd name="connsiteX125" fmla="*/ 5500688 w 6610350"/>
              <a:gd name="connsiteY125" fmla="*/ 2233612 h 2481262"/>
              <a:gd name="connsiteX126" fmla="*/ 5500688 w 6610350"/>
              <a:gd name="connsiteY126" fmla="*/ 2305050 h 2481262"/>
              <a:gd name="connsiteX127" fmla="*/ 5586413 w 6610350"/>
              <a:gd name="connsiteY127" fmla="*/ 2305050 h 2481262"/>
              <a:gd name="connsiteX128" fmla="*/ 5586413 w 6610350"/>
              <a:gd name="connsiteY128" fmla="*/ 2328862 h 2481262"/>
              <a:gd name="connsiteX129" fmla="*/ 5629275 w 6610350"/>
              <a:gd name="connsiteY129" fmla="*/ 2328862 h 2481262"/>
              <a:gd name="connsiteX130" fmla="*/ 5629275 w 6610350"/>
              <a:gd name="connsiteY130" fmla="*/ 2390775 h 2481262"/>
              <a:gd name="connsiteX131" fmla="*/ 6134100 w 6610350"/>
              <a:gd name="connsiteY131" fmla="*/ 2390775 h 2481262"/>
              <a:gd name="connsiteX132" fmla="*/ 6134100 w 6610350"/>
              <a:gd name="connsiteY132" fmla="*/ 2481262 h 2481262"/>
              <a:gd name="connsiteX133" fmla="*/ 6610350 w 6610350"/>
              <a:gd name="connsiteY133" fmla="*/ 2481262 h 2481262"/>
              <a:gd name="connsiteX0" fmla="*/ 0 w 6610350"/>
              <a:gd name="connsiteY0" fmla="*/ 4762 h 2481262"/>
              <a:gd name="connsiteX1" fmla="*/ 90488 w 6610350"/>
              <a:gd name="connsiteY1" fmla="*/ 0 h 2481262"/>
              <a:gd name="connsiteX2" fmla="*/ 90488 w 6610350"/>
              <a:gd name="connsiteY2" fmla="*/ 33337 h 2481262"/>
              <a:gd name="connsiteX3" fmla="*/ 133350 w 6610350"/>
              <a:gd name="connsiteY3" fmla="*/ 33337 h 2481262"/>
              <a:gd name="connsiteX4" fmla="*/ 133350 w 6610350"/>
              <a:gd name="connsiteY4" fmla="*/ 66675 h 2481262"/>
              <a:gd name="connsiteX5" fmla="*/ 209550 w 6610350"/>
              <a:gd name="connsiteY5" fmla="*/ 66675 h 2481262"/>
              <a:gd name="connsiteX6" fmla="*/ 204788 w 6610350"/>
              <a:gd name="connsiteY6" fmla="*/ 95250 h 2481262"/>
              <a:gd name="connsiteX7" fmla="*/ 361950 w 6610350"/>
              <a:gd name="connsiteY7" fmla="*/ 104775 h 2481262"/>
              <a:gd name="connsiteX8" fmla="*/ 361950 w 6610350"/>
              <a:gd name="connsiteY8" fmla="*/ 123825 h 2481262"/>
              <a:gd name="connsiteX9" fmla="*/ 423863 w 6610350"/>
              <a:gd name="connsiteY9" fmla="*/ 119062 h 2481262"/>
              <a:gd name="connsiteX10" fmla="*/ 423862 w 6610350"/>
              <a:gd name="connsiteY10" fmla="*/ 166687 h 2481262"/>
              <a:gd name="connsiteX11" fmla="*/ 552450 w 6610350"/>
              <a:gd name="connsiteY11" fmla="*/ 171450 h 2481262"/>
              <a:gd name="connsiteX12" fmla="*/ 557213 w 6610350"/>
              <a:gd name="connsiteY12" fmla="*/ 200025 h 2481262"/>
              <a:gd name="connsiteX13" fmla="*/ 595313 w 6610350"/>
              <a:gd name="connsiteY13" fmla="*/ 204787 h 2481262"/>
              <a:gd name="connsiteX14" fmla="*/ 600075 w 6610350"/>
              <a:gd name="connsiteY14" fmla="*/ 238125 h 2481262"/>
              <a:gd name="connsiteX15" fmla="*/ 642938 w 6610350"/>
              <a:gd name="connsiteY15" fmla="*/ 238125 h 2481262"/>
              <a:gd name="connsiteX16" fmla="*/ 642938 w 6610350"/>
              <a:gd name="connsiteY16" fmla="*/ 276225 h 2481262"/>
              <a:gd name="connsiteX17" fmla="*/ 933450 w 6610350"/>
              <a:gd name="connsiteY17" fmla="*/ 280987 h 2481262"/>
              <a:gd name="connsiteX18" fmla="*/ 938213 w 6610350"/>
              <a:gd name="connsiteY18" fmla="*/ 300037 h 2481262"/>
              <a:gd name="connsiteX19" fmla="*/ 1023938 w 6610350"/>
              <a:gd name="connsiteY19" fmla="*/ 295275 h 2481262"/>
              <a:gd name="connsiteX20" fmla="*/ 1028700 w 6610350"/>
              <a:gd name="connsiteY20" fmla="*/ 357187 h 2481262"/>
              <a:gd name="connsiteX21" fmla="*/ 1147763 w 6610350"/>
              <a:gd name="connsiteY21" fmla="*/ 357187 h 2481262"/>
              <a:gd name="connsiteX22" fmla="*/ 1157288 w 6610350"/>
              <a:gd name="connsiteY22" fmla="*/ 390525 h 2481262"/>
              <a:gd name="connsiteX23" fmla="*/ 1228725 w 6610350"/>
              <a:gd name="connsiteY23" fmla="*/ 390525 h 2481262"/>
              <a:gd name="connsiteX24" fmla="*/ 1228725 w 6610350"/>
              <a:gd name="connsiteY24" fmla="*/ 390525 h 2481262"/>
              <a:gd name="connsiteX25" fmla="*/ 1323975 w 6610350"/>
              <a:gd name="connsiteY25" fmla="*/ 419100 h 2481262"/>
              <a:gd name="connsiteX26" fmla="*/ 1338263 w 6610350"/>
              <a:gd name="connsiteY26" fmla="*/ 471487 h 2481262"/>
              <a:gd name="connsiteX27" fmla="*/ 1400175 w 6610350"/>
              <a:gd name="connsiteY27" fmla="*/ 466725 h 2481262"/>
              <a:gd name="connsiteX28" fmla="*/ 1404938 w 6610350"/>
              <a:gd name="connsiteY28" fmla="*/ 490537 h 2481262"/>
              <a:gd name="connsiteX29" fmla="*/ 1466850 w 6610350"/>
              <a:gd name="connsiteY29" fmla="*/ 495300 h 2481262"/>
              <a:gd name="connsiteX30" fmla="*/ 1471613 w 6610350"/>
              <a:gd name="connsiteY30" fmla="*/ 509587 h 2481262"/>
              <a:gd name="connsiteX31" fmla="*/ 1528763 w 6610350"/>
              <a:gd name="connsiteY31" fmla="*/ 509587 h 2481262"/>
              <a:gd name="connsiteX32" fmla="*/ 1528763 w 6610350"/>
              <a:gd name="connsiteY32" fmla="*/ 557212 h 2481262"/>
              <a:gd name="connsiteX33" fmla="*/ 1714500 w 6610350"/>
              <a:gd name="connsiteY33" fmla="*/ 561974 h 2481262"/>
              <a:gd name="connsiteX34" fmla="*/ 1714500 w 6610350"/>
              <a:gd name="connsiteY34" fmla="*/ 590550 h 2481262"/>
              <a:gd name="connsiteX35" fmla="*/ 1752600 w 6610350"/>
              <a:gd name="connsiteY35" fmla="*/ 590550 h 2481262"/>
              <a:gd name="connsiteX36" fmla="*/ 1762125 w 6610350"/>
              <a:gd name="connsiteY36" fmla="*/ 619125 h 2481262"/>
              <a:gd name="connsiteX37" fmla="*/ 1809750 w 6610350"/>
              <a:gd name="connsiteY37" fmla="*/ 619125 h 2481262"/>
              <a:gd name="connsiteX38" fmla="*/ 1809750 w 6610350"/>
              <a:gd name="connsiteY38" fmla="*/ 647700 h 2481262"/>
              <a:gd name="connsiteX39" fmla="*/ 1847850 w 6610350"/>
              <a:gd name="connsiteY39" fmla="*/ 647700 h 2481262"/>
              <a:gd name="connsiteX40" fmla="*/ 1847850 w 6610350"/>
              <a:gd name="connsiteY40" fmla="*/ 714375 h 2481262"/>
              <a:gd name="connsiteX41" fmla="*/ 1905000 w 6610350"/>
              <a:gd name="connsiteY41" fmla="*/ 714375 h 2481262"/>
              <a:gd name="connsiteX42" fmla="*/ 1919288 w 6610350"/>
              <a:gd name="connsiteY42" fmla="*/ 738187 h 2481262"/>
              <a:gd name="connsiteX43" fmla="*/ 2009775 w 6610350"/>
              <a:gd name="connsiteY43" fmla="*/ 733425 h 2481262"/>
              <a:gd name="connsiteX44" fmla="*/ 2009775 w 6610350"/>
              <a:gd name="connsiteY44" fmla="*/ 804862 h 2481262"/>
              <a:gd name="connsiteX45" fmla="*/ 2038350 w 6610350"/>
              <a:gd name="connsiteY45" fmla="*/ 804862 h 2481262"/>
              <a:gd name="connsiteX46" fmla="*/ 2038350 w 6610350"/>
              <a:gd name="connsiteY46" fmla="*/ 823912 h 2481262"/>
              <a:gd name="connsiteX47" fmla="*/ 2038350 w 6610350"/>
              <a:gd name="connsiteY47" fmla="*/ 823912 h 2481262"/>
              <a:gd name="connsiteX48" fmla="*/ 2071688 w 6610350"/>
              <a:gd name="connsiteY48" fmla="*/ 852487 h 2481262"/>
              <a:gd name="connsiteX49" fmla="*/ 2071688 w 6610350"/>
              <a:gd name="connsiteY49" fmla="*/ 852487 h 2481262"/>
              <a:gd name="connsiteX50" fmla="*/ 2100263 w 6610350"/>
              <a:gd name="connsiteY50" fmla="*/ 885825 h 2481262"/>
              <a:gd name="connsiteX51" fmla="*/ 2190750 w 6610350"/>
              <a:gd name="connsiteY51" fmla="*/ 885825 h 2481262"/>
              <a:gd name="connsiteX52" fmla="*/ 2195513 w 6610350"/>
              <a:gd name="connsiteY52" fmla="*/ 933450 h 2481262"/>
              <a:gd name="connsiteX53" fmla="*/ 2247900 w 6610350"/>
              <a:gd name="connsiteY53" fmla="*/ 923925 h 2481262"/>
              <a:gd name="connsiteX54" fmla="*/ 2247900 w 6610350"/>
              <a:gd name="connsiteY54" fmla="*/ 966787 h 2481262"/>
              <a:gd name="connsiteX55" fmla="*/ 2352675 w 6610350"/>
              <a:gd name="connsiteY55" fmla="*/ 952500 h 2481262"/>
              <a:gd name="connsiteX56" fmla="*/ 2347913 w 6610350"/>
              <a:gd name="connsiteY56" fmla="*/ 985837 h 2481262"/>
              <a:gd name="connsiteX57" fmla="*/ 2400300 w 6610350"/>
              <a:gd name="connsiteY57" fmla="*/ 990600 h 2481262"/>
              <a:gd name="connsiteX58" fmla="*/ 2400300 w 6610350"/>
              <a:gd name="connsiteY58" fmla="*/ 990600 h 2481262"/>
              <a:gd name="connsiteX59" fmla="*/ 2400300 w 6610350"/>
              <a:gd name="connsiteY59" fmla="*/ 1019175 h 2481262"/>
              <a:gd name="connsiteX60" fmla="*/ 2476500 w 6610350"/>
              <a:gd name="connsiteY60" fmla="*/ 1009650 h 2481262"/>
              <a:gd name="connsiteX61" fmla="*/ 2476500 w 6610350"/>
              <a:gd name="connsiteY61" fmla="*/ 1047750 h 2481262"/>
              <a:gd name="connsiteX62" fmla="*/ 2500313 w 6610350"/>
              <a:gd name="connsiteY62" fmla="*/ 1047750 h 2481262"/>
              <a:gd name="connsiteX63" fmla="*/ 2500313 w 6610350"/>
              <a:gd name="connsiteY63" fmla="*/ 1047750 h 2481262"/>
              <a:gd name="connsiteX64" fmla="*/ 2566988 w 6610350"/>
              <a:gd name="connsiteY64" fmla="*/ 1081087 h 2481262"/>
              <a:gd name="connsiteX65" fmla="*/ 2562225 w 6610350"/>
              <a:gd name="connsiteY65" fmla="*/ 1123950 h 2481262"/>
              <a:gd name="connsiteX66" fmla="*/ 2609850 w 6610350"/>
              <a:gd name="connsiteY66" fmla="*/ 1123950 h 2481262"/>
              <a:gd name="connsiteX67" fmla="*/ 2609850 w 6610350"/>
              <a:gd name="connsiteY67" fmla="*/ 1162050 h 2481262"/>
              <a:gd name="connsiteX68" fmla="*/ 2609850 w 6610350"/>
              <a:gd name="connsiteY68" fmla="*/ 1162050 h 2481262"/>
              <a:gd name="connsiteX69" fmla="*/ 2638425 w 6610350"/>
              <a:gd name="connsiteY69" fmla="*/ 1185862 h 2481262"/>
              <a:gd name="connsiteX70" fmla="*/ 2638425 w 6610350"/>
              <a:gd name="connsiteY70" fmla="*/ 1185862 h 2481262"/>
              <a:gd name="connsiteX71" fmla="*/ 2662238 w 6610350"/>
              <a:gd name="connsiteY71" fmla="*/ 1228725 h 2481262"/>
              <a:gd name="connsiteX72" fmla="*/ 2800350 w 6610350"/>
              <a:gd name="connsiteY72" fmla="*/ 1233487 h 2481262"/>
              <a:gd name="connsiteX73" fmla="*/ 2805113 w 6610350"/>
              <a:gd name="connsiteY73" fmla="*/ 1266825 h 2481262"/>
              <a:gd name="connsiteX74" fmla="*/ 2881313 w 6610350"/>
              <a:gd name="connsiteY74" fmla="*/ 1266825 h 2481262"/>
              <a:gd name="connsiteX75" fmla="*/ 2876550 w 6610350"/>
              <a:gd name="connsiteY75" fmla="*/ 1290637 h 2481262"/>
              <a:gd name="connsiteX76" fmla="*/ 2909714 w 6610350"/>
              <a:gd name="connsiteY76" fmla="*/ 1290637 h 2481262"/>
              <a:gd name="connsiteX77" fmla="*/ 2909888 w 6610350"/>
              <a:gd name="connsiteY77" fmla="*/ 1338262 h 2481262"/>
              <a:gd name="connsiteX78" fmla="*/ 2938315 w 6610350"/>
              <a:gd name="connsiteY78" fmla="*/ 1338262 h 2481262"/>
              <a:gd name="connsiteX79" fmla="*/ 2947988 w 6610350"/>
              <a:gd name="connsiteY79" fmla="*/ 1385887 h 2481262"/>
              <a:gd name="connsiteX80" fmla="*/ 3028950 w 6610350"/>
              <a:gd name="connsiteY80" fmla="*/ 1385887 h 2481262"/>
              <a:gd name="connsiteX81" fmla="*/ 3028950 w 6610350"/>
              <a:gd name="connsiteY81" fmla="*/ 1419225 h 2481262"/>
              <a:gd name="connsiteX82" fmla="*/ 3095625 w 6610350"/>
              <a:gd name="connsiteY82" fmla="*/ 1419225 h 2481262"/>
              <a:gd name="connsiteX83" fmla="*/ 3095625 w 6610350"/>
              <a:gd name="connsiteY83" fmla="*/ 1462087 h 2481262"/>
              <a:gd name="connsiteX84" fmla="*/ 3162300 w 6610350"/>
              <a:gd name="connsiteY84" fmla="*/ 1462087 h 2481262"/>
              <a:gd name="connsiteX85" fmla="*/ 3162300 w 6610350"/>
              <a:gd name="connsiteY85" fmla="*/ 1485900 h 2481262"/>
              <a:gd name="connsiteX86" fmla="*/ 3257550 w 6610350"/>
              <a:gd name="connsiteY86" fmla="*/ 1485900 h 2481262"/>
              <a:gd name="connsiteX87" fmla="*/ 3252788 w 6610350"/>
              <a:gd name="connsiteY87" fmla="*/ 1538287 h 2481262"/>
              <a:gd name="connsiteX88" fmla="*/ 3314700 w 6610350"/>
              <a:gd name="connsiteY88" fmla="*/ 1543050 h 2481262"/>
              <a:gd name="connsiteX89" fmla="*/ 3319438 w 6610350"/>
              <a:gd name="connsiteY89" fmla="*/ 1585690 h 2481262"/>
              <a:gd name="connsiteX90" fmla="*/ 3405188 w 6610350"/>
              <a:gd name="connsiteY90" fmla="*/ 1581150 h 2481262"/>
              <a:gd name="connsiteX91" fmla="*/ 3405188 w 6610350"/>
              <a:gd name="connsiteY91" fmla="*/ 1614487 h 2481262"/>
              <a:gd name="connsiteX92" fmla="*/ 3586163 w 6610350"/>
              <a:gd name="connsiteY92" fmla="*/ 1614487 h 2481262"/>
              <a:gd name="connsiteX93" fmla="*/ 3586163 w 6610350"/>
              <a:gd name="connsiteY93" fmla="*/ 1638300 h 2481262"/>
              <a:gd name="connsiteX94" fmla="*/ 3643313 w 6610350"/>
              <a:gd name="connsiteY94" fmla="*/ 1633537 h 2481262"/>
              <a:gd name="connsiteX95" fmla="*/ 3648051 w 6610350"/>
              <a:gd name="connsiteY95" fmla="*/ 1680915 h 2481262"/>
              <a:gd name="connsiteX96" fmla="*/ 3724275 w 6610350"/>
              <a:gd name="connsiteY96" fmla="*/ 1676351 h 2481262"/>
              <a:gd name="connsiteX97" fmla="*/ 3729014 w 6610350"/>
              <a:gd name="connsiteY97" fmla="*/ 1714253 h 2481262"/>
              <a:gd name="connsiteX98" fmla="*/ 3814763 w 6610350"/>
              <a:gd name="connsiteY98" fmla="*/ 1704975 h 2481262"/>
              <a:gd name="connsiteX99" fmla="*/ 3814763 w 6610350"/>
              <a:gd name="connsiteY99" fmla="*/ 1757362 h 2481262"/>
              <a:gd name="connsiteX100" fmla="*/ 3890963 w 6610350"/>
              <a:gd name="connsiteY100" fmla="*/ 1762125 h 2481262"/>
              <a:gd name="connsiteX101" fmla="*/ 3881438 w 6610350"/>
              <a:gd name="connsiteY101" fmla="*/ 1800225 h 2481262"/>
              <a:gd name="connsiteX102" fmla="*/ 3952875 w 6610350"/>
              <a:gd name="connsiteY102" fmla="*/ 1804987 h 2481262"/>
              <a:gd name="connsiteX103" fmla="*/ 3957638 w 6610350"/>
              <a:gd name="connsiteY103" fmla="*/ 1862137 h 2481262"/>
              <a:gd name="connsiteX104" fmla="*/ 4029075 w 6610350"/>
              <a:gd name="connsiteY104" fmla="*/ 1862137 h 2481262"/>
              <a:gd name="connsiteX105" fmla="*/ 4029075 w 6610350"/>
              <a:gd name="connsiteY105" fmla="*/ 1924050 h 2481262"/>
              <a:gd name="connsiteX106" fmla="*/ 4100513 w 6610350"/>
              <a:gd name="connsiteY106" fmla="*/ 1924050 h 2481262"/>
              <a:gd name="connsiteX107" fmla="*/ 4143375 w 6610350"/>
              <a:gd name="connsiteY107" fmla="*/ 1924050 h 2481262"/>
              <a:gd name="connsiteX108" fmla="*/ 4138613 w 6610350"/>
              <a:gd name="connsiteY108" fmla="*/ 1966912 h 2481262"/>
              <a:gd name="connsiteX109" fmla="*/ 4214813 w 6610350"/>
              <a:gd name="connsiteY109" fmla="*/ 1971675 h 2481262"/>
              <a:gd name="connsiteX110" fmla="*/ 4214813 w 6610350"/>
              <a:gd name="connsiteY110" fmla="*/ 2014537 h 2481262"/>
              <a:gd name="connsiteX111" fmla="*/ 4319588 w 6610350"/>
              <a:gd name="connsiteY111" fmla="*/ 2014537 h 2481262"/>
              <a:gd name="connsiteX112" fmla="*/ 4319588 w 6610350"/>
              <a:gd name="connsiteY112" fmla="*/ 2014537 h 2481262"/>
              <a:gd name="connsiteX113" fmla="*/ 4362451 w 6610350"/>
              <a:gd name="connsiteY113" fmla="*/ 2038350 h 2481262"/>
              <a:gd name="connsiteX114" fmla="*/ 4410075 w 6610350"/>
              <a:gd name="connsiteY114" fmla="*/ 2095500 h 2481262"/>
              <a:gd name="connsiteX115" fmla="*/ 4605338 w 6610350"/>
              <a:gd name="connsiteY115" fmla="*/ 2105025 h 2481262"/>
              <a:gd name="connsiteX116" fmla="*/ 4605338 w 6610350"/>
              <a:gd name="connsiteY116" fmla="*/ 2105025 h 2481262"/>
              <a:gd name="connsiteX117" fmla="*/ 4605338 w 6610350"/>
              <a:gd name="connsiteY117" fmla="*/ 2147887 h 2481262"/>
              <a:gd name="connsiteX118" fmla="*/ 4791075 w 6610350"/>
              <a:gd name="connsiteY118" fmla="*/ 2147887 h 2481262"/>
              <a:gd name="connsiteX119" fmla="*/ 4791075 w 6610350"/>
              <a:gd name="connsiteY119" fmla="*/ 2176462 h 2481262"/>
              <a:gd name="connsiteX120" fmla="*/ 4953000 w 6610350"/>
              <a:gd name="connsiteY120" fmla="*/ 2176462 h 2481262"/>
              <a:gd name="connsiteX121" fmla="*/ 5072063 w 6610350"/>
              <a:gd name="connsiteY121" fmla="*/ 2176462 h 2481262"/>
              <a:gd name="connsiteX122" fmla="*/ 5072063 w 6610350"/>
              <a:gd name="connsiteY122" fmla="*/ 2233612 h 2481262"/>
              <a:gd name="connsiteX123" fmla="*/ 5400675 w 6610350"/>
              <a:gd name="connsiteY123" fmla="*/ 2233612 h 2481262"/>
              <a:gd name="connsiteX124" fmla="*/ 5400675 w 6610350"/>
              <a:gd name="connsiteY124" fmla="*/ 2233612 h 2481262"/>
              <a:gd name="connsiteX125" fmla="*/ 5500688 w 6610350"/>
              <a:gd name="connsiteY125" fmla="*/ 2233612 h 2481262"/>
              <a:gd name="connsiteX126" fmla="*/ 5500688 w 6610350"/>
              <a:gd name="connsiteY126" fmla="*/ 2305050 h 2481262"/>
              <a:gd name="connsiteX127" fmla="*/ 5586413 w 6610350"/>
              <a:gd name="connsiteY127" fmla="*/ 2305050 h 2481262"/>
              <a:gd name="connsiteX128" fmla="*/ 5586413 w 6610350"/>
              <a:gd name="connsiteY128" fmla="*/ 2328862 h 2481262"/>
              <a:gd name="connsiteX129" fmla="*/ 5629275 w 6610350"/>
              <a:gd name="connsiteY129" fmla="*/ 2328862 h 2481262"/>
              <a:gd name="connsiteX130" fmla="*/ 5629275 w 6610350"/>
              <a:gd name="connsiteY130" fmla="*/ 2390775 h 2481262"/>
              <a:gd name="connsiteX131" fmla="*/ 6134100 w 6610350"/>
              <a:gd name="connsiteY131" fmla="*/ 2390775 h 2481262"/>
              <a:gd name="connsiteX132" fmla="*/ 6134100 w 6610350"/>
              <a:gd name="connsiteY132" fmla="*/ 2481262 h 2481262"/>
              <a:gd name="connsiteX133" fmla="*/ 6610350 w 6610350"/>
              <a:gd name="connsiteY133" fmla="*/ 2481262 h 2481262"/>
              <a:gd name="connsiteX0" fmla="*/ 0 w 6610350"/>
              <a:gd name="connsiteY0" fmla="*/ 4762 h 2481262"/>
              <a:gd name="connsiteX1" fmla="*/ 90488 w 6610350"/>
              <a:gd name="connsiteY1" fmla="*/ 0 h 2481262"/>
              <a:gd name="connsiteX2" fmla="*/ 90488 w 6610350"/>
              <a:gd name="connsiteY2" fmla="*/ 33337 h 2481262"/>
              <a:gd name="connsiteX3" fmla="*/ 133350 w 6610350"/>
              <a:gd name="connsiteY3" fmla="*/ 33337 h 2481262"/>
              <a:gd name="connsiteX4" fmla="*/ 133350 w 6610350"/>
              <a:gd name="connsiteY4" fmla="*/ 66675 h 2481262"/>
              <a:gd name="connsiteX5" fmla="*/ 209550 w 6610350"/>
              <a:gd name="connsiteY5" fmla="*/ 66675 h 2481262"/>
              <a:gd name="connsiteX6" fmla="*/ 204788 w 6610350"/>
              <a:gd name="connsiteY6" fmla="*/ 95250 h 2481262"/>
              <a:gd name="connsiteX7" fmla="*/ 361950 w 6610350"/>
              <a:gd name="connsiteY7" fmla="*/ 104775 h 2481262"/>
              <a:gd name="connsiteX8" fmla="*/ 361950 w 6610350"/>
              <a:gd name="connsiteY8" fmla="*/ 123825 h 2481262"/>
              <a:gd name="connsiteX9" fmla="*/ 423863 w 6610350"/>
              <a:gd name="connsiteY9" fmla="*/ 119062 h 2481262"/>
              <a:gd name="connsiteX10" fmla="*/ 423862 w 6610350"/>
              <a:gd name="connsiteY10" fmla="*/ 166687 h 2481262"/>
              <a:gd name="connsiteX11" fmla="*/ 552450 w 6610350"/>
              <a:gd name="connsiteY11" fmla="*/ 171450 h 2481262"/>
              <a:gd name="connsiteX12" fmla="*/ 557213 w 6610350"/>
              <a:gd name="connsiteY12" fmla="*/ 200025 h 2481262"/>
              <a:gd name="connsiteX13" fmla="*/ 595313 w 6610350"/>
              <a:gd name="connsiteY13" fmla="*/ 204787 h 2481262"/>
              <a:gd name="connsiteX14" fmla="*/ 600075 w 6610350"/>
              <a:gd name="connsiteY14" fmla="*/ 238125 h 2481262"/>
              <a:gd name="connsiteX15" fmla="*/ 642938 w 6610350"/>
              <a:gd name="connsiteY15" fmla="*/ 238125 h 2481262"/>
              <a:gd name="connsiteX16" fmla="*/ 642938 w 6610350"/>
              <a:gd name="connsiteY16" fmla="*/ 276225 h 2481262"/>
              <a:gd name="connsiteX17" fmla="*/ 933450 w 6610350"/>
              <a:gd name="connsiteY17" fmla="*/ 280987 h 2481262"/>
              <a:gd name="connsiteX18" fmla="*/ 938213 w 6610350"/>
              <a:gd name="connsiteY18" fmla="*/ 300037 h 2481262"/>
              <a:gd name="connsiteX19" fmla="*/ 1023938 w 6610350"/>
              <a:gd name="connsiteY19" fmla="*/ 295275 h 2481262"/>
              <a:gd name="connsiteX20" fmla="*/ 1028700 w 6610350"/>
              <a:gd name="connsiteY20" fmla="*/ 357187 h 2481262"/>
              <a:gd name="connsiteX21" fmla="*/ 1147763 w 6610350"/>
              <a:gd name="connsiteY21" fmla="*/ 357187 h 2481262"/>
              <a:gd name="connsiteX22" fmla="*/ 1157288 w 6610350"/>
              <a:gd name="connsiteY22" fmla="*/ 390525 h 2481262"/>
              <a:gd name="connsiteX23" fmla="*/ 1228725 w 6610350"/>
              <a:gd name="connsiteY23" fmla="*/ 390525 h 2481262"/>
              <a:gd name="connsiteX24" fmla="*/ 1228725 w 6610350"/>
              <a:gd name="connsiteY24" fmla="*/ 390525 h 2481262"/>
              <a:gd name="connsiteX25" fmla="*/ 1323975 w 6610350"/>
              <a:gd name="connsiteY25" fmla="*/ 419100 h 2481262"/>
              <a:gd name="connsiteX26" fmla="*/ 1338263 w 6610350"/>
              <a:gd name="connsiteY26" fmla="*/ 471487 h 2481262"/>
              <a:gd name="connsiteX27" fmla="*/ 1400175 w 6610350"/>
              <a:gd name="connsiteY27" fmla="*/ 466725 h 2481262"/>
              <a:gd name="connsiteX28" fmla="*/ 1404938 w 6610350"/>
              <a:gd name="connsiteY28" fmla="*/ 490537 h 2481262"/>
              <a:gd name="connsiteX29" fmla="*/ 1466850 w 6610350"/>
              <a:gd name="connsiteY29" fmla="*/ 495300 h 2481262"/>
              <a:gd name="connsiteX30" fmla="*/ 1471613 w 6610350"/>
              <a:gd name="connsiteY30" fmla="*/ 509587 h 2481262"/>
              <a:gd name="connsiteX31" fmla="*/ 1528763 w 6610350"/>
              <a:gd name="connsiteY31" fmla="*/ 509587 h 2481262"/>
              <a:gd name="connsiteX32" fmla="*/ 1528763 w 6610350"/>
              <a:gd name="connsiteY32" fmla="*/ 557212 h 2481262"/>
              <a:gd name="connsiteX33" fmla="*/ 1714500 w 6610350"/>
              <a:gd name="connsiteY33" fmla="*/ 561974 h 2481262"/>
              <a:gd name="connsiteX34" fmla="*/ 1714500 w 6610350"/>
              <a:gd name="connsiteY34" fmla="*/ 590550 h 2481262"/>
              <a:gd name="connsiteX35" fmla="*/ 1752600 w 6610350"/>
              <a:gd name="connsiteY35" fmla="*/ 590550 h 2481262"/>
              <a:gd name="connsiteX36" fmla="*/ 1762125 w 6610350"/>
              <a:gd name="connsiteY36" fmla="*/ 619125 h 2481262"/>
              <a:gd name="connsiteX37" fmla="*/ 1809750 w 6610350"/>
              <a:gd name="connsiteY37" fmla="*/ 619125 h 2481262"/>
              <a:gd name="connsiteX38" fmla="*/ 1809750 w 6610350"/>
              <a:gd name="connsiteY38" fmla="*/ 647700 h 2481262"/>
              <a:gd name="connsiteX39" fmla="*/ 1847850 w 6610350"/>
              <a:gd name="connsiteY39" fmla="*/ 647700 h 2481262"/>
              <a:gd name="connsiteX40" fmla="*/ 1847850 w 6610350"/>
              <a:gd name="connsiteY40" fmla="*/ 714375 h 2481262"/>
              <a:gd name="connsiteX41" fmla="*/ 1905000 w 6610350"/>
              <a:gd name="connsiteY41" fmla="*/ 714375 h 2481262"/>
              <a:gd name="connsiteX42" fmla="*/ 1919288 w 6610350"/>
              <a:gd name="connsiteY42" fmla="*/ 738187 h 2481262"/>
              <a:gd name="connsiteX43" fmla="*/ 2009775 w 6610350"/>
              <a:gd name="connsiteY43" fmla="*/ 733425 h 2481262"/>
              <a:gd name="connsiteX44" fmla="*/ 2009775 w 6610350"/>
              <a:gd name="connsiteY44" fmla="*/ 804862 h 2481262"/>
              <a:gd name="connsiteX45" fmla="*/ 2038350 w 6610350"/>
              <a:gd name="connsiteY45" fmla="*/ 804862 h 2481262"/>
              <a:gd name="connsiteX46" fmla="*/ 2038350 w 6610350"/>
              <a:gd name="connsiteY46" fmla="*/ 823912 h 2481262"/>
              <a:gd name="connsiteX47" fmla="*/ 2038350 w 6610350"/>
              <a:gd name="connsiteY47" fmla="*/ 823912 h 2481262"/>
              <a:gd name="connsiteX48" fmla="*/ 2071688 w 6610350"/>
              <a:gd name="connsiteY48" fmla="*/ 852487 h 2481262"/>
              <a:gd name="connsiteX49" fmla="*/ 2071688 w 6610350"/>
              <a:gd name="connsiteY49" fmla="*/ 852487 h 2481262"/>
              <a:gd name="connsiteX50" fmla="*/ 2100263 w 6610350"/>
              <a:gd name="connsiteY50" fmla="*/ 885825 h 2481262"/>
              <a:gd name="connsiteX51" fmla="*/ 2190750 w 6610350"/>
              <a:gd name="connsiteY51" fmla="*/ 885825 h 2481262"/>
              <a:gd name="connsiteX52" fmla="*/ 2195513 w 6610350"/>
              <a:gd name="connsiteY52" fmla="*/ 933450 h 2481262"/>
              <a:gd name="connsiteX53" fmla="*/ 2247900 w 6610350"/>
              <a:gd name="connsiteY53" fmla="*/ 923925 h 2481262"/>
              <a:gd name="connsiteX54" fmla="*/ 2247900 w 6610350"/>
              <a:gd name="connsiteY54" fmla="*/ 966787 h 2481262"/>
              <a:gd name="connsiteX55" fmla="*/ 2352675 w 6610350"/>
              <a:gd name="connsiteY55" fmla="*/ 952500 h 2481262"/>
              <a:gd name="connsiteX56" fmla="*/ 2347913 w 6610350"/>
              <a:gd name="connsiteY56" fmla="*/ 985837 h 2481262"/>
              <a:gd name="connsiteX57" fmla="*/ 2400300 w 6610350"/>
              <a:gd name="connsiteY57" fmla="*/ 990600 h 2481262"/>
              <a:gd name="connsiteX58" fmla="*/ 2400300 w 6610350"/>
              <a:gd name="connsiteY58" fmla="*/ 990600 h 2481262"/>
              <a:gd name="connsiteX59" fmla="*/ 2400300 w 6610350"/>
              <a:gd name="connsiteY59" fmla="*/ 1019175 h 2481262"/>
              <a:gd name="connsiteX60" fmla="*/ 2476500 w 6610350"/>
              <a:gd name="connsiteY60" fmla="*/ 1009650 h 2481262"/>
              <a:gd name="connsiteX61" fmla="*/ 2476500 w 6610350"/>
              <a:gd name="connsiteY61" fmla="*/ 1047750 h 2481262"/>
              <a:gd name="connsiteX62" fmla="*/ 2500313 w 6610350"/>
              <a:gd name="connsiteY62" fmla="*/ 1047750 h 2481262"/>
              <a:gd name="connsiteX63" fmla="*/ 2500313 w 6610350"/>
              <a:gd name="connsiteY63" fmla="*/ 1076177 h 2481262"/>
              <a:gd name="connsiteX64" fmla="*/ 2566988 w 6610350"/>
              <a:gd name="connsiteY64" fmla="*/ 1081087 h 2481262"/>
              <a:gd name="connsiteX65" fmla="*/ 2562225 w 6610350"/>
              <a:gd name="connsiteY65" fmla="*/ 1123950 h 2481262"/>
              <a:gd name="connsiteX66" fmla="*/ 2609850 w 6610350"/>
              <a:gd name="connsiteY66" fmla="*/ 1123950 h 2481262"/>
              <a:gd name="connsiteX67" fmla="*/ 2609850 w 6610350"/>
              <a:gd name="connsiteY67" fmla="*/ 1162050 h 2481262"/>
              <a:gd name="connsiteX68" fmla="*/ 2609850 w 6610350"/>
              <a:gd name="connsiteY68" fmla="*/ 1162050 h 2481262"/>
              <a:gd name="connsiteX69" fmla="*/ 2638425 w 6610350"/>
              <a:gd name="connsiteY69" fmla="*/ 1185862 h 2481262"/>
              <a:gd name="connsiteX70" fmla="*/ 2638425 w 6610350"/>
              <a:gd name="connsiteY70" fmla="*/ 1185862 h 2481262"/>
              <a:gd name="connsiteX71" fmla="*/ 2662238 w 6610350"/>
              <a:gd name="connsiteY71" fmla="*/ 1228725 h 2481262"/>
              <a:gd name="connsiteX72" fmla="*/ 2800350 w 6610350"/>
              <a:gd name="connsiteY72" fmla="*/ 1233487 h 2481262"/>
              <a:gd name="connsiteX73" fmla="*/ 2805113 w 6610350"/>
              <a:gd name="connsiteY73" fmla="*/ 1266825 h 2481262"/>
              <a:gd name="connsiteX74" fmla="*/ 2881313 w 6610350"/>
              <a:gd name="connsiteY74" fmla="*/ 1266825 h 2481262"/>
              <a:gd name="connsiteX75" fmla="*/ 2876550 w 6610350"/>
              <a:gd name="connsiteY75" fmla="*/ 1290637 h 2481262"/>
              <a:gd name="connsiteX76" fmla="*/ 2909714 w 6610350"/>
              <a:gd name="connsiteY76" fmla="*/ 1290637 h 2481262"/>
              <a:gd name="connsiteX77" fmla="*/ 2909888 w 6610350"/>
              <a:gd name="connsiteY77" fmla="*/ 1338262 h 2481262"/>
              <a:gd name="connsiteX78" fmla="*/ 2938315 w 6610350"/>
              <a:gd name="connsiteY78" fmla="*/ 1338262 h 2481262"/>
              <a:gd name="connsiteX79" fmla="*/ 2947988 w 6610350"/>
              <a:gd name="connsiteY79" fmla="*/ 1385887 h 2481262"/>
              <a:gd name="connsiteX80" fmla="*/ 3028950 w 6610350"/>
              <a:gd name="connsiteY80" fmla="*/ 1385887 h 2481262"/>
              <a:gd name="connsiteX81" fmla="*/ 3028950 w 6610350"/>
              <a:gd name="connsiteY81" fmla="*/ 1419225 h 2481262"/>
              <a:gd name="connsiteX82" fmla="*/ 3095625 w 6610350"/>
              <a:gd name="connsiteY82" fmla="*/ 1419225 h 2481262"/>
              <a:gd name="connsiteX83" fmla="*/ 3095625 w 6610350"/>
              <a:gd name="connsiteY83" fmla="*/ 1462087 h 2481262"/>
              <a:gd name="connsiteX84" fmla="*/ 3162300 w 6610350"/>
              <a:gd name="connsiteY84" fmla="*/ 1462087 h 2481262"/>
              <a:gd name="connsiteX85" fmla="*/ 3162300 w 6610350"/>
              <a:gd name="connsiteY85" fmla="*/ 1485900 h 2481262"/>
              <a:gd name="connsiteX86" fmla="*/ 3257550 w 6610350"/>
              <a:gd name="connsiteY86" fmla="*/ 1485900 h 2481262"/>
              <a:gd name="connsiteX87" fmla="*/ 3252788 w 6610350"/>
              <a:gd name="connsiteY87" fmla="*/ 1538287 h 2481262"/>
              <a:gd name="connsiteX88" fmla="*/ 3314700 w 6610350"/>
              <a:gd name="connsiteY88" fmla="*/ 1543050 h 2481262"/>
              <a:gd name="connsiteX89" fmla="*/ 3319438 w 6610350"/>
              <a:gd name="connsiteY89" fmla="*/ 1585690 h 2481262"/>
              <a:gd name="connsiteX90" fmla="*/ 3405188 w 6610350"/>
              <a:gd name="connsiteY90" fmla="*/ 1581150 h 2481262"/>
              <a:gd name="connsiteX91" fmla="*/ 3405188 w 6610350"/>
              <a:gd name="connsiteY91" fmla="*/ 1614487 h 2481262"/>
              <a:gd name="connsiteX92" fmla="*/ 3586163 w 6610350"/>
              <a:gd name="connsiteY92" fmla="*/ 1614487 h 2481262"/>
              <a:gd name="connsiteX93" fmla="*/ 3586163 w 6610350"/>
              <a:gd name="connsiteY93" fmla="*/ 1638300 h 2481262"/>
              <a:gd name="connsiteX94" fmla="*/ 3643313 w 6610350"/>
              <a:gd name="connsiteY94" fmla="*/ 1633537 h 2481262"/>
              <a:gd name="connsiteX95" fmla="*/ 3648051 w 6610350"/>
              <a:gd name="connsiteY95" fmla="*/ 1680915 h 2481262"/>
              <a:gd name="connsiteX96" fmla="*/ 3724275 w 6610350"/>
              <a:gd name="connsiteY96" fmla="*/ 1676351 h 2481262"/>
              <a:gd name="connsiteX97" fmla="*/ 3729014 w 6610350"/>
              <a:gd name="connsiteY97" fmla="*/ 1714253 h 2481262"/>
              <a:gd name="connsiteX98" fmla="*/ 3814763 w 6610350"/>
              <a:gd name="connsiteY98" fmla="*/ 1704975 h 2481262"/>
              <a:gd name="connsiteX99" fmla="*/ 3814763 w 6610350"/>
              <a:gd name="connsiteY99" fmla="*/ 1757362 h 2481262"/>
              <a:gd name="connsiteX100" fmla="*/ 3890963 w 6610350"/>
              <a:gd name="connsiteY100" fmla="*/ 1762125 h 2481262"/>
              <a:gd name="connsiteX101" fmla="*/ 3881438 w 6610350"/>
              <a:gd name="connsiteY101" fmla="*/ 1800225 h 2481262"/>
              <a:gd name="connsiteX102" fmla="*/ 3952875 w 6610350"/>
              <a:gd name="connsiteY102" fmla="*/ 1804987 h 2481262"/>
              <a:gd name="connsiteX103" fmla="*/ 3957638 w 6610350"/>
              <a:gd name="connsiteY103" fmla="*/ 1862137 h 2481262"/>
              <a:gd name="connsiteX104" fmla="*/ 4029075 w 6610350"/>
              <a:gd name="connsiteY104" fmla="*/ 1862137 h 2481262"/>
              <a:gd name="connsiteX105" fmla="*/ 4029075 w 6610350"/>
              <a:gd name="connsiteY105" fmla="*/ 1924050 h 2481262"/>
              <a:gd name="connsiteX106" fmla="*/ 4100513 w 6610350"/>
              <a:gd name="connsiteY106" fmla="*/ 1924050 h 2481262"/>
              <a:gd name="connsiteX107" fmla="*/ 4143375 w 6610350"/>
              <a:gd name="connsiteY107" fmla="*/ 1924050 h 2481262"/>
              <a:gd name="connsiteX108" fmla="*/ 4138613 w 6610350"/>
              <a:gd name="connsiteY108" fmla="*/ 1966912 h 2481262"/>
              <a:gd name="connsiteX109" fmla="*/ 4214813 w 6610350"/>
              <a:gd name="connsiteY109" fmla="*/ 1971675 h 2481262"/>
              <a:gd name="connsiteX110" fmla="*/ 4214813 w 6610350"/>
              <a:gd name="connsiteY110" fmla="*/ 2014537 h 2481262"/>
              <a:gd name="connsiteX111" fmla="*/ 4319588 w 6610350"/>
              <a:gd name="connsiteY111" fmla="*/ 2014537 h 2481262"/>
              <a:gd name="connsiteX112" fmla="*/ 4319588 w 6610350"/>
              <a:gd name="connsiteY112" fmla="*/ 2014537 h 2481262"/>
              <a:gd name="connsiteX113" fmla="*/ 4362451 w 6610350"/>
              <a:gd name="connsiteY113" fmla="*/ 2038350 h 2481262"/>
              <a:gd name="connsiteX114" fmla="*/ 4410075 w 6610350"/>
              <a:gd name="connsiteY114" fmla="*/ 2095500 h 2481262"/>
              <a:gd name="connsiteX115" fmla="*/ 4605338 w 6610350"/>
              <a:gd name="connsiteY115" fmla="*/ 2105025 h 2481262"/>
              <a:gd name="connsiteX116" fmla="*/ 4605338 w 6610350"/>
              <a:gd name="connsiteY116" fmla="*/ 2105025 h 2481262"/>
              <a:gd name="connsiteX117" fmla="*/ 4605338 w 6610350"/>
              <a:gd name="connsiteY117" fmla="*/ 2147887 h 2481262"/>
              <a:gd name="connsiteX118" fmla="*/ 4791075 w 6610350"/>
              <a:gd name="connsiteY118" fmla="*/ 2147887 h 2481262"/>
              <a:gd name="connsiteX119" fmla="*/ 4791075 w 6610350"/>
              <a:gd name="connsiteY119" fmla="*/ 2176462 h 2481262"/>
              <a:gd name="connsiteX120" fmla="*/ 4953000 w 6610350"/>
              <a:gd name="connsiteY120" fmla="*/ 2176462 h 2481262"/>
              <a:gd name="connsiteX121" fmla="*/ 5072063 w 6610350"/>
              <a:gd name="connsiteY121" fmla="*/ 2176462 h 2481262"/>
              <a:gd name="connsiteX122" fmla="*/ 5072063 w 6610350"/>
              <a:gd name="connsiteY122" fmla="*/ 2233612 h 2481262"/>
              <a:gd name="connsiteX123" fmla="*/ 5400675 w 6610350"/>
              <a:gd name="connsiteY123" fmla="*/ 2233612 h 2481262"/>
              <a:gd name="connsiteX124" fmla="*/ 5400675 w 6610350"/>
              <a:gd name="connsiteY124" fmla="*/ 2233612 h 2481262"/>
              <a:gd name="connsiteX125" fmla="*/ 5500688 w 6610350"/>
              <a:gd name="connsiteY125" fmla="*/ 2233612 h 2481262"/>
              <a:gd name="connsiteX126" fmla="*/ 5500688 w 6610350"/>
              <a:gd name="connsiteY126" fmla="*/ 2305050 h 2481262"/>
              <a:gd name="connsiteX127" fmla="*/ 5586413 w 6610350"/>
              <a:gd name="connsiteY127" fmla="*/ 2305050 h 2481262"/>
              <a:gd name="connsiteX128" fmla="*/ 5586413 w 6610350"/>
              <a:gd name="connsiteY128" fmla="*/ 2328862 h 2481262"/>
              <a:gd name="connsiteX129" fmla="*/ 5629275 w 6610350"/>
              <a:gd name="connsiteY129" fmla="*/ 2328862 h 2481262"/>
              <a:gd name="connsiteX130" fmla="*/ 5629275 w 6610350"/>
              <a:gd name="connsiteY130" fmla="*/ 2390775 h 2481262"/>
              <a:gd name="connsiteX131" fmla="*/ 6134100 w 6610350"/>
              <a:gd name="connsiteY131" fmla="*/ 2390775 h 2481262"/>
              <a:gd name="connsiteX132" fmla="*/ 6134100 w 6610350"/>
              <a:gd name="connsiteY132" fmla="*/ 2481262 h 2481262"/>
              <a:gd name="connsiteX133" fmla="*/ 6610350 w 6610350"/>
              <a:gd name="connsiteY133" fmla="*/ 2481262 h 2481262"/>
              <a:gd name="connsiteX0" fmla="*/ 0 w 6610350"/>
              <a:gd name="connsiteY0" fmla="*/ 4762 h 2481262"/>
              <a:gd name="connsiteX1" fmla="*/ 90488 w 6610350"/>
              <a:gd name="connsiteY1" fmla="*/ 0 h 2481262"/>
              <a:gd name="connsiteX2" fmla="*/ 90488 w 6610350"/>
              <a:gd name="connsiteY2" fmla="*/ 33337 h 2481262"/>
              <a:gd name="connsiteX3" fmla="*/ 133350 w 6610350"/>
              <a:gd name="connsiteY3" fmla="*/ 33337 h 2481262"/>
              <a:gd name="connsiteX4" fmla="*/ 133350 w 6610350"/>
              <a:gd name="connsiteY4" fmla="*/ 66675 h 2481262"/>
              <a:gd name="connsiteX5" fmla="*/ 209550 w 6610350"/>
              <a:gd name="connsiteY5" fmla="*/ 66675 h 2481262"/>
              <a:gd name="connsiteX6" fmla="*/ 204788 w 6610350"/>
              <a:gd name="connsiteY6" fmla="*/ 95250 h 2481262"/>
              <a:gd name="connsiteX7" fmla="*/ 361950 w 6610350"/>
              <a:gd name="connsiteY7" fmla="*/ 104775 h 2481262"/>
              <a:gd name="connsiteX8" fmla="*/ 361950 w 6610350"/>
              <a:gd name="connsiteY8" fmla="*/ 123825 h 2481262"/>
              <a:gd name="connsiteX9" fmla="*/ 423863 w 6610350"/>
              <a:gd name="connsiteY9" fmla="*/ 119062 h 2481262"/>
              <a:gd name="connsiteX10" fmla="*/ 423862 w 6610350"/>
              <a:gd name="connsiteY10" fmla="*/ 166687 h 2481262"/>
              <a:gd name="connsiteX11" fmla="*/ 552450 w 6610350"/>
              <a:gd name="connsiteY11" fmla="*/ 171450 h 2481262"/>
              <a:gd name="connsiteX12" fmla="*/ 557213 w 6610350"/>
              <a:gd name="connsiteY12" fmla="*/ 200025 h 2481262"/>
              <a:gd name="connsiteX13" fmla="*/ 595313 w 6610350"/>
              <a:gd name="connsiteY13" fmla="*/ 204787 h 2481262"/>
              <a:gd name="connsiteX14" fmla="*/ 600075 w 6610350"/>
              <a:gd name="connsiteY14" fmla="*/ 238125 h 2481262"/>
              <a:gd name="connsiteX15" fmla="*/ 642938 w 6610350"/>
              <a:gd name="connsiteY15" fmla="*/ 238125 h 2481262"/>
              <a:gd name="connsiteX16" fmla="*/ 642938 w 6610350"/>
              <a:gd name="connsiteY16" fmla="*/ 276225 h 2481262"/>
              <a:gd name="connsiteX17" fmla="*/ 933450 w 6610350"/>
              <a:gd name="connsiteY17" fmla="*/ 280987 h 2481262"/>
              <a:gd name="connsiteX18" fmla="*/ 938213 w 6610350"/>
              <a:gd name="connsiteY18" fmla="*/ 300037 h 2481262"/>
              <a:gd name="connsiteX19" fmla="*/ 1023938 w 6610350"/>
              <a:gd name="connsiteY19" fmla="*/ 295275 h 2481262"/>
              <a:gd name="connsiteX20" fmla="*/ 1028700 w 6610350"/>
              <a:gd name="connsiteY20" fmla="*/ 357187 h 2481262"/>
              <a:gd name="connsiteX21" fmla="*/ 1147763 w 6610350"/>
              <a:gd name="connsiteY21" fmla="*/ 357187 h 2481262"/>
              <a:gd name="connsiteX22" fmla="*/ 1157288 w 6610350"/>
              <a:gd name="connsiteY22" fmla="*/ 390525 h 2481262"/>
              <a:gd name="connsiteX23" fmla="*/ 1228725 w 6610350"/>
              <a:gd name="connsiteY23" fmla="*/ 390525 h 2481262"/>
              <a:gd name="connsiteX24" fmla="*/ 1228725 w 6610350"/>
              <a:gd name="connsiteY24" fmla="*/ 390525 h 2481262"/>
              <a:gd name="connsiteX25" fmla="*/ 1323975 w 6610350"/>
              <a:gd name="connsiteY25" fmla="*/ 419100 h 2481262"/>
              <a:gd name="connsiteX26" fmla="*/ 1338263 w 6610350"/>
              <a:gd name="connsiteY26" fmla="*/ 471487 h 2481262"/>
              <a:gd name="connsiteX27" fmla="*/ 1400175 w 6610350"/>
              <a:gd name="connsiteY27" fmla="*/ 466725 h 2481262"/>
              <a:gd name="connsiteX28" fmla="*/ 1404938 w 6610350"/>
              <a:gd name="connsiteY28" fmla="*/ 490537 h 2481262"/>
              <a:gd name="connsiteX29" fmla="*/ 1466850 w 6610350"/>
              <a:gd name="connsiteY29" fmla="*/ 495300 h 2481262"/>
              <a:gd name="connsiteX30" fmla="*/ 1471613 w 6610350"/>
              <a:gd name="connsiteY30" fmla="*/ 509587 h 2481262"/>
              <a:gd name="connsiteX31" fmla="*/ 1528763 w 6610350"/>
              <a:gd name="connsiteY31" fmla="*/ 509587 h 2481262"/>
              <a:gd name="connsiteX32" fmla="*/ 1528763 w 6610350"/>
              <a:gd name="connsiteY32" fmla="*/ 557212 h 2481262"/>
              <a:gd name="connsiteX33" fmla="*/ 1714500 w 6610350"/>
              <a:gd name="connsiteY33" fmla="*/ 561974 h 2481262"/>
              <a:gd name="connsiteX34" fmla="*/ 1714500 w 6610350"/>
              <a:gd name="connsiteY34" fmla="*/ 590550 h 2481262"/>
              <a:gd name="connsiteX35" fmla="*/ 1752600 w 6610350"/>
              <a:gd name="connsiteY35" fmla="*/ 590550 h 2481262"/>
              <a:gd name="connsiteX36" fmla="*/ 1762125 w 6610350"/>
              <a:gd name="connsiteY36" fmla="*/ 619125 h 2481262"/>
              <a:gd name="connsiteX37" fmla="*/ 1809750 w 6610350"/>
              <a:gd name="connsiteY37" fmla="*/ 619125 h 2481262"/>
              <a:gd name="connsiteX38" fmla="*/ 1809750 w 6610350"/>
              <a:gd name="connsiteY38" fmla="*/ 647700 h 2481262"/>
              <a:gd name="connsiteX39" fmla="*/ 1847850 w 6610350"/>
              <a:gd name="connsiteY39" fmla="*/ 647700 h 2481262"/>
              <a:gd name="connsiteX40" fmla="*/ 1847850 w 6610350"/>
              <a:gd name="connsiteY40" fmla="*/ 714375 h 2481262"/>
              <a:gd name="connsiteX41" fmla="*/ 1905000 w 6610350"/>
              <a:gd name="connsiteY41" fmla="*/ 714375 h 2481262"/>
              <a:gd name="connsiteX42" fmla="*/ 1919288 w 6610350"/>
              <a:gd name="connsiteY42" fmla="*/ 738187 h 2481262"/>
              <a:gd name="connsiteX43" fmla="*/ 2009775 w 6610350"/>
              <a:gd name="connsiteY43" fmla="*/ 733425 h 2481262"/>
              <a:gd name="connsiteX44" fmla="*/ 2009775 w 6610350"/>
              <a:gd name="connsiteY44" fmla="*/ 804862 h 2481262"/>
              <a:gd name="connsiteX45" fmla="*/ 2038350 w 6610350"/>
              <a:gd name="connsiteY45" fmla="*/ 804862 h 2481262"/>
              <a:gd name="connsiteX46" fmla="*/ 2038350 w 6610350"/>
              <a:gd name="connsiteY46" fmla="*/ 823912 h 2481262"/>
              <a:gd name="connsiteX47" fmla="*/ 2038350 w 6610350"/>
              <a:gd name="connsiteY47" fmla="*/ 823912 h 2481262"/>
              <a:gd name="connsiteX48" fmla="*/ 2071688 w 6610350"/>
              <a:gd name="connsiteY48" fmla="*/ 852487 h 2481262"/>
              <a:gd name="connsiteX49" fmla="*/ 2071688 w 6610350"/>
              <a:gd name="connsiteY49" fmla="*/ 852487 h 2481262"/>
              <a:gd name="connsiteX50" fmla="*/ 2100263 w 6610350"/>
              <a:gd name="connsiteY50" fmla="*/ 885825 h 2481262"/>
              <a:gd name="connsiteX51" fmla="*/ 2190750 w 6610350"/>
              <a:gd name="connsiteY51" fmla="*/ 885825 h 2481262"/>
              <a:gd name="connsiteX52" fmla="*/ 2195513 w 6610350"/>
              <a:gd name="connsiteY52" fmla="*/ 933450 h 2481262"/>
              <a:gd name="connsiteX53" fmla="*/ 2247900 w 6610350"/>
              <a:gd name="connsiteY53" fmla="*/ 923925 h 2481262"/>
              <a:gd name="connsiteX54" fmla="*/ 2247900 w 6610350"/>
              <a:gd name="connsiteY54" fmla="*/ 966787 h 2481262"/>
              <a:gd name="connsiteX55" fmla="*/ 2352675 w 6610350"/>
              <a:gd name="connsiteY55" fmla="*/ 952500 h 2481262"/>
              <a:gd name="connsiteX56" fmla="*/ 2347913 w 6610350"/>
              <a:gd name="connsiteY56" fmla="*/ 985837 h 2481262"/>
              <a:gd name="connsiteX57" fmla="*/ 2400300 w 6610350"/>
              <a:gd name="connsiteY57" fmla="*/ 990600 h 2481262"/>
              <a:gd name="connsiteX58" fmla="*/ 2400300 w 6610350"/>
              <a:gd name="connsiteY58" fmla="*/ 990600 h 2481262"/>
              <a:gd name="connsiteX59" fmla="*/ 2400300 w 6610350"/>
              <a:gd name="connsiteY59" fmla="*/ 1019175 h 2481262"/>
              <a:gd name="connsiteX60" fmla="*/ 2476500 w 6610350"/>
              <a:gd name="connsiteY60" fmla="*/ 1009650 h 2481262"/>
              <a:gd name="connsiteX61" fmla="*/ 2476500 w 6610350"/>
              <a:gd name="connsiteY61" fmla="*/ 1047750 h 2481262"/>
              <a:gd name="connsiteX62" fmla="*/ 2500313 w 6610350"/>
              <a:gd name="connsiteY62" fmla="*/ 1047750 h 2481262"/>
              <a:gd name="connsiteX63" fmla="*/ 2505050 w 6610350"/>
              <a:gd name="connsiteY63" fmla="*/ 1085653 h 2481262"/>
              <a:gd name="connsiteX64" fmla="*/ 2566988 w 6610350"/>
              <a:gd name="connsiteY64" fmla="*/ 1081087 h 2481262"/>
              <a:gd name="connsiteX65" fmla="*/ 2562225 w 6610350"/>
              <a:gd name="connsiteY65" fmla="*/ 1123950 h 2481262"/>
              <a:gd name="connsiteX66" fmla="*/ 2609850 w 6610350"/>
              <a:gd name="connsiteY66" fmla="*/ 1123950 h 2481262"/>
              <a:gd name="connsiteX67" fmla="*/ 2609850 w 6610350"/>
              <a:gd name="connsiteY67" fmla="*/ 1162050 h 2481262"/>
              <a:gd name="connsiteX68" fmla="*/ 2609850 w 6610350"/>
              <a:gd name="connsiteY68" fmla="*/ 1162050 h 2481262"/>
              <a:gd name="connsiteX69" fmla="*/ 2638425 w 6610350"/>
              <a:gd name="connsiteY69" fmla="*/ 1185862 h 2481262"/>
              <a:gd name="connsiteX70" fmla="*/ 2638425 w 6610350"/>
              <a:gd name="connsiteY70" fmla="*/ 1185862 h 2481262"/>
              <a:gd name="connsiteX71" fmla="*/ 2662238 w 6610350"/>
              <a:gd name="connsiteY71" fmla="*/ 1228725 h 2481262"/>
              <a:gd name="connsiteX72" fmla="*/ 2800350 w 6610350"/>
              <a:gd name="connsiteY72" fmla="*/ 1233487 h 2481262"/>
              <a:gd name="connsiteX73" fmla="*/ 2805113 w 6610350"/>
              <a:gd name="connsiteY73" fmla="*/ 1266825 h 2481262"/>
              <a:gd name="connsiteX74" fmla="*/ 2881313 w 6610350"/>
              <a:gd name="connsiteY74" fmla="*/ 1266825 h 2481262"/>
              <a:gd name="connsiteX75" fmla="*/ 2876550 w 6610350"/>
              <a:gd name="connsiteY75" fmla="*/ 1290637 h 2481262"/>
              <a:gd name="connsiteX76" fmla="*/ 2909714 w 6610350"/>
              <a:gd name="connsiteY76" fmla="*/ 1290637 h 2481262"/>
              <a:gd name="connsiteX77" fmla="*/ 2909888 w 6610350"/>
              <a:gd name="connsiteY77" fmla="*/ 1338262 h 2481262"/>
              <a:gd name="connsiteX78" fmla="*/ 2938315 w 6610350"/>
              <a:gd name="connsiteY78" fmla="*/ 1338262 h 2481262"/>
              <a:gd name="connsiteX79" fmla="*/ 2947988 w 6610350"/>
              <a:gd name="connsiteY79" fmla="*/ 1385887 h 2481262"/>
              <a:gd name="connsiteX80" fmla="*/ 3028950 w 6610350"/>
              <a:gd name="connsiteY80" fmla="*/ 1385887 h 2481262"/>
              <a:gd name="connsiteX81" fmla="*/ 3028950 w 6610350"/>
              <a:gd name="connsiteY81" fmla="*/ 1419225 h 2481262"/>
              <a:gd name="connsiteX82" fmla="*/ 3095625 w 6610350"/>
              <a:gd name="connsiteY82" fmla="*/ 1419225 h 2481262"/>
              <a:gd name="connsiteX83" fmla="*/ 3095625 w 6610350"/>
              <a:gd name="connsiteY83" fmla="*/ 1462087 h 2481262"/>
              <a:gd name="connsiteX84" fmla="*/ 3162300 w 6610350"/>
              <a:gd name="connsiteY84" fmla="*/ 1462087 h 2481262"/>
              <a:gd name="connsiteX85" fmla="*/ 3162300 w 6610350"/>
              <a:gd name="connsiteY85" fmla="*/ 1485900 h 2481262"/>
              <a:gd name="connsiteX86" fmla="*/ 3257550 w 6610350"/>
              <a:gd name="connsiteY86" fmla="*/ 1485900 h 2481262"/>
              <a:gd name="connsiteX87" fmla="*/ 3252788 w 6610350"/>
              <a:gd name="connsiteY87" fmla="*/ 1538287 h 2481262"/>
              <a:gd name="connsiteX88" fmla="*/ 3314700 w 6610350"/>
              <a:gd name="connsiteY88" fmla="*/ 1543050 h 2481262"/>
              <a:gd name="connsiteX89" fmla="*/ 3319438 w 6610350"/>
              <a:gd name="connsiteY89" fmla="*/ 1585690 h 2481262"/>
              <a:gd name="connsiteX90" fmla="*/ 3405188 w 6610350"/>
              <a:gd name="connsiteY90" fmla="*/ 1581150 h 2481262"/>
              <a:gd name="connsiteX91" fmla="*/ 3405188 w 6610350"/>
              <a:gd name="connsiteY91" fmla="*/ 1614487 h 2481262"/>
              <a:gd name="connsiteX92" fmla="*/ 3586163 w 6610350"/>
              <a:gd name="connsiteY92" fmla="*/ 1614487 h 2481262"/>
              <a:gd name="connsiteX93" fmla="*/ 3586163 w 6610350"/>
              <a:gd name="connsiteY93" fmla="*/ 1638300 h 2481262"/>
              <a:gd name="connsiteX94" fmla="*/ 3643313 w 6610350"/>
              <a:gd name="connsiteY94" fmla="*/ 1633537 h 2481262"/>
              <a:gd name="connsiteX95" fmla="*/ 3648051 w 6610350"/>
              <a:gd name="connsiteY95" fmla="*/ 1680915 h 2481262"/>
              <a:gd name="connsiteX96" fmla="*/ 3724275 w 6610350"/>
              <a:gd name="connsiteY96" fmla="*/ 1676351 h 2481262"/>
              <a:gd name="connsiteX97" fmla="*/ 3729014 w 6610350"/>
              <a:gd name="connsiteY97" fmla="*/ 1714253 h 2481262"/>
              <a:gd name="connsiteX98" fmla="*/ 3814763 w 6610350"/>
              <a:gd name="connsiteY98" fmla="*/ 1704975 h 2481262"/>
              <a:gd name="connsiteX99" fmla="*/ 3814763 w 6610350"/>
              <a:gd name="connsiteY99" fmla="*/ 1757362 h 2481262"/>
              <a:gd name="connsiteX100" fmla="*/ 3890963 w 6610350"/>
              <a:gd name="connsiteY100" fmla="*/ 1762125 h 2481262"/>
              <a:gd name="connsiteX101" fmla="*/ 3881438 w 6610350"/>
              <a:gd name="connsiteY101" fmla="*/ 1800225 h 2481262"/>
              <a:gd name="connsiteX102" fmla="*/ 3952875 w 6610350"/>
              <a:gd name="connsiteY102" fmla="*/ 1804987 h 2481262"/>
              <a:gd name="connsiteX103" fmla="*/ 3957638 w 6610350"/>
              <a:gd name="connsiteY103" fmla="*/ 1862137 h 2481262"/>
              <a:gd name="connsiteX104" fmla="*/ 4029075 w 6610350"/>
              <a:gd name="connsiteY104" fmla="*/ 1862137 h 2481262"/>
              <a:gd name="connsiteX105" fmla="*/ 4029075 w 6610350"/>
              <a:gd name="connsiteY105" fmla="*/ 1924050 h 2481262"/>
              <a:gd name="connsiteX106" fmla="*/ 4100513 w 6610350"/>
              <a:gd name="connsiteY106" fmla="*/ 1924050 h 2481262"/>
              <a:gd name="connsiteX107" fmla="*/ 4143375 w 6610350"/>
              <a:gd name="connsiteY107" fmla="*/ 1924050 h 2481262"/>
              <a:gd name="connsiteX108" fmla="*/ 4138613 w 6610350"/>
              <a:gd name="connsiteY108" fmla="*/ 1966912 h 2481262"/>
              <a:gd name="connsiteX109" fmla="*/ 4214813 w 6610350"/>
              <a:gd name="connsiteY109" fmla="*/ 1971675 h 2481262"/>
              <a:gd name="connsiteX110" fmla="*/ 4214813 w 6610350"/>
              <a:gd name="connsiteY110" fmla="*/ 2014537 h 2481262"/>
              <a:gd name="connsiteX111" fmla="*/ 4319588 w 6610350"/>
              <a:gd name="connsiteY111" fmla="*/ 2014537 h 2481262"/>
              <a:gd name="connsiteX112" fmla="*/ 4319588 w 6610350"/>
              <a:gd name="connsiteY112" fmla="*/ 2014537 h 2481262"/>
              <a:gd name="connsiteX113" fmla="*/ 4362451 w 6610350"/>
              <a:gd name="connsiteY113" fmla="*/ 2038350 h 2481262"/>
              <a:gd name="connsiteX114" fmla="*/ 4410075 w 6610350"/>
              <a:gd name="connsiteY114" fmla="*/ 2095500 h 2481262"/>
              <a:gd name="connsiteX115" fmla="*/ 4605338 w 6610350"/>
              <a:gd name="connsiteY115" fmla="*/ 2105025 h 2481262"/>
              <a:gd name="connsiteX116" fmla="*/ 4605338 w 6610350"/>
              <a:gd name="connsiteY116" fmla="*/ 2105025 h 2481262"/>
              <a:gd name="connsiteX117" fmla="*/ 4605338 w 6610350"/>
              <a:gd name="connsiteY117" fmla="*/ 2147887 h 2481262"/>
              <a:gd name="connsiteX118" fmla="*/ 4791075 w 6610350"/>
              <a:gd name="connsiteY118" fmla="*/ 2147887 h 2481262"/>
              <a:gd name="connsiteX119" fmla="*/ 4791075 w 6610350"/>
              <a:gd name="connsiteY119" fmla="*/ 2176462 h 2481262"/>
              <a:gd name="connsiteX120" fmla="*/ 4953000 w 6610350"/>
              <a:gd name="connsiteY120" fmla="*/ 2176462 h 2481262"/>
              <a:gd name="connsiteX121" fmla="*/ 5072063 w 6610350"/>
              <a:gd name="connsiteY121" fmla="*/ 2176462 h 2481262"/>
              <a:gd name="connsiteX122" fmla="*/ 5072063 w 6610350"/>
              <a:gd name="connsiteY122" fmla="*/ 2233612 h 2481262"/>
              <a:gd name="connsiteX123" fmla="*/ 5400675 w 6610350"/>
              <a:gd name="connsiteY123" fmla="*/ 2233612 h 2481262"/>
              <a:gd name="connsiteX124" fmla="*/ 5400675 w 6610350"/>
              <a:gd name="connsiteY124" fmla="*/ 2233612 h 2481262"/>
              <a:gd name="connsiteX125" fmla="*/ 5500688 w 6610350"/>
              <a:gd name="connsiteY125" fmla="*/ 2233612 h 2481262"/>
              <a:gd name="connsiteX126" fmla="*/ 5500688 w 6610350"/>
              <a:gd name="connsiteY126" fmla="*/ 2305050 h 2481262"/>
              <a:gd name="connsiteX127" fmla="*/ 5586413 w 6610350"/>
              <a:gd name="connsiteY127" fmla="*/ 2305050 h 2481262"/>
              <a:gd name="connsiteX128" fmla="*/ 5586413 w 6610350"/>
              <a:gd name="connsiteY128" fmla="*/ 2328862 h 2481262"/>
              <a:gd name="connsiteX129" fmla="*/ 5629275 w 6610350"/>
              <a:gd name="connsiteY129" fmla="*/ 2328862 h 2481262"/>
              <a:gd name="connsiteX130" fmla="*/ 5629275 w 6610350"/>
              <a:gd name="connsiteY130" fmla="*/ 2390775 h 2481262"/>
              <a:gd name="connsiteX131" fmla="*/ 6134100 w 6610350"/>
              <a:gd name="connsiteY131" fmla="*/ 2390775 h 2481262"/>
              <a:gd name="connsiteX132" fmla="*/ 6134100 w 6610350"/>
              <a:gd name="connsiteY132" fmla="*/ 2481262 h 2481262"/>
              <a:gd name="connsiteX133" fmla="*/ 6610350 w 6610350"/>
              <a:gd name="connsiteY133" fmla="*/ 2481262 h 2481262"/>
              <a:gd name="connsiteX0" fmla="*/ 0 w 6610350"/>
              <a:gd name="connsiteY0" fmla="*/ 4762 h 2481262"/>
              <a:gd name="connsiteX1" fmla="*/ 90488 w 6610350"/>
              <a:gd name="connsiteY1" fmla="*/ 0 h 2481262"/>
              <a:gd name="connsiteX2" fmla="*/ 90488 w 6610350"/>
              <a:gd name="connsiteY2" fmla="*/ 33337 h 2481262"/>
              <a:gd name="connsiteX3" fmla="*/ 133350 w 6610350"/>
              <a:gd name="connsiteY3" fmla="*/ 33337 h 2481262"/>
              <a:gd name="connsiteX4" fmla="*/ 133350 w 6610350"/>
              <a:gd name="connsiteY4" fmla="*/ 66675 h 2481262"/>
              <a:gd name="connsiteX5" fmla="*/ 209550 w 6610350"/>
              <a:gd name="connsiteY5" fmla="*/ 66675 h 2481262"/>
              <a:gd name="connsiteX6" fmla="*/ 204788 w 6610350"/>
              <a:gd name="connsiteY6" fmla="*/ 95250 h 2481262"/>
              <a:gd name="connsiteX7" fmla="*/ 361950 w 6610350"/>
              <a:gd name="connsiteY7" fmla="*/ 104775 h 2481262"/>
              <a:gd name="connsiteX8" fmla="*/ 361950 w 6610350"/>
              <a:gd name="connsiteY8" fmla="*/ 123825 h 2481262"/>
              <a:gd name="connsiteX9" fmla="*/ 423863 w 6610350"/>
              <a:gd name="connsiteY9" fmla="*/ 119062 h 2481262"/>
              <a:gd name="connsiteX10" fmla="*/ 423862 w 6610350"/>
              <a:gd name="connsiteY10" fmla="*/ 166687 h 2481262"/>
              <a:gd name="connsiteX11" fmla="*/ 552450 w 6610350"/>
              <a:gd name="connsiteY11" fmla="*/ 171450 h 2481262"/>
              <a:gd name="connsiteX12" fmla="*/ 557213 w 6610350"/>
              <a:gd name="connsiteY12" fmla="*/ 200025 h 2481262"/>
              <a:gd name="connsiteX13" fmla="*/ 595313 w 6610350"/>
              <a:gd name="connsiteY13" fmla="*/ 204787 h 2481262"/>
              <a:gd name="connsiteX14" fmla="*/ 600075 w 6610350"/>
              <a:gd name="connsiteY14" fmla="*/ 238125 h 2481262"/>
              <a:gd name="connsiteX15" fmla="*/ 642938 w 6610350"/>
              <a:gd name="connsiteY15" fmla="*/ 238125 h 2481262"/>
              <a:gd name="connsiteX16" fmla="*/ 642938 w 6610350"/>
              <a:gd name="connsiteY16" fmla="*/ 276225 h 2481262"/>
              <a:gd name="connsiteX17" fmla="*/ 933450 w 6610350"/>
              <a:gd name="connsiteY17" fmla="*/ 280987 h 2481262"/>
              <a:gd name="connsiteX18" fmla="*/ 938213 w 6610350"/>
              <a:gd name="connsiteY18" fmla="*/ 300037 h 2481262"/>
              <a:gd name="connsiteX19" fmla="*/ 1023938 w 6610350"/>
              <a:gd name="connsiteY19" fmla="*/ 295275 h 2481262"/>
              <a:gd name="connsiteX20" fmla="*/ 1028700 w 6610350"/>
              <a:gd name="connsiteY20" fmla="*/ 357187 h 2481262"/>
              <a:gd name="connsiteX21" fmla="*/ 1147763 w 6610350"/>
              <a:gd name="connsiteY21" fmla="*/ 357187 h 2481262"/>
              <a:gd name="connsiteX22" fmla="*/ 1157288 w 6610350"/>
              <a:gd name="connsiteY22" fmla="*/ 390525 h 2481262"/>
              <a:gd name="connsiteX23" fmla="*/ 1228725 w 6610350"/>
              <a:gd name="connsiteY23" fmla="*/ 390525 h 2481262"/>
              <a:gd name="connsiteX24" fmla="*/ 1228725 w 6610350"/>
              <a:gd name="connsiteY24" fmla="*/ 390525 h 2481262"/>
              <a:gd name="connsiteX25" fmla="*/ 1323975 w 6610350"/>
              <a:gd name="connsiteY25" fmla="*/ 419100 h 2481262"/>
              <a:gd name="connsiteX26" fmla="*/ 1338263 w 6610350"/>
              <a:gd name="connsiteY26" fmla="*/ 471487 h 2481262"/>
              <a:gd name="connsiteX27" fmla="*/ 1400175 w 6610350"/>
              <a:gd name="connsiteY27" fmla="*/ 466725 h 2481262"/>
              <a:gd name="connsiteX28" fmla="*/ 1404938 w 6610350"/>
              <a:gd name="connsiteY28" fmla="*/ 490537 h 2481262"/>
              <a:gd name="connsiteX29" fmla="*/ 1466850 w 6610350"/>
              <a:gd name="connsiteY29" fmla="*/ 495300 h 2481262"/>
              <a:gd name="connsiteX30" fmla="*/ 1471613 w 6610350"/>
              <a:gd name="connsiteY30" fmla="*/ 509587 h 2481262"/>
              <a:gd name="connsiteX31" fmla="*/ 1528763 w 6610350"/>
              <a:gd name="connsiteY31" fmla="*/ 509587 h 2481262"/>
              <a:gd name="connsiteX32" fmla="*/ 1528763 w 6610350"/>
              <a:gd name="connsiteY32" fmla="*/ 557212 h 2481262"/>
              <a:gd name="connsiteX33" fmla="*/ 1714500 w 6610350"/>
              <a:gd name="connsiteY33" fmla="*/ 561974 h 2481262"/>
              <a:gd name="connsiteX34" fmla="*/ 1714500 w 6610350"/>
              <a:gd name="connsiteY34" fmla="*/ 590550 h 2481262"/>
              <a:gd name="connsiteX35" fmla="*/ 1752600 w 6610350"/>
              <a:gd name="connsiteY35" fmla="*/ 590550 h 2481262"/>
              <a:gd name="connsiteX36" fmla="*/ 1762125 w 6610350"/>
              <a:gd name="connsiteY36" fmla="*/ 619125 h 2481262"/>
              <a:gd name="connsiteX37" fmla="*/ 1809750 w 6610350"/>
              <a:gd name="connsiteY37" fmla="*/ 619125 h 2481262"/>
              <a:gd name="connsiteX38" fmla="*/ 1809750 w 6610350"/>
              <a:gd name="connsiteY38" fmla="*/ 647700 h 2481262"/>
              <a:gd name="connsiteX39" fmla="*/ 1847850 w 6610350"/>
              <a:gd name="connsiteY39" fmla="*/ 647700 h 2481262"/>
              <a:gd name="connsiteX40" fmla="*/ 1847850 w 6610350"/>
              <a:gd name="connsiteY40" fmla="*/ 714375 h 2481262"/>
              <a:gd name="connsiteX41" fmla="*/ 1905000 w 6610350"/>
              <a:gd name="connsiteY41" fmla="*/ 714375 h 2481262"/>
              <a:gd name="connsiteX42" fmla="*/ 1919288 w 6610350"/>
              <a:gd name="connsiteY42" fmla="*/ 738187 h 2481262"/>
              <a:gd name="connsiteX43" fmla="*/ 2009775 w 6610350"/>
              <a:gd name="connsiteY43" fmla="*/ 733425 h 2481262"/>
              <a:gd name="connsiteX44" fmla="*/ 2009775 w 6610350"/>
              <a:gd name="connsiteY44" fmla="*/ 804862 h 2481262"/>
              <a:gd name="connsiteX45" fmla="*/ 2038350 w 6610350"/>
              <a:gd name="connsiteY45" fmla="*/ 804862 h 2481262"/>
              <a:gd name="connsiteX46" fmla="*/ 2038350 w 6610350"/>
              <a:gd name="connsiteY46" fmla="*/ 823912 h 2481262"/>
              <a:gd name="connsiteX47" fmla="*/ 2038350 w 6610350"/>
              <a:gd name="connsiteY47" fmla="*/ 823912 h 2481262"/>
              <a:gd name="connsiteX48" fmla="*/ 2071688 w 6610350"/>
              <a:gd name="connsiteY48" fmla="*/ 852487 h 2481262"/>
              <a:gd name="connsiteX49" fmla="*/ 2071688 w 6610350"/>
              <a:gd name="connsiteY49" fmla="*/ 852487 h 2481262"/>
              <a:gd name="connsiteX50" fmla="*/ 2100263 w 6610350"/>
              <a:gd name="connsiteY50" fmla="*/ 885825 h 2481262"/>
              <a:gd name="connsiteX51" fmla="*/ 2190750 w 6610350"/>
              <a:gd name="connsiteY51" fmla="*/ 885825 h 2481262"/>
              <a:gd name="connsiteX52" fmla="*/ 2195513 w 6610350"/>
              <a:gd name="connsiteY52" fmla="*/ 933450 h 2481262"/>
              <a:gd name="connsiteX53" fmla="*/ 2247900 w 6610350"/>
              <a:gd name="connsiteY53" fmla="*/ 923925 h 2481262"/>
              <a:gd name="connsiteX54" fmla="*/ 2247900 w 6610350"/>
              <a:gd name="connsiteY54" fmla="*/ 966787 h 2481262"/>
              <a:gd name="connsiteX55" fmla="*/ 2352675 w 6610350"/>
              <a:gd name="connsiteY55" fmla="*/ 952500 h 2481262"/>
              <a:gd name="connsiteX56" fmla="*/ 2347913 w 6610350"/>
              <a:gd name="connsiteY56" fmla="*/ 985837 h 2481262"/>
              <a:gd name="connsiteX57" fmla="*/ 2400300 w 6610350"/>
              <a:gd name="connsiteY57" fmla="*/ 990600 h 2481262"/>
              <a:gd name="connsiteX58" fmla="*/ 2400300 w 6610350"/>
              <a:gd name="connsiteY58" fmla="*/ 990600 h 2481262"/>
              <a:gd name="connsiteX59" fmla="*/ 2400300 w 6610350"/>
              <a:gd name="connsiteY59" fmla="*/ 1019175 h 2481262"/>
              <a:gd name="connsiteX60" fmla="*/ 2476500 w 6610350"/>
              <a:gd name="connsiteY60" fmla="*/ 1009650 h 2481262"/>
              <a:gd name="connsiteX61" fmla="*/ 2476500 w 6610350"/>
              <a:gd name="connsiteY61" fmla="*/ 1047750 h 2481262"/>
              <a:gd name="connsiteX62" fmla="*/ 2500313 w 6610350"/>
              <a:gd name="connsiteY62" fmla="*/ 1047750 h 2481262"/>
              <a:gd name="connsiteX63" fmla="*/ 2505050 w 6610350"/>
              <a:gd name="connsiteY63" fmla="*/ 1085653 h 2481262"/>
              <a:gd name="connsiteX64" fmla="*/ 2566988 w 6610350"/>
              <a:gd name="connsiteY64" fmla="*/ 1081087 h 2481262"/>
              <a:gd name="connsiteX65" fmla="*/ 2562225 w 6610350"/>
              <a:gd name="connsiteY65" fmla="*/ 1123950 h 2481262"/>
              <a:gd name="connsiteX66" fmla="*/ 2609850 w 6610350"/>
              <a:gd name="connsiteY66" fmla="*/ 1123950 h 2481262"/>
              <a:gd name="connsiteX67" fmla="*/ 2609850 w 6610350"/>
              <a:gd name="connsiteY67" fmla="*/ 1162050 h 2481262"/>
              <a:gd name="connsiteX68" fmla="*/ 2609850 w 6610350"/>
              <a:gd name="connsiteY68" fmla="*/ 1162050 h 2481262"/>
              <a:gd name="connsiteX69" fmla="*/ 2638425 w 6610350"/>
              <a:gd name="connsiteY69" fmla="*/ 1185862 h 2481262"/>
              <a:gd name="connsiteX70" fmla="*/ 2638425 w 6610350"/>
              <a:gd name="connsiteY70" fmla="*/ 1185862 h 2481262"/>
              <a:gd name="connsiteX71" fmla="*/ 2662238 w 6610350"/>
              <a:gd name="connsiteY71" fmla="*/ 1228725 h 2481262"/>
              <a:gd name="connsiteX72" fmla="*/ 2800350 w 6610350"/>
              <a:gd name="connsiteY72" fmla="*/ 1224011 h 2481262"/>
              <a:gd name="connsiteX73" fmla="*/ 2805113 w 6610350"/>
              <a:gd name="connsiteY73" fmla="*/ 1266825 h 2481262"/>
              <a:gd name="connsiteX74" fmla="*/ 2881313 w 6610350"/>
              <a:gd name="connsiteY74" fmla="*/ 1266825 h 2481262"/>
              <a:gd name="connsiteX75" fmla="*/ 2876550 w 6610350"/>
              <a:gd name="connsiteY75" fmla="*/ 1290637 h 2481262"/>
              <a:gd name="connsiteX76" fmla="*/ 2909714 w 6610350"/>
              <a:gd name="connsiteY76" fmla="*/ 1290637 h 2481262"/>
              <a:gd name="connsiteX77" fmla="*/ 2909888 w 6610350"/>
              <a:gd name="connsiteY77" fmla="*/ 1338262 h 2481262"/>
              <a:gd name="connsiteX78" fmla="*/ 2938315 w 6610350"/>
              <a:gd name="connsiteY78" fmla="*/ 1338262 h 2481262"/>
              <a:gd name="connsiteX79" fmla="*/ 2947988 w 6610350"/>
              <a:gd name="connsiteY79" fmla="*/ 1385887 h 2481262"/>
              <a:gd name="connsiteX80" fmla="*/ 3028950 w 6610350"/>
              <a:gd name="connsiteY80" fmla="*/ 1385887 h 2481262"/>
              <a:gd name="connsiteX81" fmla="*/ 3028950 w 6610350"/>
              <a:gd name="connsiteY81" fmla="*/ 1419225 h 2481262"/>
              <a:gd name="connsiteX82" fmla="*/ 3095625 w 6610350"/>
              <a:gd name="connsiteY82" fmla="*/ 1419225 h 2481262"/>
              <a:gd name="connsiteX83" fmla="*/ 3095625 w 6610350"/>
              <a:gd name="connsiteY83" fmla="*/ 1462087 h 2481262"/>
              <a:gd name="connsiteX84" fmla="*/ 3162300 w 6610350"/>
              <a:gd name="connsiteY84" fmla="*/ 1462087 h 2481262"/>
              <a:gd name="connsiteX85" fmla="*/ 3162300 w 6610350"/>
              <a:gd name="connsiteY85" fmla="*/ 1485900 h 2481262"/>
              <a:gd name="connsiteX86" fmla="*/ 3257550 w 6610350"/>
              <a:gd name="connsiteY86" fmla="*/ 1485900 h 2481262"/>
              <a:gd name="connsiteX87" fmla="*/ 3252788 w 6610350"/>
              <a:gd name="connsiteY87" fmla="*/ 1538287 h 2481262"/>
              <a:gd name="connsiteX88" fmla="*/ 3314700 w 6610350"/>
              <a:gd name="connsiteY88" fmla="*/ 1543050 h 2481262"/>
              <a:gd name="connsiteX89" fmla="*/ 3319438 w 6610350"/>
              <a:gd name="connsiteY89" fmla="*/ 1585690 h 2481262"/>
              <a:gd name="connsiteX90" fmla="*/ 3405188 w 6610350"/>
              <a:gd name="connsiteY90" fmla="*/ 1581150 h 2481262"/>
              <a:gd name="connsiteX91" fmla="*/ 3405188 w 6610350"/>
              <a:gd name="connsiteY91" fmla="*/ 1614487 h 2481262"/>
              <a:gd name="connsiteX92" fmla="*/ 3586163 w 6610350"/>
              <a:gd name="connsiteY92" fmla="*/ 1614487 h 2481262"/>
              <a:gd name="connsiteX93" fmla="*/ 3586163 w 6610350"/>
              <a:gd name="connsiteY93" fmla="*/ 1638300 h 2481262"/>
              <a:gd name="connsiteX94" fmla="*/ 3643313 w 6610350"/>
              <a:gd name="connsiteY94" fmla="*/ 1633537 h 2481262"/>
              <a:gd name="connsiteX95" fmla="*/ 3648051 w 6610350"/>
              <a:gd name="connsiteY95" fmla="*/ 1680915 h 2481262"/>
              <a:gd name="connsiteX96" fmla="*/ 3724275 w 6610350"/>
              <a:gd name="connsiteY96" fmla="*/ 1676351 h 2481262"/>
              <a:gd name="connsiteX97" fmla="*/ 3729014 w 6610350"/>
              <a:gd name="connsiteY97" fmla="*/ 1714253 h 2481262"/>
              <a:gd name="connsiteX98" fmla="*/ 3814763 w 6610350"/>
              <a:gd name="connsiteY98" fmla="*/ 1704975 h 2481262"/>
              <a:gd name="connsiteX99" fmla="*/ 3814763 w 6610350"/>
              <a:gd name="connsiteY99" fmla="*/ 1757362 h 2481262"/>
              <a:gd name="connsiteX100" fmla="*/ 3890963 w 6610350"/>
              <a:gd name="connsiteY100" fmla="*/ 1762125 h 2481262"/>
              <a:gd name="connsiteX101" fmla="*/ 3881438 w 6610350"/>
              <a:gd name="connsiteY101" fmla="*/ 1800225 h 2481262"/>
              <a:gd name="connsiteX102" fmla="*/ 3952875 w 6610350"/>
              <a:gd name="connsiteY102" fmla="*/ 1804987 h 2481262"/>
              <a:gd name="connsiteX103" fmla="*/ 3957638 w 6610350"/>
              <a:gd name="connsiteY103" fmla="*/ 1862137 h 2481262"/>
              <a:gd name="connsiteX104" fmla="*/ 4029075 w 6610350"/>
              <a:gd name="connsiteY104" fmla="*/ 1862137 h 2481262"/>
              <a:gd name="connsiteX105" fmla="*/ 4029075 w 6610350"/>
              <a:gd name="connsiteY105" fmla="*/ 1924050 h 2481262"/>
              <a:gd name="connsiteX106" fmla="*/ 4100513 w 6610350"/>
              <a:gd name="connsiteY106" fmla="*/ 1924050 h 2481262"/>
              <a:gd name="connsiteX107" fmla="*/ 4143375 w 6610350"/>
              <a:gd name="connsiteY107" fmla="*/ 1924050 h 2481262"/>
              <a:gd name="connsiteX108" fmla="*/ 4138613 w 6610350"/>
              <a:gd name="connsiteY108" fmla="*/ 1966912 h 2481262"/>
              <a:gd name="connsiteX109" fmla="*/ 4214813 w 6610350"/>
              <a:gd name="connsiteY109" fmla="*/ 1971675 h 2481262"/>
              <a:gd name="connsiteX110" fmla="*/ 4214813 w 6610350"/>
              <a:gd name="connsiteY110" fmla="*/ 2014537 h 2481262"/>
              <a:gd name="connsiteX111" fmla="*/ 4319588 w 6610350"/>
              <a:gd name="connsiteY111" fmla="*/ 2014537 h 2481262"/>
              <a:gd name="connsiteX112" fmla="*/ 4319588 w 6610350"/>
              <a:gd name="connsiteY112" fmla="*/ 2014537 h 2481262"/>
              <a:gd name="connsiteX113" fmla="*/ 4362451 w 6610350"/>
              <a:gd name="connsiteY113" fmla="*/ 2038350 h 2481262"/>
              <a:gd name="connsiteX114" fmla="*/ 4410075 w 6610350"/>
              <a:gd name="connsiteY114" fmla="*/ 2095500 h 2481262"/>
              <a:gd name="connsiteX115" fmla="*/ 4605338 w 6610350"/>
              <a:gd name="connsiteY115" fmla="*/ 2105025 h 2481262"/>
              <a:gd name="connsiteX116" fmla="*/ 4605338 w 6610350"/>
              <a:gd name="connsiteY116" fmla="*/ 2105025 h 2481262"/>
              <a:gd name="connsiteX117" fmla="*/ 4605338 w 6610350"/>
              <a:gd name="connsiteY117" fmla="*/ 2147887 h 2481262"/>
              <a:gd name="connsiteX118" fmla="*/ 4791075 w 6610350"/>
              <a:gd name="connsiteY118" fmla="*/ 2147887 h 2481262"/>
              <a:gd name="connsiteX119" fmla="*/ 4791075 w 6610350"/>
              <a:gd name="connsiteY119" fmla="*/ 2176462 h 2481262"/>
              <a:gd name="connsiteX120" fmla="*/ 4953000 w 6610350"/>
              <a:gd name="connsiteY120" fmla="*/ 2176462 h 2481262"/>
              <a:gd name="connsiteX121" fmla="*/ 5072063 w 6610350"/>
              <a:gd name="connsiteY121" fmla="*/ 2176462 h 2481262"/>
              <a:gd name="connsiteX122" fmla="*/ 5072063 w 6610350"/>
              <a:gd name="connsiteY122" fmla="*/ 2233612 h 2481262"/>
              <a:gd name="connsiteX123" fmla="*/ 5400675 w 6610350"/>
              <a:gd name="connsiteY123" fmla="*/ 2233612 h 2481262"/>
              <a:gd name="connsiteX124" fmla="*/ 5400675 w 6610350"/>
              <a:gd name="connsiteY124" fmla="*/ 2233612 h 2481262"/>
              <a:gd name="connsiteX125" fmla="*/ 5500688 w 6610350"/>
              <a:gd name="connsiteY125" fmla="*/ 2233612 h 2481262"/>
              <a:gd name="connsiteX126" fmla="*/ 5500688 w 6610350"/>
              <a:gd name="connsiteY126" fmla="*/ 2305050 h 2481262"/>
              <a:gd name="connsiteX127" fmla="*/ 5586413 w 6610350"/>
              <a:gd name="connsiteY127" fmla="*/ 2305050 h 2481262"/>
              <a:gd name="connsiteX128" fmla="*/ 5586413 w 6610350"/>
              <a:gd name="connsiteY128" fmla="*/ 2328862 h 2481262"/>
              <a:gd name="connsiteX129" fmla="*/ 5629275 w 6610350"/>
              <a:gd name="connsiteY129" fmla="*/ 2328862 h 2481262"/>
              <a:gd name="connsiteX130" fmla="*/ 5629275 w 6610350"/>
              <a:gd name="connsiteY130" fmla="*/ 2390775 h 2481262"/>
              <a:gd name="connsiteX131" fmla="*/ 6134100 w 6610350"/>
              <a:gd name="connsiteY131" fmla="*/ 2390775 h 2481262"/>
              <a:gd name="connsiteX132" fmla="*/ 6134100 w 6610350"/>
              <a:gd name="connsiteY132" fmla="*/ 2481262 h 2481262"/>
              <a:gd name="connsiteX133" fmla="*/ 6610350 w 6610350"/>
              <a:gd name="connsiteY133" fmla="*/ 2481262 h 2481262"/>
              <a:gd name="connsiteX0" fmla="*/ 0 w 6610350"/>
              <a:gd name="connsiteY0" fmla="*/ 4762 h 2481262"/>
              <a:gd name="connsiteX1" fmla="*/ 90488 w 6610350"/>
              <a:gd name="connsiteY1" fmla="*/ 0 h 2481262"/>
              <a:gd name="connsiteX2" fmla="*/ 90488 w 6610350"/>
              <a:gd name="connsiteY2" fmla="*/ 33337 h 2481262"/>
              <a:gd name="connsiteX3" fmla="*/ 133350 w 6610350"/>
              <a:gd name="connsiteY3" fmla="*/ 33337 h 2481262"/>
              <a:gd name="connsiteX4" fmla="*/ 133350 w 6610350"/>
              <a:gd name="connsiteY4" fmla="*/ 66675 h 2481262"/>
              <a:gd name="connsiteX5" fmla="*/ 209550 w 6610350"/>
              <a:gd name="connsiteY5" fmla="*/ 66675 h 2481262"/>
              <a:gd name="connsiteX6" fmla="*/ 204788 w 6610350"/>
              <a:gd name="connsiteY6" fmla="*/ 95250 h 2481262"/>
              <a:gd name="connsiteX7" fmla="*/ 361950 w 6610350"/>
              <a:gd name="connsiteY7" fmla="*/ 104775 h 2481262"/>
              <a:gd name="connsiteX8" fmla="*/ 361950 w 6610350"/>
              <a:gd name="connsiteY8" fmla="*/ 123825 h 2481262"/>
              <a:gd name="connsiteX9" fmla="*/ 423863 w 6610350"/>
              <a:gd name="connsiteY9" fmla="*/ 119062 h 2481262"/>
              <a:gd name="connsiteX10" fmla="*/ 423862 w 6610350"/>
              <a:gd name="connsiteY10" fmla="*/ 166687 h 2481262"/>
              <a:gd name="connsiteX11" fmla="*/ 552450 w 6610350"/>
              <a:gd name="connsiteY11" fmla="*/ 171450 h 2481262"/>
              <a:gd name="connsiteX12" fmla="*/ 557213 w 6610350"/>
              <a:gd name="connsiteY12" fmla="*/ 200025 h 2481262"/>
              <a:gd name="connsiteX13" fmla="*/ 595313 w 6610350"/>
              <a:gd name="connsiteY13" fmla="*/ 204787 h 2481262"/>
              <a:gd name="connsiteX14" fmla="*/ 600075 w 6610350"/>
              <a:gd name="connsiteY14" fmla="*/ 238125 h 2481262"/>
              <a:gd name="connsiteX15" fmla="*/ 642938 w 6610350"/>
              <a:gd name="connsiteY15" fmla="*/ 238125 h 2481262"/>
              <a:gd name="connsiteX16" fmla="*/ 642938 w 6610350"/>
              <a:gd name="connsiteY16" fmla="*/ 276225 h 2481262"/>
              <a:gd name="connsiteX17" fmla="*/ 933450 w 6610350"/>
              <a:gd name="connsiteY17" fmla="*/ 280987 h 2481262"/>
              <a:gd name="connsiteX18" fmla="*/ 938213 w 6610350"/>
              <a:gd name="connsiteY18" fmla="*/ 300037 h 2481262"/>
              <a:gd name="connsiteX19" fmla="*/ 1023938 w 6610350"/>
              <a:gd name="connsiteY19" fmla="*/ 295275 h 2481262"/>
              <a:gd name="connsiteX20" fmla="*/ 1028700 w 6610350"/>
              <a:gd name="connsiteY20" fmla="*/ 357187 h 2481262"/>
              <a:gd name="connsiteX21" fmla="*/ 1147763 w 6610350"/>
              <a:gd name="connsiteY21" fmla="*/ 357187 h 2481262"/>
              <a:gd name="connsiteX22" fmla="*/ 1157288 w 6610350"/>
              <a:gd name="connsiteY22" fmla="*/ 390525 h 2481262"/>
              <a:gd name="connsiteX23" fmla="*/ 1228725 w 6610350"/>
              <a:gd name="connsiteY23" fmla="*/ 390525 h 2481262"/>
              <a:gd name="connsiteX24" fmla="*/ 1228725 w 6610350"/>
              <a:gd name="connsiteY24" fmla="*/ 390525 h 2481262"/>
              <a:gd name="connsiteX25" fmla="*/ 1323975 w 6610350"/>
              <a:gd name="connsiteY25" fmla="*/ 419100 h 2481262"/>
              <a:gd name="connsiteX26" fmla="*/ 1338263 w 6610350"/>
              <a:gd name="connsiteY26" fmla="*/ 471487 h 2481262"/>
              <a:gd name="connsiteX27" fmla="*/ 1400175 w 6610350"/>
              <a:gd name="connsiteY27" fmla="*/ 466725 h 2481262"/>
              <a:gd name="connsiteX28" fmla="*/ 1404938 w 6610350"/>
              <a:gd name="connsiteY28" fmla="*/ 490537 h 2481262"/>
              <a:gd name="connsiteX29" fmla="*/ 1466850 w 6610350"/>
              <a:gd name="connsiteY29" fmla="*/ 495300 h 2481262"/>
              <a:gd name="connsiteX30" fmla="*/ 1471613 w 6610350"/>
              <a:gd name="connsiteY30" fmla="*/ 509587 h 2481262"/>
              <a:gd name="connsiteX31" fmla="*/ 1528763 w 6610350"/>
              <a:gd name="connsiteY31" fmla="*/ 509587 h 2481262"/>
              <a:gd name="connsiteX32" fmla="*/ 1528763 w 6610350"/>
              <a:gd name="connsiteY32" fmla="*/ 557212 h 2481262"/>
              <a:gd name="connsiteX33" fmla="*/ 1714500 w 6610350"/>
              <a:gd name="connsiteY33" fmla="*/ 561974 h 2481262"/>
              <a:gd name="connsiteX34" fmla="*/ 1714500 w 6610350"/>
              <a:gd name="connsiteY34" fmla="*/ 590550 h 2481262"/>
              <a:gd name="connsiteX35" fmla="*/ 1752600 w 6610350"/>
              <a:gd name="connsiteY35" fmla="*/ 590550 h 2481262"/>
              <a:gd name="connsiteX36" fmla="*/ 1762125 w 6610350"/>
              <a:gd name="connsiteY36" fmla="*/ 619125 h 2481262"/>
              <a:gd name="connsiteX37" fmla="*/ 1809750 w 6610350"/>
              <a:gd name="connsiteY37" fmla="*/ 619125 h 2481262"/>
              <a:gd name="connsiteX38" fmla="*/ 1809750 w 6610350"/>
              <a:gd name="connsiteY38" fmla="*/ 647700 h 2481262"/>
              <a:gd name="connsiteX39" fmla="*/ 1847850 w 6610350"/>
              <a:gd name="connsiteY39" fmla="*/ 647700 h 2481262"/>
              <a:gd name="connsiteX40" fmla="*/ 1847850 w 6610350"/>
              <a:gd name="connsiteY40" fmla="*/ 714375 h 2481262"/>
              <a:gd name="connsiteX41" fmla="*/ 1905000 w 6610350"/>
              <a:gd name="connsiteY41" fmla="*/ 714375 h 2481262"/>
              <a:gd name="connsiteX42" fmla="*/ 1919288 w 6610350"/>
              <a:gd name="connsiteY42" fmla="*/ 738187 h 2481262"/>
              <a:gd name="connsiteX43" fmla="*/ 2009775 w 6610350"/>
              <a:gd name="connsiteY43" fmla="*/ 733425 h 2481262"/>
              <a:gd name="connsiteX44" fmla="*/ 2009775 w 6610350"/>
              <a:gd name="connsiteY44" fmla="*/ 804862 h 2481262"/>
              <a:gd name="connsiteX45" fmla="*/ 2038350 w 6610350"/>
              <a:gd name="connsiteY45" fmla="*/ 804862 h 2481262"/>
              <a:gd name="connsiteX46" fmla="*/ 2038350 w 6610350"/>
              <a:gd name="connsiteY46" fmla="*/ 823912 h 2481262"/>
              <a:gd name="connsiteX47" fmla="*/ 2038350 w 6610350"/>
              <a:gd name="connsiteY47" fmla="*/ 823912 h 2481262"/>
              <a:gd name="connsiteX48" fmla="*/ 2071688 w 6610350"/>
              <a:gd name="connsiteY48" fmla="*/ 852487 h 2481262"/>
              <a:gd name="connsiteX49" fmla="*/ 2071688 w 6610350"/>
              <a:gd name="connsiteY49" fmla="*/ 852487 h 2481262"/>
              <a:gd name="connsiteX50" fmla="*/ 2100263 w 6610350"/>
              <a:gd name="connsiteY50" fmla="*/ 885825 h 2481262"/>
              <a:gd name="connsiteX51" fmla="*/ 2190750 w 6610350"/>
              <a:gd name="connsiteY51" fmla="*/ 885825 h 2481262"/>
              <a:gd name="connsiteX52" fmla="*/ 2195513 w 6610350"/>
              <a:gd name="connsiteY52" fmla="*/ 933450 h 2481262"/>
              <a:gd name="connsiteX53" fmla="*/ 2247900 w 6610350"/>
              <a:gd name="connsiteY53" fmla="*/ 923925 h 2481262"/>
              <a:gd name="connsiteX54" fmla="*/ 2247900 w 6610350"/>
              <a:gd name="connsiteY54" fmla="*/ 966787 h 2481262"/>
              <a:gd name="connsiteX55" fmla="*/ 2347937 w 6610350"/>
              <a:gd name="connsiteY55" fmla="*/ 961976 h 2481262"/>
              <a:gd name="connsiteX56" fmla="*/ 2347913 w 6610350"/>
              <a:gd name="connsiteY56" fmla="*/ 985837 h 2481262"/>
              <a:gd name="connsiteX57" fmla="*/ 2400300 w 6610350"/>
              <a:gd name="connsiteY57" fmla="*/ 990600 h 2481262"/>
              <a:gd name="connsiteX58" fmla="*/ 2400300 w 6610350"/>
              <a:gd name="connsiteY58" fmla="*/ 990600 h 2481262"/>
              <a:gd name="connsiteX59" fmla="*/ 2400300 w 6610350"/>
              <a:gd name="connsiteY59" fmla="*/ 1019175 h 2481262"/>
              <a:gd name="connsiteX60" fmla="*/ 2476500 w 6610350"/>
              <a:gd name="connsiteY60" fmla="*/ 1009650 h 2481262"/>
              <a:gd name="connsiteX61" fmla="*/ 2476500 w 6610350"/>
              <a:gd name="connsiteY61" fmla="*/ 1047750 h 2481262"/>
              <a:gd name="connsiteX62" fmla="*/ 2500313 w 6610350"/>
              <a:gd name="connsiteY62" fmla="*/ 1047750 h 2481262"/>
              <a:gd name="connsiteX63" fmla="*/ 2505050 w 6610350"/>
              <a:gd name="connsiteY63" fmla="*/ 1085653 h 2481262"/>
              <a:gd name="connsiteX64" fmla="*/ 2566988 w 6610350"/>
              <a:gd name="connsiteY64" fmla="*/ 1081087 h 2481262"/>
              <a:gd name="connsiteX65" fmla="*/ 2562225 w 6610350"/>
              <a:gd name="connsiteY65" fmla="*/ 1123950 h 2481262"/>
              <a:gd name="connsiteX66" fmla="*/ 2609850 w 6610350"/>
              <a:gd name="connsiteY66" fmla="*/ 1123950 h 2481262"/>
              <a:gd name="connsiteX67" fmla="*/ 2609850 w 6610350"/>
              <a:gd name="connsiteY67" fmla="*/ 1162050 h 2481262"/>
              <a:gd name="connsiteX68" fmla="*/ 2609850 w 6610350"/>
              <a:gd name="connsiteY68" fmla="*/ 1162050 h 2481262"/>
              <a:gd name="connsiteX69" fmla="*/ 2638425 w 6610350"/>
              <a:gd name="connsiteY69" fmla="*/ 1185862 h 2481262"/>
              <a:gd name="connsiteX70" fmla="*/ 2638425 w 6610350"/>
              <a:gd name="connsiteY70" fmla="*/ 1185862 h 2481262"/>
              <a:gd name="connsiteX71" fmla="*/ 2662238 w 6610350"/>
              <a:gd name="connsiteY71" fmla="*/ 1228725 h 2481262"/>
              <a:gd name="connsiteX72" fmla="*/ 2800350 w 6610350"/>
              <a:gd name="connsiteY72" fmla="*/ 1224011 h 2481262"/>
              <a:gd name="connsiteX73" fmla="*/ 2805113 w 6610350"/>
              <a:gd name="connsiteY73" fmla="*/ 1266825 h 2481262"/>
              <a:gd name="connsiteX74" fmla="*/ 2881313 w 6610350"/>
              <a:gd name="connsiteY74" fmla="*/ 1266825 h 2481262"/>
              <a:gd name="connsiteX75" fmla="*/ 2876550 w 6610350"/>
              <a:gd name="connsiteY75" fmla="*/ 1290637 h 2481262"/>
              <a:gd name="connsiteX76" fmla="*/ 2909714 w 6610350"/>
              <a:gd name="connsiteY76" fmla="*/ 1290637 h 2481262"/>
              <a:gd name="connsiteX77" fmla="*/ 2909888 w 6610350"/>
              <a:gd name="connsiteY77" fmla="*/ 1338262 h 2481262"/>
              <a:gd name="connsiteX78" fmla="*/ 2938315 w 6610350"/>
              <a:gd name="connsiteY78" fmla="*/ 1338262 h 2481262"/>
              <a:gd name="connsiteX79" fmla="*/ 2947988 w 6610350"/>
              <a:gd name="connsiteY79" fmla="*/ 1385887 h 2481262"/>
              <a:gd name="connsiteX80" fmla="*/ 3028950 w 6610350"/>
              <a:gd name="connsiteY80" fmla="*/ 1385887 h 2481262"/>
              <a:gd name="connsiteX81" fmla="*/ 3028950 w 6610350"/>
              <a:gd name="connsiteY81" fmla="*/ 1419225 h 2481262"/>
              <a:gd name="connsiteX82" fmla="*/ 3095625 w 6610350"/>
              <a:gd name="connsiteY82" fmla="*/ 1419225 h 2481262"/>
              <a:gd name="connsiteX83" fmla="*/ 3095625 w 6610350"/>
              <a:gd name="connsiteY83" fmla="*/ 1462087 h 2481262"/>
              <a:gd name="connsiteX84" fmla="*/ 3162300 w 6610350"/>
              <a:gd name="connsiteY84" fmla="*/ 1462087 h 2481262"/>
              <a:gd name="connsiteX85" fmla="*/ 3162300 w 6610350"/>
              <a:gd name="connsiteY85" fmla="*/ 1485900 h 2481262"/>
              <a:gd name="connsiteX86" fmla="*/ 3257550 w 6610350"/>
              <a:gd name="connsiteY86" fmla="*/ 1485900 h 2481262"/>
              <a:gd name="connsiteX87" fmla="*/ 3252788 w 6610350"/>
              <a:gd name="connsiteY87" fmla="*/ 1538287 h 2481262"/>
              <a:gd name="connsiteX88" fmla="*/ 3314700 w 6610350"/>
              <a:gd name="connsiteY88" fmla="*/ 1543050 h 2481262"/>
              <a:gd name="connsiteX89" fmla="*/ 3319438 w 6610350"/>
              <a:gd name="connsiteY89" fmla="*/ 1585690 h 2481262"/>
              <a:gd name="connsiteX90" fmla="*/ 3405188 w 6610350"/>
              <a:gd name="connsiteY90" fmla="*/ 1581150 h 2481262"/>
              <a:gd name="connsiteX91" fmla="*/ 3405188 w 6610350"/>
              <a:gd name="connsiteY91" fmla="*/ 1614487 h 2481262"/>
              <a:gd name="connsiteX92" fmla="*/ 3586163 w 6610350"/>
              <a:gd name="connsiteY92" fmla="*/ 1614487 h 2481262"/>
              <a:gd name="connsiteX93" fmla="*/ 3586163 w 6610350"/>
              <a:gd name="connsiteY93" fmla="*/ 1638300 h 2481262"/>
              <a:gd name="connsiteX94" fmla="*/ 3643313 w 6610350"/>
              <a:gd name="connsiteY94" fmla="*/ 1633537 h 2481262"/>
              <a:gd name="connsiteX95" fmla="*/ 3648051 w 6610350"/>
              <a:gd name="connsiteY95" fmla="*/ 1680915 h 2481262"/>
              <a:gd name="connsiteX96" fmla="*/ 3724275 w 6610350"/>
              <a:gd name="connsiteY96" fmla="*/ 1676351 h 2481262"/>
              <a:gd name="connsiteX97" fmla="*/ 3729014 w 6610350"/>
              <a:gd name="connsiteY97" fmla="*/ 1714253 h 2481262"/>
              <a:gd name="connsiteX98" fmla="*/ 3814763 w 6610350"/>
              <a:gd name="connsiteY98" fmla="*/ 1704975 h 2481262"/>
              <a:gd name="connsiteX99" fmla="*/ 3814763 w 6610350"/>
              <a:gd name="connsiteY99" fmla="*/ 1757362 h 2481262"/>
              <a:gd name="connsiteX100" fmla="*/ 3890963 w 6610350"/>
              <a:gd name="connsiteY100" fmla="*/ 1762125 h 2481262"/>
              <a:gd name="connsiteX101" fmla="*/ 3881438 w 6610350"/>
              <a:gd name="connsiteY101" fmla="*/ 1800225 h 2481262"/>
              <a:gd name="connsiteX102" fmla="*/ 3952875 w 6610350"/>
              <a:gd name="connsiteY102" fmla="*/ 1804987 h 2481262"/>
              <a:gd name="connsiteX103" fmla="*/ 3957638 w 6610350"/>
              <a:gd name="connsiteY103" fmla="*/ 1862137 h 2481262"/>
              <a:gd name="connsiteX104" fmla="*/ 4029075 w 6610350"/>
              <a:gd name="connsiteY104" fmla="*/ 1862137 h 2481262"/>
              <a:gd name="connsiteX105" fmla="*/ 4029075 w 6610350"/>
              <a:gd name="connsiteY105" fmla="*/ 1924050 h 2481262"/>
              <a:gd name="connsiteX106" fmla="*/ 4100513 w 6610350"/>
              <a:gd name="connsiteY106" fmla="*/ 1924050 h 2481262"/>
              <a:gd name="connsiteX107" fmla="*/ 4143375 w 6610350"/>
              <a:gd name="connsiteY107" fmla="*/ 1924050 h 2481262"/>
              <a:gd name="connsiteX108" fmla="*/ 4138613 w 6610350"/>
              <a:gd name="connsiteY108" fmla="*/ 1966912 h 2481262"/>
              <a:gd name="connsiteX109" fmla="*/ 4214813 w 6610350"/>
              <a:gd name="connsiteY109" fmla="*/ 1971675 h 2481262"/>
              <a:gd name="connsiteX110" fmla="*/ 4214813 w 6610350"/>
              <a:gd name="connsiteY110" fmla="*/ 2014537 h 2481262"/>
              <a:gd name="connsiteX111" fmla="*/ 4319588 w 6610350"/>
              <a:gd name="connsiteY111" fmla="*/ 2014537 h 2481262"/>
              <a:gd name="connsiteX112" fmla="*/ 4319588 w 6610350"/>
              <a:gd name="connsiteY112" fmla="*/ 2014537 h 2481262"/>
              <a:gd name="connsiteX113" fmla="*/ 4362451 w 6610350"/>
              <a:gd name="connsiteY113" fmla="*/ 2038350 h 2481262"/>
              <a:gd name="connsiteX114" fmla="*/ 4410075 w 6610350"/>
              <a:gd name="connsiteY114" fmla="*/ 2095500 h 2481262"/>
              <a:gd name="connsiteX115" fmla="*/ 4605338 w 6610350"/>
              <a:gd name="connsiteY115" fmla="*/ 2105025 h 2481262"/>
              <a:gd name="connsiteX116" fmla="*/ 4605338 w 6610350"/>
              <a:gd name="connsiteY116" fmla="*/ 2105025 h 2481262"/>
              <a:gd name="connsiteX117" fmla="*/ 4605338 w 6610350"/>
              <a:gd name="connsiteY117" fmla="*/ 2147887 h 2481262"/>
              <a:gd name="connsiteX118" fmla="*/ 4791075 w 6610350"/>
              <a:gd name="connsiteY118" fmla="*/ 2147887 h 2481262"/>
              <a:gd name="connsiteX119" fmla="*/ 4791075 w 6610350"/>
              <a:gd name="connsiteY119" fmla="*/ 2176462 h 2481262"/>
              <a:gd name="connsiteX120" fmla="*/ 4953000 w 6610350"/>
              <a:gd name="connsiteY120" fmla="*/ 2176462 h 2481262"/>
              <a:gd name="connsiteX121" fmla="*/ 5072063 w 6610350"/>
              <a:gd name="connsiteY121" fmla="*/ 2176462 h 2481262"/>
              <a:gd name="connsiteX122" fmla="*/ 5072063 w 6610350"/>
              <a:gd name="connsiteY122" fmla="*/ 2233612 h 2481262"/>
              <a:gd name="connsiteX123" fmla="*/ 5400675 w 6610350"/>
              <a:gd name="connsiteY123" fmla="*/ 2233612 h 2481262"/>
              <a:gd name="connsiteX124" fmla="*/ 5400675 w 6610350"/>
              <a:gd name="connsiteY124" fmla="*/ 2233612 h 2481262"/>
              <a:gd name="connsiteX125" fmla="*/ 5500688 w 6610350"/>
              <a:gd name="connsiteY125" fmla="*/ 2233612 h 2481262"/>
              <a:gd name="connsiteX126" fmla="*/ 5500688 w 6610350"/>
              <a:gd name="connsiteY126" fmla="*/ 2305050 h 2481262"/>
              <a:gd name="connsiteX127" fmla="*/ 5586413 w 6610350"/>
              <a:gd name="connsiteY127" fmla="*/ 2305050 h 2481262"/>
              <a:gd name="connsiteX128" fmla="*/ 5586413 w 6610350"/>
              <a:gd name="connsiteY128" fmla="*/ 2328862 h 2481262"/>
              <a:gd name="connsiteX129" fmla="*/ 5629275 w 6610350"/>
              <a:gd name="connsiteY129" fmla="*/ 2328862 h 2481262"/>
              <a:gd name="connsiteX130" fmla="*/ 5629275 w 6610350"/>
              <a:gd name="connsiteY130" fmla="*/ 2390775 h 2481262"/>
              <a:gd name="connsiteX131" fmla="*/ 6134100 w 6610350"/>
              <a:gd name="connsiteY131" fmla="*/ 2390775 h 2481262"/>
              <a:gd name="connsiteX132" fmla="*/ 6134100 w 6610350"/>
              <a:gd name="connsiteY132" fmla="*/ 2481262 h 2481262"/>
              <a:gd name="connsiteX133" fmla="*/ 6610350 w 6610350"/>
              <a:gd name="connsiteY133" fmla="*/ 2481262 h 2481262"/>
              <a:gd name="connsiteX0" fmla="*/ 0 w 6610350"/>
              <a:gd name="connsiteY0" fmla="*/ 4762 h 2481262"/>
              <a:gd name="connsiteX1" fmla="*/ 90488 w 6610350"/>
              <a:gd name="connsiteY1" fmla="*/ 0 h 2481262"/>
              <a:gd name="connsiteX2" fmla="*/ 90488 w 6610350"/>
              <a:gd name="connsiteY2" fmla="*/ 33337 h 2481262"/>
              <a:gd name="connsiteX3" fmla="*/ 133350 w 6610350"/>
              <a:gd name="connsiteY3" fmla="*/ 33337 h 2481262"/>
              <a:gd name="connsiteX4" fmla="*/ 133350 w 6610350"/>
              <a:gd name="connsiteY4" fmla="*/ 66675 h 2481262"/>
              <a:gd name="connsiteX5" fmla="*/ 209550 w 6610350"/>
              <a:gd name="connsiteY5" fmla="*/ 66675 h 2481262"/>
              <a:gd name="connsiteX6" fmla="*/ 204788 w 6610350"/>
              <a:gd name="connsiteY6" fmla="*/ 95250 h 2481262"/>
              <a:gd name="connsiteX7" fmla="*/ 361950 w 6610350"/>
              <a:gd name="connsiteY7" fmla="*/ 104775 h 2481262"/>
              <a:gd name="connsiteX8" fmla="*/ 361950 w 6610350"/>
              <a:gd name="connsiteY8" fmla="*/ 123825 h 2481262"/>
              <a:gd name="connsiteX9" fmla="*/ 423863 w 6610350"/>
              <a:gd name="connsiteY9" fmla="*/ 119062 h 2481262"/>
              <a:gd name="connsiteX10" fmla="*/ 423862 w 6610350"/>
              <a:gd name="connsiteY10" fmla="*/ 166687 h 2481262"/>
              <a:gd name="connsiteX11" fmla="*/ 552450 w 6610350"/>
              <a:gd name="connsiteY11" fmla="*/ 171450 h 2481262"/>
              <a:gd name="connsiteX12" fmla="*/ 557213 w 6610350"/>
              <a:gd name="connsiteY12" fmla="*/ 200025 h 2481262"/>
              <a:gd name="connsiteX13" fmla="*/ 595313 w 6610350"/>
              <a:gd name="connsiteY13" fmla="*/ 204787 h 2481262"/>
              <a:gd name="connsiteX14" fmla="*/ 600075 w 6610350"/>
              <a:gd name="connsiteY14" fmla="*/ 238125 h 2481262"/>
              <a:gd name="connsiteX15" fmla="*/ 642938 w 6610350"/>
              <a:gd name="connsiteY15" fmla="*/ 238125 h 2481262"/>
              <a:gd name="connsiteX16" fmla="*/ 642938 w 6610350"/>
              <a:gd name="connsiteY16" fmla="*/ 276225 h 2481262"/>
              <a:gd name="connsiteX17" fmla="*/ 933450 w 6610350"/>
              <a:gd name="connsiteY17" fmla="*/ 280987 h 2481262"/>
              <a:gd name="connsiteX18" fmla="*/ 938213 w 6610350"/>
              <a:gd name="connsiteY18" fmla="*/ 300037 h 2481262"/>
              <a:gd name="connsiteX19" fmla="*/ 1023938 w 6610350"/>
              <a:gd name="connsiteY19" fmla="*/ 300013 h 2481262"/>
              <a:gd name="connsiteX20" fmla="*/ 1028700 w 6610350"/>
              <a:gd name="connsiteY20" fmla="*/ 357187 h 2481262"/>
              <a:gd name="connsiteX21" fmla="*/ 1147763 w 6610350"/>
              <a:gd name="connsiteY21" fmla="*/ 357187 h 2481262"/>
              <a:gd name="connsiteX22" fmla="*/ 1157288 w 6610350"/>
              <a:gd name="connsiteY22" fmla="*/ 390525 h 2481262"/>
              <a:gd name="connsiteX23" fmla="*/ 1228725 w 6610350"/>
              <a:gd name="connsiteY23" fmla="*/ 390525 h 2481262"/>
              <a:gd name="connsiteX24" fmla="*/ 1228725 w 6610350"/>
              <a:gd name="connsiteY24" fmla="*/ 390525 h 2481262"/>
              <a:gd name="connsiteX25" fmla="*/ 1323975 w 6610350"/>
              <a:gd name="connsiteY25" fmla="*/ 419100 h 2481262"/>
              <a:gd name="connsiteX26" fmla="*/ 1338263 w 6610350"/>
              <a:gd name="connsiteY26" fmla="*/ 471487 h 2481262"/>
              <a:gd name="connsiteX27" fmla="*/ 1400175 w 6610350"/>
              <a:gd name="connsiteY27" fmla="*/ 466725 h 2481262"/>
              <a:gd name="connsiteX28" fmla="*/ 1404938 w 6610350"/>
              <a:gd name="connsiteY28" fmla="*/ 490537 h 2481262"/>
              <a:gd name="connsiteX29" fmla="*/ 1466850 w 6610350"/>
              <a:gd name="connsiteY29" fmla="*/ 495300 h 2481262"/>
              <a:gd name="connsiteX30" fmla="*/ 1471613 w 6610350"/>
              <a:gd name="connsiteY30" fmla="*/ 509587 h 2481262"/>
              <a:gd name="connsiteX31" fmla="*/ 1528763 w 6610350"/>
              <a:gd name="connsiteY31" fmla="*/ 509587 h 2481262"/>
              <a:gd name="connsiteX32" fmla="*/ 1528763 w 6610350"/>
              <a:gd name="connsiteY32" fmla="*/ 557212 h 2481262"/>
              <a:gd name="connsiteX33" fmla="*/ 1714500 w 6610350"/>
              <a:gd name="connsiteY33" fmla="*/ 561974 h 2481262"/>
              <a:gd name="connsiteX34" fmla="*/ 1714500 w 6610350"/>
              <a:gd name="connsiteY34" fmla="*/ 590550 h 2481262"/>
              <a:gd name="connsiteX35" fmla="*/ 1752600 w 6610350"/>
              <a:gd name="connsiteY35" fmla="*/ 590550 h 2481262"/>
              <a:gd name="connsiteX36" fmla="*/ 1762125 w 6610350"/>
              <a:gd name="connsiteY36" fmla="*/ 619125 h 2481262"/>
              <a:gd name="connsiteX37" fmla="*/ 1809750 w 6610350"/>
              <a:gd name="connsiteY37" fmla="*/ 619125 h 2481262"/>
              <a:gd name="connsiteX38" fmla="*/ 1809750 w 6610350"/>
              <a:gd name="connsiteY38" fmla="*/ 647700 h 2481262"/>
              <a:gd name="connsiteX39" fmla="*/ 1847850 w 6610350"/>
              <a:gd name="connsiteY39" fmla="*/ 647700 h 2481262"/>
              <a:gd name="connsiteX40" fmla="*/ 1847850 w 6610350"/>
              <a:gd name="connsiteY40" fmla="*/ 714375 h 2481262"/>
              <a:gd name="connsiteX41" fmla="*/ 1905000 w 6610350"/>
              <a:gd name="connsiteY41" fmla="*/ 714375 h 2481262"/>
              <a:gd name="connsiteX42" fmla="*/ 1919288 w 6610350"/>
              <a:gd name="connsiteY42" fmla="*/ 738187 h 2481262"/>
              <a:gd name="connsiteX43" fmla="*/ 2009775 w 6610350"/>
              <a:gd name="connsiteY43" fmla="*/ 733425 h 2481262"/>
              <a:gd name="connsiteX44" fmla="*/ 2009775 w 6610350"/>
              <a:gd name="connsiteY44" fmla="*/ 804862 h 2481262"/>
              <a:gd name="connsiteX45" fmla="*/ 2038350 w 6610350"/>
              <a:gd name="connsiteY45" fmla="*/ 804862 h 2481262"/>
              <a:gd name="connsiteX46" fmla="*/ 2038350 w 6610350"/>
              <a:gd name="connsiteY46" fmla="*/ 823912 h 2481262"/>
              <a:gd name="connsiteX47" fmla="*/ 2038350 w 6610350"/>
              <a:gd name="connsiteY47" fmla="*/ 823912 h 2481262"/>
              <a:gd name="connsiteX48" fmla="*/ 2071688 w 6610350"/>
              <a:gd name="connsiteY48" fmla="*/ 852487 h 2481262"/>
              <a:gd name="connsiteX49" fmla="*/ 2071688 w 6610350"/>
              <a:gd name="connsiteY49" fmla="*/ 852487 h 2481262"/>
              <a:gd name="connsiteX50" fmla="*/ 2100263 w 6610350"/>
              <a:gd name="connsiteY50" fmla="*/ 885825 h 2481262"/>
              <a:gd name="connsiteX51" fmla="*/ 2190750 w 6610350"/>
              <a:gd name="connsiteY51" fmla="*/ 885825 h 2481262"/>
              <a:gd name="connsiteX52" fmla="*/ 2195513 w 6610350"/>
              <a:gd name="connsiteY52" fmla="*/ 933450 h 2481262"/>
              <a:gd name="connsiteX53" fmla="*/ 2247900 w 6610350"/>
              <a:gd name="connsiteY53" fmla="*/ 923925 h 2481262"/>
              <a:gd name="connsiteX54" fmla="*/ 2247900 w 6610350"/>
              <a:gd name="connsiteY54" fmla="*/ 966787 h 2481262"/>
              <a:gd name="connsiteX55" fmla="*/ 2347937 w 6610350"/>
              <a:gd name="connsiteY55" fmla="*/ 961976 h 2481262"/>
              <a:gd name="connsiteX56" fmla="*/ 2347913 w 6610350"/>
              <a:gd name="connsiteY56" fmla="*/ 985837 h 2481262"/>
              <a:gd name="connsiteX57" fmla="*/ 2400300 w 6610350"/>
              <a:gd name="connsiteY57" fmla="*/ 990600 h 2481262"/>
              <a:gd name="connsiteX58" fmla="*/ 2400300 w 6610350"/>
              <a:gd name="connsiteY58" fmla="*/ 990600 h 2481262"/>
              <a:gd name="connsiteX59" fmla="*/ 2400300 w 6610350"/>
              <a:gd name="connsiteY59" fmla="*/ 1019175 h 2481262"/>
              <a:gd name="connsiteX60" fmla="*/ 2476500 w 6610350"/>
              <a:gd name="connsiteY60" fmla="*/ 1009650 h 2481262"/>
              <a:gd name="connsiteX61" fmla="*/ 2476500 w 6610350"/>
              <a:gd name="connsiteY61" fmla="*/ 1047750 h 2481262"/>
              <a:gd name="connsiteX62" fmla="*/ 2500313 w 6610350"/>
              <a:gd name="connsiteY62" fmla="*/ 1047750 h 2481262"/>
              <a:gd name="connsiteX63" fmla="*/ 2505050 w 6610350"/>
              <a:gd name="connsiteY63" fmla="*/ 1085653 h 2481262"/>
              <a:gd name="connsiteX64" fmla="*/ 2566988 w 6610350"/>
              <a:gd name="connsiteY64" fmla="*/ 1081087 h 2481262"/>
              <a:gd name="connsiteX65" fmla="*/ 2562225 w 6610350"/>
              <a:gd name="connsiteY65" fmla="*/ 1123950 h 2481262"/>
              <a:gd name="connsiteX66" fmla="*/ 2609850 w 6610350"/>
              <a:gd name="connsiteY66" fmla="*/ 1123950 h 2481262"/>
              <a:gd name="connsiteX67" fmla="*/ 2609850 w 6610350"/>
              <a:gd name="connsiteY67" fmla="*/ 1162050 h 2481262"/>
              <a:gd name="connsiteX68" fmla="*/ 2609850 w 6610350"/>
              <a:gd name="connsiteY68" fmla="*/ 1162050 h 2481262"/>
              <a:gd name="connsiteX69" fmla="*/ 2638425 w 6610350"/>
              <a:gd name="connsiteY69" fmla="*/ 1185862 h 2481262"/>
              <a:gd name="connsiteX70" fmla="*/ 2638425 w 6610350"/>
              <a:gd name="connsiteY70" fmla="*/ 1185862 h 2481262"/>
              <a:gd name="connsiteX71" fmla="*/ 2662238 w 6610350"/>
              <a:gd name="connsiteY71" fmla="*/ 1228725 h 2481262"/>
              <a:gd name="connsiteX72" fmla="*/ 2800350 w 6610350"/>
              <a:gd name="connsiteY72" fmla="*/ 1224011 h 2481262"/>
              <a:gd name="connsiteX73" fmla="*/ 2805113 w 6610350"/>
              <a:gd name="connsiteY73" fmla="*/ 1266825 h 2481262"/>
              <a:gd name="connsiteX74" fmla="*/ 2881313 w 6610350"/>
              <a:gd name="connsiteY74" fmla="*/ 1266825 h 2481262"/>
              <a:gd name="connsiteX75" fmla="*/ 2876550 w 6610350"/>
              <a:gd name="connsiteY75" fmla="*/ 1290637 h 2481262"/>
              <a:gd name="connsiteX76" fmla="*/ 2909714 w 6610350"/>
              <a:gd name="connsiteY76" fmla="*/ 1290637 h 2481262"/>
              <a:gd name="connsiteX77" fmla="*/ 2909888 w 6610350"/>
              <a:gd name="connsiteY77" fmla="*/ 1338262 h 2481262"/>
              <a:gd name="connsiteX78" fmla="*/ 2938315 w 6610350"/>
              <a:gd name="connsiteY78" fmla="*/ 1338262 h 2481262"/>
              <a:gd name="connsiteX79" fmla="*/ 2947988 w 6610350"/>
              <a:gd name="connsiteY79" fmla="*/ 1385887 h 2481262"/>
              <a:gd name="connsiteX80" fmla="*/ 3028950 w 6610350"/>
              <a:gd name="connsiteY80" fmla="*/ 1385887 h 2481262"/>
              <a:gd name="connsiteX81" fmla="*/ 3028950 w 6610350"/>
              <a:gd name="connsiteY81" fmla="*/ 1419225 h 2481262"/>
              <a:gd name="connsiteX82" fmla="*/ 3095625 w 6610350"/>
              <a:gd name="connsiteY82" fmla="*/ 1419225 h 2481262"/>
              <a:gd name="connsiteX83" fmla="*/ 3095625 w 6610350"/>
              <a:gd name="connsiteY83" fmla="*/ 1462087 h 2481262"/>
              <a:gd name="connsiteX84" fmla="*/ 3162300 w 6610350"/>
              <a:gd name="connsiteY84" fmla="*/ 1462087 h 2481262"/>
              <a:gd name="connsiteX85" fmla="*/ 3162300 w 6610350"/>
              <a:gd name="connsiteY85" fmla="*/ 1485900 h 2481262"/>
              <a:gd name="connsiteX86" fmla="*/ 3257550 w 6610350"/>
              <a:gd name="connsiteY86" fmla="*/ 1485900 h 2481262"/>
              <a:gd name="connsiteX87" fmla="*/ 3252788 w 6610350"/>
              <a:gd name="connsiteY87" fmla="*/ 1538287 h 2481262"/>
              <a:gd name="connsiteX88" fmla="*/ 3314700 w 6610350"/>
              <a:gd name="connsiteY88" fmla="*/ 1543050 h 2481262"/>
              <a:gd name="connsiteX89" fmla="*/ 3319438 w 6610350"/>
              <a:gd name="connsiteY89" fmla="*/ 1585690 h 2481262"/>
              <a:gd name="connsiteX90" fmla="*/ 3405188 w 6610350"/>
              <a:gd name="connsiteY90" fmla="*/ 1581150 h 2481262"/>
              <a:gd name="connsiteX91" fmla="*/ 3405188 w 6610350"/>
              <a:gd name="connsiteY91" fmla="*/ 1614487 h 2481262"/>
              <a:gd name="connsiteX92" fmla="*/ 3586163 w 6610350"/>
              <a:gd name="connsiteY92" fmla="*/ 1614487 h 2481262"/>
              <a:gd name="connsiteX93" fmla="*/ 3586163 w 6610350"/>
              <a:gd name="connsiteY93" fmla="*/ 1638300 h 2481262"/>
              <a:gd name="connsiteX94" fmla="*/ 3643313 w 6610350"/>
              <a:gd name="connsiteY94" fmla="*/ 1633537 h 2481262"/>
              <a:gd name="connsiteX95" fmla="*/ 3648051 w 6610350"/>
              <a:gd name="connsiteY95" fmla="*/ 1680915 h 2481262"/>
              <a:gd name="connsiteX96" fmla="*/ 3724275 w 6610350"/>
              <a:gd name="connsiteY96" fmla="*/ 1676351 h 2481262"/>
              <a:gd name="connsiteX97" fmla="*/ 3729014 w 6610350"/>
              <a:gd name="connsiteY97" fmla="*/ 1714253 h 2481262"/>
              <a:gd name="connsiteX98" fmla="*/ 3814763 w 6610350"/>
              <a:gd name="connsiteY98" fmla="*/ 1704975 h 2481262"/>
              <a:gd name="connsiteX99" fmla="*/ 3814763 w 6610350"/>
              <a:gd name="connsiteY99" fmla="*/ 1757362 h 2481262"/>
              <a:gd name="connsiteX100" fmla="*/ 3890963 w 6610350"/>
              <a:gd name="connsiteY100" fmla="*/ 1762125 h 2481262"/>
              <a:gd name="connsiteX101" fmla="*/ 3881438 w 6610350"/>
              <a:gd name="connsiteY101" fmla="*/ 1800225 h 2481262"/>
              <a:gd name="connsiteX102" fmla="*/ 3952875 w 6610350"/>
              <a:gd name="connsiteY102" fmla="*/ 1804987 h 2481262"/>
              <a:gd name="connsiteX103" fmla="*/ 3957638 w 6610350"/>
              <a:gd name="connsiteY103" fmla="*/ 1862137 h 2481262"/>
              <a:gd name="connsiteX104" fmla="*/ 4029075 w 6610350"/>
              <a:gd name="connsiteY104" fmla="*/ 1862137 h 2481262"/>
              <a:gd name="connsiteX105" fmla="*/ 4029075 w 6610350"/>
              <a:gd name="connsiteY105" fmla="*/ 1924050 h 2481262"/>
              <a:gd name="connsiteX106" fmla="*/ 4100513 w 6610350"/>
              <a:gd name="connsiteY106" fmla="*/ 1924050 h 2481262"/>
              <a:gd name="connsiteX107" fmla="*/ 4143375 w 6610350"/>
              <a:gd name="connsiteY107" fmla="*/ 1924050 h 2481262"/>
              <a:gd name="connsiteX108" fmla="*/ 4138613 w 6610350"/>
              <a:gd name="connsiteY108" fmla="*/ 1966912 h 2481262"/>
              <a:gd name="connsiteX109" fmla="*/ 4214813 w 6610350"/>
              <a:gd name="connsiteY109" fmla="*/ 1971675 h 2481262"/>
              <a:gd name="connsiteX110" fmla="*/ 4214813 w 6610350"/>
              <a:gd name="connsiteY110" fmla="*/ 2014537 h 2481262"/>
              <a:gd name="connsiteX111" fmla="*/ 4319588 w 6610350"/>
              <a:gd name="connsiteY111" fmla="*/ 2014537 h 2481262"/>
              <a:gd name="connsiteX112" fmla="*/ 4319588 w 6610350"/>
              <a:gd name="connsiteY112" fmla="*/ 2014537 h 2481262"/>
              <a:gd name="connsiteX113" fmla="*/ 4362451 w 6610350"/>
              <a:gd name="connsiteY113" fmla="*/ 2038350 h 2481262"/>
              <a:gd name="connsiteX114" fmla="*/ 4410075 w 6610350"/>
              <a:gd name="connsiteY114" fmla="*/ 2095500 h 2481262"/>
              <a:gd name="connsiteX115" fmla="*/ 4605338 w 6610350"/>
              <a:gd name="connsiteY115" fmla="*/ 2105025 h 2481262"/>
              <a:gd name="connsiteX116" fmla="*/ 4605338 w 6610350"/>
              <a:gd name="connsiteY116" fmla="*/ 2105025 h 2481262"/>
              <a:gd name="connsiteX117" fmla="*/ 4605338 w 6610350"/>
              <a:gd name="connsiteY117" fmla="*/ 2147887 h 2481262"/>
              <a:gd name="connsiteX118" fmla="*/ 4791075 w 6610350"/>
              <a:gd name="connsiteY118" fmla="*/ 2147887 h 2481262"/>
              <a:gd name="connsiteX119" fmla="*/ 4791075 w 6610350"/>
              <a:gd name="connsiteY119" fmla="*/ 2176462 h 2481262"/>
              <a:gd name="connsiteX120" fmla="*/ 4953000 w 6610350"/>
              <a:gd name="connsiteY120" fmla="*/ 2176462 h 2481262"/>
              <a:gd name="connsiteX121" fmla="*/ 5072063 w 6610350"/>
              <a:gd name="connsiteY121" fmla="*/ 2176462 h 2481262"/>
              <a:gd name="connsiteX122" fmla="*/ 5072063 w 6610350"/>
              <a:gd name="connsiteY122" fmla="*/ 2233612 h 2481262"/>
              <a:gd name="connsiteX123" fmla="*/ 5400675 w 6610350"/>
              <a:gd name="connsiteY123" fmla="*/ 2233612 h 2481262"/>
              <a:gd name="connsiteX124" fmla="*/ 5400675 w 6610350"/>
              <a:gd name="connsiteY124" fmla="*/ 2233612 h 2481262"/>
              <a:gd name="connsiteX125" fmla="*/ 5500688 w 6610350"/>
              <a:gd name="connsiteY125" fmla="*/ 2233612 h 2481262"/>
              <a:gd name="connsiteX126" fmla="*/ 5500688 w 6610350"/>
              <a:gd name="connsiteY126" fmla="*/ 2305050 h 2481262"/>
              <a:gd name="connsiteX127" fmla="*/ 5586413 w 6610350"/>
              <a:gd name="connsiteY127" fmla="*/ 2305050 h 2481262"/>
              <a:gd name="connsiteX128" fmla="*/ 5586413 w 6610350"/>
              <a:gd name="connsiteY128" fmla="*/ 2328862 h 2481262"/>
              <a:gd name="connsiteX129" fmla="*/ 5629275 w 6610350"/>
              <a:gd name="connsiteY129" fmla="*/ 2328862 h 2481262"/>
              <a:gd name="connsiteX130" fmla="*/ 5629275 w 6610350"/>
              <a:gd name="connsiteY130" fmla="*/ 2390775 h 2481262"/>
              <a:gd name="connsiteX131" fmla="*/ 6134100 w 6610350"/>
              <a:gd name="connsiteY131" fmla="*/ 2390775 h 2481262"/>
              <a:gd name="connsiteX132" fmla="*/ 6134100 w 6610350"/>
              <a:gd name="connsiteY132" fmla="*/ 2481262 h 2481262"/>
              <a:gd name="connsiteX133" fmla="*/ 6610350 w 6610350"/>
              <a:gd name="connsiteY133" fmla="*/ 2481262 h 2481262"/>
              <a:gd name="connsiteX0" fmla="*/ 0 w 6610350"/>
              <a:gd name="connsiteY0" fmla="*/ 4762 h 2481262"/>
              <a:gd name="connsiteX1" fmla="*/ 90488 w 6610350"/>
              <a:gd name="connsiteY1" fmla="*/ 0 h 2481262"/>
              <a:gd name="connsiteX2" fmla="*/ 90488 w 6610350"/>
              <a:gd name="connsiteY2" fmla="*/ 33337 h 2481262"/>
              <a:gd name="connsiteX3" fmla="*/ 133350 w 6610350"/>
              <a:gd name="connsiteY3" fmla="*/ 33337 h 2481262"/>
              <a:gd name="connsiteX4" fmla="*/ 133350 w 6610350"/>
              <a:gd name="connsiteY4" fmla="*/ 66675 h 2481262"/>
              <a:gd name="connsiteX5" fmla="*/ 209550 w 6610350"/>
              <a:gd name="connsiteY5" fmla="*/ 66675 h 2481262"/>
              <a:gd name="connsiteX6" fmla="*/ 204788 w 6610350"/>
              <a:gd name="connsiteY6" fmla="*/ 95250 h 2481262"/>
              <a:gd name="connsiteX7" fmla="*/ 361950 w 6610350"/>
              <a:gd name="connsiteY7" fmla="*/ 104775 h 2481262"/>
              <a:gd name="connsiteX8" fmla="*/ 361950 w 6610350"/>
              <a:gd name="connsiteY8" fmla="*/ 123825 h 2481262"/>
              <a:gd name="connsiteX9" fmla="*/ 423863 w 6610350"/>
              <a:gd name="connsiteY9" fmla="*/ 119062 h 2481262"/>
              <a:gd name="connsiteX10" fmla="*/ 423862 w 6610350"/>
              <a:gd name="connsiteY10" fmla="*/ 166687 h 2481262"/>
              <a:gd name="connsiteX11" fmla="*/ 552450 w 6610350"/>
              <a:gd name="connsiteY11" fmla="*/ 171450 h 2481262"/>
              <a:gd name="connsiteX12" fmla="*/ 557213 w 6610350"/>
              <a:gd name="connsiteY12" fmla="*/ 200025 h 2481262"/>
              <a:gd name="connsiteX13" fmla="*/ 595313 w 6610350"/>
              <a:gd name="connsiteY13" fmla="*/ 204787 h 2481262"/>
              <a:gd name="connsiteX14" fmla="*/ 600075 w 6610350"/>
              <a:gd name="connsiteY14" fmla="*/ 238125 h 2481262"/>
              <a:gd name="connsiteX15" fmla="*/ 642938 w 6610350"/>
              <a:gd name="connsiteY15" fmla="*/ 238125 h 2481262"/>
              <a:gd name="connsiteX16" fmla="*/ 642938 w 6610350"/>
              <a:gd name="connsiteY16" fmla="*/ 276225 h 2481262"/>
              <a:gd name="connsiteX17" fmla="*/ 933450 w 6610350"/>
              <a:gd name="connsiteY17" fmla="*/ 280987 h 2481262"/>
              <a:gd name="connsiteX18" fmla="*/ 938213 w 6610350"/>
              <a:gd name="connsiteY18" fmla="*/ 300037 h 2481262"/>
              <a:gd name="connsiteX19" fmla="*/ 1023938 w 6610350"/>
              <a:gd name="connsiteY19" fmla="*/ 300013 h 2481262"/>
              <a:gd name="connsiteX20" fmla="*/ 1028700 w 6610350"/>
              <a:gd name="connsiteY20" fmla="*/ 357187 h 2481262"/>
              <a:gd name="connsiteX21" fmla="*/ 1147763 w 6610350"/>
              <a:gd name="connsiteY21" fmla="*/ 357187 h 2481262"/>
              <a:gd name="connsiteX22" fmla="*/ 1157288 w 6610350"/>
              <a:gd name="connsiteY22" fmla="*/ 390525 h 2481262"/>
              <a:gd name="connsiteX23" fmla="*/ 1228725 w 6610350"/>
              <a:gd name="connsiteY23" fmla="*/ 390525 h 2481262"/>
              <a:gd name="connsiteX24" fmla="*/ 1228725 w 6610350"/>
              <a:gd name="connsiteY24" fmla="*/ 400001 h 2481262"/>
              <a:gd name="connsiteX25" fmla="*/ 1323975 w 6610350"/>
              <a:gd name="connsiteY25" fmla="*/ 419100 h 2481262"/>
              <a:gd name="connsiteX26" fmla="*/ 1338263 w 6610350"/>
              <a:gd name="connsiteY26" fmla="*/ 471487 h 2481262"/>
              <a:gd name="connsiteX27" fmla="*/ 1400175 w 6610350"/>
              <a:gd name="connsiteY27" fmla="*/ 466725 h 2481262"/>
              <a:gd name="connsiteX28" fmla="*/ 1404938 w 6610350"/>
              <a:gd name="connsiteY28" fmla="*/ 490537 h 2481262"/>
              <a:gd name="connsiteX29" fmla="*/ 1466850 w 6610350"/>
              <a:gd name="connsiteY29" fmla="*/ 495300 h 2481262"/>
              <a:gd name="connsiteX30" fmla="*/ 1471613 w 6610350"/>
              <a:gd name="connsiteY30" fmla="*/ 509587 h 2481262"/>
              <a:gd name="connsiteX31" fmla="*/ 1528763 w 6610350"/>
              <a:gd name="connsiteY31" fmla="*/ 509587 h 2481262"/>
              <a:gd name="connsiteX32" fmla="*/ 1528763 w 6610350"/>
              <a:gd name="connsiteY32" fmla="*/ 557212 h 2481262"/>
              <a:gd name="connsiteX33" fmla="*/ 1714500 w 6610350"/>
              <a:gd name="connsiteY33" fmla="*/ 561974 h 2481262"/>
              <a:gd name="connsiteX34" fmla="*/ 1714500 w 6610350"/>
              <a:gd name="connsiteY34" fmla="*/ 590550 h 2481262"/>
              <a:gd name="connsiteX35" fmla="*/ 1752600 w 6610350"/>
              <a:gd name="connsiteY35" fmla="*/ 590550 h 2481262"/>
              <a:gd name="connsiteX36" fmla="*/ 1762125 w 6610350"/>
              <a:gd name="connsiteY36" fmla="*/ 619125 h 2481262"/>
              <a:gd name="connsiteX37" fmla="*/ 1809750 w 6610350"/>
              <a:gd name="connsiteY37" fmla="*/ 619125 h 2481262"/>
              <a:gd name="connsiteX38" fmla="*/ 1809750 w 6610350"/>
              <a:gd name="connsiteY38" fmla="*/ 647700 h 2481262"/>
              <a:gd name="connsiteX39" fmla="*/ 1847850 w 6610350"/>
              <a:gd name="connsiteY39" fmla="*/ 647700 h 2481262"/>
              <a:gd name="connsiteX40" fmla="*/ 1847850 w 6610350"/>
              <a:gd name="connsiteY40" fmla="*/ 714375 h 2481262"/>
              <a:gd name="connsiteX41" fmla="*/ 1905000 w 6610350"/>
              <a:gd name="connsiteY41" fmla="*/ 714375 h 2481262"/>
              <a:gd name="connsiteX42" fmla="*/ 1919288 w 6610350"/>
              <a:gd name="connsiteY42" fmla="*/ 738187 h 2481262"/>
              <a:gd name="connsiteX43" fmla="*/ 2009775 w 6610350"/>
              <a:gd name="connsiteY43" fmla="*/ 733425 h 2481262"/>
              <a:gd name="connsiteX44" fmla="*/ 2009775 w 6610350"/>
              <a:gd name="connsiteY44" fmla="*/ 804862 h 2481262"/>
              <a:gd name="connsiteX45" fmla="*/ 2038350 w 6610350"/>
              <a:gd name="connsiteY45" fmla="*/ 804862 h 2481262"/>
              <a:gd name="connsiteX46" fmla="*/ 2038350 w 6610350"/>
              <a:gd name="connsiteY46" fmla="*/ 823912 h 2481262"/>
              <a:gd name="connsiteX47" fmla="*/ 2038350 w 6610350"/>
              <a:gd name="connsiteY47" fmla="*/ 823912 h 2481262"/>
              <a:gd name="connsiteX48" fmla="*/ 2071688 w 6610350"/>
              <a:gd name="connsiteY48" fmla="*/ 852487 h 2481262"/>
              <a:gd name="connsiteX49" fmla="*/ 2071688 w 6610350"/>
              <a:gd name="connsiteY49" fmla="*/ 852487 h 2481262"/>
              <a:gd name="connsiteX50" fmla="*/ 2100263 w 6610350"/>
              <a:gd name="connsiteY50" fmla="*/ 885825 h 2481262"/>
              <a:gd name="connsiteX51" fmla="*/ 2190750 w 6610350"/>
              <a:gd name="connsiteY51" fmla="*/ 885825 h 2481262"/>
              <a:gd name="connsiteX52" fmla="*/ 2195513 w 6610350"/>
              <a:gd name="connsiteY52" fmla="*/ 933450 h 2481262"/>
              <a:gd name="connsiteX53" fmla="*/ 2247900 w 6610350"/>
              <a:gd name="connsiteY53" fmla="*/ 923925 h 2481262"/>
              <a:gd name="connsiteX54" fmla="*/ 2247900 w 6610350"/>
              <a:gd name="connsiteY54" fmla="*/ 966787 h 2481262"/>
              <a:gd name="connsiteX55" fmla="*/ 2347937 w 6610350"/>
              <a:gd name="connsiteY55" fmla="*/ 961976 h 2481262"/>
              <a:gd name="connsiteX56" fmla="*/ 2347913 w 6610350"/>
              <a:gd name="connsiteY56" fmla="*/ 985837 h 2481262"/>
              <a:gd name="connsiteX57" fmla="*/ 2400300 w 6610350"/>
              <a:gd name="connsiteY57" fmla="*/ 990600 h 2481262"/>
              <a:gd name="connsiteX58" fmla="*/ 2400300 w 6610350"/>
              <a:gd name="connsiteY58" fmla="*/ 990600 h 2481262"/>
              <a:gd name="connsiteX59" fmla="*/ 2400300 w 6610350"/>
              <a:gd name="connsiteY59" fmla="*/ 1019175 h 2481262"/>
              <a:gd name="connsiteX60" fmla="*/ 2476500 w 6610350"/>
              <a:gd name="connsiteY60" fmla="*/ 1009650 h 2481262"/>
              <a:gd name="connsiteX61" fmla="*/ 2476500 w 6610350"/>
              <a:gd name="connsiteY61" fmla="*/ 1047750 h 2481262"/>
              <a:gd name="connsiteX62" fmla="*/ 2500313 w 6610350"/>
              <a:gd name="connsiteY62" fmla="*/ 1047750 h 2481262"/>
              <a:gd name="connsiteX63" fmla="*/ 2505050 w 6610350"/>
              <a:gd name="connsiteY63" fmla="*/ 1085653 h 2481262"/>
              <a:gd name="connsiteX64" fmla="*/ 2566988 w 6610350"/>
              <a:gd name="connsiteY64" fmla="*/ 1081087 h 2481262"/>
              <a:gd name="connsiteX65" fmla="*/ 2562225 w 6610350"/>
              <a:gd name="connsiteY65" fmla="*/ 1123950 h 2481262"/>
              <a:gd name="connsiteX66" fmla="*/ 2609850 w 6610350"/>
              <a:gd name="connsiteY66" fmla="*/ 1123950 h 2481262"/>
              <a:gd name="connsiteX67" fmla="*/ 2609850 w 6610350"/>
              <a:gd name="connsiteY67" fmla="*/ 1162050 h 2481262"/>
              <a:gd name="connsiteX68" fmla="*/ 2609850 w 6610350"/>
              <a:gd name="connsiteY68" fmla="*/ 1162050 h 2481262"/>
              <a:gd name="connsiteX69" fmla="*/ 2638425 w 6610350"/>
              <a:gd name="connsiteY69" fmla="*/ 1185862 h 2481262"/>
              <a:gd name="connsiteX70" fmla="*/ 2638425 w 6610350"/>
              <a:gd name="connsiteY70" fmla="*/ 1185862 h 2481262"/>
              <a:gd name="connsiteX71" fmla="*/ 2662238 w 6610350"/>
              <a:gd name="connsiteY71" fmla="*/ 1228725 h 2481262"/>
              <a:gd name="connsiteX72" fmla="*/ 2800350 w 6610350"/>
              <a:gd name="connsiteY72" fmla="*/ 1224011 h 2481262"/>
              <a:gd name="connsiteX73" fmla="*/ 2805113 w 6610350"/>
              <a:gd name="connsiteY73" fmla="*/ 1266825 h 2481262"/>
              <a:gd name="connsiteX74" fmla="*/ 2881313 w 6610350"/>
              <a:gd name="connsiteY74" fmla="*/ 1266825 h 2481262"/>
              <a:gd name="connsiteX75" fmla="*/ 2876550 w 6610350"/>
              <a:gd name="connsiteY75" fmla="*/ 1290637 h 2481262"/>
              <a:gd name="connsiteX76" fmla="*/ 2909714 w 6610350"/>
              <a:gd name="connsiteY76" fmla="*/ 1290637 h 2481262"/>
              <a:gd name="connsiteX77" fmla="*/ 2909888 w 6610350"/>
              <a:gd name="connsiteY77" fmla="*/ 1338262 h 2481262"/>
              <a:gd name="connsiteX78" fmla="*/ 2938315 w 6610350"/>
              <a:gd name="connsiteY78" fmla="*/ 1338262 h 2481262"/>
              <a:gd name="connsiteX79" fmla="*/ 2947988 w 6610350"/>
              <a:gd name="connsiteY79" fmla="*/ 1385887 h 2481262"/>
              <a:gd name="connsiteX80" fmla="*/ 3028950 w 6610350"/>
              <a:gd name="connsiteY80" fmla="*/ 1385887 h 2481262"/>
              <a:gd name="connsiteX81" fmla="*/ 3028950 w 6610350"/>
              <a:gd name="connsiteY81" fmla="*/ 1419225 h 2481262"/>
              <a:gd name="connsiteX82" fmla="*/ 3095625 w 6610350"/>
              <a:gd name="connsiteY82" fmla="*/ 1419225 h 2481262"/>
              <a:gd name="connsiteX83" fmla="*/ 3095625 w 6610350"/>
              <a:gd name="connsiteY83" fmla="*/ 1462087 h 2481262"/>
              <a:gd name="connsiteX84" fmla="*/ 3162300 w 6610350"/>
              <a:gd name="connsiteY84" fmla="*/ 1462087 h 2481262"/>
              <a:gd name="connsiteX85" fmla="*/ 3162300 w 6610350"/>
              <a:gd name="connsiteY85" fmla="*/ 1485900 h 2481262"/>
              <a:gd name="connsiteX86" fmla="*/ 3257550 w 6610350"/>
              <a:gd name="connsiteY86" fmla="*/ 1485900 h 2481262"/>
              <a:gd name="connsiteX87" fmla="*/ 3252788 w 6610350"/>
              <a:gd name="connsiteY87" fmla="*/ 1538287 h 2481262"/>
              <a:gd name="connsiteX88" fmla="*/ 3314700 w 6610350"/>
              <a:gd name="connsiteY88" fmla="*/ 1543050 h 2481262"/>
              <a:gd name="connsiteX89" fmla="*/ 3319438 w 6610350"/>
              <a:gd name="connsiteY89" fmla="*/ 1585690 h 2481262"/>
              <a:gd name="connsiteX90" fmla="*/ 3405188 w 6610350"/>
              <a:gd name="connsiteY90" fmla="*/ 1581150 h 2481262"/>
              <a:gd name="connsiteX91" fmla="*/ 3405188 w 6610350"/>
              <a:gd name="connsiteY91" fmla="*/ 1614487 h 2481262"/>
              <a:gd name="connsiteX92" fmla="*/ 3586163 w 6610350"/>
              <a:gd name="connsiteY92" fmla="*/ 1614487 h 2481262"/>
              <a:gd name="connsiteX93" fmla="*/ 3586163 w 6610350"/>
              <a:gd name="connsiteY93" fmla="*/ 1638300 h 2481262"/>
              <a:gd name="connsiteX94" fmla="*/ 3643313 w 6610350"/>
              <a:gd name="connsiteY94" fmla="*/ 1633537 h 2481262"/>
              <a:gd name="connsiteX95" fmla="*/ 3648051 w 6610350"/>
              <a:gd name="connsiteY95" fmla="*/ 1680915 h 2481262"/>
              <a:gd name="connsiteX96" fmla="*/ 3724275 w 6610350"/>
              <a:gd name="connsiteY96" fmla="*/ 1676351 h 2481262"/>
              <a:gd name="connsiteX97" fmla="*/ 3729014 w 6610350"/>
              <a:gd name="connsiteY97" fmla="*/ 1714253 h 2481262"/>
              <a:gd name="connsiteX98" fmla="*/ 3814763 w 6610350"/>
              <a:gd name="connsiteY98" fmla="*/ 1704975 h 2481262"/>
              <a:gd name="connsiteX99" fmla="*/ 3814763 w 6610350"/>
              <a:gd name="connsiteY99" fmla="*/ 1757362 h 2481262"/>
              <a:gd name="connsiteX100" fmla="*/ 3890963 w 6610350"/>
              <a:gd name="connsiteY100" fmla="*/ 1762125 h 2481262"/>
              <a:gd name="connsiteX101" fmla="*/ 3881438 w 6610350"/>
              <a:gd name="connsiteY101" fmla="*/ 1800225 h 2481262"/>
              <a:gd name="connsiteX102" fmla="*/ 3952875 w 6610350"/>
              <a:gd name="connsiteY102" fmla="*/ 1804987 h 2481262"/>
              <a:gd name="connsiteX103" fmla="*/ 3957638 w 6610350"/>
              <a:gd name="connsiteY103" fmla="*/ 1862137 h 2481262"/>
              <a:gd name="connsiteX104" fmla="*/ 4029075 w 6610350"/>
              <a:gd name="connsiteY104" fmla="*/ 1862137 h 2481262"/>
              <a:gd name="connsiteX105" fmla="*/ 4029075 w 6610350"/>
              <a:gd name="connsiteY105" fmla="*/ 1924050 h 2481262"/>
              <a:gd name="connsiteX106" fmla="*/ 4100513 w 6610350"/>
              <a:gd name="connsiteY106" fmla="*/ 1924050 h 2481262"/>
              <a:gd name="connsiteX107" fmla="*/ 4143375 w 6610350"/>
              <a:gd name="connsiteY107" fmla="*/ 1924050 h 2481262"/>
              <a:gd name="connsiteX108" fmla="*/ 4138613 w 6610350"/>
              <a:gd name="connsiteY108" fmla="*/ 1966912 h 2481262"/>
              <a:gd name="connsiteX109" fmla="*/ 4214813 w 6610350"/>
              <a:gd name="connsiteY109" fmla="*/ 1971675 h 2481262"/>
              <a:gd name="connsiteX110" fmla="*/ 4214813 w 6610350"/>
              <a:gd name="connsiteY110" fmla="*/ 2014537 h 2481262"/>
              <a:gd name="connsiteX111" fmla="*/ 4319588 w 6610350"/>
              <a:gd name="connsiteY111" fmla="*/ 2014537 h 2481262"/>
              <a:gd name="connsiteX112" fmla="*/ 4319588 w 6610350"/>
              <a:gd name="connsiteY112" fmla="*/ 2014537 h 2481262"/>
              <a:gd name="connsiteX113" fmla="*/ 4362451 w 6610350"/>
              <a:gd name="connsiteY113" fmla="*/ 2038350 h 2481262"/>
              <a:gd name="connsiteX114" fmla="*/ 4410075 w 6610350"/>
              <a:gd name="connsiteY114" fmla="*/ 2095500 h 2481262"/>
              <a:gd name="connsiteX115" fmla="*/ 4605338 w 6610350"/>
              <a:gd name="connsiteY115" fmla="*/ 2105025 h 2481262"/>
              <a:gd name="connsiteX116" fmla="*/ 4605338 w 6610350"/>
              <a:gd name="connsiteY116" fmla="*/ 2105025 h 2481262"/>
              <a:gd name="connsiteX117" fmla="*/ 4605338 w 6610350"/>
              <a:gd name="connsiteY117" fmla="*/ 2147887 h 2481262"/>
              <a:gd name="connsiteX118" fmla="*/ 4791075 w 6610350"/>
              <a:gd name="connsiteY118" fmla="*/ 2147887 h 2481262"/>
              <a:gd name="connsiteX119" fmla="*/ 4791075 w 6610350"/>
              <a:gd name="connsiteY119" fmla="*/ 2176462 h 2481262"/>
              <a:gd name="connsiteX120" fmla="*/ 4953000 w 6610350"/>
              <a:gd name="connsiteY120" fmla="*/ 2176462 h 2481262"/>
              <a:gd name="connsiteX121" fmla="*/ 5072063 w 6610350"/>
              <a:gd name="connsiteY121" fmla="*/ 2176462 h 2481262"/>
              <a:gd name="connsiteX122" fmla="*/ 5072063 w 6610350"/>
              <a:gd name="connsiteY122" fmla="*/ 2233612 h 2481262"/>
              <a:gd name="connsiteX123" fmla="*/ 5400675 w 6610350"/>
              <a:gd name="connsiteY123" fmla="*/ 2233612 h 2481262"/>
              <a:gd name="connsiteX124" fmla="*/ 5400675 w 6610350"/>
              <a:gd name="connsiteY124" fmla="*/ 2233612 h 2481262"/>
              <a:gd name="connsiteX125" fmla="*/ 5500688 w 6610350"/>
              <a:gd name="connsiteY125" fmla="*/ 2233612 h 2481262"/>
              <a:gd name="connsiteX126" fmla="*/ 5500688 w 6610350"/>
              <a:gd name="connsiteY126" fmla="*/ 2305050 h 2481262"/>
              <a:gd name="connsiteX127" fmla="*/ 5586413 w 6610350"/>
              <a:gd name="connsiteY127" fmla="*/ 2305050 h 2481262"/>
              <a:gd name="connsiteX128" fmla="*/ 5586413 w 6610350"/>
              <a:gd name="connsiteY128" fmla="*/ 2328862 h 2481262"/>
              <a:gd name="connsiteX129" fmla="*/ 5629275 w 6610350"/>
              <a:gd name="connsiteY129" fmla="*/ 2328862 h 2481262"/>
              <a:gd name="connsiteX130" fmla="*/ 5629275 w 6610350"/>
              <a:gd name="connsiteY130" fmla="*/ 2390775 h 2481262"/>
              <a:gd name="connsiteX131" fmla="*/ 6134100 w 6610350"/>
              <a:gd name="connsiteY131" fmla="*/ 2390775 h 2481262"/>
              <a:gd name="connsiteX132" fmla="*/ 6134100 w 6610350"/>
              <a:gd name="connsiteY132" fmla="*/ 2481262 h 2481262"/>
              <a:gd name="connsiteX133" fmla="*/ 6610350 w 6610350"/>
              <a:gd name="connsiteY133" fmla="*/ 2481262 h 2481262"/>
              <a:gd name="connsiteX0" fmla="*/ 0 w 6610350"/>
              <a:gd name="connsiteY0" fmla="*/ 4762 h 2481262"/>
              <a:gd name="connsiteX1" fmla="*/ 90488 w 6610350"/>
              <a:gd name="connsiteY1" fmla="*/ 0 h 2481262"/>
              <a:gd name="connsiteX2" fmla="*/ 90488 w 6610350"/>
              <a:gd name="connsiteY2" fmla="*/ 33337 h 2481262"/>
              <a:gd name="connsiteX3" fmla="*/ 133350 w 6610350"/>
              <a:gd name="connsiteY3" fmla="*/ 33337 h 2481262"/>
              <a:gd name="connsiteX4" fmla="*/ 133350 w 6610350"/>
              <a:gd name="connsiteY4" fmla="*/ 66675 h 2481262"/>
              <a:gd name="connsiteX5" fmla="*/ 209550 w 6610350"/>
              <a:gd name="connsiteY5" fmla="*/ 66675 h 2481262"/>
              <a:gd name="connsiteX6" fmla="*/ 204788 w 6610350"/>
              <a:gd name="connsiteY6" fmla="*/ 95250 h 2481262"/>
              <a:gd name="connsiteX7" fmla="*/ 361950 w 6610350"/>
              <a:gd name="connsiteY7" fmla="*/ 104775 h 2481262"/>
              <a:gd name="connsiteX8" fmla="*/ 361950 w 6610350"/>
              <a:gd name="connsiteY8" fmla="*/ 123825 h 2481262"/>
              <a:gd name="connsiteX9" fmla="*/ 423863 w 6610350"/>
              <a:gd name="connsiteY9" fmla="*/ 119062 h 2481262"/>
              <a:gd name="connsiteX10" fmla="*/ 423862 w 6610350"/>
              <a:gd name="connsiteY10" fmla="*/ 166687 h 2481262"/>
              <a:gd name="connsiteX11" fmla="*/ 552450 w 6610350"/>
              <a:gd name="connsiteY11" fmla="*/ 171450 h 2481262"/>
              <a:gd name="connsiteX12" fmla="*/ 557213 w 6610350"/>
              <a:gd name="connsiteY12" fmla="*/ 200025 h 2481262"/>
              <a:gd name="connsiteX13" fmla="*/ 595313 w 6610350"/>
              <a:gd name="connsiteY13" fmla="*/ 204787 h 2481262"/>
              <a:gd name="connsiteX14" fmla="*/ 600075 w 6610350"/>
              <a:gd name="connsiteY14" fmla="*/ 238125 h 2481262"/>
              <a:gd name="connsiteX15" fmla="*/ 642938 w 6610350"/>
              <a:gd name="connsiteY15" fmla="*/ 238125 h 2481262"/>
              <a:gd name="connsiteX16" fmla="*/ 642938 w 6610350"/>
              <a:gd name="connsiteY16" fmla="*/ 276225 h 2481262"/>
              <a:gd name="connsiteX17" fmla="*/ 933450 w 6610350"/>
              <a:gd name="connsiteY17" fmla="*/ 280987 h 2481262"/>
              <a:gd name="connsiteX18" fmla="*/ 938213 w 6610350"/>
              <a:gd name="connsiteY18" fmla="*/ 300037 h 2481262"/>
              <a:gd name="connsiteX19" fmla="*/ 1023938 w 6610350"/>
              <a:gd name="connsiteY19" fmla="*/ 300013 h 2481262"/>
              <a:gd name="connsiteX20" fmla="*/ 1028700 w 6610350"/>
              <a:gd name="connsiteY20" fmla="*/ 357187 h 2481262"/>
              <a:gd name="connsiteX21" fmla="*/ 1147763 w 6610350"/>
              <a:gd name="connsiteY21" fmla="*/ 357187 h 2481262"/>
              <a:gd name="connsiteX22" fmla="*/ 1157288 w 6610350"/>
              <a:gd name="connsiteY22" fmla="*/ 390525 h 2481262"/>
              <a:gd name="connsiteX23" fmla="*/ 1228725 w 6610350"/>
              <a:gd name="connsiteY23" fmla="*/ 390525 h 2481262"/>
              <a:gd name="connsiteX24" fmla="*/ 1228725 w 6610350"/>
              <a:gd name="connsiteY24" fmla="*/ 414215 h 2481262"/>
              <a:gd name="connsiteX25" fmla="*/ 1323975 w 6610350"/>
              <a:gd name="connsiteY25" fmla="*/ 419100 h 2481262"/>
              <a:gd name="connsiteX26" fmla="*/ 1338263 w 6610350"/>
              <a:gd name="connsiteY26" fmla="*/ 471487 h 2481262"/>
              <a:gd name="connsiteX27" fmla="*/ 1400175 w 6610350"/>
              <a:gd name="connsiteY27" fmla="*/ 466725 h 2481262"/>
              <a:gd name="connsiteX28" fmla="*/ 1404938 w 6610350"/>
              <a:gd name="connsiteY28" fmla="*/ 490537 h 2481262"/>
              <a:gd name="connsiteX29" fmla="*/ 1466850 w 6610350"/>
              <a:gd name="connsiteY29" fmla="*/ 495300 h 2481262"/>
              <a:gd name="connsiteX30" fmla="*/ 1471613 w 6610350"/>
              <a:gd name="connsiteY30" fmla="*/ 509587 h 2481262"/>
              <a:gd name="connsiteX31" fmla="*/ 1528763 w 6610350"/>
              <a:gd name="connsiteY31" fmla="*/ 509587 h 2481262"/>
              <a:gd name="connsiteX32" fmla="*/ 1528763 w 6610350"/>
              <a:gd name="connsiteY32" fmla="*/ 557212 h 2481262"/>
              <a:gd name="connsiteX33" fmla="*/ 1714500 w 6610350"/>
              <a:gd name="connsiteY33" fmla="*/ 561974 h 2481262"/>
              <a:gd name="connsiteX34" fmla="*/ 1714500 w 6610350"/>
              <a:gd name="connsiteY34" fmla="*/ 590550 h 2481262"/>
              <a:gd name="connsiteX35" fmla="*/ 1752600 w 6610350"/>
              <a:gd name="connsiteY35" fmla="*/ 590550 h 2481262"/>
              <a:gd name="connsiteX36" fmla="*/ 1762125 w 6610350"/>
              <a:gd name="connsiteY36" fmla="*/ 619125 h 2481262"/>
              <a:gd name="connsiteX37" fmla="*/ 1809750 w 6610350"/>
              <a:gd name="connsiteY37" fmla="*/ 619125 h 2481262"/>
              <a:gd name="connsiteX38" fmla="*/ 1809750 w 6610350"/>
              <a:gd name="connsiteY38" fmla="*/ 647700 h 2481262"/>
              <a:gd name="connsiteX39" fmla="*/ 1847850 w 6610350"/>
              <a:gd name="connsiteY39" fmla="*/ 647700 h 2481262"/>
              <a:gd name="connsiteX40" fmla="*/ 1847850 w 6610350"/>
              <a:gd name="connsiteY40" fmla="*/ 714375 h 2481262"/>
              <a:gd name="connsiteX41" fmla="*/ 1905000 w 6610350"/>
              <a:gd name="connsiteY41" fmla="*/ 714375 h 2481262"/>
              <a:gd name="connsiteX42" fmla="*/ 1919288 w 6610350"/>
              <a:gd name="connsiteY42" fmla="*/ 738187 h 2481262"/>
              <a:gd name="connsiteX43" fmla="*/ 2009775 w 6610350"/>
              <a:gd name="connsiteY43" fmla="*/ 733425 h 2481262"/>
              <a:gd name="connsiteX44" fmla="*/ 2009775 w 6610350"/>
              <a:gd name="connsiteY44" fmla="*/ 804862 h 2481262"/>
              <a:gd name="connsiteX45" fmla="*/ 2038350 w 6610350"/>
              <a:gd name="connsiteY45" fmla="*/ 804862 h 2481262"/>
              <a:gd name="connsiteX46" fmla="*/ 2038350 w 6610350"/>
              <a:gd name="connsiteY46" fmla="*/ 823912 h 2481262"/>
              <a:gd name="connsiteX47" fmla="*/ 2038350 w 6610350"/>
              <a:gd name="connsiteY47" fmla="*/ 823912 h 2481262"/>
              <a:gd name="connsiteX48" fmla="*/ 2071688 w 6610350"/>
              <a:gd name="connsiteY48" fmla="*/ 852487 h 2481262"/>
              <a:gd name="connsiteX49" fmla="*/ 2071688 w 6610350"/>
              <a:gd name="connsiteY49" fmla="*/ 852487 h 2481262"/>
              <a:gd name="connsiteX50" fmla="*/ 2100263 w 6610350"/>
              <a:gd name="connsiteY50" fmla="*/ 885825 h 2481262"/>
              <a:gd name="connsiteX51" fmla="*/ 2190750 w 6610350"/>
              <a:gd name="connsiteY51" fmla="*/ 885825 h 2481262"/>
              <a:gd name="connsiteX52" fmla="*/ 2195513 w 6610350"/>
              <a:gd name="connsiteY52" fmla="*/ 933450 h 2481262"/>
              <a:gd name="connsiteX53" fmla="*/ 2247900 w 6610350"/>
              <a:gd name="connsiteY53" fmla="*/ 923925 h 2481262"/>
              <a:gd name="connsiteX54" fmla="*/ 2247900 w 6610350"/>
              <a:gd name="connsiteY54" fmla="*/ 966787 h 2481262"/>
              <a:gd name="connsiteX55" fmla="*/ 2347937 w 6610350"/>
              <a:gd name="connsiteY55" fmla="*/ 961976 h 2481262"/>
              <a:gd name="connsiteX56" fmla="*/ 2347913 w 6610350"/>
              <a:gd name="connsiteY56" fmla="*/ 985837 h 2481262"/>
              <a:gd name="connsiteX57" fmla="*/ 2400300 w 6610350"/>
              <a:gd name="connsiteY57" fmla="*/ 990600 h 2481262"/>
              <a:gd name="connsiteX58" fmla="*/ 2400300 w 6610350"/>
              <a:gd name="connsiteY58" fmla="*/ 990600 h 2481262"/>
              <a:gd name="connsiteX59" fmla="*/ 2400300 w 6610350"/>
              <a:gd name="connsiteY59" fmla="*/ 1019175 h 2481262"/>
              <a:gd name="connsiteX60" fmla="*/ 2476500 w 6610350"/>
              <a:gd name="connsiteY60" fmla="*/ 1009650 h 2481262"/>
              <a:gd name="connsiteX61" fmla="*/ 2476500 w 6610350"/>
              <a:gd name="connsiteY61" fmla="*/ 1047750 h 2481262"/>
              <a:gd name="connsiteX62" fmla="*/ 2500313 w 6610350"/>
              <a:gd name="connsiteY62" fmla="*/ 1047750 h 2481262"/>
              <a:gd name="connsiteX63" fmla="*/ 2505050 w 6610350"/>
              <a:gd name="connsiteY63" fmla="*/ 1085653 h 2481262"/>
              <a:gd name="connsiteX64" fmla="*/ 2566988 w 6610350"/>
              <a:gd name="connsiteY64" fmla="*/ 1081087 h 2481262"/>
              <a:gd name="connsiteX65" fmla="*/ 2562225 w 6610350"/>
              <a:gd name="connsiteY65" fmla="*/ 1123950 h 2481262"/>
              <a:gd name="connsiteX66" fmla="*/ 2609850 w 6610350"/>
              <a:gd name="connsiteY66" fmla="*/ 1123950 h 2481262"/>
              <a:gd name="connsiteX67" fmla="*/ 2609850 w 6610350"/>
              <a:gd name="connsiteY67" fmla="*/ 1162050 h 2481262"/>
              <a:gd name="connsiteX68" fmla="*/ 2609850 w 6610350"/>
              <a:gd name="connsiteY68" fmla="*/ 1162050 h 2481262"/>
              <a:gd name="connsiteX69" fmla="*/ 2638425 w 6610350"/>
              <a:gd name="connsiteY69" fmla="*/ 1185862 h 2481262"/>
              <a:gd name="connsiteX70" fmla="*/ 2638425 w 6610350"/>
              <a:gd name="connsiteY70" fmla="*/ 1185862 h 2481262"/>
              <a:gd name="connsiteX71" fmla="*/ 2662238 w 6610350"/>
              <a:gd name="connsiteY71" fmla="*/ 1228725 h 2481262"/>
              <a:gd name="connsiteX72" fmla="*/ 2800350 w 6610350"/>
              <a:gd name="connsiteY72" fmla="*/ 1224011 h 2481262"/>
              <a:gd name="connsiteX73" fmla="*/ 2805113 w 6610350"/>
              <a:gd name="connsiteY73" fmla="*/ 1266825 h 2481262"/>
              <a:gd name="connsiteX74" fmla="*/ 2881313 w 6610350"/>
              <a:gd name="connsiteY74" fmla="*/ 1266825 h 2481262"/>
              <a:gd name="connsiteX75" fmla="*/ 2876550 w 6610350"/>
              <a:gd name="connsiteY75" fmla="*/ 1290637 h 2481262"/>
              <a:gd name="connsiteX76" fmla="*/ 2909714 w 6610350"/>
              <a:gd name="connsiteY76" fmla="*/ 1290637 h 2481262"/>
              <a:gd name="connsiteX77" fmla="*/ 2909888 w 6610350"/>
              <a:gd name="connsiteY77" fmla="*/ 1338262 h 2481262"/>
              <a:gd name="connsiteX78" fmla="*/ 2938315 w 6610350"/>
              <a:gd name="connsiteY78" fmla="*/ 1338262 h 2481262"/>
              <a:gd name="connsiteX79" fmla="*/ 2947988 w 6610350"/>
              <a:gd name="connsiteY79" fmla="*/ 1385887 h 2481262"/>
              <a:gd name="connsiteX80" fmla="*/ 3028950 w 6610350"/>
              <a:gd name="connsiteY80" fmla="*/ 1385887 h 2481262"/>
              <a:gd name="connsiteX81" fmla="*/ 3028950 w 6610350"/>
              <a:gd name="connsiteY81" fmla="*/ 1419225 h 2481262"/>
              <a:gd name="connsiteX82" fmla="*/ 3095625 w 6610350"/>
              <a:gd name="connsiteY82" fmla="*/ 1419225 h 2481262"/>
              <a:gd name="connsiteX83" fmla="*/ 3095625 w 6610350"/>
              <a:gd name="connsiteY83" fmla="*/ 1462087 h 2481262"/>
              <a:gd name="connsiteX84" fmla="*/ 3162300 w 6610350"/>
              <a:gd name="connsiteY84" fmla="*/ 1462087 h 2481262"/>
              <a:gd name="connsiteX85" fmla="*/ 3162300 w 6610350"/>
              <a:gd name="connsiteY85" fmla="*/ 1485900 h 2481262"/>
              <a:gd name="connsiteX86" fmla="*/ 3257550 w 6610350"/>
              <a:gd name="connsiteY86" fmla="*/ 1485900 h 2481262"/>
              <a:gd name="connsiteX87" fmla="*/ 3252788 w 6610350"/>
              <a:gd name="connsiteY87" fmla="*/ 1538287 h 2481262"/>
              <a:gd name="connsiteX88" fmla="*/ 3314700 w 6610350"/>
              <a:gd name="connsiteY88" fmla="*/ 1543050 h 2481262"/>
              <a:gd name="connsiteX89" fmla="*/ 3319438 w 6610350"/>
              <a:gd name="connsiteY89" fmla="*/ 1585690 h 2481262"/>
              <a:gd name="connsiteX90" fmla="*/ 3405188 w 6610350"/>
              <a:gd name="connsiteY90" fmla="*/ 1581150 h 2481262"/>
              <a:gd name="connsiteX91" fmla="*/ 3405188 w 6610350"/>
              <a:gd name="connsiteY91" fmla="*/ 1614487 h 2481262"/>
              <a:gd name="connsiteX92" fmla="*/ 3586163 w 6610350"/>
              <a:gd name="connsiteY92" fmla="*/ 1614487 h 2481262"/>
              <a:gd name="connsiteX93" fmla="*/ 3586163 w 6610350"/>
              <a:gd name="connsiteY93" fmla="*/ 1638300 h 2481262"/>
              <a:gd name="connsiteX94" fmla="*/ 3643313 w 6610350"/>
              <a:gd name="connsiteY94" fmla="*/ 1633537 h 2481262"/>
              <a:gd name="connsiteX95" fmla="*/ 3648051 w 6610350"/>
              <a:gd name="connsiteY95" fmla="*/ 1680915 h 2481262"/>
              <a:gd name="connsiteX96" fmla="*/ 3724275 w 6610350"/>
              <a:gd name="connsiteY96" fmla="*/ 1676351 h 2481262"/>
              <a:gd name="connsiteX97" fmla="*/ 3729014 w 6610350"/>
              <a:gd name="connsiteY97" fmla="*/ 1714253 h 2481262"/>
              <a:gd name="connsiteX98" fmla="*/ 3814763 w 6610350"/>
              <a:gd name="connsiteY98" fmla="*/ 1704975 h 2481262"/>
              <a:gd name="connsiteX99" fmla="*/ 3814763 w 6610350"/>
              <a:gd name="connsiteY99" fmla="*/ 1757362 h 2481262"/>
              <a:gd name="connsiteX100" fmla="*/ 3890963 w 6610350"/>
              <a:gd name="connsiteY100" fmla="*/ 1762125 h 2481262"/>
              <a:gd name="connsiteX101" fmla="*/ 3881438 w 6610350"/>
              <a:gd name="connsiteY101" fmla="*/ 1800225 h 2481262"/>
              <a:gd name="connsiteX102" fmla="*/ 3952875 w 6610350"/>
              <a:gd name="connsiteY102" fmla="*/ 1804987 h 2481262"/>
              <a:gd name="connsiteX103" fmla="*/ 3957638 w 6610350"/>
              <a:gd name="connsiteY103" fmla="*/ 1862137 h 2481262"/>
              <a:gd name="connsiteX104" fmla="*/ 4029075 w 6610350"/>
              <a:gd name="connsiteY104" fmla="*/ 1862137 h 2481262"/>
              <a:gd name="connsiteX105" fmla="*/ 4029075 w 6610350"/>
              <a:gd name="connsiteY105" fmla="*/ 1924050 h 2481262"/>
              <a:gd name="connsiteX106" fmla="*/ 4100513 w 6610350"/>
              <a:gd name="connsiteY106" fmla="*/ 1924050 h 2481262"/>
              <a:gd name="connsiteX107" fmla="*/ 4143375 w 6610350"/>
              <a:gd name="connsiteY107" fmla="*/ 1924050 h 2481262"/>
              <a:gd name="connsiteX108" fmla="*/ 4138613 w 6610350"/>
              <a:gd name="connsiteY108" fmla="*/ 1966912 h 2481262"/>
              <a:gd name="connsiteX109" fmla="*/ 4214813 w 6610350"/>
              <a:gd name="connsiteY109" fmla="*/ 1971675 h 2481262"/>
              <a:gd name="connsiteX110" fmla="*/ 4214813 w 6610350"/>
              <a:gd name="connsiteY110" fmla="*/ 2014537 h 2481262"/>
              <a:gd name="connsiteX111" fmla="*/ 4319588 w 6610350"/>
              <a:gd name="connsiteY111" fmla="*/ 2014537 h 2481262"/>
              <a:gd name="connsiteX112" fmla="*/ 4319588 w 6610350"/>
              <a:gd name="connsiteY112" fmla="*/ 2014537 h 2481262"/>
              <a:gd name="connsiteX113" fmla="*/ 4362451 w 6610350"/>
              <a:gd name="connsiteY113" fmla="*/ 2038350 h 2481262"/>
              <a:gd name="connsiteX114" fmla="*/ 4410075 w 6610350"/>
              <a:gd name="connsiteY114" fmla="*/ 2095500 h 2481262"/>
              <a:gd name="connsiteX115" fmla="*/ 4605338 w 6610350"/>
              <a:gd name="connsiteY115" fmla="*/ 2105025 h 2481262"/>
              <a:gd name="connsiteX116" fmla="*/ 4605338 w 6610350"/>
              <a:gd name="connsiteY116" fmla="*/ 2105025 h 2481262"/>
              <a:gd name="connsiteX117" fmla="*/ 4605338 w 6610350"/>
              <a:gd name="connsiteY117" fmla="*/ 2147887 h 2481262"/>
              <a:gd name="connsiteX118" fmla="*/ 4791075 w 6610350"/>
              <a:gd name="connsiteY118" fmla="*/ 2147887 h 2481262"/>
              <a:gd name="connsiteX119" fmla="*/ 4791075 w 6610350"/>
              <a:gd name="connsiteY119" fmla="*/ 2176462 h 2481262"/>
              <a:gd name="connsiteX120" fmla="*/ 4953000 w 6610350"/>
              <a:gd name="connsiteY120" fmla="*/ 2176462 h 2481262"/>
              <a:gd name="connsiteX121" fmla="*/ 5072063 w 6610350"/>
              <a:gd name="connsiteY121" fmla="*/ 2176462 h 2481262"/>
              <a:gd name="connsiteX122" fmla="*/ 5072063 w 6610350"/>
              <a:gd name="connsiteY122" fmla="*/ 2233612 h 2481262"/>
              <a:gd name="connsiteX123" fmla="*/ 5400675 w 6610350"/>
              <a:gd name="connsiteY123" fmla="*/ 2233612 h 2481262"/>
              <a:gd name="connsiteX124" fmla="*/ 5400675 w 6610350"/>
              <a:gd name="connsiteY124" fmla="*/ 2233612 h 2481262"/>
              <a:gd name="connsiteX125" fmla="*/ 5500688 w 6610350"/>
              <a:gd name="connsiteY125" fmla="*/ 2233612 h 2481262"/>
              <a:gd name="connsiteX126" fmla="*/ 5500688 w 6610350"/>
              <a:gd name="connsiteY126" fmla="*/ 2305050 h 2481262"/>
              <a:gd name="connsiteX127" fmla="*/ 5586413 w 6610350"/>
              <a:gd name="connsiteY127" fmla="*/ 2305050 h 2481262"/>
              <a:gd name="connsiteX128" fmla="*/ 5586413 w 6610350"/>
              <a:gd name="connsiteY128" fmla="*/ 2328862 h 2481262"/>
              <a:gd name="connsiteX129" fmla="*/ 5629275 w 6610350"/>
              <a:gd name="connsiteY129" fmla="*/ 2328862 h 2481262"/>
              <a:gd name="connsiteX130" fmla="*/ 5629275 w 6610350"/>
              <a:gd name="connsiteY130" fmla="*/ 2390775 h 2481262"/>
              <a:gd name="connsiteX131" fmla="*/ 6134100 w 6610350"/>
              <a:gd name="connsiteY131" fmla="*/ 2390775 h 2481262"/>
              <a:gd name="connsiteX132" fmla="*/ 6134100 w 6610350"/>
              <a:gd name="connsiteY132" fmla="*/ 2481262 h 2481262"/>
              <a:gd name="connsiteX133" fmla="*/ 6610350 w 6610350"/>
              <a:gd name="connsiteY133" fmla="*/ 2481262 h 2481262"/>
              <a:gd name="connsiteX0" fmla="*/ 0 w 6610350"/>
              <a:gd name="connsiteY0" fmla="*/ 4762 h 2481262"/>
              <a:gd name="connsiteX1" fmla="*/ 90488 w 6610350"/>
              <a:gd name="connsiteY1" fmla="*/ 0 h 2481262"/>
              <a:gd name="connsiteX2" fmla="*/ 90488 w 6610350"/>
              <a:gd name="connsiteY2" fmla="*/ 33337 h 2481262"/>
              <a:gd name="connsiteX3" fmla="*/ 133350 w 6610350"/>
              <a:gd name="connsiteY3" fmla="*/ 33337 h 2481262"/>
              <a:gd name="connsiteX4" fmla="*/ 133350 w 6610350"/>
              <a:gd name="connsiteY4" fmla="*/ 66675 h 2481262"/>
              <a:gd name="connsiteX5" fmla="*/ 209550 w 6610350"/>
              <a:gd name="connsiteY5" fmla="*/ 66675 h 2481262"/>
              <a:gd name="connsiteX6" fmla="*/ 204788 w 6610350"/>
              <a:gd name="connsiteY6" fmla="*/ 95250 h 2481262"/>
              <a:gd name="connsiteX7" fmla="*/ 361950 w 6610350"/>
              <a:gd name="connsiteY7" fmla="*/ 104775 h 2481262"/>
              <a:gd name="connsiteX8" fmla="*/ 361950 w 6610350"/>
              <a:gd name="connsiteY8" fmla="*/ 123825 h 2481262"/>
              <a:gd name="connsiteX9" fmla="*/ 423863 w 6610350"/>
              <a:gd name="connsiteY9" fmla="*/ 119062 h 2481262"/>
              <a:gd name="connsiteX10" fmla="*/ 423862 w 6610350"/>
              <a:gd name="connsiteY10" fmla="*/ 166687 h 2481262"/>
              <a:gd name="connsiteX11" fmla="*/ 552450 w 6610350"/>
              <a:gd name="connsiteY11" fmla="*/ 171450 h 2481262"/>
              <a:gd name="connsiteX12" fmla="*/ 557213 w 6610350"/>
              <a:gd name="connsiteY12" fmla="*/ 200025 h 2481262"/>
              <a:gd name="connsiteX13" fmla="*/ 595313 w 6610350"/>
              <a:gd name="connsiteY13" fmla="*/ 204787 h 2481262"/>
              <a:gd name="connsiteX14" fmla="*/ 600075 w 6610350"/>
              <a:gd name="connsiteY14" fmla="*/ 238125 h 2481262"/>
              <a:gd name="connsiteX15" fmla="*/ 642938 w 6610350"/>
              <a:gd name="connsiteY15" fmla="*/ 238125 h 2481262"/>
              <a:gd name="connsiteX16" fmla="*/ 642938 w 6610350"/>
              <a:gd name="connsiteY16" fmla="*/ 276225 h 2481262"/>
              <a:gd name="connsiteX17" fmla="*/ 933450 w 6610350"/>
              <a:gd name="connsiteY17" fmla="*/ 280987 h 2481262"/>
              <a:gd name="connsiteX18" fmla="*/ 938213 w 6610350"/>
              <a:gd name="connsiteY18" fmla="*/ 300037 h 2481262"/>
              <a:gd name="connsiteX19" fmla="*/ 1023938 w 6610350"/>
              <a:gd name="connsiteY19" fmla="*/ 300013 h 2481262"/>
              <a:gd name="connsiteX20" fmla="*/ 1028700 w 6610350"/>
              <a:gd name="connsiteY20" fmla="*/ 357187 h 2481262"/>
              <a:gd name="connsiteX21" fmla="*/ 1147763 w 6610350"/>
              <a:gd name="connsiteY21" fmla="*/ 357187 h 2481262"/>
              <a:gd name="connsiteX22" fmla="*/ 1157288 w 6610350"/>
              <a:gd name="connsiteY22" fmla="*/ 390525 h 2481262"/>
              <a:gd name="connsiteX23" fmla="*/ 1228725 w 6610350"/>
              <a:gd name="connsiteY23" fmla="*/ 390525 h 2481262"/>
              <a:gd name="connsiteX24" fmla="*/ 1228725 w 6610350"/>
              <a:gd name="connsiteY24" fmla="*/ 414215 h 2481262"/>
              <a:gd name="connsiteX25" fmla="*/ 1323975 w 6610350"/>
              <a:gd name="connsiteY25" fmla="*/ 419100 h 2481262"/>
              <a:gd name="connsiteX26" fmla="*/ 1338263 w 6610350"/>
              <a:gd name="connsiteY26" fmla="*/ 471487 h 2481262"/>
              <a:gd name="connsiteX27" fmla="*/ 1400175 w 6610350"/>
              <a:gd name="connsiteY27" fmla="*/ 466725 h 2481262"/>
              <a:gd name="connsiteX28" fmla="*/ 1404938 w 6610350"/>
              <a:gd name="connsiteY28" fmla="*/ 490537 h 2481262"/>
              <a:gd name="connsiteX29" fmla="*/ 1466850 w 6610350"/>
              <a:gd name="connsiteY29" fmla="*/ 495300 h 2481262"/>
              <a:gd name="connsiteX30" fmla="*/ 1471613 w 6610350"/>
              <a:gd name="connsiteY30" fmla="*/ 509587 h 2481262"/>
              <a:gd name="connsiteX31" fmla="*/ 1528763 w 6610350"/>
              <a:gd name="connsiteY31" fmla="*/ 509587 h 2481262"/>
              <a:gd name="connsiteX32" fmla="*/ 1528763 w 6610350"/>
              <a:gd name="connsiteY32" fmla="*/ 557212 h 2481262"/>
              <a:gd name="connsiteX33" fmla="*/ 1714500 w 6610350"/>
              <a:gd name="connsiteY33" fmla="*/ 561974 h 2481262"/>
              <a:gd name="connsiteX34" fmla="*/ 1714500 w 6610350"/>
              <a:gd name="connsiteY34" fmla="*/ 590550 h 2481262"/>
              <a:gd name="connsiteX35" fmla="*/ 1752600 w 6610350"/>
              <a:gd name="connsiteY35" fmla="*/ 590550 h 2481262"/>
              <a:gd name="connsiteX36" fmla="*/ 1762125 w 6610350"/>
              <a:gd name="connsiteY36" fmla="*/ 619125 h 2481262"/>
              <a:gd name="connsiteX37" fmla="*/ 1809750 w 6610350"/>
              <a:gd name="connsiteY37" fmla="*/ 619125 h 2481262"/>
              <a:gd name="connsiteX38" fmla="*/ 1809750 w 6610350"/>
              <a:gd name="connsiteY38" fmla="*/ 647700 h 2481262"/>
              <a:gd name="connsiteX39" fmla="*/ 1847850 w 6610350"/>
              <a:gd name="connsiteY39" fmla="*/ 647700 h 2481262"/>
              <a:gd name="connsiteX40" fmla="*/ 1847850 w 6610350"/>
              <a:gd name="connsiteY40" fmla="*/ 714375 h 2481262"/>
              <a:gd name="connsiteX41" fmla="*/ 1905000 w 6610350"/>
              <a:gd name="connsiteY41" fmla="*/ 714375 h 2481262"/>
              <a:gd name="connsiteX42" fmla="*/ 1909812 w 6610350"/>
              <a:gd name="connsiteY42" fmla="*/ 752401 h 2481262"/>
              <a:gd name="connsiteX43" fmla="*/ 2009775 w 6610350"/>
              <a:gd name="connsiteY43" fmla="*/ 733425 h 2481262"/>
              <a:gd name="connsiteX44" fmla="*/ 2009775 w 6610350"/>
              <a:gd name="connsiteY44" fmla="*/ 804862 h 2481262"/>
              <a:gd name="connsiteX45" fmla="*/ 2038350 w 6610350"/>
              <a:gd name="connsiteY45" fmla="*/ 804862 h 2481262"/>
              <a:gd name="connsiteX46" fmla="*/ 2038350 w 6610350"/>
              <a:gd name="connsiteY46" fmla="*/ 823912 h 2481262"/>
              <a:gd name="connsiteX47" fmla="*/ 2038350 w 6610350"/>
              <a:gd name="connsiteY47" fmla="*/ 823912 h 2481262"/>
              <a:gd name="connsiteX48" fmla="*/ 2071688 w 6610350"/>
              <a:gd name="connsiteY48" fmla="*/ 852487 h 2481262"/>
              <a:gd name="connsiteX49" fmla="*/ 2071688 w 6610350"/>
              <a:gd name="connsiteY49" fmla="*/ 852487 h 2481262"/>
              <a:gd name="connsiteX50" fmla="*/ 2100263 w 6610350"/>
              <a:gd name="connsiteY50" fmla="*/ 885825 h 2481262"/>
              <a:gd name="connsiteX51" fmla="*/ 2190750 w 6610350"/>
              <a:gd name="connsiteY51" fmla="*/ 885825 h 2481262"/>
              <a:gd name="connsiteX52" fmla="*/ 2195513 w 6610350"/>
              <a:gd name="connsiteY52" fmla="*/ 933450 h 2481262"/>
              <a:gd name="connsiteX53" fmla="*/ 2247900 w 6610350"/>
              <a:gd name="connsiteY53" fmla="*/ 923925 h 2481262"/>
              <a:gd name="connsiteX54" fmla="*/ 2247900 w 6610350"/>
              <a:gd name="connsiteY54" fmla="*/ 966787 h 2481262"/>
              <a:gd name="connsiteX55" fmla="*/ 2347937 w 6610350"/>
              <a:gd name="connsiteY55" fmla="*/ 961976 h 2481262"/>
              <a:gd name="connsiteX56" fmla="*/ 2347913 w 6610350"/>
              <a:gd name="connsiteY56" fmla="*/ 985837 h 2481262"/>
              <a:gd name="connsiteX57" fmla="*/ 2400300 w 6610350"/>
              <a:gd name="connsiteY57" fmla="*/ 990600 h 2481262"/>
              <a:gd name="connsiteX58" fmla="*/ 2400300 w 6610350"/>
              <a:gd name="connsiteY58" fmla="*/ 990600 h 2481262"/>
              <a:gd name="connsiteX59" fmla="*/ 2400300 w 6610350"/>
              <a:gd name="connsiteY59" fmla="*/ 1019175 h 2481262"/>
              <a:gd name="connsiteX60" fmla="*/ 2476500 w 6610350"/>
              <a:gd name="connsiteY60" fmla="*/ 1009650 h 2481262"/>
              <a:gd name="connsiteX61" fmla="*/ 2476500 w 6610350"/>
              <a:gd name="connsiteY61" fmla="*/ 1047750 h 2481262"/>
              <a:gd name="connsiteX62" fmla="*/ 2500313 w 6610350"/>
              <a:gd name="connsiteY62" fmla="*/ 1047750 h 2481262"/>
              <a:gd name="connsiteX63" fmla="*/ 2505050 w 6610350"/>
              <a:gd name="connsiteY63" fmla="*/ 1085653 h 2481262"/>
              <a:gd name="connsiteX64" fmla="*/ 2566988 w 6610350"/>
              <a:gd name="connsiteY64" fmla="*/ 1081087 h 2481262"/>
              <a:gd name="connsiteX65" fmla="*/ 2562225 w 6610350"/>
              <a:gd name="connsiteY65" fmla="*/ 1123950 h 2481262"/>
              <a:gd name="connsiteX66" fmla="*/ 2609850 w 6610350"/>
              <a:gd name="connsiteY66" fmla="*/ 1123950 h 2481262"/>
              <a:gd name="connsiteX67" fmla="*/ 2609850 w 6610350"/>
              <a:gd name="connsiteY67" fmla="*/ 1162050 h 2481262"/>
              <a:gd name="connsiteX68" fmla="*/ 2609850 w 6610350"/>
              <a:gd name="connsiteY68" fmla="*/ 1162050 h 2481262"/>
              <a:gd name="connsiteX69" fmla="*/ 2638425 w 6610350"/>
              <a:gd name="connsiteY69" fmla="*/ 1185862 h 2481262"/>
              <a:gd name="connsiteX70" fmla="*/ 2638425 w 6610350"/>
              <a:gd name="connsiteY70" fmla="*/ 1185862 h 2481262"/>
              <a:gd name="connsiteX71" fmla="*/ 2662238 w 6610350"/>
              <a:gd name="connsiteY71" fmla="*/ 1228725 h 2481262"/>
              <a:gd name="connsiteX72" fmla="*/ 2800350 w 6610350"/>
              <a:gd name="connsiteY72" fmla="*/ 1224011 h 2481262"/>
              <a:gd name="connsiteX73" fmla="*/ 2805113 w 6610350"/>
              <a:gd name="connsiteY73" fmla="*/ 1266825 h 2481262"/>
              <a:gd name="connsiteX74" fmla="*/ 2881313 w 6610350"/>
              <a:gd name="connsiteY74" fmla="*/ 1266825 h 2481262"/>
              <a:gd name="connsiteX75" fmla="*/ 2876550 w 6610350"/>
              <a:gd name="connsiteY75" fmla="*/ 1290637 h 2481262"/>
              <a:gd name="connsiteX76" fmla="*/ 2909714 w 6610350"/>
              <a:gd name="connsiteY76" fmla="*/ 1290637 h 2481262"/>
              <a:gd name="connsiteX77" fmla="*/ 2909888 w 6610350"/>
              <a:gd name="connsiteY77" fmla="*/ 1338262 h 2481262"/>
              <a:gd name="connsiteX78" fmla="*/ 2938315 w 6610350"/>
              <a:gd name="connsiteY78" fmla="*/ 1338262 h 2481262"/>
              <a:gd name="connsiteX79" fmla="*/ 2947988 w 6610350"/>
              <a:gd name="connsiteY79" fmla="*/ 1385887 h 2481262"/>
              <a:gd name="connsiteX80" fmla="*/ 3028950 w 6610350"/>
              <a:gd name="connsiteY80" fmla="*/ 1385887 h 2481262"/>
              <a:gd name="connsiteX81" fmla="*/ 3028950 w 6610350"/>
              <a:gd name="connsiteY81" fmla="*/ 1419225 h 2481262"/>
              <a:gd name="connsiteX82" fmla="*/ 3095625 w 6610350"/>
              <a:gd name="connsiteY82" fmla="*/ 1419225 h 2481262"/>
              <a:gd name="connsiteX83" fmla="*/ 3095625 w 6610350"/>
              <a:gd name="connsiteY83" fmla="*/ 1462087 h 2481262"/>
              <a:gd name="connsiteX84" fmla="*/ 3162300 w 6610350"/>
              <a:gd name="connsiteY84" fmla="*/ 1462087 h 2481262"/>
              <a:gd name="connsiteX85" fmla="*/ 3162300 w 6610350"/>
              <a:gd name="connsiteY85" fmla="*/ 1485900 h 2481262"/>
              <a:gd name="connsiteX86" fmla="*/ 3257550 w 6610350"/>
              <a:gd name="connsiteY86" fmla="*/ 1485900 h 2481262"/>
              <a:gd name="connsiteX87" fmla="*/ 3252788 w 6610350"/>
              <a:gd name="connsiteY87" fmla="*/ 1538287 h 2481262"/>
              <a:gd name="connsiteX88" fmla="*/ 3314700 w 6610350"/>
              <a:gd name="connsiteY88" fmla="*/ 1543050 h 2481262"/>
              <a:gd name="connsiteX89" fmla="*/ 3319438 w 6610350"/>
              <a:gd name="connsiteY89" fmla="*/ 1585690 h 2481262"/>
              <a:gd name="connsiteX90" fmla="*/ 3405188 w 6610350"/>
              <a:gd name="connsiteY90" fmla="*/ 1581150 h 2481262"/>
              <a:gd name="connsiteX91" fmla="*/ 3405188 w 6610350"/>
              <a:gd name="connsiteY91" fmla="*/ 1614487 h 2481262"/>
              <a:gd name="connsiteX92" fmla="*/ 3586163 w 6610350"/>
              <a:gd name="connsiteY92" fmla="*/ 1614487 h 2481262"/>
              <a:gd name="connsiteX93" fmla="*/ 3586163 w 6610350"/>
              <a:gd name="connsiteY93" fmla="*/ 1638300 h 2481262"/>
              <a:gd name="connsiteX94" fmla="*/ 3643313 w 6610350"/>
              <a:gd name="connsiteY94" fmla="*/ 1633537 h 2481262"/>
              <a:gd name="connsiteX95" fmla="*/ 3648051 w 6610350"/>
              <a:gd name="connsiteY95" fmla="*/ 1680915 h 2481262"/>
              <a:gd name="connsiteX96" fmla="*/ 3724275 w 6610350"/>
              <a:gd name="connsiteY96" fmla="*/ 1676351 h 2481262"/>
              <a:gd name="connsiteX97" fmla="*/ 3729014 w 6610350"/>
              <a:gd name="connsiteY97" fmla="*/ 1714253 h 2481262"/>
              <a:gd name="connsiteX98" fmla="*/ 3814763 w 6610350"/>
              <a:gd name="connsiteY98" fmla="*/ 1704975 h 2481262"/>
              <a:gd name="connsiteX99" fmla="*/ 3814763 w 6610350"/>
              <a:gd name="connsiteY99" fmla="*/ 1757362 h 2481262"/>
              <a:gd name="connsiteX100" fmla="*/ 3890963 w 6610350"/>
              <a:gd name="connsiteY100" fmla="*/ 1762125 h 2481262"/>
              <a:gd name="connsiteX101" fmla="*/ 3881438 w 6610350"/>
              <a:gd name="connsiteY101" fmla="*/ 1800225 h 2481262"/>
              <a:gd name="connsiteX102" fmla="*/ 3952875 w 6610350"/>
              <a:gd name="connsiteY102" fmla="*/ 1804987 h 2481262"/>
              <a:gd name="connsiteX103" fmla="*/ 3957638 w 6610350"/>
              <a:gd name="connsiteY103" fmla="*/ 1862137 h 2481262"/>
              <a:gd name="connsiteX104" fmla="*/ 4029075 w 6610350"/>
              <a:gd name="connsiteY104" fmla="*/ 1862137 h 2481262"/>
              <a:gd name="connsiteX105" fmla="*/ 4029075 w 6610350"/>
              <a:gd name="connsiteY105" fmla="*/ 1924050 h 2481262"/>
              <a:gd name="connsiteX106" fmla="*/ 4100513 w 6610350"/>
              <a:gd name="connsiteY106" fmla="*/ 1924050 h 2481262"/>
              <a:gd name="connsiteX107" fmla="*/ 4143375 w 6610350"/>
              <a:gd name="connsiteY107" fmla="*/ 1924050 h 2481262"/>
              <a:gd name="connsiteX108" fmla="*/ 4138613 w 6610350"/>
              <a:gd name="connsiteY108" fmla="*/ 1966912 h 2481262"/>
              <a:gd name="connsiteX109" fmla="*/ 4214813 w 6610350"/>
              <a:gd name="connsiteY109" fmla="*/ 1971675 h 2481262"/>
              <a:gd name="connsiteX110" fmla="*/ 4214813 w 6610350"/>
              <a:gd name="connsiteY110" fmla="*/ 2014537 h 2481262"/>
              <a:gd name="connsiteX111" fmla="*/ 4319588 w 6610350"/>
              <a:gd name="connsiteY111" fmla="*/ 2014537 h 2481262"/>
              <a:gd name="connsiteX112" fmla="*/ 4319588 w 6610350"/>
              <a:gd name="connsiteY112" fmla="*/ 2014537 h 2481262"/>
              <a:gd name="connsiteX113" fmla="*/ 4362451 w 6610350"/>
              <a:gd name="connsiteY113" fmla="*/ 2038350 h 2481262"/>
              <a:gd name="connsiteX114" fmla="*/ 4410075 w 6610350"/>
              <a:gd name="connsiteY114" fmla="*/ 2095500 h 2481262"/>
              <a:gd name="connsiteX115" fmla="*/ 4605338 w 6610350"/>
              <a:gd name="connsiteY115" fmla="*/ 2105025 h 2481262"/>
              <a:gd name="connsiteX116" fmla="*/ 4605338 w 6610350"/>
              <a:gd name="connsiteY116" fmla="*/ 2105025 h 2481262"/>
              <a:gd name="connsiteX117" fmla="*/ 4605338 w 6610350"/>
              <a:gd name="connsiteY117" fmla="*/ 2147887 h 2481262"/>
              <a:gd name="connsiteX118" fmla="*/ 4791075 w 6610350"/>
              <a:gd name="connsiteY118" fmla="*/ 2147887 h 2481262"/>
              <a:gd name="connsiteX119" fmla="*/ 4791075 w 6610350"/>
              <a:gd name="connsiteY119" fmla="*/ 2176462 h 2481262"/>
              <a:gd name="connsiteX120" fmla="*/ 4953000 w 6610350"/>
              <a:gd name="connsiteY120" fmla="*/ 2176462 h 2481262"/>
              <a:gd name="connsiteX121" fmla="*/ 5072063 w 6610350"/>
              <a:gd name="connsiteY121" fmla="*/ 2176462 h 2481262"/>
              <a:gd name="connsiteX122" fmla="*/ 5072063 w 6610350"/>
              <a:gd name="connsiteY122" fmla="*/ 2233612 h 2481262"/>
              <a:gd name="connsiteX123" fmla="*/ 5400675 w 6610350"/>
              <a:gd name="connsiteY123" fmla="*/ 2233612 h 2481262"/>
              <a:gd name="connsiteX124" fmla="*/ 5400675 w 6610350"/>
              <a:gd name="connsiteY124" fmla="*/ 2233612 h 2481262"/>
              <a:gd name="connsiteX125" fmla="*/ 5500688 w 6610350"/>
              <a:gd name="connsiteY125" fmla="*/ 2233612 h 2481262"/>
              <a:gd name="connsiteX126" fmla="*/ 5500688 w 6610350"/>
              <a:gd name="connsiteY126" fmla="*/ 2305050 h 2481262"/>
              <a:gd name="connsiteX127" fmla="*/ 5586413 w 6610350"/>
              <a:gd name="connsiteY127" fmla="*/ 2305050 h 2481262"/>
              <a:gd name="connsiteX128" fmla="*/ 5586413 w 6610350"/>
              <a:gd name="connsiteY128" fmla="*/ 2328862 h 2481262"/>
              <a:gd name="connsiteX129" fmla="*/ 5629275 w 6610350"/>
              <a:gd name="connsiteY129" fmla="*/ 2328862 h 2481262"/>
              <a:gd name="connsiteX130" fmla="*/ 5629275 w 6610350"/>
              <a:gd name="connsiteY130" fmla="*/ 2390775 h 2481262"/>
              <a:gd name="connsiteX131" fmla="*/ 6134100 w 6610350"/>
              <a:gd name="connsiteY131" fmla="*/ 2390775 h 2481262"/>
              <a:gd name="connsiteX132" fmla="*/ 6134100 w 6610350"/>
              <a:gd name="connsiteY132" fmla="*/ 2481262 h 2481262"/>
              <a:gd name="connsiteX133" fmla="*/ 6610350 w 6610350"/>
              <a:gd name="connsiteY133" fmla="*/ 2481262 h 2481262"/>
              <a:gd name="connsiteX0" fmla="*/ 0 w 6610350"/>
              <a:gd name="connsiteY0" fmla="*/ 4762 h 2481262"/>
              <a:gd name="connsiteX1" fmla="*/ 90488 w 6610350"/>
              <a:gd name="connsiteY1" fmla="*/ 0 h 2481262"/>
              <a:gd name="connsiteX2" fmla="*/ 90488 w 6610350"/>
              <a:gd name="connsiteY2" fmla="*/ 33337 h 2481262"/>
              <a:gd name="connsiteX3" fmla="*/ 133350 w 6610350"/>
              <a:gd name="connsiteY3" fmla="*/ 33337 h 2481262"/>
              <a:gd name="connsiteX4" fmla="*/ 133350 w 6610350"/>
              <a:gd name="connsiteY4" fmla="*/ 66675 h 2481262"/>
              <a:gd name="connsiteX5" fmla="*/ 209550 w 6610350"/>
              <a:gd name="connsiteY5" fmla="*/ 66675 h 2481262"/>
              <a:gd name="connsiteX6" fmla="*/ 204788 w 6610350"/>
              <a:gd name="connsiteY6" fmla="*/ 95250 h 2481262"/>
              <a:gd name="connsiteX7" fmla="*/ 361950 w 6610350"/>
              <a:gd name="connsiteY7" fmla="*/ 104775 h 2481262"/>
              <a:gd name="connsiteX8" fmla="*/ 361950 w 6610350"/>
              <a:gd name="connsiteY8" fmla="*/ 123825 h 2481262"/>
              <a:gd name="connsiteX9" fmla="*/ 423863 w 6610350"/>
              <a:gd name="connsiteY9" fmla="*/ 119062 h 2481262"/>
              <a:gd name="connsiteX10" fmla="*/ 423862 w 6610350"/>
              <a:gd name="connsiteY10" fmla="*/ 166687 h 2481262"/>
              <a:gd name="connsiteX11" fmla="*/ 552450 w 6610350"/>
              <a:gd name="connsiteY11" fmla="*/ 171450 h 2481262"/>
              <a:gd name="connsiteX12" fmla="*/ 557213 w 6610350"/>
              <a:gd name="connsiteY12" fmla="*/ 200025 h 2481262"/>
              <a:gd name="connsiteX13" fmla="*/ 595313 w 6610350"/>
              <a:gd name="connsiteY13" fmla="*/ 204787 h 2481262"/>
              <a:gd name="connsiteX14" fmla="*/ 600075 w 6610350"/>
              <a:gd name="connsiteY14" fmla="*/ 238125 h 2481262"/>
              <a:gd name="connsiteX15" fmla="*/ 642938 w 6610350"/>
              <a:gd name="connsiteY15" fmla="*/ 238125 h 2481262"/>
              <a:gd name="connsiteX16" fmla="*/ 642938 w 6610350"/>
              <a:gd name="connsiteY16" fmla="*/ 276225 h 2481262"/>
              <a:gd name="connsiteX17" fmla="*/ 933450 w 6610350"/>
              <a:gd name="connsiteY17" fmla="*/ 280987 h 2481262"/>
              <a:gd name="connsiteX18" fmla="*/ 938213 w 6610350"/>
              <a:gd name="connsiteY18" fmla="*/ 300037 h 2481262"/>
              <a:gd name="connsiteX19" fmla="*/ 1023938 w 6610350"/>
              <a:gd name="connsiteY19" fmla="*/ 300013 h 2481262"/>
              <a:gd name="connsiteX20" fmla="*/ 1028700 w 6610350"/>
              <a:gd name="connsiteY20" fmla="*/ 357187 h 2481262"/>
              <a:gd name="connsiteX21" fmla="*/ 1147763 w 6610350"/>
              <a:gd name="connsiteY21" fmla="*/ 357187 h 2481262"/>
              <a:gd name="connsiteX22" fmla="*/ 1157288 w 6610350"/>
              <a:gd name="connsiteY22" fmla="*/ 390525 h 2481262"/>
              <a:gd name="connsiteX23" fmla="*/ 1228725 w 6610350"/>
              <a:gd name="connsiteY23" fmla="*/ 390525 h 2481262"/>
              <a:gd name="connsiteX24" fmla="*/ 1228725 w 6610350"/>
              <a:gd name="connsiteY24" fmla="*/ 414215 h 2481262"/>
              <a:gd name="connsiteX25" fmla="*/ 1323975 w 6610350"/>
              <a:gd name="connsiteY25" fmla="*/ 419100 h 2481262"/>
              <a:gd name="connsiteX26" fmla="*/ 1338263 w 6610350"/>
              <a:gd name="connsiteY26" fmla="*/ 471487 h 2481262"/>
              <a:gd name="connsiteX27" fmla="*/ 1400175 w 6610350"/>
              <a:gd name="connsiteY27" fmla="*/ 466725 h 2481262"/>
              <a:gd name="connsiteX28" fmla="*/ 1404938 w 6610350"/>
              <a:gd name="connsiteY28" fmla="*/ 490537 h 2481262"/>
              <a:gd name="connsiteX29" fmla="*/ 1466850 w 6610350"/>
              <a:gd name="connsiteY29" fmla="*/ 495300 h 2481262"/>
              <a:gd name="connsiteX30" fmla="*/ 1471613 w 6610350"/>
              <a:gd name="connsiteY30" fmla="*/ 509587 h 2481262"/>
              <a:gd name="connsiteX31" fmla="*/ 1528763 w 6610350"/>
              <a:gd name="connsiteY31" fmla="*/ 509587 h 2481262"/>
              <a:gd name="connsiteX32" fmla="*/ 1528763 w 6610350"/>
              <a:gd name="connsiteY32" fmla="*/ 557212 h 2481262"/>
              <a:gd name="connsiteX33" fmla="*/ 1714500 w 6610350"/>
              <a:gd name="connsiteY33" fmla="*/ 561974 h 2481262"/>
              <a:gd name="connsiteX34" fmla="*/ 1714500 w 6610350"/>
              <a:gd name="connsiteY34" fmla="*/ 590550 h 2481262"/>
              <a:gd name="connsiteX35" fmla="*/ 1752600 w 6610350"/>
              <a:gd name="connsiteY35" fmla="*/ 590550 h 2481262"/>
              <a:gd name="connsiteX36" fmla="*/ 1762125 w 6610350"/>
              <a:gd name="connsiteY36" fmla="*/ 619125 h 2481262"/>
              <a:gd name="connsiteX37" fmla="*/ 1809750 w 6610350"/>
              <a:gd name="connsiteY37" fmla="*/ 619125 h 2481262"/>
              <a:gd name="connsiteX38" fmla="*/ 1809750 w 6610350"/>
              <a:gd name="connsiteY38" fmla="*/ 647700 h 2481262"/>
              <a:gd name="connsiteX39" fmla="*/ 1847850 w 6610350"/>
              <a:gd name="connsiteY39" fmla="*/ 647700 h 2481262"/>
              <a:gd name="connsiteX40" fmla="*/ 1847850 w 6610350"/>
              <a:gd name="connsiteY40" fmla="*/ 714375 h 2481262"/>
              <a:gd name="connsiteX41" fmla="*/ 1905000 w 6610350"/>
              <a:gd name="connsiteY41" fmla="*/ 714375 h 2481262"/>
              <a:gd name="connsiteX42" fmla="*/ 1909812 w 6610350"/>
              <a:gd name="connsiteY42" fmla="*/ 752401 h 2481262"/>
              <a:gd name="connsiteX43" fmla="*/ 2000299 w 6610350"/>
              <a:gd name="connsiteY43" fmla="*/ 757114 h 2481262"/>
              <a:gd name="connsiteX44" fmla="*/ 2009775 w 6610350"/>
              <a:gd name="connsiteY44" fmla="*/ 804862 h 2481262"/>
              <a:gd name="connsiteX45" fmla="*/ 2038350 w 6610350"/>
              <a:gd name="connsiteY45" fmla="*/ 804862 h 2481262"/>
              <a:gd name="connsiteX46" fmla="*/ 2038350 w 6610350"/>
              <a:gd name="connsiteY46" fmla="*/ 823912 h 2481262"/>
              <a:gd name="connsiteX47" fmla="*/ 2038350 w 6610350"/>
              <a:gd name="connsiteY47" fmla="*/ 823912 h 2481262"/>
              <a:gd name="connsiteX48" fmla="*/ 2071688 w 6610350"/>
              <a:gd name="connsiteY48" fmla="*/ 852487 h 2481262"/>
              <a:gd name="connsiteX49" fmla="*/ 2071688 w 6610350"/>
              <a:gd name="connsiteY49" fmla="*/ 852487 h 2481262"/>
              <a:gd name="connsiteX50" fmla="*/ 2100263 w 6610350"/>
              <a:gd name="connsiteY50" fmla="*/ 885825 h 2481262"/>
              <a:gd name="connsiteX51" fmla="*/ 2190750 w 6610350"/>
              <a:gd name="connsiteY51" fmla="*/ 885825 h 2481262"/>
              <a:gd name="connsiteX52" fmla="*/ 2195513 w 6610350"/>
              <a:gd name="connsiteY52" fmla="*/ 933450 h 2481262"/>
              <a:gd name="connsiteX53" fmla="*/ 2247900 w 6610350"/>
              <a:gd name="connsiteY53" fmla="*/ 923925 h 2481262"/>
              <a:gd name="connsiteX54" fmla="*/ 2247900 w 6610350"/>
              <a:gd name="connsiteY54" fmla="*/ 966787 h 2481262"/>
              <a:gd name="connsiteX55" fmla="*/ 2347937 w 6610350"/>
              <a:gd name="connsiteY55" fmla="*/ 961976 h 2481262"/>
              <a:gd name="connsiteX56" fmla="*/ 2347913 w 6610350"/>
              <a:gd name="connsiteY56" fmla="*/ 985837 h 2481262"/>
              <a:gd name="connsiteX57" fmla="*/ 2400300 w 6610350"/>
              <a:gd name="connsiteY57" fmla="*/ 990600 h 2481262"/>
              <a:gd name="connsiteX58" fmla="*/ 2400300 w 6610350"/>
              <a:gd name="connsiteY58" fmla="*/ 990600 h 2481262"/>
              <a:gd name="connsiteX59" fmla="*/ 2400300 w 6610350"/>
              <a:gd name="connsiteY59" fmla="*/ 1019175 h 2481262"/>
              <a:gd name="connsiteX60" fmla="*/ 2476500 w 6610350"/>
              <a:gd name="connsiteY60" fmla="*/ 1009650 h 2481262"/>
              <a:gd name="connsiteX61" fmla="*/ 2476500 w 6610350"/>
              <a:gd name="connsiteY61" fmla="*/ 1047750 h 2481262"/>
              <a:gd name="connsiteX62" fmla="*/ 2500313 w 6610350"/>
              <a:gd name="connsiteY62" fmla="*/ 1047750 h 2481262"/>
              <a:gd name="connsiteX63" fmla="*/ 2505050 w 6610350"/>
              <a:gd name="connsiteY63" fmla="*/ 1085653 h 2481262"/>
              <a:gd name="connsiteX64" fmla="*/ 2566988 w 6610350"/>
              <a:gd name="connsiteY64" fmla="*/ 1081087 h 2481262"/>
              <a:gd name="connsiteX65" fmla="*/ 2562225 w 6610350"/>
              <a:gd name="connsiteY65" fmla="*/ 1123950 h 2481262"/>
              <a:gd name="connsiteX66" fmla="*/ 2609850 w 6610350"/>
              <a:gd name="connsiteY66" fmla="*/ 1123950 h 2481262"/>
              <a:gd name="connsiteX67" fmla="*/ 2609850 w 6610350"/>
              <a:gd name="connsiteY67" fmla="*/ 1162050 h 2481262"/>
              <a:gd name="connsiteX68" fmla="*/ 2609850 w 6610350"/>
              <a:gd name="connsiteY68" fmla="*/ 1162050 h 2481262"/>
              <a:gd name="connsiteX69" fmla="*/ 2638425 w 6610350"/>
              <a:gd name="connsiteY69" fmla="*/ 1185862 h 2481262"/>
              <a:gd name="connsiteX70" fmla="*/ 2638425 w 6610350"/>
              <a:gd name="connsiteY70" fmla="*/ 1185862 h 2481262"/>
              <a:gd name="connsiteX71" fmla="*/ 2662238 w 6610350"/>
              <a:gd name="connsiteY71" fmla="*/ 1228725 h 2481262"/>
              <a:gd name="connsiteX72" fmla="*/ 2800350 w 6610350"/>
              <a:gd name="connsiteY72" fmla="*/ 1224011 h 2481262"/>
              <a:gd name="connsiteX73" fmla="*/ 2805113 w 6610350"/>
              <a:gd name="connsiteY73" fmla="*/ 1266825 h 2481262"/>
              <a:gd name="connsiteX74" fmla="*/ 2881313 w 6610350"/>
              <a:gd name="connsiteY74" fmla="*/ 1266825 h 2481262"/>
              <a:gd name="connsiteX75" fmla="*/ 2876550 w 6610350"/>
              <a:gd name="connsiteY75" fmla="*/ 1290637 h 2481262"/>
              <a:gd name="connsiteX76" fmla="*/ 2909714 w 6610350"/>
              <a:gd name="connsiteY76" fmla="*/ 1290637 h 2481262"/>
              <a:gd name="connsiteX77" fmla="*/ 2909888 w 6610350"/>
              <a:gd name="connsiteY77" fmla="*/ 1338262 h 2481262"/>
              <a:gd name="connsiteX78" fmla="*/ 2938315 w 6610350"/>
              <a:gd name="connsiteY78" fmla="*/ 1338262 h 2481262"/>
              <a:gd name="connsiteX79" fmla="*/ 2947988 w 6610350"/>
              <a:gd name="connsiteY79" fmla="*/ 1385887 h 2481262"/>
              <a:gd name="connsiteX80" fmla="*/ 3028950 w 6610350"/>
              <a:gd name="connsiteY80" fmla="*/ 1385887 h 2481262"/>
              <a:gd name="connsiteX81" fmla="*/ 3028950 w 6610350"/>
              <a:gd name="connsiteY81" fmla="*/ 1419225 h 2481262"/>
              <a:gd name="connsiteX82" fmla="*/ 3095625 w 6610350"/>
              <a:gd name="connsiteY82" fmla="*/ 1419225 h 2481262"/>
              <a:gd name="connsiteX83" fmla="*/ 3095625 w 6610350"/>
              <a:gd name="connsiteY83" fmla="*/ 1462087 h 2481262"/>
              <a:gd name="connsiteX84" fmla="*/ 3162300 w 6610350"/>
              <a:gd name="connsiteY84" fmla="*/ 1462087 h 2481262"/>
              <a:gd name="connsiteX85" fmla="*/ 3162300 w 6610350"/>
              <a:gd name="connsiteY85" fmla="*/ 1485900 h 2481262"/>
              <a:gd name="connsiteX86" fmla="*/ 3257550 w 6610350"/>
              <a:gd name="connsiteY86" fmla="*/ 1485900 h 2481262"/>
              <a:gd name="connsiteX87" fmla="*/ 3252788 w 6610350"/>
              <a:gd name="connsiteY87" fmla="*/ 1538287 h 2481262"/>
              <a:gd name="connsiteX88" fmla="*/ 3314700 w 6610350"/>
              <a:gd name="connsiteY88" fmla="*/ 1543050 h 2481262"/>
              <a:gd name="connsiteX89" fmla="*/ 3319438 w 6610350"/>
              <a:gd name="connsiteY89" fmla="*/ 1585690 h 2481262"/>
              <a:gd name="connsiteX90" fmla="*/ 3405188 w 6610350"/>
              <a:gd name="connsiteY90" fmla="*/ 1581150 h 2481262"/>
              <a:gd name="connsiteX91" fmla="*/ 3405188 w 6610350"/>
              <a:gd name="connsiteY91" fmla="*/ 1614487 h 2481262"/>
              <a:gd name="connsiteX92" fmla="*/ 3586163 w 6610350"/>
              <a:gd name="connsiteY92" fmla="*/ 1614487 h 2481262"/>
              <a:gd name="connsiteX93" fmla="*/ 3586163 w 6610350"/>
              <a:gd name="connsiteY93" fmla="*/ 1638300 h 2481262"/>
              <a:gd name="connsiteX94" fmla="*/ 3643313 w 6610350"/>
              <a:gd name="connsiteY94" fmla="*/ 1633537 h 2481262"/>
              <a:gd name="connsiteX95" fmla="*/ 3648051 w 6610350"/>
              <a:gd name="connsiteY95" fmla="*/ 1680915 h 2481262"/>
              <a:gd name="connsiteX96" fmla="*/ 3724275 w 6610350"/>
              <a:gd name="connsiteY96" fmla="*/ 1676351 h 2481262"/>
              <a:gd name="connsiteX97" fmla="*/ 3729014 w 6610350"/>
              <a:gd name="connsiteY97" fmla="*/ 1714253 h 2481262"/>
              <a:gd name="connsiteX98" fmla="*/ 3814763 w 6610350"/>
              <a:gd name="connsiteY98" fmla="*/ 1704975 h 2481262"/>
              <a:gd name="connsiteX99" fmla="*/ 3814763 w 6610350"/>
              <a:gd name="connsiteY99" fmla="*/ 1757362 h 2481262"/>
              <a:gd name="connsiteX100" fmla="*/ 3890963 w 6610350"/>
              <a:gd name="connsiteY100" fmla="*/ 1762125 h 2481262"/>
              <a:gd name="connsiteX101" fmla="*/ 3881438 w 6610350"/>
              <a:gd name="connsiteY101" fmla="*/ 1800225 h 2481262"/>
              <a:gd name="connsiteX102" fmla="*/ 3952875 w 6610350"/>
              <a:gd name="connsiteY102" fmla="*/ 1804987 h 2481262"/>
              <a:gd name="connsiteX103" fmla="*/ 3957638 w 6610350"/>
              <a:gd name="connsiteY103" fmla="*/ 1862137 h 2481262"/>
              <a:gd name="connsiteX104" fmla="*/ 4029075 w 6610350"/>
              <a:gd name="connsiteY104" fmla="*/ 1862137 h 2481262"/>
              <a:gd name="connsiteX105" fmla="*/ 4029075 w 6610350"/>
              <a:gd name="connsiteY105" fmla="*/ 1924050 h 2481262"/>
              <a:gd name="connsiteX106" fmla="*/ 4100513 w 6610350"/>
              <a:gd name="connsiteY106" fmla="*/ 1924050 h 2481262"/>
              <a:gd name="connsiteX107" fmla="*/ 4143375 w 6610350"/>
              <a:gd name="connsiteY107" fmla="*/ 1924050 h 2481262"/>
              <a:gd name="connsiteX108" fmla="*/ 4138613 w 6610350"/>
              <a:gd name="connsiteY108" fmla="*/ 1966912 h 2481262"/>
              <a:gd name="connsiteX109" fmla="*/ 4214813 w 6610350"/>
              <a:gd name="connsiteY109" fmla="*/ 1971675 h 2481262"/>
              <a:gd name="connsiteX110" fmla="*/ 4214813 w 6610350"/>
              <a:gd name="connsiteY110" fmla="*/ 2014537 h 2481262"/>
              <a:gd name="connsiteX111" fmla="*/ 4319588 w 6610350"/>
              <a:gd name="connsiteY111" fmla="*/ 2014537 h 2481262"/>
              <a:gd name="connsiteX112" fmla="*/ 4319588 w 6610350"/>
              <a:gd name="connsiteY112" fmla="*/ 2014537 h 2481262"/>
              <a:gd name="connsiteX113" fmla="*/ 4362451 w 6610350"/>
              <a:gd name="connsiteY113" fmla="*/ 2038350 h 2481262"/>
              <a:gd name="connsiteX114" fmla="*/ 4410075 w 6610350"/>
              <a:gd name="connsiteY114" fmla="*/ 2095500 h 2481262"/>
              <a:gd name="connsiteX115" fmla="*/ 4605338 w 6610350"/>
              <a:gd name="connsiteY115" fmla="*/ 2105025 h 2481262"/>
              <a:gd name="connsiteX116" fmla="*/ 4605338 w 6610350"/>
              <a:gd name="connsiteY116" fmla="*/ 2105025 h 2481262"/>
              <a:gd name="connsiteX117" fmla="*/ 4605338 w 6610350"/>
              <a:gd name="connsiteY117" fmla="*/ 2147887 h 2481262"/>
              <a:gd name="connsiteX118" fmla="*/ 4791075 w 6610350"/>
              <a:gd name="connsiteY118" fmla="*/ 2147887 h 2481262"/>
              <a:gd name="connsiteX119" fmla="*/ 4791075 w 6610350"/>
              <a:gd name="connsiteY119" fmla="*/ 2176462 h 2481262"/>
              <a:gd name="connsiteX120" fmla="*/ 4953000 w 6610350"/>
              <a:gd name="connsiteY120" fmla="*/ 2176462 h 2481262"/>
              <a:gd name="connsiteX121" fmla="*/ 5072063 w 6610350"/>
              <a:gd name="connsiteY121" fmla="*/ 2176462 h 2481262"/>
              <a:gd name="connsiteX122" fmla="*/ 5072063 w 6610350"/>
              <a:gd name="connsiteY122" fmla="*/ 2233612 h 2481262"/>
              <a:gd name="connsiteX123" fmla="*/ 5400675 w 6610350"/>
              <a:gd name="connsiteY123" fmla="*/ 2233612 h 2481262"/>
              <a:gd name="connsiteX124" fmla="*/ 5400675 w 6610350"/>
              <a:gd name="connsiteY124" fmla="*/ 2233612 h 2481262"/>
              <a:gd name="connsiteX125" fmla="*/ 5500688 w 6610350"/>
              <a:gd name="connsiteY125" fmla="*/ 2233612 h 2481262"/>
              <a:gd name="connsiteX126" fmla="*/ 5500688 w 6610350"/>
              <a:gd name="connsiteY126" fmla="*/ 2305050 h 2481262"/>
              <a:gd name="connsiteX127" fmla="*/ 5586413 w 6610350"/>
              <a:gd name="connsiteY127" fmla="*/ 2305050 h 2481262"/>
              <a:gd name="connsiteX128" fmla="*/ 5586413 w 6610350"/>
              <a:gd name="connsiteY128" fmla="*/ 2328862 h 2481262"/>
              <a:gd name="connsiteX129" fmla="*/ 5629275 w 6610350"/>
              <a:gd name="connsiteY129" fmla="*/ 2328862 h 2481262"/>
              <a:gd name="connsiteX130" fmla="*/ 5629275 w 6610350"/>
              <a:gd name="connsiteY130" fmla="*/ 2390775 h 2481262"/>
              <a:gd name="connsiteX131" fmla="*/ 6134100 w 6610350"/>
              <a:gd name="connsiteY131" fmla="*/ 2390775 h 2481262"/>
              <a:gd name="connsiteX132" fmla="*/ 6134100 w 6610350"/>
              <a:gd name="connsiteY132" fmla="*/ 2481262 h 2481262"/>
              <a:gd name="connsiteX133" fmla="*/ 6610350 w 6610350"/>
              <a:gd name="connsiteY133" fmla="*/ 2481262 h 2481262"/>
              <a:gd name="connsiteX0" fmla="*/ 0 w 6610350"/>
              <a:gd name="connsiteY0" fmla="*/ 4762 h 2481262"/>
              <a:gd name="connsiteX1" fmla="*/ 90488 w 6610350"/>
              <a:gd name="connsiteY1" fmla="*/ 0 h 2481262"/>
              <a:gd name="connsiteX2" fmla="*/ 90488 w 6610350"/>
              <a:gd name="connsiteY2" fmla="*/ 33337 h 2481262"/>
              <a:gd name="connsiteX3" fmla="*/ 133350 w 6610350"/>
              <a:gd name="connsiteY3" fmla="*/ 33337 h 2481262"/>
              <a:gd name="connsiteX4" fmla="*/ 133350 w 6610350"/>
              <a:gd name="connsiteY4" fmla="*/ 66675 h 2481262"/>
              <a:gd name="connsiteX5" fmla="*/ 209550 w 6610350"/>
              <a:gd name="connsiteY5" fmla="*/ 66675 h 2481262"/>
              <a:gd name="connsiteX6" fmla="*/ 204788 w 6610350"/>
              <a:gd name="connsiteY6" fmla="*/ 95250 h 2481262"/>
              <a:gd name="connsiteX7" fmla="*/ 361950 w 6610350"/>
              <a:gd name="connsiteY7" fmla="*/ 104775 h 2481262"/>
              <a:gd name="connsiteX8" fmla="*/ 361950 w 6610350"/>
              <a:gd name="connsiteY8" fmla="*/ 123825 h 2481262"/>
              <a:gd name="connsiteX9" fmla="*/ 423863 w 6610350"/>
              <a:gd name="connsiteY9" fmla="*/ 119062 h 2481262"/>
              <a:gd name="connsiteX10" fmla="*/ 423862 w 6610350"/>
              <a:gd name="connsiteY10" fmla="*/ 166687 h 2481262"/>
              <a:gd name="connsiteX11" fmla="*/ 552450 w 6610350"/>
              <a:gd name="connsiteY11" fmla="*/ 171450 h 2481262"/>
              <a:gd name="connsiteX12" fmla="*/ 557213 w 6610350"/>
              <a:gd name="connsiteY12" fmla="*/ 200025 h 2481262"/>
              <a:gd name="connsiteX13" fmla="*/ 595313 w 6610350"/>
              <a:gd name="connsiteY13" fmla="*/ 204787 h 2481262"/>
              <a:gd name="connsiteX14" fmla="*/ 600075 w 6610350"/>
              <a:gd name="connsiteY14" fmla="*/ 238125 h 2481262"/>
              <a:gd name="connsiteX15" fmla="*/ 642938 w 6610350"/>
              <a:gd name="connsiteY15" fmla="*/ 238125 h 2481262"/>
              <a:gd name="connsiteX16" fmla="*/ 642938 w 6610350"/>
              <a:gd name="connsiteY16" fmla="*/ 276225 h 2481262"/>
              <a:gd name="connsiteX17" fmla="*/ 933450 w 6610350"/>
              <a:gd name="connsiteY17" fmla="*/ 280987 h 2481262"/>
              <a:gd name="connsiteX18" fmla="*/ 938213 w 6610350"/>
              <a:gd name="connsiteY18" fmla="*/ 300037 h 2481262"/>
              <a:gd name="connsiteX19" fmla="*/ 1023938 w 6610350"/>
              <a:gd name="connsiteY19" fmla="*/ 300013 h 2481262"/>
              <a:gd name="connsiteX20" fmla="*/ 1028700 w 6610350"/>
              <a:gd name="connsiteY20" fmla="*/ 357187 h 2481262"/>
              <a:gd name="connsiteX21" fmla="*/ 1147763 w 6610350"/>
              <a:gd name="connsiteY21" fmla="*/ 357187 h 2481262"/>
              <a:gd name="connsiteX22" fmla="*/ 1157288 w 6610350"/>
              <a:gd name="connsiteY22" fmla="*/ 390525 h 2481262"/>
              <a:gd name="connsiteX23" fmla="*/ 1228725 w 6610350"/>
              <a:gd name="connsiteY23" fmla="*/ 390525 h 2481262"/>
              <a:gd name="connsiteX24" fmla="*/ 1228725 w 6610350"/>
              <a:gd name="connsiteY24" fmla="*/ 414215 h 2481262"/>
              <a:gd name="connsiteX25" fmla="*/ 1323975 w 6610350"/>
              <a:gd name="connsiteY25" fmla="*/ 419100 h 2481262"/>
              <a:gd name="connsiteX26" fmla="*/ 1338263 w 6610350"/>
              <a:gd name="connsiteY26" fmla="*/ 471487 h 2481262"/>
              <a:gd name="connsiteX27" fmla="*/ 1400175 w 6610350"/>
              <a:gd name="connsiteY27" fmla="*/ 466725 h 2481262"/>
              <a:gd name="connsiteX28" fmla="*/ 1404938 w 6610350"/>
              <a:gd name="connsiteY28" fmla="*/ 490537 h 2481262"/>
              <a:gd name="connsiteX29" fmla="*/ 1466850 w 6610350"/>
              <a:gd name="connsiteY29" fmla="*/ 495300 h 2481262"/>
              <a:gd name="connsiteX30" fmla="*/ 1471613 w 6610350"/>
              <a:gd name="connsiteY30" fmla="*/ 509587 h 2481262"/>
              <a:gd name="connsiteX31" fmla="*/ 1528763 w 6610350"/>
              <a:gd name="connsiteY31" fmla="*/ 509587 h 2481262"/>
              <a:gd name="connsiteX32" fmla="*/ 1528763 w 6610350"/>
              <a:gd name="connsiteY32" fmla="*/ 557212 h 2481262"/>
              <a:gd name="connsiteX33" fmla="*/ 1714500 w 6610350"/>
              <a:gd name="connsiteY33" fmla="*/ 561974 h 2481262"/>
              <a:gd name="connsiteX34" fmla="*/ 1714500 w 6610350"/>
              <a:gd name="connsiteY34" fmla="*/ 590550 h 2481262"/>
              <a:gd name="connsiteX35" fmla="*/ 1752600 w 6610350"/>
              <a:gd name="connsiteY35" fmla="*/ 590550 h 2481262"/>
              <a:gd name="connsiteX36" fmla="*/ 1762125 w 6610350"/>
              <a:gd name="connsiteY36" fmla="*/ 619125 h 2481262"/>
              <a:gd name="connsiteX37" fmla="*/ 1809750 w 6610350"/>
              <a:gd name="connsiteY37" fmla="*/ 619125 h 2481262"/>
              <a:gd name="connsiteX38" fmla="*/ 1809750 w 6610350"/>
              <a:gd name="connsiteY38" fmla="*/ 647700 h 2481262"/>
              <a:gd name="connsiteX39" fmla="*/ 1847850 w 6610350"/>
              <a:gd name="connsiteY39" fmla="*/ 647700 h 2481262"/>
              <a:gd name="connsiteX40" fmla="*/ 1847850 w 6610350"/>
              <a:gd name="connsiteY40" fmla="*/ 714375 h 2481262"/>
              <a:gd name="connsiteX41" fmla="*/ 1905000 w 6610350"/>
              <a:gd name="connsiteY41" fmla="*/ 714375 h 2481262"/>
              <a:gd name="connsiteX42" fmla="*/ 1909812 w 6610350"/>
              <a:gd name="connsiteY42" fmla="*/ 752401 h 2481262"/>
              <a:gd name="connsiteX43" fmla="*/ 2000299 w 6610350"/>
              <a:gd name="connsiteY43" fmla="*/ 757114 h 2481262"/>
              <a:gd name="connsiteX44" fmla="*/ 2009775 w 6610350"/>
              <a:gd name="connsiteY44" fmla="*/ 804862 h 2481262"/>
              <a:gd name="connsiteX45" fmla="*/ 2038350 w 6610350"/>
              <a:gd name="connsiteY45" fmla="*/ 804862 h 2481262"/>
              <a:gd name="connsiteX46" fmla="*/ 2038350 w 6610350"/>
              <a:gd name="connsiteY46" fmla="*/ 823912 h 2481262"/>
              <a:gd name="connsiteX47" fmla="*/ 2038350 w 6610350"/>
              <a:gd name="connsiteY47" fmla="*/ 823912 h 2481262"/>
              <a:gd name="connsiteX48" fmla="*/ 2071688 w 6610350"/>
              <a:gd name="connsiteY48" fmla="*/ 852487 h 2481262"/>
              <a:gd name="connsiteX49" fmla="*/ 2071688 w 6610350"/>
              <a:gd name="connsiteY49" fmla="*/ 852487 h 2481262"/>
              <a:gd name="connsiteX50" fmla="*/ 2100263 w 6610350"/>
              <a:gd name="connsiteY50" fmla="*/ 885825 h 2481262"/>
              <a:gd name="connsiteX51" fmla="*/ 2190750 w 6610350"/>
              <a:gd name="connsiteY51" fmla="*/ 885825 h 2481262"/>
              <a:gd name="connsiteX52" fmla="*/ 2195513 w 6610350"/>
              <a:gd name="connsiteY52" fmla="*/ 933450 h 2481262"/>
              <a:gd name="connsiteX53" fmla="*/ 2247900 w 6610350"/>
              <a:gd name="connsiteY53" fmla="*/ 923925 h 2481262"/>
              <a:gd name="connsiteX54" fmla="*/ 2247900 w 6610350"/>
              <a:gd name="connsiteY54" fmla="*/ 966787 h 2481262"/>
              <a:gd name="connsiteX55" fmla="*/ 2347937 w 6610350"/>
              <a:gd name="connsiteY55" fmla="*/ 961976 h 2481262"/>
              <a:gd name="connsiteX56" fmla="*/ 2347913 w 6610350"/>
              <a:gd name="connsiteY56" fmla="*/ 985837 h 2481262"/>
              <a:gd name="connsiteX57" fmla="*/ 2400300 w 6610350"/>
              <a:gd name="connsiteY57" fmla="*/ 990600 h 2481262"/>
              <a:gd name="connsiteX58" fmla="*/ 2400300 w 6610350"/>
              <a:gd name="connsiteY58" fmla="*/ 990600 h 2481262"/>
              <a:gd name="connsiteX59" fmla="*/ 2400300 w 6610350"/>
              <a:gd name="connsiteY59" fmla="*/ 1019175 h 2481262"/>
              <a:gd name="connsiteX60" fmla="*/ 2476500 w 6610350"/>
              <a:gd name="connsiteY60" fmla="*/ 1009650 h 2481262"/>
              <a:gd name="connsiteX61" fmla="*/ 2476500 w 6610350"/>
              <a:gd name="connsiteY61" fmla="*/ 1047750 h 2481262"/>
              <a:gd name="connsiteX62" fmla="*/ 2500313 w 6610350"/>
              <a:gd name="connsiteY62" fmla="*/ 1047750 h 2481262"/>
              <a:gd name="connsiteX63" fmla="*/ 2505050 w 6610350"/>
              <a:gd name="connsiteY63" fmla="*/ 1085653 h 2481262"/>
              <a:gd name="connsiteX64" fmla="*/ 2566988 w 6610350"/>
              <a:gd name="connsiteY64" fmla="*/ 1081087 h 2481262"/>
              <a:gd name="connsiteX65" fmla="*/ 2562225 w 6610350"/>
              <a:gd name="connsiteY65" fmla="*/ 1123950 h 2481262"/>
              <a:gd name="connsiteX66" fmla="*/ 2609850 w 6610350"/>
              <a:gd name="connsiteY66" fmla="*/ 1123950 h 2481262"/>
              <a:gd name="connsiteX67" fmla="*/ 2609850 w 6610350"/>
              <a:gd name="connsiteY67" fmla="*/ 1162050 h 2481262"/>
              <a:gd name="connsiteX68" fmla="*/ 2609850 w 6610350"/>
              <a:gd name="connsiteY68" fmla="*/ 1162050 h 2481262"/>
              <a:gd name="connsiteX69" fmla="*/ 2638425 w 6610350"/>
              <a:gd name="connsiteY69" fmla="*/ 1185862 h 2481262"/>
              <a:gd name="connsiteX70" fmla="*/ 2638425 w 6610350"/>
              <a:gd name="connsiteY70" fmla="*/ 1185862 h 2481262"/>
              <a:gd name="connsiteX71" fmla="*/ 2662238 w 6610350"/>
              <a:gd name="connsiteY71" fmla="*/ 1228725 h 2481262"/>
              <a:gd name="connsiteX72" fmla="*/ 2800350 w 6610350"/>
              <a:gd name="connsiteY72" fmla="*/ 1224011 h 2481262"/>
              <a:gd name="connsiteX73" fmla="*/ 2805113 w 6610350"/>
              <a:gd name="connsiteY73" fmla="*/ 1266825 h 2481262"/>
              <a:gd name="connsiteX74" fmla="*/ 2881313 w 6610350"/>
              <a:gd name="connsiteY74" fmla="*/ 1266825 h 2481262"/>
              <a:gd name="connsiteX75" fmla="*/ 2876550 w 6610350"/>
              <a:gd name="connsiteY75" fmla="*/ 1290637 h 2481262"/>
              <a:gd name="connsiteX76" fmla="*/ 2909714 w 6610350"/>
              <a:gd name="connsiteY76" fmla="*/ 1290637 h 2481262"/>
              <a:gd name="connsiteX77" fmla="*/ 2909888 w 6610350"/>
              <a:gd name="connsiteY77" fmla="*/ 1338262 h 2481262"/>
              <a:gd name="connsiteX78" fmla="*/ 2938315 w 6610350"/>
              <a:gd name="connsiteY78" fmla="*/ 1338262 h 2481262"/>
              <a:gd name="connsiteX79" fmla="*/ 2947988 w 6610350"/>
              <a:gd name="connsiteY79" fmla="*/ 1385887 h 2481262"/>
              <a:gd name="connsiteX80" fmla="*/ 3028950 w 6610350"/>
              <a:gd name="connsiteY80" fmla="*/ 1385887 h 2481262"/>
              <a:gd name="connsiteX81" fmla="*/ 3028950 w 6610350"/>
              <a:gd name="connsiteY81" fmla="*/ 1419225 h 2481262"/>
              <a:gd name="connsiteX82" fmla="*/ 3095625 w 6610350"/>
              <a:gd name="connsiteY82" fmla="*/ 1419225 h 2481262"/>
              <a:gd name="connsiteX83" fmla="*/ 3095625 w 6610350"/>
              <a:gd name="connsiteY83" fmla="*/ 1462087 h 2481262"/>
              <a:gd name="connsiteX84" fmla="*/ 3162300 w 6610350"/>
              <a:gd name="connsiteY84" fmla="*/ 1462087 h 2481262"/>
              <a:gd name="connsiteX85" fmla="*/ 3162300 w 6610350"/>
              <a:gd name="connsiteY85" fmla="*/ 1485900 h 2481262"/>
              <a:gd name="connsiteX86" fmla="*/ 3257550 w 6610350"/>
              <a:gd name="connsiteY86" fmla="*/ 1485900 h 2481262"/>
              <a:gd name="connsiteX87" fmla="*/ 3252788 w 6610350"/>
              <a:gd name="connsiteY87" fmla="*/ 1538287 h 2481262"/>
              <a:gd name="connsiteX88" fmla="*/ 3314700 w 6610350"/>
              <a:gd name="connsiteY88" fmla="*/ 1543050 h 2481262"/>
              <a:gd name="connsiteX89" fmla="*/ 3319438 w 6610350"/>
              <a:gd name="connsiteY89" fmla="*/ 1585690 h 2481262"/>
              <a:gd name="connsiteX90" fmla="*/ 3405188 w 6610350"/>
              <a:gd name="connsiteY90" fmla="*/ 1581150 h 2481262"/>
              <a:gd name="connsiteX91" fmla="*/ 3405188 w 6610350"/>
              <a:gd name="connsiteY91" fmla="*/ 1614487 h 2481262"/>
              <a:gd name="connsiteX92" fmla="*/ 3586163 w 6610350"/>
              <a:gd name="connsiteY92" fmla="*/ 1614487 h 2481262"/>
              <a:gd name="connsiteX93" fmla="*/ 3586163 w 6610350"/>
              <a:gd name="connsiteY93" fmla="*/ 1638300 h 2481262"/>
              <a:gd name="connsiteX94" fmla="*/ 3643313 w 6610350"/>
              <a:gd name="connsiteY94" fmla="*/ 1633537 h 2481262"/>
              <a:gd name="connsiteX95" fmla="*/ 3648051 w 6610350"/>
              <a:gd name="connsiteY95" fmla="*/ 1680915 h 2481262"/>
              <a:gd name="connsiteX96" fmla="*/ 3724275 w 6610350"/>
              <a:gd name="connsiteY96" fmla="*/ 1676351 h 2481262"/>
              <a:gd name="connsiteX97" fmla="*/ 3729014 w 6610350"/>
              <a:gd name="connsiteY97" fmla="*/ 1714253 h 2481262"/>
              <a:gd name="connsiteX98" fmla="*/ 3814763 w 6610350"/>
              <a:gd name="connsiteY98" fmla="*/ 1704975 h 2481262"/>
              <a:gd name="connsiteX99" fmla="*/ 3814763 w 6610350"/>
              <a:gd name="connsiteY99" fmla="*/ 1757362 h 2481262"/>
              <a:gd name="connsiteX100" fmla="*/ 3890963 w 6610350"/>
              <a:gd name="connsiteY100" fmla="*/ 1762125 h 2481262"/>
              <a:gd name="connsiteX101" fmla="*/ 3881438 w 6610350"/>
              <a:gd name="connsiteY101" fmla="*/ 1800225 h 2481262"/>
              <a:gd name="connsiteX102" fmla="*/ 3952875 w 6610350"/>
              <a:gd name="connsiteY102" fmla="*/ 1804987 h 2481262"/>
              <a:gd name="connsiteX103" fmla="*/ 3957638 w 6610350"/>
              <a:gd name="connsiteY103" fmla="*/ 1862137 h 2481262"/>
              <a:gd name="connsiteX104" fmla="*/ 4029075 w 6610350"/>
              <a:gd name="connsiteY104" fmla="*/ 1862137 h 2481262"/>
              <a:gd name="connsiteX105" fmla="*/ 4029075 w 6610350"/>
              <a:gd name="connsiteY105" fmla="*/ 1924050 h 2481262"/>
              <a:gd name="connsiteX106" fmla="*/ 4100513 w 6610350"/>
              <a:gd name="connsiteY106" fmla="*/ 1924050 h 2481262"/>
              <a:gd name="connsiteX107" fmla="*/ 4143375 w 6610350"/>
              <a:gd name="connsiteY107" fmla="*/ 1924050 h 2481262"/>
              <a:gd name="connsiteX108" fmla="*/ 4138613 w 6610350"/>
              <a:gd name="connsiteY108" fmla="*/ 1966912 h 2481262"/>
              <a:gd name="connsiteX109" fmla="*/ 4214813 w 6610350"/>
              <a:gd name="connsiteY109" fmla="*/ 1971675 h 2481262"/>
              <a:gd name="connsiteX110" fmla="*/ 4214813 w 6610350"/>
              <a:gd name="connsiteY110" fmla="*/ 2014537 h 2481262"/>
              <a:gd name="connsiteX111" fmla="*/ 4319588 w 6610350"/>
              <a:gd name="connsiteY111" fmla="*/ 2014537 h 2481262"/>
              <a:gd name="connsiteX112" fmla="*/ 4319588 w 6610350"/>
              <a:gd name="connsiteY112" fmla="*/ 2014537 h 2481262"/>
              <a:gd name="connsiteX113" fmla="*/ 4362451 w 6610350"/>
              <a:gd name="connsiteY113" fmla="*/ 2038350 h 2481262"/>
              <a:gd name="connsiteX114" fmla="*/ 4410075 w 6610350"/>
              <a:gd name="connsiteY114" fmla="*/ 2095500 h 2481262"/>
              <a:gd name="connsiteX115" fmla="*/ 4605338 w 6610350"/>
              <a:gd name="connsiteY115" fmla="*/ 2105025 h 2481262"/>
              <a:gd name="connsiteX116" fmla="*/ 4605338 w 6610350"/>
              <a:gd name="connsiteY116" fmla="*/ 2105025 h 2481262"/>
              <a:gd name="connsiteX117" fmla="*/ 4605338 w 6610350"/>
              <a:gd name="connsiteY117" fmla="*/ 2147887 h 2481262"/>
              <a:gd name="connsiteX118" fmla="*/ 4791075 w 6610350"/>
              <a:gd name="connsiteY118" fmla="*/ 2147887 h 2481262"/>
              <a:gd name="connsiteX119" fmla="*/ 4791075 w 6610350"/>
              <a:gd name="connsiteY119" fmla="*/ 2176462 h 2481262"/>
              <a:gd name="connsiteX120" fmla="*/ 4953000 w 6610350"/>
              <a:gd name="connsiteY120" fmla="*/ 2176462 h 2481262"/>
              <a:gd name="connsiteX121" fmla="*/ 5072063 w 6610350"/>
              <a:gd name="connsiteY121" fmla="*/ 2176462 h 2481262"/>
              <a:gd name="connsiteX122" fmla="*/ 5072063 w 6610350"/>
              <a:gd name="connsiteY122" fmla="*/ 2233612 h 2481262"/>
              <a:gd name="connsiteX123" fmla="*/ 5400675 w 6610350"/>
              <a:gd name="connsiteY123" fmla="*/ 2233612 h 2481262"/>
              <a:gd name="connsiteX124" fmla="*/ 5400675 w 6610350"/>
              <a:gd name="connsiteY124" fmla="*/ 2233612 h 2481262"/>
              <a:gd name="connsiteX125" fmla="*/ 5500688 w 6610350"/>
              <a:gd name="connsiteY125" fmla="*/ 2233612 h 2481262"/>
              <a:gd name="connsiteX126" fmla="*/ 5500688 w 6610350"/>
              <a:gd name="connsiteY126" fmla="*/ 2305050 h 2481262"/>
              <a:gd name="connsiteX127" fmla="*/ 5586413 w 6610350"/>
              <a:gd name="connsiteY127" fmla="*/ 2305050 h 2481262"/>
              <a:gd name="connsiteX128" fmla="*/ 5586413 w 6610350"/>
              <a:gd name="connsiteY128" fmla="*/ 2328862 h 2481262"/>
              <a:gd name="connsiteX129" fmla="*/ 5629275 w 6610350"/>
              <a:gd name="connsiteY129" fmla="*/ 2328862 h 2481262"/>
              <a:gd name="connsiteX130" fmla="*/ 5629275 w 6610350"/>
              <a:gd name="connsiteY130" fmla="*/ 2390775 h 2481262"/>
              <a:gd name="connsiteX131" fmla="*/ 6134100 w 6610350"/>
              <a:gd name="connsiteY131" fmla="*/ 2390775 h 2481262"/>
              <a:gd name="connsiteX132" fmla="*/ 6134100 w 6610350"/>
              <a:gd name="connsiteY132" fmla="*/ 2481262 h 2481262"/>
              <a:gd name="connsiteX133" fmla="*/ 6610350 w 6610350"/>
              <a:gd name="connsiteY133" fmla="*/ 2481262 h 2481262"/>
              <a:gd name="connsiteX0" fmla="*/ 0 w 6610350"/>
              <a:gd name="connsiteY0" fmla="*/ 4762 h 2481262"/>
              <a:gd name="connsiteX1" fmla="*/ 90488 w 6610350"/>
              <a:gd name="connsiteY1" fmla="*/ 0 h 2481262"/>
              <a:gd name="connsiteX2" fmla="*/ 90488 w 6610350"/>
              <a:gd name="connsiteY2" fmla="*/ 33337 h 2481262"/>
              <a:gd name="connsiteX3" fmla="*/ 133350 w 6610350"/>
              <a:gd name="connsiteY3" fmla="*/ 33337 h 2481262"/>
              <a:gd name="connsiteX4" fmla="*/ 133350 w 6610350"/>
              <a:gd name="connsiteY4" fmla="*/ 66675 h 2481262"/>
              <a:gd name="connsiteX5" fmla="*/ 209550 w 6610350"/>
              <a:gd name="connsiteY5" fmla="*/ 66675 h 2481262"/>
              <a:gd name="connsiteX6" fmla="*/ 204788 w 6610350"/>
              <a:gd name="connsiteY6" fmla="*/ 95250 h 2481262"/>
              <a:gd name="connsiteX7" fmla="*/ 361950 w 6610350"/>
              <a:gd name="connsiteY7" fmla="*/ 104775 h 2481262"/>
              <a:gd name="connsiteX8" fmla="*/ 361950 w 6610350"/>
              <a:gd name="connsiteY8" fmla="*/ 123825 h 2481262"/>
              <a:gd name="connsiteX9" fmla="*/ 423863 w 6610350"/>
              <a:gd name="connsiteY9" fmla="*/ 119062 h 2481262"/>
              <a:gd name="connsiteX10" fmla="*/ 423862 w 6610350"/>
              <a:gd name="connsiteY10" fmla="*/ 166687 h 2481262"/>
              <a:gd name="connsiteX11" fmla="*/ 552450 w 6610350"/>
              <a:gd name="connsiteY11" fmla="*/ 171450 h 2481262"/>
              <a:gd name="connsiteX12" fmla="*/ 557213 w 6610350"/>
              <a:gd name="connsiteY12" fmla="*/ 200025 h 2481262"/>
              <a:gd name="connsiteX13" fmla="*/ 595313 w 6610350"/>
              <a:gd name="connsiteY13" fmla="*/ 204787 h 2481262"/>
              <a:gd name="connsiteX14" fmla="*/ 600075 w 6610350"/>
              <a:gd name="connsiteY14" fmla="*/ 238125 h 2481262"/>
              <a:gd name="connsiteX15" fmla="*/ 642938 w 6610350"/>
              <a:gd name="connsiteY15" fmla="*/ 238125 h 2481262"/>
              <a:gd name="connsiteX16" fmla="*/ 642938 w 6610350"/>
              <a:gd name="connsiteY16" fmla="*/ 276225 h 2481262"/>
              <a:gd name="connsiteX17" fmla="*/ 933450 w 6610350"/>
              <a:gd name="connsiteY17" fmla="*/ 280987 h 2481262"/>
              <a:gd name="connsiteX18" fmla="*/ 938213 w 6610350"/>
              <a:gd name="connsiteY18" fmla="*/ 300037 h 2481262"/>
              <a:gd name="connsiteX19" fmla="*/ 1023938 w 6610350"/>
              <a:gd name="connsiteY19" fmla="*/ 300013 h 2481262"/>
              <a:gd name="connsiteX20" fmla="*/ 1028700 w 6610350"/>
              <a:gd name="connsiteY20" fmla="*/ 357187 h 2481262"/>
              <a:gd name="connsiteX21" fmla="*/ 1147763 w 6610350"/>
              <a:gd name="connsiteY21" fmla="*/ 357187 h 2481262"/>
              <a:gd name="connsiteX22" fmla="*/ 1157288 w 6610350"/>
              <a:gd name="connsiteY22" fmla="*/ 390525 h 2481262"/>
              <a:gd name="connsiteX23" fmla="*/ 1228725 w 6610350"/>
              <a:gd name="connsiteY23" fmla="*/ 390525 h 2481262"/>
              <a:gd name="connsiteX24" fmla="*/ 1228725 w 6610350"/>
              <a:gd name="connsiteY24" fmla="*/ 414215 h 2481262"/>
              <a:gd name="connsiteX25" fmla="*/ 1323975 w 6610350"/>
              <a:gd name="connsiteY25" fmla="*/ 419100 h 2481262"/>
              <a:gd name="connsiteX26" fmla="*/ 1338263 w 6610350"/>
              <a:gd name="connsiteY26" fmla="*/ 471487 h 2481262"/>
              <a:gd name="connsiteX27" fmla="*/ 1400175 w 6610350"/>
              <a:gd name="connsiteY27" fmla="*/ 466725 h 2481262"/>
              <a:gd name="connsiteX28" fmla="*/ 1404938 w 6610350"/>
              <a:gd name="connsiteY28" fmla="*/ 490537 h 2481262"/>
              <a:gd name="connsiteX29" fmla="*/ 1466850 w 6610350"/>
              <a:gd name="connsiteY29" fmla="*/ 495300 h 2481262"/>
              <a:gd name="connsiteX30" fmla="*/ 1471613 w 6610350"/>
              <a:gd name="connsiteY30" fmla="*/ 509587 h 2481262"/>
              <a:gd name="connsiteX31" fmla="*/ 1528763 w 6610350"/>
              <a:gd name="connsiteY31" fmla="*/ 509587 h 2481262"/>
              <a:gd name="connsiteX32" fmla="*/ 1528763 w 6610350"/>
              <a:gd name="connsiteY32" fmla="*/ 557212 h 2481262"/>
              <a:gd name="connsiteX33" fmla="*/ 1714500 w 6610350"/>
              <a:gd name="connsiteY33" fmla="*/ 561974 h 2481262"/>
              <a:gd name="connsiteX34" fmla="*/ 1714500 w 6610350"/>
              <a:gd name="connsiteY34" fmla="*/ 590550 h 2481262"/>
              <a:gd name="connsiteX35" fmla="*/ 1752600 w 6610350"/>
              <a:gd name="connsiteY35" fmla="*/ 590550 h 2481262"/>
              <a:gd name="connsiteX36" fmla="*/ 1762125 w 6610350"/>
              <a:gd name="connsiteY36" fmla="*/ 619125 h 2481262"/>
              <a:gd name="connsiteX37" fmla="*/ 1809750 w 6610350"/>
              <a:gd name="connsiteY37" fmla="*/ 619125 h 2481262"/>
              <a:gd name="connsiteX38" fmla="*/ 1809750 w 6610350"/>
              <a:gd name="connsiteY38" fmla="*/ 647700 h 2481262"/>
              <a:gd name="connsiteX39" fmla="*/ 1847850 w 6610350"/>
              <a:gd name="connsiteY39" fmla="*/ 647700 h 2481262"/>
              <a:gd name="connsiteX40" fmla="*/ 1847850 w 6610350"/>
              <a:gd name="connsiteY40" fmla="*/ 714375 h 2481262"/>
              <a:gd name="connsiteX41" fmla="*/ 1905000 w 6610350"/>
              <a:gd name="connsiteY41" fmla="*/ 714375 h 2481262"/>
              <a:gd name="connsiteX42" fmla="*/ 1909812 w 6610350"/>
              <a:gd name="connsiteY42" fmla="*/ 752401 h 2481262"/>
              <a:gd name="connsiteX43" fmla="*/ 2000299 w 6610350"/>
              <a:gd name="connsiteY43" fmla="*/ 757114 h 2481262"/>
              <a:gd name="connsiteX44" fmla="*/ 2009775 w 6610350"/>
              <a:gd name="connsiteY44" fmla="*/ 804862 h 2481262"/>
              <a:gd name="connsiteX45" fmla="*/ 2038350 w 6610350"/>
              <a:gd name="connsiteY45" fmla="*/ 804862 h 2481262"/>
              <a:gd name="connsiteX46" fmla="*/ 2038350 w 6610350"/>
              <a:gd name="connsiteY46" fmla="*/ 823912 h 2481262"/>
              <a:gd name="connsiteX47" fmla="*/ 2038350 w 6610350"/>
              <a:gd name="connsiteY47" fmla="*/ 823912 h 2481262"/>
              <a:gd name="connsiteX48" fmla="*/ 2071688 w 6610350"/>
              <a:gd name="connsiteY48" fmla="*/ 852487 h 2481262"/>
              <a:gd name="connsiteX49" fmla="*/ 2071688 w 6610350"/>
              <a:gd name="connsiteY49" fmla="*/ 852487 h 2481262"/>
              <a:gd name="connsiteX50" fmla="*/ 2100263 w 6610350"/>
              <a:gd name="connsiteY50" fmla="*/ 885825 h 2481262"/>
              <a:gd name="connsiteX51" fmla="*/ 2190750 w 6610350"/>
              <a:gd name="connsiteY51" fmla="*/ 885825 h 2481262"/>
              <a:gd name="connsiteX52" fmla="*/ 2195513 w 6610350"/>
              <a:gd name="connsiteY52" fmla="*/ 933450 h 2481262"/>
              <a:gd name="connsiteX53" fmla="*/ 2247900 w 6610350"/>
              <a:gd name="connsiteY53" fmla="*/ 923925 h 2481262"/>
              <a:gd name="connsiteX54" fmla="*/ 2247900 w 6610350"/>
              <a:gd name="connsiteY54" fmla="*/ 966787 h 2481262"/>
              <a:gd name="connsiteX55" fmla="*/ 2347937 w 6610350"/>
              <a:gd name="connsiteY55" fmla="*/ 961976 h 2481262"/>
              <a:gd name="connsiteX56" fmla="*/ 2347913 w 6610350"/>
              <a:gd name="connsiteY56" fmla="*/ 985837 h 2481262"/>
              <a:gd name="connsiteX57" fmla="*/ 2400300 w 6610350"/>
              <a:gd name="connsiteY57" fmla="*/ 990600 h 2481262"/>
              <a:gd name="connsiteX58" fmla="*/ 2400300 w 6610350"/>
              <a:gd name="connsiteY58" fmla="*/ 990600 h 2481262"/>
              <a:gd name="connsiteX59" fmla="*/ 2400300 w 6610350"/>
              <a:gd name="connsiteY59" fmla="*/ 1019175 h 2481262"/>
              <a:gd name="connsiteX60" fmla="*/ 2476500 w 6610350"/>
              <a:gd name="connsiteY60" fmla="*/ 1009650 h 2481262"/>
              <a:gd name="connsiteX61" fmla="*/ 2476500 w 6610350"/>
              <a:gd name="connsiteY61" fmla="*/ 1047750 h 2481262"/>
              <a:gd name="connsiteX62" fmla="*/ 2500313 w 6610350"/>
              <a:gd name="connsiteY62" fmla="*/ 1047750 h 2481262"/>
              <a:gd name="connsiteX63" fmla="*/ 2505050 w 6610350"/>
              <a:gd name="connsiteY63" fmla="*/ 1085653 h 2481262"/>
              <a:gd name="connsiteX64" fmla="*/ 2566988 w 6610350"/>
              <a:gd name="connsiteY64" fmla="*/ 1081087 h 2481262"/>
              <a:gd name="connsiteX65" fmla="*/ 2562225 w 6610350"/>
              <a:gd name="connsiteY65" fmla="*/ 1123950 h 2481262"/>
              <a:gd name="connsiteX66" fmla="*/ 2609850 w 6610350"/>
              <a:gd name="connsiteY66" fmla="*/ 1123950 h 2481262"/>
              <a:gd name="connsiteX67" fmla="*/ 2609850 w 6610350"/>
              <a:gd name="connsiteY67" fmla="*/ 1162050 h 2481262"/>
              <a:gd name="connsiteX68" fmla="*/ 2609850 w 6610350"/>
              <a:gd name="connsiteY68" fmla="*/ 1162050 h 2481262"/>
              <a:gd name="connsiteX69" fmla="*/ 2638425 w 6610350"/>
              <a:gd name="connsiteY69" fmla="*/ 1185862 h 2481262"/>
              <a:gd name="connsiteX70" fmla="*/ 2652638 w 6610350"/>
              <a:gd name="connsiteY70" fmla="*/ 1190600 h 2481262"/>
              <a:gd name="connsiteX71" fmla="*/ 2662238 w 6610350"/>
              <a:gd name="connsiteY71" fmla="*/ 1228725 h 2481262"/>
              <a:gd name="connsiteX72" fmla="*/ 2800350 w 6610350"/>
              <a:gd name="connsiteY72" fmla="*/ 1224011 h 2481262"/>
              <a:gd name="connsiteX73" fmla="*/ 2805113 w 6610350"/>
              <a:gd name="connsiteY73" fmla="*/ 1266825 h 2481262"/>
              <a:gd name="connsiteX74" fmla="*/ 2881313 w 6610350"/>
              <a:gd name="connsiteY74" fmla="*/ 1266825 h 2481262"/>
              <a:gd name="connsiteX75" fmla="*/ 2876550 w 6610350"/>
              <a:gd name="connsiteY75" fmla="*/ 1290637 h 2481262"/>
              <a:gd name="connsiteX76" fmla="*/ 2909714 w 6610350"/>
              <a:gd name="connsiteY76" fmla="*/ 1290637 h 2481262"/>
              <a:gd name="connsiteX77" fmla="*/ 2909888 w 6610350"/>
              <a:gd name="connsiteY77" fmla="*/ 1338262 h 2481262"/>
              <a:gd name="connsiteX78" fmla="*/ 2938315 w 6610350"/>
              <a:gd name="connsiteY78" fmla="*/ 1338262 h 2481262"/>
              <a:gd name="connsiteX79" fmla="*/ 2947988 w 6610350"/>
              <a:gd name="connsiteY79" fmla="*/ 1385887 h 2481262"/>
              <a:gd name="connsiteX80" fmla="*/ 3028950 w 6610350"/>
              <a:gd name="connsiteY80" fmla="*/ 1385887 h 2481262"/>
              <a:gd name="connsiteX81" fmla="*/ 3028950 w 6610350"/>
              <a:gd name="connsiteY81" fmla="*/ 1419225 h 2481262"/>
              <a:gd name="connsiteX82" fmla="*/ 3095625 w 6610350"/>
              <a:gd name="connsiteY82" fmla="*/ 1419225 h 2481262"/>
              <a:gd name="connsiteX83" fmla="*/ 3095625 w 6610350"/>
              <a:gd name="connsiteY83" fmla="*/ 1462087 h 2481262"/>
              <a:gd name="connsiteX84" fmla="*/ 3162300 w 6610350"/>
              <a:gd name="connsiteY84" fmla="*/ 1462087 h 2481262"/>
              <a:gd name="connsiteX85" fmla="*/ 3162300 w 6610350"/>
              <a:gd name="connsiteY85" fmla="*/ 1485900 h 2481262"/>
              <a:gd name="connsiteX86" fmla="*/ 3257550 w 6610350"/>
              <a:gd name="connsiteY86" fmla="*/ 1485900 h 2481262"/>
              <a:gd name="connsiteX87" fmla="*/ 3252788 w 6610350"/>
              <a:gd name="connsiteY87" fmla="*/ 1538287 h 2481262"/>
              <a:gd name="connsiteX88" fmla="*/ 3314700 w 6610350"/>
              <a:gd name="connsiteY88" fmla="*/ 1543050 h 2481262"/>
              <a:gd name="connsiteX89" fmla="*/ 3319438 w 6610350"/>
              <a:gd name="connsiteY89" fmla="*/ 1585690 h 2481262"/>
              <a:gd name="connsiteX90" fmla="*/ 3405188 w 6610350"/>
              <a:gd name="connsiteY90" fmla="*/ 1581150 h 2481262"/>
              <a:gd name="connsiteX91" fmla="*/ 3405188 w 6610350"/>
              <a:gd name="connsiteY91" fmla="*/ 1614487 h 2481262"/>
              <a:gd name="connsiteX92" fmla="*/ 3586163 w 6610350"/>
              <a:gd name="connsiteY92" fmla="*/ 1614487 h 2481262"/>
              <a:gd name="connsiteX93" fmla="*/ 3586163 w 6610350"/>
              <a:gd name="connsiteY93" fmla="*/ 1638300 h 2481262"/>
              <a:gd name="connsiteX94" fmla="*/ 3643313 w 6610350"/>
              <a:gd name="connsiteY94" fmla="*/ 1633537 h 2481262"/>
              <a:gd name="connsiteX95" fmla="*/ 3648051 w 6610350"/>
              <a:gd name="connsiteY95" fmla="*/ 1680915 h 2481262"/>
              <a:gd name="connsiteX96" fmla="*/ 3724275 w 6610350"/>
              <a:gd name="connsiteY96" fmla="*/ 1676351 h 2481262"/>
              <a:gd name="connsiteX97" fmla="*/ 3729014 w 6610350"/>
              <a:gd name="connsiteY97" fmla="*/ 1714253 h 2481262"/>
              <a:gd name="connsiteX98" fmla="*/ 3814763 w 6610350"/>
              <a:gd name="connsiteY98" fmla="*/ 1704975 h 2481262"/>
              <a:gd name="connsiteX99" fmla="*/ 3814763 w 6610350"/>
              <a:gd name="connsiteY99" fmla="*/ 1757362 h 2481262"/>
              <a:gd name="connsiteX100" fmla="*/ 3890963 w 6610350"/>
              <a:gd name="connsiteY100" fmla="*/ 1762125 h 2481262"/>
              <a:gd name="connsiteX101" fmla="*/ 3881438 w 6610350"/>
              <a:gd name="connsiteY101" fmla="*/ 1800225 h 2481262"/>
              <a:gd name="connsiteX102" fmla="*/ 3952875 w 6610350"/>
              <a:gd name="connsiteY102" fmla="*/ 1804987 h 2481262"/>
              <a:gd name="connsiteX103" fmla="*/ 3957638 w 6610350"/>
              <a:gd name="connsiteY103" fmla="*/ 1862137 h 2481262"/>
              <a:gd name="connsiteX104" fmla="*/ 4029075 w 6610350"/>
              <a:gd name="connsiteY104" fmla="*/ 1862137 h 2481262"/>
              <a:gd name="connsiteX105" fmla="*/ 4029075 w 6610350"/>
              <a:gd name="connsiteY105" fmla="*/ 1924050 h 2481262"/>
              <a:gd name="connsiteX106" fmla="*/ 4100513 w 6610350"/>
              <a:gd name="connsiteY106" fmla="*/ 1924050 h 2481262"/>
              <a:gd name="connsiteX107" fmla="*/ 4143375 w 6610350"/>
              <a:gd name="connsiteY107" fmla="*/ 1924050 h 2481262"/>
              <a:gd name="connsiteX108" fmla="*/ 4138613 w 6610350"/>
              <a:gd name="connsiteY108" fmla="*/ 1966912 h 2481262"/>
              <a:gd name="connsiteX109" fmla="*/ 4214813 w 6610350"/>
              <a:gd name="connsiteY109" fmla="*/ 1971675 h 2481262"/>
              <a:gd name="connsiteX110" fmla="*/ 4214813 w 6610350"/>
              <a:gd name="connsiteY110" fmla="*/ 2014537 h 2481262"/>
              <a:gd name="connsiteX111" fmla="*/ 4319588 w 6610350"/>
              <a:gd name="connsiteY111" fmla="*/ 2014537 h 2481262"/>
              <a:gd name="connsiteX112" fmla="*/ 4319588 w 6610350"/>
              <a:gd name="connsiteY112" fmla="*/ 2014537 h 2481262"/>
              <a:gd name="connsiteX113" fmla="*/ 4362451 w 6610350"/>
              <a:gd name="connsiteY113" fmla="*/ 2038350 h 2481262"/>
              <a:gd name="connsiteX114" fmla="*/ 4410075 w 6610350"/>
              <a:gd name="connsiteY114" fmla="*/ 2095500 h 2481262"/>
              <a:gd name="connsiteX115" fmla="*/ 4605338 w 6610350"/>
              <a:gd name="connsiteY115" fmla="*/ 2105025 h 2481262"/>
              <a:gd name="connsiteX116" fmla="*/ 4605338 w 6610350"/>
              <a:gd name="connsiteY116" fmla="*/ 2105025 h 2481262"/>
              <a:gd name="connsiteX117" fmla="*/ 4605338 w 6610350"/>
              <a:gd name="connsiteY117" fmla="*/ 2147887 h 2481262"/>
              <a:gd name="connsiteX118" fmla="*/ 4791075 w 6610350"/>
              <a:gd name="connsiteY118" fmla="*/ 2147887 h 2481262"/>
              <a:gd name="connsiteX119" fmla="*/ 4791075 w 6610350"/>
              <a:gd name="connsiteY119" fmla="*/ 2176462 h 2481262"/>
              <a:gd name="connsiteX120" fmla="*/ 4953000 w 6610350"/>
              <a:gd name="connsiteY120" fmla="*/ 2176462 h 2481262"/>
              <a:gd name="connsiteX121" fmla="*/ 5072063 w 6610350"/>
              <a:gd name="connsiteY121" fmla="*/ 2176462 h 2481262"/>
              <a:gd name="connsiteX122" fmla="*/ 5072063 w 6610350"/>
              <a:gd name="connsiteY122" fmla="*/ 2233612 h 2481262"/>
              <a:gd name="connsiteX123" fmla="*/ 5400675 w 6610350"/>
              <a:gd name="connsiteY123" fmla="*/ 2233612 h 2481262"/>
              <a:gd name="connsiteX124" fmla="*/ 5400675 w 6610350"/>
              <a:gd name="connsiteY124" fmla="*/ 2233612 h 2481262"/>
              <a:gd name="connsiteX125" fmla="*/ 5500688 w 6610350"/>
              <a:gd name="connsiteY125" fmla="*/ 2233612 h 2481262"/>
              <a:gd name="connsiteX126" fmla="*/ 5500688 w 6610350"/>
              <a:gd name="connsiteY126" fmla="*/ 2305050 h 2481262"/>
              <a:gd name="connsiteX127" fmla="*/ 5586413 w 6610350"/>
              <a:gd name="connsiteY127" fmla="*/ 2305050 h 2481262"/>
              <a:gd name="connsiteX128" fmla="*/ 5586413 w 6610350"/>
              <a:gd name="connsiteY128" fmla="*/ 2328862 h 2481262"/>
              <a:gd name="connsiteX129" fmla="*/ 5629275 w 6610350"/>
              <a:gd name="connsiteY129" fmla="*/ 2328862 h 2481262"/>
              <a:gd name="connsiteX130" fmla="*/ 5629275 w 6610350"/>
              <a:gd name="connsiteY130" fmla="*/ 2390775 h 2481262"/>
              <a:gd name="connsiteX131" fmla="*/ 6134100 w 6610350"/>
              <a:gd name="connsiteY131" fmla="*/ 2390775 h 2481262"/>
              <a:gd name="connsiteX132" fmla="*/ 6134100 w 6610350"/>
              <a:gd name="connsiteY132" fmla="*/ 2481262 h 2481262"/>
              <a:gd name="connsiteX133" fmla="*/ 6610350 w 6610350"/>
              <a:gd name="connsiteY133" fmla="*/ 2481262 h 2481262"/>
              <a:gd name="connsiteX0" fmla="*/ 0 w 6610350"/>
              <a:gd name="connsiteY0" fmla="*/ 4762 h 2481262"/>
              <a:gd name="connsiteX1" fmla="*/ 90488 w 6610350"/>
              <a:gd name="connsiteY1" fmla="*/ 0 h 2481262"/>
              <a:gd name="connsiteX2" fmla="*/ 90488 w 6610350"/>
              <a:gd name="connsiteY2" fmla="*/ 33337 h 2481262"/>
              <a:gd name="connsiteX3" fmla="*/ 133350 w 6610350"/>
              <a:gd name="connsiteY3" fmla="*/ 33337 h 2481262"/>
              <a:gd name="connsiteX4" fmla="*/ 133350 w 6610350"/>
              <a:gd name="connsiteY4" fmla="*/ 66675 h 2481262"/>
              <a:gd name="connsiteX5" fmla="*/ 209550 w 6610350"/>
              <a:gd name="connsiteY5" fmla="*/ 66675 h 2481262"/>
              <a:gd name="connsiteX6" fmla="*/ 204788 w 6610350"/>
              <a:gd name="connsiteY6" fmla="*/ 95250 h 2481262"/>
              <a:gd name="connsiteX7" fmla="*/ 361950 w 6610350"/>
              <a:gd name="connsiteY7" fmla="*/ 104775 h 2481262"/>
              <a:gd name="connsiteX8" fmla="*/ 361950 w 6610350"/>
              <a:gd name="connsiteY8" fmla="*/ 123825 h 2481262"/>
              <a:gd name="connsiteX9" fmla="*/ 423863 w 6610350"/>
              <a:gd name="connsiteY9" fmla="*/ 119062 h 2481262"/>
              <a:gd name="connsiteX10" fmla="*/ 423862 w 6610350"/>
              <a:gd name="connsiteY10" fmla="*/ 166687 h 2481262"/>
              <a:gd name="connsiteX11" fmla="*/ 552450 w 6610350"/>
              <a:gd name="connsiteY11" fmla="*/ 171450 h 2481262"/>
              <a:gd name="connsiteX12" fmla="*/ 557213 w 6610350"/>
              <a:gd name="connsiteY12" fmla="*/ 200025 h 2481262"/>
              <a:gd name="connsiteX13" fmla="*/ 595313 w 6610350"/>
              <a:gd name="connsiteY13" fmla="*/ 204787 h 2481262"/>
              <a:gd name="connsiteX14" fmla="*/ 600075 w 6610350"/>
              <a:gd name="connsiteY14" fmla="*/ 238125 h 2481262"/>
              <a:gd name="connsiteX15" fmla="*/ 642938 w 6610350"/>
              <a:gd name="connsiteY15" fmla="*/ 238125 h 2481262"/>
              <a:gd name="connsiteX16" fmla="*/ 642938 w 6610350"/>
              <a:gd name="connsiteY16" fmla="*/ 276225 h 2481262"/>
              <a:gd name="connsiteX17" fmla="*/ 933450 w 6610350"/>
              <a:gd name="connsiteY17" fmla="*/ 280987 h 2481262"/>
              <a:gd name="connsiteX18" fmla="*/ 938213 w 6610350"/>
              <a:gd name="connsiteY18" fmla="*/ 300037 h 2481262"/>
              <a:gd name="connsiteX19" fmla="*/ 1023938 w 6610350"/>
              <a:gd name="connsiteY19" fmla="*/ 300013 h 2481262"/>
              <a:gd name="connsiteX20" fmla="*/ 1028700 w 6610350"/>
              <a:gd name="connsiteY20" fmla="*/ 357187 h 2481262"/>
              <a:gd name="connsiteX21" fmla="*/ 1147763 w 6610350"/>
              <a:gd name="connsiteY21" fmla="*/ 357187 h 2481262"/>
              <a:gd name="connsiteX22" fmla="*/ 1157288 w 6610350"/>
              <a:gd name="connsiteY22" fmla="*/ 390525 h 2481262"/>
              <a:gd name="connsiteX23" fmla="*/ 1228725 w 6610350"/>
              <a:gd name="connsiteY23" fmla="*/ 390525 h 2481262"/>
              <a:gd name="connsiteX24" fmla="*/ 1228725 w 6610350"/>
              <a:gd name="connsiteY24" fmla="*/ 414215 h 2481262"/>
              <a:gd name="connsiteX25" fmla="*/ 1323975 w 6610350"/>
              <a:gd name="connsiteY25" fmla="*/ 419100 h 2481262"/>
              <a:gd name="connsiteX26" fmla="*/ 1338263 w 6610350"/>
              <a:gd name="connsiteY26" fmla="*/ 471487 h 2481262"/>
              <a:gd name="connsiteX27" fmla="*/ 1400175 w 6610350"/>
              <a:gd name="connsiteY27" fmla="*/ 466725 h 2481262"/>
              <a:gd name="connsiteX28" fmla="*/ 1404938 w 6610350"/>
              <a:gd name="connsiteY28" fmla="*/ 490537 h 2481262"/>
              <a:gd name="connsiteX29" fmla="*/ 1466850 w 6610350"/>
              <a:gd name="connsiteY29" fmla="*/ 495300 h 2481262"/>
              <a:gd name="connsiteX30" fmla="*/ 1471613 w 6610350"/>
              <a:gd name="connsiteY30" fmla="*/ 509587 h 2481262"/>
              <a:gd name="connsiteX31" fmla="*/ 1528763 w 6610350"/>
              <a:gd name="connsiteY31" fmla="*/ 509587 h 2481262"/>
              <a:gd name="connsiteX32" fmla="*/ 1528763 w 6610350"/>
              <a:gd name="connsiteY32" fmla="*/ 557212 h 2481262"/>
              <a:gd name="connsiteX33" fmla="*/ 1714500 w 6610350"/>
              <a:gd name="connsiteY33" fmla="*/ 561974 h 2481262"/>
              <a:gd name="connsiteX34" fmla="*/ 1714500 w 6610350"/>
              <a:gd name="connsiteY34" fmla="*/ 590550 h 2481262"/>
              <a:gd name="connsiteX35" fmla="*/ 1752600 w 6610350"/>
              <a:gd name="connsiteY35" fmla="*/ 590550 h 2481262"/>
              <a:gd name="connsiteX36" fmla="*/ 1762125 w 6610350"/>
              <a:gd name="connsiteY36" fmla="*/ 619125 h 2481262"/>
              <a:gd name="connsiteX37" fmla="*/ 1809750 w 6610350"/>
              <a:gd name="connsiteY37" fmla="*/ 619125 h 2481262"/>
              <a:gd name="connsiteX38" fmla="*/ 1809750 w 6610350"/>
              <a:gd name="connsiteY38" fmla="*/ 647700 h 2481262"/>
              <a:gd name="connsiteX39" fmla="*/ 1847850 w 6610350"/>
              <a:gd name="connsiteY39" fmla="*/ 647700 h 2481262"/>
              <a:gd name="connsiteX40" fmla="*/ 1847850 w 6610350"/>
              <a:gd name="connsiteY40" fmla="*/ 714375 h 2481262"/>
              <a:gd name="connsiteX41" fmla="*/ 1905000 w 6610350"/>
              <a:gd name="connsiteY41" fmla="*/ 714375 h 2481262"/>
              <a:gd name="connsiteX42" fmla="*/ 1909812 w 6610350"/>
              <a:gd name="connsiteY42" fmla="*/ 752401 h 2481262"/>
              <a:gd name="connsiteX43" fmla="*/ 2000299 w 6610350"/>
              <a:gd name="connsiteY43" fmla="*/ 757114 h 2481262"/>
              <a:gd name="connsiteX44" fmla="*/ 2009775 w 6610350"/>
              <a:gd name="connsiteY44" fmla="*/ 804862 h 2481262"/>
              <a:gd name="connsiteX45" fmla="*/ 2038350 w 6610350"/>
              <a:gd name="connsiteY45" fmla="*/ 804862 h 2481262"/>
              <a:gd name="connsiteX46" fmla="*/ 2038350 w 6610350"/>
              <a:gd name="connsiteY46" fmla="*/ 823912 h 2481262"/>
              <a:gd name="connsiteX47" fmla="*/ 2038350 w 6610350"/>
              <a:gd name="connsiteY47" fmla="*/ 823912 h 2481262"/>
              <a:gd name="connsiteX48" fmla="*/ 2071688 w 6610350"/>
              <a:gd name="connsiteY48" fmla="*/ 852487 h 2481262"/>
              <a:gd name="connsiteX49" fmla="*/ 2071688 w 6610350"/>
              <a:gd name="connsiteY49" fmla="*/ 852487 h 2481262"/>
              <a:gd name="connsiteX50" fmla="*/ 2100263 w 6610350"/>
              <a:gd name="connsiteY50" fmla="*/ 885825 h 2481262"/>
              <a:gd name="connsiteX51" fmla="*/ 2190750 w 6610350"/>
              <a:gd name="connsiteY51" fmla="*/ 885825 h 2481262"/>
              <a:gd name="connsiteX52" fmla="*/ 2195513 w 6610350"/>
              <a:gd name="connsiteY52" fmla="*/ 933450 h 2481262"/>
              <a:gd name="connsiteX53" fmla="*/ 2247900 w 6610350"/>
              <a:gd name="connsiteY53" fmla="*/ 923925 h 2481262"/>
              <a:gd name="connsiteX54" fmla="*/ 2247900 w 6610350"/>
              <a:gd name="connsiteY54" fmla="*/ 966787 h 2481262"/>
              <a:gd name="connsiteX55" fmla="*/ 2347937 w 6610350"/>
              <a:gd name="connsiteY55" fmla="*/ 961976 h 2481262"/>
              <a:gd name="connsiteX56" fmla="*/ 2347913 w 6610350"/>
              <a:gd name="connsiteY56" fmla="*/ 985837 h 2481262"/>
              <a:gd name="connsiteX57" fmla="*/ 2400300 w 6610350"/>
              <a:gd name="connsiteY57" fmla="*/ 990600 h 2481262"/>
              <a:gd name="connsiteX58" fmla="*/ 2400300 w 6610350"/>
              <a:gd name="connsiteY58" fmla="*/ 990600 h 2481262"/>
              <a:gd name="connsiteX59" fmla="*/ 2400300 w 6610350"/>
              <a:gd name="connsiteY59" fmla="*/ 1019175 h 2481262"/>
              <a:gd name="connsiteX60" fmla="*/ 2476500 w 6610350"/>
              <a:gd name="connsiteY60" fmla="*/ 1009650 h 2481262"/>
              <a:gd name="connsiteX61" fmla="*/ 2476500 w 6610350"/>
              <a:gd name="connsiteY61" fmla="*/ 1047750 h 2481262"/>
              <a:gd name="connsiteX62" fmla="*/ 2500313 w 6610350"/>
              <a:gd name="connsiteY62" fmla="*/ 1047750 h 2481262"/>
              <a:gd name="connsiteX63" fmla="*/ 2505050 w 6610350"/>
              <a:gd name="connsiteY63" fmla="*/ 1085653 h 2481262"/>
              <a:gd name="connsiteX64" fmla="*/ 2566988 w 6610350"/>
              <a:gd name="connsiteY64" fmla="*/ 1081087 h 2481262"/>
              <a:gd name="connsiteX65" fmla="*/ 2562225 w 6610350"/>
              <a:gd name="connsiteY65" fmla="*/ 1123950 h 2481262"/>
              <a:gd name="connsiteX66" fmla="*/ 2609850 w 6610350"/>
              <a:gd name="connsiteY66" fmla="*/ 1123950 h 2481262"/>
              <a:gd name="connsiteX67" fmla="*/ 2609850 w 6610350"/>
              <a:gd name="connsiteY67" fmla="*/ 1162050 h 2481262"/>
              <a:gd name="connsiteX68" fmla="*/ 2609850 w 6610350"/>
              <a:gd name="connsiteY68" fmla="*/ 1162050 h 2481262"/>
              <a:gd name="connsiteX69" fmla="*/ 2638425 w 6610350"/>
              <a:gd name="connsiteY69" fmla="*/ 1185862 h 2481262"/>
              <a:gd name="connsiteX70" fmla="*/ 2657376 w 6610350"/>
              <a:gd name="connsiteY70" fmla="*/ 1190600 h 2481262"/>
              <a:gd name="connsiteX71" fmla="*/ 2662238 w 6610350"/>
              <a:gd name="connsiteY71" fmla="*/ 1228725 h 2481262"/>
              <a:gd name="connsiteX72" fmla="*/ 2800350 w 6610350"/>
              <a:gd name="connsiteY72" fmla="*/ 1224011 h 2481262"/>
              <a:gd name="connsiteX73" fmla="*/ 2805113 w 6610350"/>
              <a:gd name="connsiteY73" fmla="*/ 1266825 h 2481262"/>
              <a:gd name="connsiteX74" fmla="*/ 2881313 w 6610350"/>
              <a:gd name="connsiteY74" fmla="*/ 1266825 h 2481262"/>
              <a:gd name="connsiteX75" fmla="*/ 2876550 w 6610350"/>
              <a:gd name="connsiteY75" fmla="*/ 1290637 h 2481262"/>
              <a:gd name="connsiteX76" fmla="*/ 2909714 w 6610350"/>
              <a:gd name="connsiteY76" fmla="*/ 1290637 h 2481262"/>
              <a:gd name="connsiteX77" fmla="*/ 2909888 w 6610350"/>
              <a:gd name="connsiteY77" fmla="*/ 1338262 h 2481262"/>
              <a:gd name="connsiteX78" fmla="*/ 2938315 w 6610350"/>
              <a:gd name="connsiteY78" fmla="*/ 1338262 h 2481262"/>
              <a:gd name="connsiteX79" fmla="*/ 2947988 w 6610350"/>
              <a:gd name="connsiteY79" fmla="*/ 1385887 h 2481262"/>
              <a:gd name="connsiteX80" fmla="*/ 3028950 w 6610350"/>
              <a:gd name="connsiteY80" fmla="*/ 1385887 h 2481262"/>
              <a:gd name="connsiteX81" fmla="*/ 3028950 w 6610350"/>
              <a:gd name="connsiteY81" fmla="*/ 1419225 h 2481262"/>
              <a:gd name="connsiteX82" fmla="*/ 3095625 w 6610350"/>
              <a:gd name="connsiteY82" fmla="*/ 1419225 h 2481262"/>
              <a:gd name="connsiteX83" fmla="*/ 3095625 w 6610350"/>
              <a:gd name="connsiteY83" fmla="*/ 1462087 h 2481262"/>
              <a:gd name="connsiteX84" fmla="*/ 3162300 w 6610350"/>
              <a:gd name="connsiteY84" fmla="*/ 1462087 h 2481262"/>
              <a:gd name="connsiteX85" fmla="*/ 3162300 w 6610350"/>
              <a:gd name="connsiteY85" fmla="*/ 1485900 h 2481262"/>
              <a:gd name="connsiteX86" fmla="*/ 3257550 w 6610350"/>
              <a:gd name="connsiteY86" fmla="*/ 1485900 h 2481262"/>
              <a:gd name="connsiteX87" fmla="*/ 3252788 w 6610350"/>
              <a:gd name="connsiteY87" fmla="*/ 1538287 h 2481262"/>
              <a:gd name="connsiteX88" fmla="*/ 3314700 w 6610350"/>
              <a:gd name="connsiteY88" fmla="*/ 1543050 h 2481262"/>
              <a:gd name="connsiteX89" fmla="*/ 3319438 w 6610350"/>
              <a:gd name="connsiteY89" fmla="*/ 1585690 h 2481262"/>
              <a:gd name="connsiteX90" fmla="*/ 3405188 w 6610350"/>
              <a:gd name="connsiteY90" fmla="*/ 1581150 h 2481262"/>
              <a:gd name="connsiteX91" fmla="*/ 3405188 w 6610350"/>
              <a:gd name="connsiteY91" fmla="*/ 1614487 h 2481262"/>
              <a:gd name="connsiteX92" fmla="*/ 3586163 w 6610350"/>
              <a:gd name="connsiteY92" fmla="*/ 1614487 h 2481262"/>
              <a:gd name="connsiteX93" fmla="*/ 3586163 w 6610350"/>
              <a:gd name="connsiteY93" fmla="*/ 1638300 h 2481262"/>
              <a:gd name="connsiteX94" fmla="*/ 3643313 w 6610350"/>
              <a:gd name="connsiteY94" fmla="*/ 1633537 h 2481262"/>
              <a:gd name="connsiteX95" fmla="*/ 3648051 w 6610350"/>
              <a:gd name="connsiteY95" fmla="*/ 1680915 h 2481262"/>
              <a:gd name="connsiteX96" fmla="*/ 3724275 w 6610350"/>
              <a:gd name="connsiteY96" fmla="*/ 1676351 h 2481262"/>
              <a:gd name="connsiteX97" fmla="*/ 3729014 w 6610350"/>
              <a:gd name="connsiteY97" fmla="*/ 1714253 h 2481262"/>
              <a:gd name="connsiteX98" fmla="*/ 3814763 w 6610350"/>
              <a:gd name="connsiteY98" fmla="*/ 1704975 h 2481262"/>
              <a:gd name="connsiteX99" fmla="*/ 3814763 w 6610350"/>
              <a:gd name="connsiteY99" fmla="*/ 1757362 h 2481262"/>
              <a:gd name="connsiteX100" fmla="*/ 3890963 w 6610350"/>
              <a:gd name="connsiteY100" fmla="*/ 1762125 h 2481262"/>
              <a:gd name="connsiteX101" fmla="*/ 3881438 w 6610350"/>
              <a:gd name="connsiteY101" fmla="*/ 1800225 h 2481262"/>
              <a:gd name="connsiteX102" fmla="*/ 3952875 w 6610350"/>
              <a:gd name="connsiteY102" fmla="*/ 1804987 h 2481262"/>
              <a:gd name="connsiteX103" fmla="*/ 3957638 w 6610350"/>
              <a:gd name="connsiteY103" fmla="*/ 1862137 h 2481262"/>
              <a:gd name="connsiteX104" fmla="*/ 4029075 w 6610350"/>
              <a:gd name="connsiteY104" fmla="*/ 1862137 h 2481262"/>
              <a:gd name="connsiteX105" fmla="*/ 4029075 w 6610350"/>
              <a:gd name="connsiteY105" fmla="*/ 1924050 h 2481262"/>
              <a:gd name="connsiteX106" fmla="*/ 4100513 w 6610350"/>
              <a:gd name="connsiteY106" fmla="*/ 1924050 h 2481262"/>
              <a:gd name="connsiteX107" fmla="*/ 4143375 w 6610350"/>
              <a:gd name="connsiteY107" fmla="*/ 1924050 h 2481262"/>
              <a:gd name="connsiteX108" fmla="*/ 4138613 w 6610350"/>
              <a:gd name="connsiteY108" fmla="*/ 1966912 h 2481262"/>
              <a:gd name="connsiteX109" fmla="*/ 4214813 w 6610350"/>
              <a:gd name="connsiteY109" fmla="*/ 1971675 h 2481262"/>
              <a:gd name="connsiteX110" fmla="*/ 4214813 w 6610350"/>
              <a:gd name="connsiteY110" fmla="*/ 2014537 h 2481262"/>
              <a:gd name="connsiteX111" fmla="*/ 4319588 w 6610350"/>
              <a:gd name="connsiteY111" fmla="*/ 2014537 h 2481262"/>
              <a:gd name="connsiteX112" fmla="*/ 4319588 w 6610350"/>
              <a:gd name="connsiteY112" fmla="*/ 2014537 h 2481262"/>
              <a:gd name="connsiteX113" fmla="*/ 4362451 w 6610350"/>
              <a:gd name="connsiteY113" fmla="*/ 2038350 h 2481262"/>
              <a:gd name="connsiteX114" fmla="*/ 4410075 w 6610350"/>
              <a:gd name="connsiteY114" fmla="*/ 2095500 h 2481262"/>
              <a:gd name="connsiteX115" fmla="*/ 4605338 w 6610350"/>
              <a:gd name="connsiteY115" fmla="*/ 2105025 h 2481262"/>
              <a:gd name="connsiteX116" fmla="*/ 4605338 w 6610350"/>
              <a:gd name="connsiteY116" fmla="*/ 2105025 h 2481262"/>
              <a:gd name="connsiteX117" fmla="*/ 4605338 w 6610350"/>
              <a:gd name="connsiteY117" fmla="*/ 2147887 h 2481262"/>
              <a:gd name="connsiteX118" fmla="*/ 4791075 w 6610350"/>
              <a:gd name="connsiteY118" fmla="*/ 2147887 h 2481262"/>
              <a:gd name="connsiteX119" fmla="*/ 4791075 w 6610350"/>
              <a:gd name="connsiteY119" fmla="*/ 2176462 h 2481262"/>
              <a:gd name="connsiteX120" fmla="*/ 4953000 w 6610350"/>
              <a:gd name="connsiteY120" fmla="*/ 2176462 h 2481262"/>
              <a:gd name="connsiteX121" fmla="*/ 5072063 w 6610350"/>
              <a:gd name="connsiteY121" fmla="*/ 2176462 h 2481262"/>
              <a:gd name="connsiteX122" fmla="*/ 5072063 w 6610350"/>
              <a:gd name="connsiteY122" fmla="*/ 2233612 h 2481262"/>
              <a:gd name="connsiteX123" fmla="*/ 5400675 w 6610350"/>
              <a:gd name="connsiteY123" fmla="*/ 2233612 h 2481262"/>
              <a:gd name="connsiteX124" fmla="*/ 5400675 w 6610350"/>
              <a:gd name="connsiteY124" fmla="*/ 2233612 h 2481262"/>
              <a:gd name="connsiteX125" fmla="*/ 5500688 w 6610350"/>
              <a:gd name="connsiteY125" fmla="*/ 2233612 h 2481262"/>
              <a:gd name="connsiteX126" fmla="*/ 5500688 w 6610350"/>
              <a:gd name="connsiteY126" fmla="*/ 2305050 h 2481262"/>
              <a:gd name="connsiteX127" fmla="*/ 5586413 w 6610350"/>
              <a:gd name="connsiteY127" fmla="*/ 2305050 h 2481262"/>
              <a:gd name="connsiteX128" fmla="*/ 5586413 w 6610350"/>
              <a:gd name="connsiteY128" fmla="*/ 2328862 h 2481262"/>
              <a:gd name="connsiteX129" fmla="*/ 5629275 w 6610350"/>
              <a:gd name="connsiteY129" fmla="*/ 2328862 h 2481262"/>
              <a:gd name="connsiteX130" fmla="*/ 5629275 w 6610350"/>
              <a:gd name="connsiteY130" fmla="*/ 2390775 h 2481262"/>
              <a:gd name="connsiteX131" fmla="*/ 6134100 w 6610350"/>
              <a:gd name="connsiteY131" fmla="*/ 2390775 h 2481262"/>
              <a:gd name="connsiteX132" fmla="*/ 6134100 w 6610350"/>
              <a:gd name="connsiteY132" fmla="*/ 2481262 h 2481262"/>
              <a:gd name="connsiteX133" fmla="*/ 6610350 w 6610350"/>
              <a:gd name="connsiteY133" fmla="*/ 2481262 h 2481262"/>
              <a:gd name="connsiteX0" fmla="*/ 0 w 6610350"/>
              <a:gd name="connsiteY0" fmla="*/ 4762 h 2481262"/>
              <a:gd name="connsiteX1" fmla="*/ 90488 w 6610350"/>
              <a:gd name="connsiteY1" fmla="*/ 0 h 2481262"/>
              <a:gd name="connsiteX2" fmla="*/ 90488 w 6610350"/>
              <a:gd name="connsiteY2" fmla="*/ 33337 h 2481262"/>
              <a:gd name="connsiteX3" fmla="*/ 133350 w 6610350"/>
              <a:gd name="connsiteY3" fmla="*/ 33337 h 2481262"/>
              <a:gd name="connsiteX4" fmla="*/ 133350 w 6610350"/>
              <a:gd name="connsiteY4" fmla="*/ 66675 h 2481262"/>
              <a:gd name="connsiteX5" fmla="*/ 209550 w 6610350"/>
              <a:gd name="connsiteY5" fmla="*/ 66675 h 2481262"/>
              <a:gd name="connsiteX6" fmla="*/ 204788 w 6610350"/>
              <a:gd name="connsiteY6" fmla="*/ 95250 h 2481262"/>
              <a:gd name="connsiteX7" fmla="*/ 361950 w 6610350"/>
              <a:gd name="connsiteY7" fmla="*/ 104775 h 2481262"/>
              <a:gd name="connsiteX8" fmla="*/ 361950 w 6610350"/>
              <a:gd name="connsiteY8" fmla="*/ 123825 h 2481262"/>
              <a:gd name="connsiteX9" fmla="*/ 423863 w 6610350"/>
              <a:gd name="connsiteY9" fmla="*/ 119062 h 2481262"/>
              <a:gd name="connsiteX10" fmla="*/ 423862 w 6610350"/>
              <a:gd name="connsiteY10" fmla="*/ 166687 h 2481262"/>
              <a:gd name="connsiteX11" fmla="*/ 552450 w 6610350"/>
              <a:gd name="connsiteY11" fmla="*/ 171450 h 2481262"/>
              <a:gd name="connsiteX12" fmla="*/ 557213 w 6610350"/>
              <a:gd name="connsiteY12" fmla="*/ 200025 h 2481262"/>
              <a:gd name="connsiteX13" fmla="*/ 595313 w 6610350"/>
              <a:gd name="connsiteY13" fmla="*/ 204787 h 2481262"/>
              <a:gd name="connsiteX14" fmla="*/ 600075 w 6610350"/>
              <a:gd name="connsiteY14" fmla="*/ 238125 h 2481262"/>
              <a:gd name="connsiteX15" fmla="*/ 642938 w 6610350"/>
              <a:gd name="connsiteY15" fmla="*/ 238125 h 2481262"/>
              <a:gd name="connsiteX16" fmla="*/ 642938 w 6610350"/>
              <a:gd name="connsiteY16" fmla="*/ 276225 h 2481262"/>
              <a:gd name="connsiteX17" fmla="*/ 933450 w 6610350"/>
              <a:gd name="connsiteY17" fmla="*/ 280987 h 2481262"/>
              <a:gd name="connsiteX18" fmla="*/ 938213 w 6610350"/>
              <a:gd name="connsiteY18" fmla="*/ 300037 h 2481262"/>
              <a:gd name="connsiteX19" fmla="*/ 1023938 w 6610350"/>
              <a:gd name="connsiteY19" fmla="*/ 300013 h 2481262"/>
              <a:gd name="connsiteX20" fmla="*/ 1028700 w 6610350"/>
              <a:gd name="connsiteY20" fmla="*/ 357187 h 2481262"/>
              <a:gd name="connsiteX21" fmla="*/ 1147763 w 6610350"/>
              <a:gd name="connsiteY21" fmla="*/ 357187 h 2481262"/>
              <a:gd name="connsiteX22" fmla="*/ 1157288 w 6610350"/>
              <a:gd name="connsiteY22" fmla="*/ 390525 h 2481262"/>
              <a:gd name="connsiteX23" fmla="*/ 1228725 w 6610350"/>
              <a:gd name="connsiteY23" fmla="*/ 390525 h 2481262"/>
              <a:gd name="connsiteX24" fmla="*/ 1228725 w 6610350"/>
              <a:gd name="connsiteY24" fmla="*/ 414215 h 2481262"/>
              <a:gd name="connsiteX25" fmla="*/ 1323975 w 6610350"/>
              <a:gd name="connsiteY25" fmla="*/ 419100 h 2481262"/>
              <a:gd name="connsiteX26" fmla="*/ 1338263 w 6610350"/>
              <a:gd name="connsiteY26" fmla="*/ 471487 h 2481262"/>
              <a:gd name="connsiteX27" fmla="*/ 1400175 w 6610350"/>
              <a:gd name="connsiteY27" fmla="*/ 466725 h 2481262"/>
              <a:gd name="connsiteX28" fmla="*/ 1404938 w 6610350"/>
              <a:gd name="connsiteY28" fmla="*/ 490537 h 2481262"/>
              <a:gd name="connsiteX29" fmla="*/ 1466850 w 6610350"/>
              <a:gd name="connsiteY29" fmla="*/ 495300 h 2481262"/>
              <a:gd name="connsiteX30" fmla="*/ 1471613 w 6610350"/>
              <a:gd name="connsiteY30" fmla="*/ 509587 h 2481262"/>
              <a:gd name="connsiteX31" fmla="*/ 1528763 w 6610350"/>
              <a:gd name="connsiteY31" fmla="*/ 509587 h 2481262"/>
              <a:gd name="connsiteX32" fmla="*/ 1528763 w 6610350"/>
              <a:gd name="connsiteY32" fmla="*/ 557212 h 2481262"/>
              <a:gd name="connsiteX33" fmla="*/ 1714500 w 6610350"/>
              <a:gd name="connsiteY33" fmla="*/ 561974 h 2481262"/>
              <a:gd name="connsiteX34" fmla="*/ 1714500 w 6610350"/>
              <a:gd name="connsiteY34" fmla="*/ 590550 h 2481262"/>
              <a:gd name="connsiteX35" fmla="*/ 1752600 w 6610350"/>
              <a:gd name="connsiteY35" fmla="*/ 590550 h 2481262"/>
              <a:gd name="connsiteX36" fmla="*/ 1762125 w 6610350"/>
              <a:gd name="connsiteY36" fmla="*/ 619125 h 2481262"/>
              <a:gd name="connsiteX37" fmla="*/ 1809750 w 6610350"/>
              <a:gd name="connsiteY37" fmla="*/ 619125 h 2481262"/>
              <a:gd name="connsiteX38" fmla="*/ 1809750 w 6610350"/>
              <a:gd name="connsiteY38" fmla="*/ 647700 h 2481262"/>
              <a:gd name="connsiteX39" fmla="*/ 1847850 w 6610350"/>
              <a:gd name="connsiteY39" fmla="*/ 647700 h 2481262"/>
              <a:gd name="connsiteX40" fmla="*/ 1847850 w 6610350"/>
              <a:gd name="connsiteY40" fmla="*/ 714375 h 2481262"/>
              <a:gd name="connsiteX41" fmla="*/ 1905000 w 6610350"/>
              <a:gd name="connsiteY41" fmla="*/ 714375 h 2481262"/>
              <a:gd name="connsiteX42" fmla="*/ 1909812 w 6610350"/>
              <a:gd name="connsiteY42" fmla="*/ 752401 h 2481262"/>
              <a:gd name="connsiteX43" fmla="*/ 2000299 w 6610350"/>
              <a:gd name="connsiteY43" fmla="*/ 757114 h 2481262"/>
              <a:gd name="connsiteX44" fmla="*/ 2009775 w 6610350"/>
              <a:gd name="connsiteY44" fmla="*/ 804862 h 2481262"/>
              <a:gd name="connsiteX45" fmla="*/ 2038350 w 6610350"/>
              <a:gd name="connsiteY45" fmla="*/ 804862 h 2481262"/>
              <a:gd name="connsiteX46" fmla="*/ 2038350 w 6610350"/>
              <a:gd name="connsiteY46" fmla="*/ 823912 h 2481262"/>
              <a:gd name="connsiteX47" fmla="*/ 2038350 w 6610350"/>
              <a:gd name="connsiteY47" fmla="*/ 823912 h 2481262"/>
              <a:gd name="connsiteX48" fmla="*/ 2071688 w 6610350"/>
              <a:gd name="connsiteY48" fmla="*/ 852487 h 2481262"/>
              <a:gd name="connsiteX49" fmla="*/ 2071688 w 6610350"/>
              <a:gd name="connsiteY49" fmla="*/ 852487 h 2481262"/>
              <a:gd name="connsiteX50" fmla="*/ 2100263 w 6610350"/>
              <a:gd name="connsiteY50" fmla="*/ 885825 h 2481262"/>
              <a:gd name="connsiteX51" fmla="*/ 2190750 w 6610350"/>
              <a:gd name="connsiteY51" fmla="*/ 885825 h 2481262"/>
              <a:gd name="connsiteX52" fmla="*/ 2195513 w 6610350"/>
              <a:gd name="connsiteY52" fmla="*/ 933450 h 2481262"/>
              <a:gd name="connsiteX53" fmla="*/ 2247900 w 6610350"/>
              <a:gd name="connsiteY53" fmla="*/ 923925 h 2481262"/>
              <a:gd name="connsiteX54" fmla="*/ 2247900 w 6610350"/>
              <a:gd name="connsiteY54" fmla="*/ 966787 h 2481262"/>
              <a:gd name="connsiteX55" fmla="*/ 2347937 w 6610350"/>
              <a:gd name="connsiteY55" fmla="*/ 961976 h 2481262"/>
              <a:gd name="connsiteX56" fmla="*/ 2347913 w 6610350"/>
              <a:gd name="connsiteY56" fmla="*/ 985837 h 2481262"/>
              <a:gd name="connsiteX57" fmla="*/ 2400300 w 6610350"/>
              <a:gd name="connsiteY57" fmla="*/ 990600 h 2481262"/>
              <a:gd name="connsiteX58" fmla="*/ 2400300 w 6610350"/>
              <a:gd name="connsiteY58" fmla="*/ 990600 h 2481262"/>
              <a:gd name="connsiteX59" fmla="*/ 2400300 w 6610350"/>
              <a:gd name="connsiteY59" fmla="*/ 1019175 h 2481262"/>
              <a:gd name="connsiteX60" fmla="*/ 2476500 w 6610350"/>
              <a:gd name="connsiteY60" fmla="*/ 1009650 h 2481262"/>
              <a:gd name="connsiteX61" fmla="*/ 2476500 w 6610350"/>
              <a:gd name="connsiteY61" fmla="*/ 1047750 h 2481262"/>
              <a:gd name="connsiteX62" fmla="*/ 2500313 w 6610350"/>
              <a:gd name="connsiteY62" fmla="*/ 1047750 h 2481262"/>
              <a:gd name="connsiteX63" fmla="*/ 2505050 w 6610350"/>
              <a:gd name="connsiteY63" fmla="*/ 1085653 h 2481262"/>
              <a:gd name="connsiteX64" fmla="*/ 2566988 w 6610350"/>
              <a:gd name="connsiteY64" fmla="*/ 1081087 h 2481262"/>
              <a:gd name="connsiteX65" fmla="*/ 2562225 w 6610350"/>
              <a:gd name="connsiteY65" fmla="*/ 1123950 h 2481262"/>
              <a:gd name="connsiteX66" fmla="*/ 2609850 w 6610350"/>
              <a:gd name="connsiteY66" fmla="*/ 1123950 h 2481262"/>
              <a:gd name="connsiteX67" fmla="*/ 2609850 w 6610350"/>
              <a:gd name="connsiteY67" fmla="*/ 1162050 h 2481262"/>
              <a:gd name="connsiteX68" fmla="*/ 2609850 w 6610350"/>
              <a:gd name="connsiteY68" fmla="*/ 1162050 h 2481262"/>
              <a:gd name="connsiteX69" fmla="*/ 2638425 w 6610350"/>
              <a:gd name="connsiteY69" fmla="*/ 1185862 h 2481262"/>
              <a:gd name="connsiteX70" fmla="*/ 2666851 w 6610350"/>
              <a:gd name="connsiteY70" fmla="*/ 1181125 h 2481262"/>
              <a:gd name="connsiteX71" fmla="*/ 2662238 w 6610350"/>
              <a:gd name="connsiteY71" fmla="*/ 1228725 h 2481262"/>
              <a:gd name="connsiteX72" fmla="*/ 2800350 w 6610350"/>
              <a:gd name="connsiteY72" fmla="*/ 1224011 h 2481262"/>
              <a:gd name="connsiteX73" fmla="*/ 2805113 w 6610350"/>
              <a:gd name="connsiteY73" fmla="*/ 1266825 h 2481262"/>
              <a:gd name="connsiteX74" fmla="*/ 2881313 w 6610350"/>
              <a:gd name="connsiteY74" fmla="*/ 1266825 h 2481262"/>
              <a:gd name="connsiteX75" fmla="*/ 2876550 w 6610350"/>
              <a:gd name="connsiteY75" fmla="*/ 1290637 h 2481262"/>
              <a:gd name="connsiteX76" fmla="*/ 2909714 w 6610350"/>
              <a:gd name="connsiteY76" fmla="*/ 1290637 h 2481262"/>
              <a:gd name="connsiteX77" fmla="*/ 2909888 w 6610350"/>
              <a:gd name="connsiteY77" fmla="*/ 1338262 h 2481262"/>
              <a:gd name="connsiteX78" fmla="*/ 2938315 w 6610350"/>
              <a:gd name="connsiteY78" fmla="*/ 1338262 h 2481262"/>
              <a:gd name="connsiteX79" fmla="*/ 2947988 w 6610350"/>
              <a:gd name="connsiteY79" fmla="*/ 1385887 h 2481262"/>
              <a:gd name="connsiteX80" fmla="*/ 3028950 w 6610350"/>
              <a:gd name="connsiteY80" fmla="*/ 1385887 h 2481262"/>
              <a:gd name="connsiteX81" fmla="*/ 3028950 w 6610350"/>
              <a:gd name="connsiteY81" fmla="*/ 1419225 h 2481262"/>
              <a:gd name="connsiteX82" fmla="*/ 3095625 w 6610350"/>
              <a:gd name="connsiteY82" fmla="*/ 1419225 h 2481262"/>
              <a:gd name="connsiteX83" fmla="*/ 3095625 w 6610350"/>
              <a:gd name="connsiteY83" fmla="*/ 1462087 h 2481262"/>
              <a:gd name="connsiteX84" fmla="*/ 3162300 w 6610350"/>
              <a:gd name="connsiteY84" fmla="*/ 1462087 h 2481262"/>
              <a:gd name="connsiteX85" fmla="*/ 3162300 w 6610350"/>
              <a:gd name="connsiteY85" fmla="*/ 1485900 h 2481262"/>
              <a:gd name="connsiteX86" fmla="*/ 3257550 w 6610350"/>
              <a:gd name="connsiteY86" fmla="*/ 1485900 h 2481262"/>
              <a:gd name="connsiteX87" fmla="*/ 3252788 w 6610350"/>
              <a:gd name="connsiteY87" fmla="*/ 1538287 h 2481262"/>
              <a:gd name="connsiteX88" fmla="*/ 3314700 w 6610350"/>
              <a:gd name="connsiteY88" fmla="*/ 1543050 h 2481262"/>
              <a:gd name="connsiteX89" fmla="*/ 3319438 w 6610350"/>
              <a:gd name="connsiteY89" fmla="*/ 1585690 h 2481262"/>
              <a:gd name="connsiteX90" fmla="*/ 3405188 w 6610350"/>
              <a:gd name="connsiteY90" fmla="*/ 1581150 h 2481262"/>
              <a:gd name="connsiteX91" fmla="*/ 3405188 w 6610350"/>
              <a:gd name="connsiteY91" fmla="*/ 1614487 h 2481262"/>
              <a:gd name="connsiteX92" fmla="*/ 3586163 w 6610350"/>
              <a:gd name="connsiteY92" fmla="*/ 1614487 h 2481262"/>
              <a:gd name="connsiteX93" fmla="*/ 3586163 w 6610350"/>
              <a:gd name="connsiteY93" fmla="*/ 1638300 h 2481262"/>
              <a:gd name="connsiteX94" fmla="*/ 3643313 w 6610350"/>
              <a:gd name="connsiteY94" fmla="*/ 1633537 h 2481262"/>
              <a:gd name="connsiteX95" fmla="*/ 3648051 w 6610350"/>
              <a:gd name="connsiteY95" fmla="*/ 1680915 h 2481262"/>
              <a:gd name="connsiteX96" fmla="*/ 3724275 w 6610350"/>
              <a:gd name="connsiteY96" fmla="*/ 1676351 h 2481262"/>
              <a:gd name="connsiteX97" fmla="*/ 3729014 w 6610350"/>
              <a:gd name="connsiteY97" fmla="*/ 1714253 h 2481262"/>
              <a:gd name="connsiteX98" fmla="*/ 3814763 w 6610350"/>
              <a:gd name="connsiteY98" fmla="*/ 1704975 h 2481262"/>
              <a:gd name="connsiteX99" fmla="*/ 3814763 w 6610350"/>
              <a:gd name="connsiteY99" fmla="*/ 1757362 h 2481262"/>
              <a:gd name="connsiteX100" fmla="*/ 3890963 w 6610350"/>
              <a:gd name="connsiteY100" fmla="*/ 1762125 h 2481262"/>
              <a:gd name="connsiteX101" fmla="*/ 3881438 w 6610350"/>
              <a:gd name="connsiteY101" fmla="*/ 1800225 h 2481262"/>
              <a:gd name="connsiteX102" fmla="*/ 3952875 w 6610350"/>
              <a:gd name="connsiteY102" fmla="*/ 1804987 h 2481262"/>
              <a:gd name="connsiteX103" fmla="*/ 3957638 w 6610350"/>
              <a:gd name="connsiteY103" fmla="*/ 1862137 h 2481262"/>
              <a:gd name="connsiteX104" fmla="*/ 4029075 w 6610350"/>
              <a:gd name="connsiteY104" fmla="*/ 1862137 h 2481262"/>
              <a:gd name="connsiteX105" fmla="*/ 4029075 w 6610350"/>
              <a:gd name="connsiteY105" fmla="*/ 1924050 h 2481262"/>
              <a:gd name="connsiteX106" fmla="*/ 4100513 w 6610350"/>
              <a:gd name="connsiteY106" fmla="*/ 1924050 h 2481262"/>
              <a:gd name="connsiteX107" fmla="*/ 4143375 w 6610350"/>
              <a:gd name="connsiteY107" fmla="*/ 1924050 h 2481262"/>
              <a:gd name="connsiteX108" fmla="*/ 4138613 w 6610350"/>
              <a:gd name="connsiteY108" fmla="*/ 1966912 h 2481262"/>
              <a:gd name="connsiteX109" fmla="*/ 4214813 w 6610350"/>
              <a:gd name="connsiteY109" fmla="*/ 1971675 h 2481262"/>
              <a:gd name="connsiteX110" fmla="*/ 4214813 w 6610350"/>
              <a:gd name="connsiteY110" fmla="*/ 2014537 h 2481262"/>
              <a:gd name="connsiteX111" fmla="*/ 4319588 w 6610350"/>
              <a:gd name="connsiteY111" fmla="*/ 2014537 h 2481262"/>
              <a:gd name="connsiteX112" fmla="*/ 4319588 w 6610350"/>
              <a:gd name="connsiteY112" fmla="*/ 2014537 h 2481262"/>
              <a:gd name="connsiteX113" fmla="*/ 4362451 w 6610350"/>
              <a:gd name="connsiteY113" fmla="*/ 2038350 h 2481262"/>
              <a:gd name="connsiteX114" fmla="*/ 4410075 w 6610350"/>
              <a:gd name="connsiteY114" fmla="*/ 2095500 h 2481262"/>
              <a:gd name="connsiteX115" fmla="*/ 4605338 w 6610350"/>
              <a:gd name="connsiteY115" fmla="*/ 2105025 h 2481262"/>
              <a:gd name="connsiteX116" fmla="*/ 4605338 w 6610350"/>
              <a:gd name="connsiteY116" fmla="*/ 2105025 h 2481262"/>
              <a:gd name="connsiteX117" fmla="*/ 4605338 w 6610350"/>
              <a:gd name="connsiteY117" fmla="*/ 2147887 h 2481262"/>
              <a:gd name="connsiteX118" fmla="*/ 4791075 w 6610350"/>
              <a:gd name="connsiteY118" fmla="*/ 2147887 h 2481262"/>
              <a:gd name="connsiteX119" fmla="*/ 4791075 w 6610350"/>
              <a:gd name="connsiteY119" fmla="*/ 2176462 h 2481262"/>
              <a:gd name="connsiteX120" fmla="*/ 4953000 w 6610350"/>
              <a:gd name="connsiteY120" fmla="*/ 2176462 h 2481262"/>
              <a:gd name="connsiteX121" fmla="*/ 5072063 w 6610350"/>
              <a:gd name="connsiteY121" fmla="*/ 2176462 h 2481262"/>
              <a:gd name="connsiteX122" fmla="*/ 5072063 w 6610350"/>
              <a:gd name="connsiteY122" fmla="*/ 2233612 h 2481262"/>
              <a:gd name="connsiteX123" fmla="*/ 5400675 w 6610350"/>
              <a:gd name="connsiteY123" fmla="*/ 2233612 h 2481262"/>
              <a:gd name="connsiteX124" fmla="*/ 5400675 w 6610350"/>
              <a:gd name="connsiteY124" fmla="*/ 2233612 h 2481262"/>
              <a:gd name="connsiteX125" fmla="*/ 5500688 w 6610350"/>
              <a:gd name="connsiteY125" fmla="*/ 2233612 h 2481262"/>
              <a:gd name="connsiteX126" fmla="*/ 5500688 w 6610350"/>
              <a:gd name="connsiteY126" fmla="*/ 2305050 h 2481262"/>
              <a:gd name="connsiteX127" fmla="*/ 5586413 w 6610350"/>
              <a:gd name="connsiteY127" fmla="*/ 2305050 h 2481262"/>
              <a:gd name="connsiteX128" fmla="*/ 5586413 w 6610350"/>
              <a:gd name="connsiteY128" fmla="*/ 2328862 h 2481262"/>
              <a:gd name="connsiteX129" fmla="*/ 5629275 w 6610350"/>
              <a:gd name="connsiteY129" fmla="*/ 2328862 h 2481262"/>
              <a:gd name="connsiteX130" fmla="*/ 5629275 w 6610350"/>
              <a:gd name="connsiteY130" fmla="*/ 2390775 h 2481262"/>
              <a:gd name="connsiteX131" fmla="*/ 6134100 w 6610350"/>
              <a:gd name="connsiteY131" fmla="*/ 2390775 h 2481262"/>
              <a:gd name="connsiteX132" fmla="*/ 6134100 w 6610350"/>
              <a:gd name="connsiteY132" fmla="*/ 2481262 h 2481262"/>
              <a:gd name="connsiteX133" fmla="*/ 6610350 w 6610350"/>
              <a:gd name="connsiteY133" fmla="*/ 2481262 h 2481262"/>
              <a:gd name="connsiteX0" fmla="*/ 0 w 6610350"/>
              <a:gd name="connsiteY0" fmla="*/ 4762 h 2481262"/>
              <a:gd name="connsiteX1" fmla="*/ 90488 w 6610350"/>
              <a:gd name="connsiteY1" fmla="*/ 0 h 2481262"/>
              <a:gd name="connsiteX2" fmla="*/ 90488 w 6610350"/>
              <a:gd name="connsiteY2" fmla="*/ 33337 h 2481262"/>
              <a:gd name="connsiteX3" fmla="*/ 133350 w 6610350"/>
              <a:gd name="connsiteY3" fmla="*/ 33337 h 2481262"/>
              <a:gd name="connsiteX4" fmla="*/ 133350 w 6610350"/>
              <a:gd name="connsiteY4" fmla="*/ 66675 h 2481262"/>
              <a:gd name="connsiteX5" fmla="*/ 209550 w 6610350"/>
              <a:gd name="connsiteY5" fmla="*/ 66675 h 2481262"/>
              <a:gd name="connsiteX6" fmla="*/ 204788 w 6610350"/>
              <a:gd name="connsiteY6" fmla="*/ 95250 h 2481262"/>
              <a:gd name="connsiteX7" fmla="*/ 361950 w 6610350"/>
              <a:gd name="connsiteY7" fmla="*/ 104775 h 2481262"/>
              <a:gd name="connsiteX8" fmla="*/ 361950 w 6610350"/>
              <a:gd name="connsiteY8" fmla="*/ 123825 h 2481262"/>
              <a:gd name="connsiteX9" fmla="*/ 423863 w 6610350"/>
              <a:gd name="connsiteY9" fmla="*/ 119062 h 2481262"/>
              <a:gd name="connsiteX10" fmla="*/ 423862 w 6610350"/>
              <a:gd name="connsiteY10" fmla="*/ 166687 h 2481262"/>
              <a:gd name="connsiteX11" fmla="*/ 552450 w 6610350"/>
              <a:gd name="connsiteY11" fmla="*/ 171450 h 2481262"/>
              <a:gd name="connsiteX12" fmla="*/ 557213 w 6610350"/>
              <a:gd name="connsiteY12" fmla="*/ 200025 h 2481262"/>
              <a:gd name="connsiteX13" fmla="*/ 595313 w 6610350"/>
              <a:gd name="connsiteY13" fmla="*/ 204787 h 2481262"/>
              <a:gd name="connsiteX14" fmla="*/ 600075 w 6610350"/>
              <a:gd name="connsiteY14" fmla="*/ 238125 h 2481262"/>
              <a:gd name="connsiteX15" fmla="*/ 642938 w 6610350"/>
              <a:gd name="connsiteY15" fmla="*/ 238125 h 2481262"/>
              <a:gd name="connsiteX16" fmla="*/ 642938 w 6610350"/>
              <a:gd name="connsiteY16" fmla="*/ 276225 h 2481262"/>
              <a:gd name="connsiteX17" fmla="*/ 933450 w 6610350"/>
              <a:gd name="connsiteY17" fmla="*/ 280987 h 2481262"/>
              <a:gd name="connsiteX18" fmla="*/ 938213 w 6610350"/>
              <a:gd name="connsiteY18" fmla="*/ 300037 h 2481262"/>
              <a:gd name="connsiteX19" fmla="*/ 1023938 w 6610350"/>
              <a:gd name="connsiteY19" fmla="*/ 300013 h 2481262"/>
              <a:gd name="connsiteX20" fmla="*/ 1028700 w 6610350"/>
              <a:gd name="connsiteY20" fmla="*/ 357187 h 2481262"/>
              <a:gd name="connsiteX21" fmla="*/ 1147763 w 6610350"/>
              <a:gd name="connsiteY21" fmla="*/ 357187 h 2481262"/>
              <a:gd name="connsiteX22" fmla="*/ 1157288 w 6610350"/>
              <a:gd name="connsiteY22" fmla="*/ 390525 h 2481262"/>
              <a:gd name="connsiteX23" fmla="*/ 1228725 w 6610350"/>
              <a:gd name="connsiteY23" fmla="*/ 390525 h 2481262"/>
              <a:gd name="connsiteX24" fmla="*/ 1228725 w 6610350"/>
              <a:gd name="connsiteY24" fmla="*/ 414215 h 2481262"/>
              <a:gd name="connsiteX25" fmla="*/ 1323975 w 6610350"/>
              <a:gd name="connsiteY25" fmla="*/ 419100 h 2481262"/>
              <a:gd name="connsiteX26" fmla="*/ 1338263 w 6610350"/>
              <a:gd name="connsiteY26" fmla="*/ 471487 h 2481262"/>
              <a:gd name="connsiteX27" fmla="*/ 1400175 w 6610350"/>
              <a:gd name="connsiteY27" fmla="*/ 466725 h 2481262"/>
              <a:gd name="connsiteX28" fmla="*/ 1404938 w 6610350"/>
              <a:gd name="connsiteY28" fmla="*/ 490537 h 2481262"/>
              <a:gd name="connsiteX29" fmla="*/ 1466850 w 6610350"/>
              <a:gd name="connsiteY29" fmla="*/ 495300 h 2481262"/>
              <a:gd name="connsiteX30" fmla="*/ 1471613 w 6610350"/>
              <a:gd name="connsiteY30" fmla="*/ 509587 h 2481262"/>
              <a:gd name="connsiteX31" fmla="*/ 1528763 w 6610350"/>
              <a:gd name="connsiteY31" fmla="*/ 509587 h 2481262"/>
              <a:gd name="connsiteX32" fmla="*/ 1528763 w 6610350"/>
              <a:gd name="connsiteY32" fmla="*/ 557212 h 2481262"/>
              <a:gd name="connsiteX33" fmla="*/ 1714500 w 6610350"/>
              <a:gd name="connsiteY33" fmla="*/ 561974 h 2481262"/>
              <a:gd name="connsiteX34" fmla="*/ 1714500 w 6610350"/>
              <a:gd name="connsiteY34" fmla="*/ 590550 h 2481262"/>
              <a:gd name="connsiteX35" fmla="*/ 1752600 w 6610350"/>
              <a:gd name="connsiteY35" fmla="*/ 590550 h 2481262"/>
              <a:gd name="connsiteX36" fmla="*/ 1762125 w 6610350"/>
              <a:gd name="connsiteY36" fmla="*/ 619125 h 2481262"/>
              <a:gd name="connsiteX37" fmla="*/ 1809750 w 6610350"/>
              <a:gd name="connsiteY37" fmla="*/ 619125 h 2481262"/>
              <a:gd name="connsiteX38" fmla="*/ 1809750 w 6610350"/>
              <a:gd name="connsiteY38" fmla="*/ 647700 h 2481262"/>
              <a:gd name="connsiteX39" fmla="*/ 1847850 w 6610350"/>
              <a:gd name="connsiteY39" fmla="*/ 647700 h 2481262"/>
              <a:gd name="connsiteX40" fmla="*/ 1847850 w 6610350"/>
              <a:gd name="connsiteY40" fmla="*/ 714375 h 2481262"/>
              <a:gd name="connsiteX41" fmla="*/ 1905000 w 6610350"/>
              <a:gd name="connsiteY41" fmla="*/ 714375 h 2481262"/>
              <a:gd name="connsiteX42" fmla="*/ 1909812 w 6610350"/>
              <a:gd name="connsiteY42" fmla="*/ 752401 h 2481262"/>
              <a:gd name="connsiteX43" fmla="*/ 2000299 w 6610350"/>
              <a:gd name="connsiteY43" fmla="*/ 757114 h 2481262"/>
              <a:gd name="connsiteX44" fmla="*/ 2009775 w 6610350"/>
              <a:gd name="connsiteY44" fmla="*/ 804862 h 2481262"/>
              <a:gd name="connsiteX45" fmla="*/ 2038350 w 6610350"/>
              <a:gd name="connsiteY45" fmla="*/ 804862 h 2481262"/>
              <a:gd name="connsiteX46" fmla="*/ 2038350 w 6610350"/>
              <a:gd name="connsiteY46" fmla="*/ 823912 h 2481262"/>
              <a:gd name="connsiteX47" fmla="*/ 2038350 w 6610350"/>
              <a:gd name="connsiteY47" fmla="*/ 823912 h 2481262"/>
              <a:gd name="connsiteX48" fmla="*/ 2071688 w 6610350"/>
              <a:gd name="connsiteY48" fmla="*/ 852487 h 2481262"/>
              <a:gd name="connsiteX49" fmla="*/ 2071688 w 6610350"/>
              <a:gd name="connsiteY49" fmla="*/ 852487 h 2481262"/>
              <a:gd name="connsiteX50" fmla="*/ 2100263 w 6610350"/>
              <a:gd name="connsiteY50" fmla="*/ 885825 h 2481262"/>
              <a:gd name="connsiteX51" fmla="*/ 2190750 w 6610350"/>
              <a:gd name="connsiteY51" fmla="*/ 885825 h 2481262"/>
              <a:gd name="connsiteX52" fmla="*/ 2195513 w 6610350"/>
              <a:gd name="connsiteY52" fmla="*/ 933450 h 2481262"/>
              <a:gd name="connsiteX53" fmla="*/ 2247900 w 6610350"/>
              <a:gd name="connsiteY53" fmla="*/ 923925 h 2481262"/>
              <a:gd name="connsiteX54" fmla="*/ 2247900 w 6610350"/>
              <a:gd name="connsiteY54" fmla="*/ 966787 h 2481262"/>
              <a:gd name="connsiteX55" fmla="*/ 2347937 w 6610350"/>
              <a:gd name="connsiteY55" fmla="*/ 961976 h 2481262"/>
              <a:gd name="connsiteX56" fmla="*/ 2347913 w 6610350"/>
              <a:gd name="connsiteY56" fmla="*/ 985837 h 2481262"/>
              <a:gd name="connsiteX57" fmla="*/ 2400300 w 6610350"/>
              <a:gd name="connsiteY57" fmla="*/ 990600 h 2481262"/>
              <a:gd name="connsiteX58" fmla="*/ 2400300 w 6610350"/>
              <a:gd name="connsiteY58" fmla="*/ 990600 h 2481262"/>
              <a:gd name="connsiteX59" fmla="*/ 2400300 w 6610350"/>
              <a:gd name="connsiteY59" fmla="*/ 1019175 h 2481262"/>
              <a:gd name="connsiteX60" fmla="*/ 2476500 w 6610350"/>
              <a:gd name="connsiteY60" fmla="*/ 1009650 h 2481262"/>
              <a:gd name="connsiteX61" fmla="*/ 2476500 w 6610350"/>
              <a:gd name="connsiteY61" fmla="*/ 1047750 h 2481262"/>
              <a:gd name="connsiteX62" fmla="*/ 2500313 w 6610350"/>
              <a:gd name="connsiteY62" fmla="*/ 1047750 h 2481262"/>
              <a:gd name="connsiteX63" fmla="*/ 2505050 w 6610350"/>
              <a:gd name="connsiteY63" fmla="*/ 1085653 h 2481262"/>
              <a:gd name="connsiteX64" fmla="*/ 2566988 w 6610350"/>
              <a:gd name="connsiteY64" fmla="*/ 1081087 h 2481262"/>
              <a:gd name="connsiteX65" fmla="*/ 2562225 w 6610350"/>
              <a:gd name="connsiteY65" fmla="*/ 1123950 h 2481262"/>
              <a:gd name="connsiteX66" fmla="*/ 2609850 w 6610350"/>
              <a:gd name="connsiteY66" fmla="*/ 1123950 h 2481262"/>
              <a:gd name="connsiteX67" fmla="*/ 2609850 w 6610350"/>
              <a:gd name="connsiteY67" fmla="*/ 1162050 h 2481262"/>
              <a:gd name="connsiteX68" fmla="*/ 2609850 w 6610350"/>
              <a:gd name="connsiteY68" fmla="*/ 1162050 h 2481262"/>
              <a:gd name="connsiteX69" fmla="*/ 2638425 w 6610350"/>
              <a:gd name="connsiteY69" fmla="*/ 1185862 h 2481262"/>
              <a:gd name="connsiteX70" fmla="*/ 2662113 w 6610350"/>
              <a:gd name="connsiteY70" fmla="*/ 1185863 h 2481262"/>
              <a:gd name="connsiteX71" fmla="*/ 2662238 w 6610350"/>
              <a:gd name="connsiteY71" fmla="*/ 1228725 h 2481262"/>
              <a:gd name="connsiteX72" fmla="*/ 2800350 w 6610350"/>
              <a:gd name="connsiteY72" fmla="*/ 1224011 h 2481262"/>
              <a:gd name="connsiteX73" fmla="*/ 2805113 w 6610350"/>
              <a:gd name="connsiteY73" fmla="*/ 1266825 h 2481262"/>
              <a:gd name="connsiteX74" fmla="*/ 2881313 w 6610350"/>
              <a:gd name="connsiteY74" fmla="*/ 1266825 h 2481262"/>
              <a:gd name="connsiteX75" fmla="*/ 2876550 w 6610350"/>
              <a:gd name="connsiteY75" fmla="*/ 1290637 h 2481262"/>
              <a:gd name="connsiteX76" fmla="*/ 2909714 w 6610350"/>
              <a:gd name="connsiteY76" fmla="*/ 1290637 h 2481262"/>
              <a:gd name="connsiteX77" fmla="*/ 2909888 w 6610350"/>
              <a:gd name="connsiteY77" fmla="*/ 1338262 h 2481262"/>
              <a:gd name="connsiteX78" fmla="*/ 2938315 w 6610350"/>
              <a:gd name="connsiteY78" fmla="*/ 1338262 h 2481262"/>
              <a:gd name="connsiteX79" fmla="*/ 2947988 w 6610350"/>
              <a:gd name="connsiteY79" fmla="*/ 1385887 h 2481262"/>
              <a:gd name="connsiteX80" fmla="*/ 3028950 w 6610350"/>
              <a:gd name="connsiteY80" fmla="*/ 1385887 h 2481262"/>
              <a:gd name="connsiteX81" fmla="*/ 3028950 w 6610350"/>
              <a:gd name="connsiteY81" fmla="*/ 1419225 h 2481262"/>
              <a:gd name="connsiteX82" fmla="*/ 3095625 w 6610350"/>
              <a:gd name="connsiteY82" fmla="*/ 1419225 h 2481262"/>
              <a:gd name="connsiteX83" fmla="*/ 3095625 w 6610350"/>
              <a:gd name="connsiteY83" fmla="*/ 1462087 h 2481262"/>
              <a:gd name="connsiteX84" fmla="*/ 3162300 w 6610350"/>
              <a:gd name="connsiteY84" fmla="*/ 1462087 h 2481262"/>
              <a:gd name="connsiteX85" fmla="*/ 3162300 w 6610350"/>
              <a:gd name="connsiteY85" fmla="*/ 1485900 h 2481262"/>
              <a:gd name="connsiteX86" fmla="*/ 3257550 w 6610350"/>
              <a:gd name="connsiteY86" fmla="*/ 1485900 h 2481262"/>
              <a:gd name="connsiteX87" fmla="*/ 3252788 w 6610350"/>
              <a:gd name="connsiteY87" fmla="*/ 1538287 h 2481262"/>
              <a:gd name="connsiteX88" fmla="*/ 3314700 w 6610350"/>
              <a:gd name="connsiteY88" fmla="*/ 1543050 h 2481262"/>
              <a:gd name="connsiteX89" fmla="*/ 3319438 w 6610350"/>
              <a:gd name="connsiteY89" fmla="*/ 1585690 h 2481262"/>
              <a:gd name="connsiteX90" fmla="*/ 3405188 w 6610350"/>
              <a:gd name="connsiteY90" fmla="*/ 1581150 h 2481262"/>
              <a:gd name="connsiteX91" fmla="*/ 3405188 w 6610350"/>
              <a:gd name="connsiteY91" fmla="*/ 1614487 h 2481262"/>
              <a:gd name="connsiteX92" fmla="*/ 3586163 w 6610350"/>
              <a:gd name="connsiteY92" fmla="*/ 1614487 h 2481262"/>
              <a:gd name="connsiteX93" fmla="*/ 3586163 w 6610350"/>
              <a:gd name="connsiteY93" fmla="*/ 1638300 h 2481262"/>
              <a:gd name="connsiteX94" fmla="*/ 3643313 w 6610350"/>
              <a:gd name="connsiteY94" fmla="*/ 1633537 h 2481262"/>
              <a:gd name="connsiteX95" fmla="*/ 3648051 w 6610350"/>
              <a:gd name="connsiteY95" fmla="*/ 1680915 h 2481262"/>
              <a:gd name="connsiteX96" fmla="*/ 3724275 w 6610350"/>
              <a:gd name="connsiteY96" fmla="*/ 1676351 h 2481262"/>
              <a:gd name="connsiteX97" fmla="*/ 3729014 w 6610350"/>
              <a:gd name="connsiteY97" fmla="*/ 1714253 h 2481262"/>
              <a:gd name="connsiteX98" fmla="*/ 3814763 w 6610350"/>
              <a:gd name="connsiteY98" fmla="*/ 1704975 h 2481262"/>
              <a:gd name="connsiteX99" fmla="*/ 3814763 w 6610350"/>
              <a:gd name="connsiteY99" fmla="*/ 1757362 h 2481262"/>
              <a:gd name="connsiteX100" fmla="*/ 3890963 w 6610350"/>
              <a:gd name="connsiteY100" fmla="*/ 1762125 h 2481262"/>
              <a:gd name="connsiteX101" fmla="*/ 3881438 w 6610350"/>
              <a:gd name="connsiteY101" fmla="*/ 1800225 h 2481262"/>
              <a:gd name="connsiteX102" fmla="*/ 3952875 w 6610350"/>
              <a:gd name="connsiteY102" fmla="*/ 1804987 h 2481262"/>
              <a:gd name="connsiteX103" fmla="*/ 3957638 w 6610350"/>
              <a:gd name="connsiteY103" fmla="*/ 1862137 h 2481262"/>
              <a:gd name="connsiteX104" fmla="*/ 4029075 w 6610350"/>
              <a:gd name="connsiteY104" fmla="*/ 1862137 h 2481262"/>
              <a:gd name="connsiteX105" fmla="*/ 4029075 w 6610350"/>
              <a:gd name="connsiteY105" fmla="*/ 1924050 h 2481262"/>
              <a:gd name="connsiteX106" fmla="*/ 4100513 w 6610350"/>
              <a:gd name="connsiteY106" fmla="*/ 1924050 h 2481262"/>
              <a:gd name="connsiteX107" fmla="*/ 4143375 w 6610350"/>
              <a:gd name="connsiteY107" fmla="*/ 1924050 h 2481262"/>
              <a:gd name="connsiteX108" fmla="*/ 4138613 w 6610350"/>
              <a:gd name="connsiteY108" fmla="*/ 1966912 h 2481262"/>
              <a:gd name="connsiteX109" fmla="*/ 4214813 w 6610350"/>
              <a:gd name="connsiteY109" fmla="*/ 1971675 h 2481262"/>
              <a:gd name="connsiteX110" fmla="*/ 4214813 w 6610350"/>
              <a:gd name="connsiteY110" fmla="*/ 2014537 h 2481262"/>
              <a:gd name="connsiteX111" fmla="*/ 4319588 w 6610350"/>
              <a:gd name="connsiteY111" fmla="*/ 2014537 h 2481262"/>
              <a:gd name="connsiteX112" fmla="*/ 4319588 w 6610350"/>
              <a:gd name="connsiteY112" fmla="*/ 2014537 h 2481262"/>
              <a:gd name="connsiteX113" fmla="*/ 4362451 w 6610350"/>
              <a:gd name="connsiteY113" fmla="*/ 2038350 h 2481262"/>
              <a:gd name="connsiteX114" fmla="*/ 4410075 w 6610350"/>
              <a:gd name="connsiteY114" fmla="*/ 2095500 h 2481262"/>
              <a:gd name="connsiteX115" fmla="*/ 4605338 w 6610350"/>
              <a:gd name="connsiteY115" fmla="*/ 2105025 h 2481262"/>
              <a:gd name="connsiteX116" fmla="*/ 4605338 w 6610350"/>
              <a:gd name="connsiteY116" fmla="*/ 2105025 h 2481262"/>
              <a:gd name="connsiteX117" fmla="*/ 4605338 w 6610350"/>
              <a:gd name="connsiteY117" fmla="*/ 2147887 h 2481262"/>
              <a:gd name="connsiteX118" fmla="*/ 4791075 w 6610350"/>
              <a:gd name="connsiteY118" fmla="*/ 2147887 h 2481262"/>
              <a:gd name="connsiteX119" fmla="*/ 4791075 w 6610350"/>
              <a:gd name="connsiteY119" fmla="*/ 2176462 h 2481262"/>
              <a:gd name="connsiteX120" fmla="*/ 4953000 w 6610350"/>
              <a:gd name="connsiteY120" fmla="*/ 2176462 h 2481262"/>
              <a:gd name="connsiteX121" fmla="*/ 5072063 w 6610350"/>
              <a:gd name="connsiteY121" fmla="*/ 2176462 h 2481262"/>
              <a:gd name="connsiteX122" fmla="*/ 5072063 w 6610350"/>
              <a:gd name="connsiteY122" fmla="*/ 2233612 h 2481262"/>
              <a:gd name="connsiteX123" fmla="*/ 5400675 w 6610350"/>
              <a:gd name="connsiteY123" fmla="*/ 2233612 h 2481262"/>
              <a:gd name="connsiteX124" fmla="*/ 5400675 w 6610350"/>
              <a:gd name="connsiteY124" fmla="*/ 2233612 h 2481262"/>
              <a:gd name="connsiteX125" fmla="*/ 5500688 w 6610350"/>
              <a:gd name="connsiteY125" fmla="*/ 2233612 h 2481262"/>
              <a:gd name="connsiteX126" fmla="*/ 5500688 w 6610350"/>
              <a:gd name="connsiteY126" fmla="*/ 2305050 h 2481262"/>
              <a:gd name="connsiteX127" fmla="*/ 5586413 w 6610350"/>
              <a:gd name="connsiteY127" fmla="*/ 2305050 h 2481262"/>
              <a:gd name="connsiteX128" fmla="*/ 5586413 w 6610350"/>
              <a:gd name="connsiteY128" fmla="*/ 2328862 h 2481262"/>
              <a:gd name="connsiteX129" fmla="*/ 5629275 w 6610350"/>
              <a:gd name="connsiteY129" fmla="*/ 2328862 h 2481262"/>
              <a:gd name="connsiteX130" fmla="*/ 5629275 w 6610350"/>
              <a:gd name="connsiteY130" fmla="*/ 2390775 h 2481262"/>
              <a:gd name="connsiteX131" fmla="*/ 6134100 w 6610350"/>
              <a:gd name="connsiteY131" fmla="*/ 2390775 h 2481262"/>
              <a:gd name="connsiteX132" fmla="*/ 6134100 w 6610350"/>
              <a:gd name="connsiteY132" fmla="*/ 2481262 h 2481262"/>
              <a:gd name="connsiteX133" fmla="*/ 6610350 w 6610350"/>
              <a:gd name="connsiteY133" fmla="*/ 2481262 h 2481262"/>
              <a:gd name="connsiteX0" fmla="*/ 0 w 6610350"/>
              <a:gd name="connsiteY0" fmla="*/ 4762 h 2481262"/>
              <a:gd name="connsiteX1" fmla="*/ 90488 w 6610350"/>
              <a:gd name="connsiteY1" fmla="*/ 0 h 2481262"/>
              <a:gd name="connsiteX2" fmla="*/ 90488 w 6610350"/>
              <a:gd name="connsiteY2" fmla="*/ 33337 h 2481262"/>
              <a:gd name="connsiteX3" fmla="*/ 133350 w 6610350"/>
              <a:gd name="connsiteY3" fmla="*/ 33337 h 2481262"/>
              <a:gd name="connsiteX4" fmla="*/ 133350 w 6610350"/>
              <a:gd name="connsiteY4" fmla="*/ 66675 h 2481262"/>
              <a:gd name="connsiteX5" fmla="*/ 209550 w 6610350"/>
              <a:gd name="connsiteY5" fmla="*/ 66675 h 2481262"/>
              <a:gd name="connsiteX6" fmla="*/ 204788 w 6610350"/>
              <a:gd name="connsiteY6" fmla="*/ 95250 h 2481262"/>
              <a:gd name="connsiteX7" fmla="*/ 361950 w 6610350"/>
              <a:gd name="connsiteY7" fmla="*/ 104775 h 2481262"/>
              <a:gd name="connsiteX8" fmla="*/ 361950 w 6610350"/>
              <a:gd name="connsiteY8" fmla="*/ 123825 h 2481262"/>
              <a:gd name="connsiteX9" fmla="*/ 423863 w 6610350"/>
              <a:gd name="connsiteY9" fmla="*/ 119062 h 2481262"/>
              <a:gd name="connsiteX10" fmla="*/ 423862 w 6610350"/>
              <a:gd name="connsiteY10" fmla="*/ 166687 h 2481262"/>
              <a:gd name="connsiteX11" fmla="*/ 552450 w 6610350"/>
              <a:gd name="connsiteY11" fmla="*/ 171450 h 2481262"/>
              <a:gd name="connsiteX12" fmla="*/ 557213 w 6610350"/>
              <a:gd name="connsiteY12" fmla="*/ 200025 h 2481262"/>
              <a:gd name="connsiteX13" fmla="*/ 595313 w 6610350"/>
              <a:gd name="connsiteY13" fmla="*/ 204787 h 2481262"/>
              <a:gd name="connsiteX14" fmla="*/ 600075 w 6610350"/>
              <a:gd name="connsiteY14" fmla="*/ 238125 h 2481262"/>
              <a:gd name="connsiteX15" fmla="*/ 642938 w 6610350"/>
              <a:gd name="connsiteY15" fmla="*/ 238125 h 2481262"/>
              <a:gd name="connsiteX16" fmla="*/ 642938 w 6610350"/>
              <a:gd name="connsiteY16" fmla="*/ 276225 h 2481262"/>
              <a:gd name="connsiteX17" fmla="*/ 933450 w 6610350"/>
              <a:gd name="connsiteY17" fmla="*/ 280987 h 2481262"/>
              <a:gd name="connsiteX18" fmla="*/ 938213 w 6610350"/>
              <a:gd name="connsiteY18" fmla="*/ 300037 h 2481262"/>
              <a:gd name="connsiteX19" fmla="*/ 1023938 w 6610350"/>
              <a:gd name="connsiteY19" fmla="*/ 300013 h 2481262"/>
              <a:gd name="connsiteX20" fmla="*/ 1028700 w 6610350"/>
              <a:gd name="connsiteY20" fmla="*/ 357187 h 2481262"/>
              <a:gd name="connsiteX21" fmla="*/ 1147763 w 6610350"/>
              <a:gd name="connsiteY21" fmla="*/ 357187 h 2481262"/>
              <a:gd name="connsiteX22" fmla="*/ 1157288 w 6610350"/>
              <a:gd name="connsiteY22" fmla="*/ 390525 h 2481262"/>
              <a:gd name="connsiteX23" fmla="*/ 1228725 w 6610350"/>
              <a:gd name="connsiteY23" fmla="*/ 390525 h 2481262"/>
              <a:gd name="connsiteX24" fmla="*/ 1228725 w 6610350"/>
              <a:gd name="connsiteY24" fmla="*/ 414215 h 2481262"/>
              <a:gd name="connsiteX25" fmla="*/ 1323975 w 6610350"/>
              <a:gd name="connsiteY25" fmla="*/ 419100 h 2481262"/>
              <a:gd name="connsiteX26" fmla="*/ 1338263 w 6610350"/>
              <a:gd name="connsiteY26" fmla="*/ 471487 h 2481262"/>
              <a:gd name="connsiteX27" fmla="*/ 1400175 w 6610350"/>
              <a:gd name="connsiteY27" fmla="*/ 466725 h 2481262"/>
              <a:gd name="connsiteX28" fmla="*/ 1404938 w 6610350"/>
              <a:gd name="connsiteY28" fmla="*/ 490537 h 2481262"/>
              <a:gd name="connsiteX29" fmla="*/ 1466850 w 6610350"/>
              <a:gd name="connsiteY29" fmla="*/ 495300 h 2481262"/>
              <a:gd name="connsiteX30" fmla="*/ 1471613 w 6610350"/>
              <a:gd name="connsiteY30" fmla="*/ 509587 h 2481262"/>
              <a:gd name="connsiteX31" fmla="*/ 1528763 w 6610350"/>
              <a:gd name="connsiteY31" fmla="*/ 509587 h 2481262"/>
              <a:gd name="connsiteX32" fmla="*/ 1528763 w 6610350"/>
              <a:gd name="connsiteY32" fmla="*/ 557212 h 2481262"/>
              <a:gd name="connsiteX33" fmla="*/ 1714500 w 6610350"/>
              <a:gd name="connsiteY33" fmla="*/ 561974 h 2481262"/>
              <a:gd name="connsiteX34" fmla="*/ 1714500 w 6610350"/>
              <a:gd name="connsiteY34" fmla="*/ 590550 h 2481262"/>
              <a:gd name="connsiteX35" fmla="*/ 1752600 w 6610350"/>
              <a:gd name="connsiteY35" fmla="*/ 590550 h 2481262"/>
              <a:gd name="connsiteX36" fmla="*/ 1762125 w 6610350"/>
              <a:gd name="connsiteY36" fmla="*/ 619125 h 2481262"/>
              <a:gd name="connsiteX37" fmla="*/ 1809750 w 6610350"/>
              <a:gd name="connsiteY37" fmla="*/ 619125 h 2481262"/>
              <a:gd name="connsiteX38" fmla="*/ 1809750 w 6610350"/>
              <a:gd name="connsiteY38" fmla="*/ 647700 h 2481262"/>
              <a:gd name="connsiteX39" fmla="*/ 1847850 w 6610350"/>
              <a:gd name="connsiteY39" fmla="*/ 647700 h 2481262"/>
              <a:gd name="connsiteX40" fmla="*/ 1847850 w 6610350"/>
              <a:gd name="connsiteY40" fmla="*/ 714375 h 2481262"/>
              <a:gd name="connsiteX41" fmla="*/ 1905000 w 6610350"/>
              <a:gd name="connsiteY41" fmla="*/ 714375 h 2481262"/>
              <a:gd name="connsiteX42" fmla="*/ 1909812 w 6610350"/>
              <a:gd name="connsiteY42" fmla="*/ 752401 h 2481262"/>
              <a:gd name="connsiteX43" fmla="*/ 2000299 w 6610350"/>
              <a:gd name="connsiteY43" fmla="*/ 757114 h 2481262"/>
              <a:gd name="connsiteX44" fmla="*/ 2009775 w 6610350"/>
              <a:gd name="connsiteY44" fmla="*/ 804862 h 2481262"/>
              <a:gd name="connsiteX45" fmla="*/ 2038350 w 6610350"/>
              <a:gd name="connsiteY45" fmla="*/ 804862 h 2481262"/>
              <a:gd name="connsiteX46" fmla="*/ 2038350 w 6610350"/>
              <a:gd name="connsiteY46" fmla="*/ 823912 h 2481262"/>
              <a:gd name="connsiteX47" fmla="*/ 2038350 w 6610350"/>
              <a:gd name="connsiteY47" fmla="*/ 823912 h 2481262"/>
              <a:gd name="connsiteX48" fmla="*/ 2071688 w 6610350"/>
              <a:gd name="connsiteY48" fmla="*/ 852487 h 2481262"/>
              <a:gd name="connsiteX49" fmla="*/ 2071688 w 6610350"/>
              <a:gd name="connsiteY49" fmla="*/ 852487 h 2481262"/>
              <a:gd name="connsiteX50" fmla="*/ 2100263 w 6610350"/>
              <a:gd name="connsiteY50" fmla="*/ 885825 h 2481262"/>
              <a:gd name="connsiteX51" fmla="*/ 2190750 w 6610350"/>
              <a:gd name="connsiteY51" fmla="*/ 885825 h 2481262"/>
              <a:gd name="connsiteX52" fmla="*/ 2195513 w 6610350"/>
              <a:gd name="connsiteY52" fmla="*/ 933450 h 2481262"/>
              <a:gd name="connsiteX53" fmla="*/ 2247900 w 6610350"/>
              <a:gd name="connsiteY53" fmla="*/ 923925 h 2481262"/>
              <a:gd name="connsiteX54" fmla="*/ 2247900 w 6610350"/>
              <a:gd name="connsiteY54" fmla="*/ 966787 h 2481262"/>
              <a:gd name="connsiteX55" fmla="*/ 2347937 w 6610350"/>
              <a:gd name="connsiteY55" fmla="*/ 961976 h 2481262"/>
              <a:gd name="connsiteX56" fmla="*/ 2347913 w 6610350"/>
              <a:gd name="connsiteY56" fmla="*/ 985837 h 2481262"/>
              <a:gd name="connsiteX57" fmla="*/ 2400300 w 6610350"/>
              <a:gd name="connsiteY57" fmla="*/ 990600 h 2481262"/>
              <a:gd name="connsiteX58" fmla="*/ 2400300 w 6610350"/>
              <a:gd name="connsiteY58" fmla="*/ 990600 h 2481262"/>
              <a:gd name="connsiteX59" fmla="*/ 2400300 w 6610350"/>
              <a:gd name="connsiteY59" fmla="*/ 1019175 h 2481262"/>
              <a:gd name="connsiteX60" fmla="*/ 2476500 w 6610350"/>
              <a:gd name="connsiteY60" fmla="*/ 1009650 h 2481262"/>
              <a:gd name="connsiteX61" fmla="*/ 2476500 w 6610350"/>
              <a:gd name="connsiteY61" fmla="*/ 1047750 h 2481262"/>
              <a:gd name="connsiteX62" fmla="*/ 2500313 w 6610350"/>
              <a:gd name="connsiteY62" fmla="*/ 1047750 h 2481262"/>
              <a:gd name="connsiteX63" fmla="*/ 2505050 w 6610350"/>
              <a:gd name="connsiteY63" fmla="*/ 1085653 h 2481262"/>
              <a:gd name="connsiteX64" fmla="*/ 2566988 w 6610350"/>
              <a:gd name="connsiteY64" fmla="*/ 1081087 h 2481262"/>
              <a:gd name="connsiteX65" fmla="*/ 2562225 w 6610350"/>
              <a:gd name="connsiteY65" fmla="*/ 1123950 h 2481262"/>
              <a:gd name="connsiteX66" fmla="*/ 2609850 w 6610350"/>
              <a:gd name="connsiteY66" fmla="*/ 1123950 h 2481262"/>
              <a:gd name="connsiteX67" fmla="*/ 2609850 w 6610350"/>
              <a:gd name="connsiteY67" fmla="*/ 1162050 h 2481262"/>
              <a:gd name="connsiteX68" fmla="*/ 2609850 w 6610350"/>
              <a:gd name="connsiteY68" fmla="*/ 1162050 h 2481262"/>
              <a:gd name="connsiteX69" fmla="*/ 2638425 w 6610350"/>
              <a:gd name="connsiteY69" fmla="*/ 1185862 h 2481262"/>
              <a:gd name="connsiteX70" fmla="*/ 2662113 w 6610350"/>
              <a:gd name="connsiteY70" fmla="*/ 1185863 h 2481262"/>
              <a:gd name="connsiteX71" fmla="*/ 2662238 w 6610350"/>
              <a:gd name="connsiteY71" fmla="*/ 1228725 h 2481262"/>
              <a:gd name="connsiteX72" fmla="*/ 2800350 w 6610350"/>
              <a:gd name="connsiteY72" fmla="*/ 1228749 h 2481262"/>
              <a:gd name="connsiteX73" fmla="*/ 2805113 w 6610350"/>
              <a:gd name="connsiteY73" fmla="*/ 1266825 h 2481262"/>
              <a:gd name="connsiteX74" fmla="*/ 2881313 w 6610350"/>
              <a:gd name="connsiteY74" fmla="*/ 1266825 h 2481262"/>
              <a:gd name="connsiteX75" fmla="*/ 2876550 w 6610350"/>
              <a:gd name="connsiteY75" fmla="*/ 1290637 h 2481262"/>
              <a:gd name="connsiteX76" fmla="*/ 2909714 w 6610350"/>
              <a:gd name="connsiteY76" fmla="*/ 1290637 h 2481262"/>
              <a:gd name="connsiteX77" fmla="*/ 2909888 w 6610350"/>
              <a:gd name="connsiteY77" fmla="*/ 1338262 h 2481262"/>
              <a:gd name="connsiteX78" fmla="*/ 2938315 w 6610350"/>
              <a:gd name="connsiteY78" fmla="*/ 1338262 h 2481262"/>
              <a:gd name="connsiteX79" fmla="*/ 2947988 w 6610350"/>
              <a:gd name="connsiteY79" fmla="*/ 1385887 h 2481262"/>
              <a:gd name="connsiteX80" fmla="*/ 3028950 w 6610350"/>
              <a:gd name="connsiteY80" fmla="*/ 1385887 h 2481262"/>
              <a:gd name="connsiteX81" fmla="*/ 3028950 w 6610350"/>
              <a:gd name="connsiteY81" fmla="*/ 1419225 h 2481262"/>
              <a:gd name="connsiteX82" fmla="*/ 3095625 w 6610350"/>
              <a:gd name="connsiteY82" fmla="*/ 1419225 h 2481262"/>
              <a:gd name="connsiteX83" fmla="*/ 3095625 w 6610350"/>
              <a:gd name="connsiteY83" fmla="*/ 1462087 h 2481262"/>
              <a:gd name="connsiteX84" fmla="*/ 3162300 w 6610350"/>
              <a:gd name="connsiteY84" fmla="*/ 1462087 h 2481262"/>
              <a:gd name="connsiteX85" fmla="*/ 3162300 w 6610350"/>
              <a:gd name="connsiteY85" fmla="*/ 1485900 h 2481262"/>
              <a:gd name="connsiteX86" fmla="*/ 3257550 w 6610350"/>
              <a:gd name="connsiteY86" fmla="*/ 1485900 h 2481262"/>
              <a:gd name="connsiteX87" fmla="*/ 3252788 w 6610350"/>
              <a:gd name="connsiteY87" fmla="*/ 1538287 h 2481262"/>
              <a:gd name="connsiteX88" fmla="*/ 3314700 w 6610350"/>
              <a:gd name="connsiteY88" fmla="*/ 1543050 h 2481262"/>
              <a:gd name="connsiteX89" fmla="*/ 3319438 w 6610350"/>
              <a:gd name="connsiteY89" fmla="*/ 1585690 h 2481262"/>
              <a:gd name="connsiteX90" fmla="*/ 3405188 w 6610350"/>
              <a:gd name="connsiteY90" fmla="*/ 1581150 h 2481262"/>
              <a:gd name="connsiteX91" fmla="*/ 3405188 w 6610350"/>
              <a:gd name="connsiteY91" fmla="*/ 1614487 h 2481262"/>
              <a:gd name="connsiteX92" fmla="*/ 3586163 w 6610350"/>
              <a:gd name="connsiteY92" fmla="*/ 1614487 h 2481262"/>
              <a:gd name="connsiteX93" fmla="*/ 3586163 w 6610350"/>
              <a:gd name="connsiteY93" fmla="*/ 1638300 h 2481262"/>
              <a:gd name="connsiteX94" fmla="*/ 3643313 w 6610350"/>
              <a:gd name="connsiteY94" fmla="*/ 1633537 h 2481262"/>
              <a:gd name="connsiteX95" fmla="*/ 3648051 w 6610350"/>
              <a:gd name="connsiteY95" fmla="*/ 1680915 h 2481262"/>
              <a:gd name="connsiteX96" fmla="*/ 3724275 w 6610350"/>
              <a:gd name="connsiteY96" fmla="*/ 1676351 h 2481262"/>
              <a:gd name="connsiteX97" fmla="*/ 3729014 w 6610350"/>
              <a:gd name="connsiteY97" fmla="*/ 1714253 h 2481262"/>
              <a:gd name="connsiteX98" fmla="*/ 3814763 w 6610350"/>
              <a:gd name="connsiteY98" fmla="*/ 1704975 h 2481262"/>
              <a:gd name="connsiteX99" fmla="*/ 3814763 w 6610350"/>
              <a:gd name="connsiteY99" fmla="*/ 1757362 h 2481262"/>
              <a:gd name="connsiteX100" fmla="*/ 3890963 w 6610350"/>
              <a:gd name="connsiteY100" fmla="*/ 1762125 h 2481262"/>
              <a:gd name="connsiteX101" fmla="*/ 3881438 w 6610350"/>
              <a:gd name="connsiteY101" fmla="*/ 1800225 h 2481262"/>
              <a:gd name="connsiteX102" fmla="*/ 3952875 w 6610350"/>
              <a:gd name="connsiteY102" fmla="*/ 1804987 h 2481262"/>
              <a:gd name="connsiteX103" fmla="*/ 3957638 w 6610350"/>
              <a:gd name="connsiteY103" fmla="*/ 1862137 h 2481262"/>
              <a:gd name="connsiteX104" fmla="*/ 4029075 w 6610350"/>
              <a:gd name="connsiteY104" fmla="*/ 1862137 h 2481262"/>
              <a:gd name="connsiteX105" fmla="*/ 4029075 w 6610350"/>
              <a:gd name="connsiteY105" fmla="*/ 1924050 h 2481262"/>
              <a:gd name="connsiteX106" fmla="*/ 4100513 w 6610350"/>
              <a:gd name="connsiteY106" fmla="*/ 1924050 h 2481262"/>
              <a:gd name="connsiteX107" fmla="*/ 4143375 w 6610350"/>
              <a:gd name="connsiteY107" fmla="*/ 1924050 h 2481262"/>
              <a:gd name="connsiteX108" fmla="*/ 4138613 w 6610350"/>
              <a:gd name="connsiteY108" fmla="*/ 1966912 h 2481262"/>
              <a:gd name="connsiteX109" fmla="*/ 4214813 w 6610350"/>
              <a:gd name="connsiteY109" fmla="*/ 1971675 h 2481262"/>
              <a:gd name="connsiteX110" fmla="*/ 4214813 w 6610350"/>
              <a:gd name="connsiteY110" fmla="*/ 2014537 h 2481262"/>
              <a:gd name="connsiteX111" fmla="*/ 4319588 w 6610350"/>
              <a:gd name="connsiteY111" fmla="*/ 2014537 h 2481262"/>
              <a:gd name="connsiteX112" fmla="*/ 4319588 w 6610350"/>
              <a:gd name="connsiteY112" fmla="*/ 2014537 h 2481262"/>
              <a:gd name="connsiteX113" fmla="*/ 4362451 w 6610350"/>
              <a:gd name="connsiteY113" fmla="*/ 2038350 h 2481262"/>
              <a:gd name="connsiteX114" fmla="*/ 4410075 w 6610350"/>
              <a:gd name="connsiteY114" fmla="*/ 2095500 h 2481262"/>
              <a:gd name="connsiteX115" fmla="*/ 4605338 w 6610350"/>
              <a:gd name="connsiteY115" fmla="*/ 2105025 h 2481262"/>
              <a:gd name="connsiteX116" fmla="*/ 4605338 w 6610350"/>
              <a:gd name="connsiteY116" fmla="*/ 2105025 h 2481262"/>
              <a:gd name="connsiteX117" fmla="*/ 4605338 w 6610350"/>
              <a:gd name="connsiteY117" fmla="*/ 2147887 h 2481262"/>
              <a:gd name="connsiteX118" fmla="*/ 4791075 w 6610350"/>
              <a:gd name="connsiteY118" fmla="*/ 2147887 h 2481262"/>
              <a:gd name="connsiteX119" fmla="*/ 4791075 w 6610350"/>
              <a:gd name="connsiteY119" fmla="*/ 2176462 h 2481262"/>
              <a:gd name="connsiteX120" fmla="*/ 4953000 w 6610350"/>
              <a:gd name="connsiteY120" fmla="*/ 2176462 h 2481262"/>
              <a:gd name="connsiteX121" fmla="*/ 5072063 w 6610350"/>
              <a:gd name="connsiteY121" fmla="*/ 2176462 h 2481262"/>
              <a:gd name="connsiteX122" fmla="*/ 5072063 w 6610350"/>
              <a:gd name="connsiteY122" fmla="*/ 2233612 h 2481262"/>
              <a:gd name="connsiteX123" fmla="*/ 5400675 w 6610350"/>
              <a:gd name="connsiteY123" fmla="*/ 2233612 h 2481262"/>
              <a:gd name="connsiteX124" fmla="*/ 5400675 w 6610350"/>
              <a:gd name="connsiteY124" fmla="*/ 2233612 h 2481262"/>
              <a:gd name="connsiteX125" fmla="*/ 5500688 w 6610350"/>
              <a:gd name="connsiteY125" fmla="*/ 2233612 h 2481262"/>
              <a:gd name="connsiteX126" fmla="*/ 5500688 w 6610350"/>
              <a:gd name="connsiteY126" fmla="*/ 2305050 h 2481262"/>
              <a:gd name="connsiteX127" fmla="*/ 5586413 w 6610350"/>
              <a:gd name="connsiteY127" fmla="*/ 2305050 h 2481262"/>
              <a:gd name="connsiteX128" fmla="*/ 5586413 w 6610350"/>
              <a:gd name="connsiteY128" fmla="*/ 2328862 h 2481262"/>
              <a:gd name="connsiteX129" fmla="*/ 5629275 w 6610350"/>
              <a:gd name="connsiteY129" fmla="*/ 2328862 h 2481262"/>
              <a:gd name="connsiteX130" fmla="*/ 5629275 w 6610350"/>
              <a:gd name="connsiteY130" fmla="*/ 2390775 h 2481262"/>
              <a:gd name="connsiteX131" fmla="*/ 6134100 w 6610350"/>
              <a:gd name="connsiteY131" fmla="*/ 2390775 h 2481262"/>
              <a:gd name="connsiteX132" fmla="*/ 6134100 w 6610350"/>
              <a:gd name="connsiteY132" fmla="*/ 2481262 h 2481262"/>
              <a:gd name="connsiteX133" fmla="*/ 6610350 w 6610350"/>
              <a:gd name="connsiteY133" fmla="*/ 2481262 h 2481262"/>
              <a:gd name="connsiteX0" fmla="*/ 0 w 6610350"/>
              <a:gd name="connsiteY0" fmla="*/ 4762 h 2481262"/>
              <a:gd name="connsiteX1" fmla="*/ 90488 w 6610350"/>
              <a:gd name="connsiteY1" fmla="*/ 0 h 2481262"/>
              <a:gd name="connsiteX2" fmla="*/ 90488 w 6610350"/>
              <a:gd name="connsiteY2" fmla="*/ 33337 h 2481262"/>
              <a:gd name="connsiteX3" fmla="*/ 133350 w 6610350"/>
              <a:gd name="connsiteY3" fmla="*/ 33337 h 2481262"/>
              <a:gd name="connsiteX4" fmla="*/ 133350 w 6610350"/>
              <a:gd name="connsiteY4" fmla="*/ 66675 h 2481262"/>
              <a:gd name="connsiteX5" fmla="*/ 209550 w 6610350"/>
              <a:gd name="connsiteY5" fmla="*/ 66675 h 2481262"/>
              <a:gd name="connsiteX6" fmla="*/ 204788 w 6610350"/>
              <a:gd name="connsiteY6" fmla="*/ 95250 h 2481262"/>
              <a:gd name="connsiteX7" fmla="*/ 361950 w 6610350"/>
              <a:gd name="connsiteY7" fmla="*/ 104775 h 2481262"/>
              <a:gd name="connsiteX8" fmla="*/ 361950 w 6610350"/>
              <a:gd name="connsiteY8" fmla="*/ 123825 h 2481262"/>
              <a:gd name="connsiteX9" fmla="*/ 423863 w 6610350"/>
              <a:gd name="connsiteY9" fmla="*/ 119062 h 2481262"/>
              <a:gd name="connsiteX10" fmla="*/ 423862 w 6610350"/>
              <a:gd name="connsiteY10" fmla="*/ 166687 h 2481262"/>
              <a:gd name="connsiteX11" fmla="*/ 552450 w 6610350"/>
              <a:gd name="connsiteY11" fmla="*/ 171450 h 2481262"/>
              <a:gd name="connsiteX12" fmla="*/ 557213 w 6610350"/>
              <a:gd name="connsiteY12" fmla="*/ 200025 h 2481262"/>
              <a:gd name="connsiteX13" fmla="*/ 595313 w 6610350"/>
              <a:gd name="connsiteY13" fmla="*/ 204787 h 2481262"/>
              <a:gd name="connsiteX14" fmla="*/ 600075 w 6610350"/>
              <a:gd name="connsiteY14" fmla="*/ 238125 h 2481262"/>
              <a:gd name="connsiteX15" fmla="*/ 642938 w 6610350"/>
              <a:gd name="connsiteY15" fmla="*/ 238125 h 2481262"/>
              <a:gd name="connsiteX16" fmla="*/ 642938 w 6610350"/>
              <a:gd name="connsiteY16" fmla="*/ 276225 h 2481262"/>
              <a:gd name="connsiteX17" fmla="*/ 933450 w 6610350"/>
              <a:gd name="connsiteY17" fmla="*/ 280987 h 2481262"/>
              <a:gd name="connsiteX18" fmla="*/ 938213 w 6610350"/>
              <a:gd name="connsiteY18" fmla="*/ 300037 h 2481262"/>
              <a:gd name="connsiteX19" fmla="*/ 1023938 w 6610350"/>
              <a:gd name="connsiteY19" fmla="*/ 300013 h 2481262"/>
              <a:gd name="connsiteX20" fmla="*/ 1028700 w 6610350"/>
              <a:gd name="connsiteY20" fmla="*/ 357187 h 2481262"/>
              <a:gd name="connsiteX21" fmla="*/ 1147763 w 6610350"/>
              <a:gd name="connsiteY21" fmla="*/ 357187 h 2481262"/>
              <a:gd name="connsiteX22" fmla="*/ 1157288 w 6610350"/>
              <a:gd name="connsiteY22" fmla="*/ 390525 h 2481262"/>
              <a:gd name="connsiteX23" fmla="*/ 1228725 w 6610350"/>
              <a:gd name="connsiteY23" fmla="*/ 390525 h 2481262"/>
              <a:gd name="connsiteX24" fmla="*/ 1228725 w 6610350"/>
              <a:gd name="connsiteY24" fmla="*/ 414215 h 2481262"/>
              <a:gd name="connsiteX25" fmla="*/ 1323975 w 6610350"/>
              <a:gd name="connsiteY25" fmla="*/ 419100 h 2481262"/>
              <a:gd name="connsiteX26" fmla="*/ 1338263 w 6610350"/>
              <a:gd name="connsiteY26" fmla="*/ 471487 h 2481262"/>
              <a:gd name="connsiteX27" fmla="*/ 1400175 w 6610350"/>
              <a:gd name="connsiteY27" fmla="*/ 466725 h 2481262"/>
              <a:gd name="connsiteX28" fmla="*/ 1404938 w 6610350"/>
              <a:gd name="connsiteY28" fmla="*/ 490537 h 2481262"/>
              <a:gd name="connsiteX29" fmla="*/ 1466850 w 6610350"/>
              <a:gd name="connsiteY29" fmla="*/ 495300 h 2481262"/>
              <a:gd name="connsiteX30" fmla="*/ 1471613 w 6610350"/>
              <a:gd name="connsiteY30" fmla="*/ 509587 h 2481262"/>
              <a:gd name="connsiteX31" fmla="*/ 1528763 w 6610350"/>
              <a:gd name="connsiteY31" fmla="*/ 509587 h 2481262"/>
              <a:gd name="connsiteX32" fmla="*/ 1528763 w 6610350"/>
              <a:gd name="connsiteY32" fmla="*/ 557212 h 2481262"/>
              <a:gd name="connsiteX33" fmla="*/ 1714500 w 6610350"/>
              <a:gd name="connsiteY33" fmla="*/ 561974 h 2481262"/>
              <a:gd name="connsiteX34" fmla="*/ 1714500 w 6610350"/>
              <a:gd name="connsiteY34" fmla="*/ 590550 h 2481262"/>
              <a:gd name="connsiteX35" fmla="*/ 1752600 w 6610350"/>
              <a:gd name="connsiteY35" fmla="*/ 590550 h 2481262"/>
              <a:gd name="connsiteX36" fmla="*/ 1762125 w 6610350"/>
              <a:gd name="connsiteY36" fmla="*/ 619125 h 2481262"/>
              <a:gd name="connsiteX37" fmla="*/ 1809750 w 6610350"/>
              <a:gd name="connsiteY37" fmla="*/ 619125 h 2481262"/>
              <a:gd name="connsiteX38" fmla="*/ 1809750 w 6610350"/>
              <a:gd name="connsiteY38" fmla="*/ 647700 h 2481262"/>
              <a:gd name="connsiteX39" fmla="*/ 1847850 w 6610350"/>
              <a:gd name="connsiteY39" fmla="*/ 647700 h 2481262"/>
              <a:gd name="connsiteX40" fmla="*/ 1847850 w 6610350"/>
              <a:gd name="connsiteY40" fmla="*/ 714375 h 2481262"/>
              <a:gd name="connsiteX41" fmla="*/ 1905000 w 6610350"/>
              <a:gd name="connsiteY41" fmla="*/ 714375 h 2481262"/>
              <a:gd name="connsiteX42" fmla="*/ 1909812 w 6610350"/>
              <a:gd name="connsiteY42" fmla="*/ 752401 h 2481262"/>
              <a:gd name="connsiteX43" fmla="*/ 2000299 w 6610350"/>
              <a:gd name="connsiteY43" fmla="*/ 757114 h 2481262"/>
              <a:gd name="connsiteX44" fmla="*/ 2009775 w 6610350"/>
              <a:gd name="connsiteY44" fmla="*/ 804862 h 2481262"/>
              <a:gd name="connsiteX45" fmla="*/ 2038350 w 6610350"/>
              <a:gd name="connsiteY45" fmla="*/ 804862 h 2481262"/>
              <a:gd name="connsiteX46" fmla="*/ 2038350 w 6610350"/>
              <a:gd name="connsiteY46" fmla="*/ 823912 h 2481262"/>
              <a:gd name="connsiteX47" fmla="*/ 2038350 w 6610350"/>
              <a:gd name="connsiteY47" fmla="*/ 823912 h 2481262"/>
              <a:gd name="connsiteX48" fmla="*/ 2071688 w 6610350"/>
              <a:gd name="connsiteY48" fmla="*/ 852487 h 2481262"/>
              <a:gd name="connsiteX49" fmla="*/ 2071688 w 6610350"/>
              <a:gd name="connsiteY49" fmla="*/ 852487 h 2481262"/>
              <a:gd name="connsiteX50" fmla="*/ 2100263 w 6610350"/>
              <a:gd name="connsiteY50" fmla="*/ 885825 h 2481262"/>
              <a:gd name="connsiteX51" fmla="*/ 2190750 w 6610350"/>
              <a:gd name="connsiteY51" fmla="*/ 885825 h 2481262"/>
              <a:gd name="connsiteX52" fmla="*/ 2195513 w 6610350"/>
              <a:gd name="connsiteY52" fmla="*/ 933450 h 2481262"/>
              <a:gd name="connsiteX53" fmla="*/ 2247900 w 6610350"/>
              <a:gd name="connsiteY53" fmla="*/ 923925 h 2481262"/>
              <a:gd name="connsiteX54" fmla="*/ 2247900 w 6610350"/>
              <a:gd name="connsiteY54" fmla="*/ 966787 h 2481262"/>
              <a:gd name="connsiteX55" fmla="*/ 2347937 w 6610350"/>
              <a:gd name="connsiteY55" fmla="*/ 961976 h 2481262"/>
              <a:gd name="connsiteX56" fmla="*/ 2347913 w 6610350"/>
              <a:gd name="connsiteY56" fmla="*/ 985837 h 2481262"/>
              <a:gd name="connsiteX57" fmla="*/ 2400300 w 6610350"/>
              <a:gd name="connsiteY57" fmla="*/ 990600 h 2481262"/>
              <a:gd name="connsiteX58" fmla="*/ 2400300 w 6610350"/>
              <a:gd name="connsiteY58" fmla="*/ 990600 h 2481262"/>
              <a:gd name="connsiteX59" fmla="*/ 2400300 w 6610350"/>
              <a:gd name="connsiteY59" fmla="*/ 1019175 h 2481262"/>
              <a:gd name="connsiteX60" fmla="*/ 2476500 w 6610350"/>
              <a:gd name="connsiteY60" fmla="*/ 1023864 h 2481262"/>
              <a:gd name="connsiteX61" fmla="*/ 2476500 w 6610350"/>
              <a:gd name="connsiteY61" fmla="*/ 1047750 h 2481262"/>
              <a:gd name="connsiteX62" fmla="*/ 2500313 w 6610350"/>
              <a:gd name="connsiteY62" fmla="*/ 1047750 h 2481262"/>
              <a:gd name="connsiteX63" fmla="*/ 2505050 w 6610350"/>
              <a:gd name="connsiteY63" fmla="*/ 1085653 h 2481262"/>
              <a:gd name="connsiteX64" fmla="*/ 2566988 w 6610350"/>
              <a:gd name="connsiteY64" fmla="*/ 1081087 h 2481262"/>
              <a:gd name="connsiteX65" fmla="*/ 2562225 w 6610350"/>
              <a:gd name="connsiteY65" fmla="*/ 1123950 h 2481262"/>
              <a:gd name="connsiteX66" fmla="*/ 2609850 w 6610350"/>
              <a:gd name="connsiteY66" fmla="*/ 1123950 h 2481262"/>
              <a:gd name="connsiteX67" fmla="*/ 2609850 w 6610350"/>
              <a:gd name="connsiteY67" fmla="*/ 1162050 h 2481262"/>
              <a:gd name="connsiteX68" fmla="*/ 2609850 w 6610350"/>
              <a:gd name="connsiteY68" fmla="*/ 1162050 h 2481262"/>
              <a:gd name="connsiteX69" fmla="*/ 2638425 w 6610350"/>
              <a:gd name="connsiteY69" fmla="*/ 1185862 h 2481262"/>
              <a:gd name="connsiteX70" fmla="*/ 2662113 w 6610350"/>
              <a:gd name="connsiteY70" fmla="*/ 1185863 h 2481262"/>
              <a:gd name="connsiteX71" fmla="*/ 2662238 w 6610350"/>
              <a:gd name="connsiteY71" fmla="*/ 1228725 h 2481262"/>
              <a:gd name="connsiteX72" fmla="*/ 2800350 w 6610350"/>
              <a:gd name="connsiteY72" fmla="*/ 1228749 h 2481262"/>
              <a:gd name="connsiteX73" fmla="*/ 2805113 w 6610350"/>
              <a:gd name="connsiteY73" fmla="*/ 1266825 h 2481262"/>
              <a:gd name="connsiteX74" fmla="*/ 2881313 w 6610350"/>
              <a:gd name="connsiteY74" fmla="*/ 1266825 h 2481262"/>
              <a:gd name="connsiteX75" fmla="*/ 2876550 w 6610350"/>
              <a:gd name="connsiteY75" fmla="*/ 1290637 h 2481262"/>
              <a:gd name="connsiteX76" fmla="*/ 2909714 w 6610350"/>
              <a:gd name="connsiteY76" fmla="*/ 1290637 h 2481262"/>
              <a:gd name="connsiteX77" fmla="*/ 2909888 w 6610350"/>
              <a:gd name="connsiteY77" fmla="*/ 1338262 h 2481262"/>
              <a:gd name="connsiteX78" fmla="*/ 2938315 w 6610350"/>
              <a:gd name="connsiteY78" fmla="*/ 1338262 h 2481262"/>
              <a:gd name="connsiteX79" fmla="*/ 2947988 w 6610350"/>
              <a:gd name="connsiteY79" fmla="*/ 1385887 h 2481262"/>
              <a:gd name="connsiteX80" fmla="*/ 3028950 w 6610350"/>
              <a:gd name="connsiteY80" fmla="*/ 1385887 h 2481262"/>
              <a:gd name="connsiteX81" fmla="*/ 3028950 w 6610350"/>
              <a:gd name="connsiteY81" fmla="*/ 1419225 h 2481262"/>
              <a:gd name="connsiteX82" fmla="*/ 3095625 w 6610350"/>
              <a:gd name="connsiteY82" fmla="*/ 1419225 h 2481262"/>
              <a:gd name="connsiteX83" fmla="*/ 3095625 w 6610350"/>
              <a:gd name="connsiteY83" fmla="*/ 1462087 h 2481262"/>
              <a:gd name="connsiteX84" fmla="*/ 3162300 w 6610350"/>
              <a:gd name="connsiteY84" fmla="*/ 1462087 h 2481262"/>
              <a:gd name="connsiteX85" fmla="*/ 3162300 w 6610350"/>
              <a:gd name="connsiteY85" fmla="*/ 1485900 h 2481262"/>
              <a:gd name="connsiteX86" fmla="*/ 3257550 w 6610350"/>
              <a:gd name="connsiteY86" fmla="*/ 1485900 h 2481262"/>
              <a:gd name="connsiteX87" fmla="*/ 3252788 w 6610350"/>
              <a:gd name="connsiteY87" fmla="*/ 1538287 h 2481262"/>
              <a:gd name="connsiteX88" fmla="*/ 3314700 w 6610350"/>
              <a:gd name="connsiteY88" fmla="*/ 1543050 h 2481262"/>
              <a:gd name="connsiteX89" fmla="*/ 3319438 w 6610350"/>
              <a:gd name="connsiteY89" fmla="*/ 1585690 h 2481262"/>
              <a:gd name="connsiteX90" fmla="*/ 3405188 w 6610350"/>
              <a:gd name="connsiteY90" fmla="*/ 1581150 h 2481262"/>
              <a:gd name="connsiteX91" fmla="*/ 3405188 w 6610350"/>
              <a:gd name="connsiteY91" fmla="*/ 1614487 h 2481262"/>
              <a:gd name="connsiteX92" fmla="*/ 3586163 w 6610350"/>
              <a:gd name="connsiteY92" fmla="*/ 1614487 h 2481262"/>
              <a:gd name="connsiteX93" fmla="*/ 3586163 w 6610350"/>
              <a:gd name="connsiteY93" fmla="*/ 1638300 h 2481262"/>
              <a:gd name="connsiteX94" fmla="*/ 3643313 w 6610350"/>
              <a:gd name="connsiteY94" fmla="*/ 1633537 h 2481262"/>
              <a:gd name="connsiteX95" fmla="*/ 3648051 w 6610350"/>
              <a:gd name="connsiteY95" fmla="*/ 1680915 h 2481262"/>
              <a:gd name="connsiteX96" fmla="*/ 3724275 w 6610350"/>
              <a:gd name="connsiteY96" fmla="*/ 1676351 h 2481262"/>
              <a:gd name="connsiteX97" fmla="*/ 3729014 w 6610350"/>
              <a:gd name="connsiteY97" fmla="*/ 1714253 h 2481262"/>
              <a:gd name="connsiteX98" fmla="*/ 3814763 w 6610350"/>
              <a:gd name="connsiteY98" fmla="*/ 1704975 h 2481262"/>
              <a:gd name="connsiteX99" fmla="*/ 3814763 w 6610350"/>
              <a:gd name="connsiteY99" fmla="*/ 1757362 h 2481262"/>
              <a:gd name="connsiteX100" fmla="*/ 3890963 w 6610350"/>
              <a:gd name="connsiteY100" fmla="*/ 1762125 h 2481262"/>
              <a:gd name="connsiteX101" fmla="*/ 3881438 w 6610350"/>
              <a:gd name="connsiteY101" fmla="*/ 1800225 h 2481262"/>
              <a:gd name="connsiteX102" fmla="*/ 3952875 w 6610350"/>
              <a:gd name="connsiteY102" fmla="*/ 1804987 h 2481262"/>
              <a:gd name="connsiteX103" fmla="*/ 3957638 w 6610350"/>
              <a:gd name="connsiteY103" fmla="*/ 1862137 h 2481262"/>
              <a:gd name="connsiteX104" fmla="*/ 4029075 w 6610350"/>
              <a:gd name="connsiteY104" fmla="*/ 1862137 h 2481262"/>
              <a:gd name="connsiteX105" fmla="*/ 4029075 w 6610350"/>
              <a:gd name="connsiteY105" fmla="*/ 1924050 h 2481262"/>
              <a:gd name="connsiteX106" fmla="*/ 4100513 w 6610350"/>
              <a:gd name="connsiteY106" fmla="*/ 1924050 h 2481262"/>
              <a:gd name="connsiteX107" fmla="*/ 4143375 w 6610350"/>
              <a:gd name="connsiteY107" fmla="*/ 1924050 h 2481262"/>
              <a:gd name="connsiteX108" fmla="*/ 4138613 w 6610350"/>
              <a:gd name="connsiteY108" fmla="*/ 1966912 h 2481262"/>
              <a:gd name="connsiteX109" fmla="*/ 4214813 w 6610350"/>
              <a:gd name="connsiteY109" fmla="*/ 1971675 h 2481262"/>
              <a:gd name="connsiteX110" fmla="*/ 4214813 w 6610350"/>
              <a:gd name="connsiteY110" fmla="*/ 2014537 h 2481262"/>
              <a:gd name="connsiteX111" fmla="*/ 4319588 w 6610350"/>
              <a:gd name="connsiteY111" fmla="*/ 2014537 h 2481262"/>
              <a:gd name="connsiteX112" fmla="*/ 4319588 w 6610350"/>
              <a:gd name="connsiteY112" fmla="*/ 2014537 h 2481262"/>
              <a:gd name="connsiteX113" fmla="*/ 4362451 w 6610350"/>
              <a:gd name="connsiteY113" fmla="*/ 2038350 h 2481262"/>
              <a:gd name="connsiteX114" fmla="*/ 4410075 w 6610350"/>
              <a:gd name="connsiteY114" fmla="*/ 2095500 h 2481262"/>
              <a:gd name="connsiteX115" fmla="*/ 4605338 w 6610350"/>
              <a:gd name="connsiteY115" fmla="*/ 2105025 h 2481262"/>
              <a:gd name="connsiteX116" fmla="*/ 4605338 w 6610350"/>
              <a:gd name="connsiteY116" fmla="*/ 2105025 h 2481262"/>
              <a:gd name="connsiteX117" fmla="*/ 4605338 w 6610350"/>
              <a:gd name="connsiteY117" fmla="*/ 2147887 h 2481262"/>
              <a:gd name="connsiteX118" fmla="*/ 4791075 w 6610350"/>
              <a:gd name="connsiteY118" fmla="*/ 2147887 h 2481262"/>
              <a:gd name="connsiteX119" fmla="*/ 4791075 w 6610350"/>
              <a:gd name="connsiteY119" fmla="*/ 2176462 h 2481262"/>
              <a:gd name="connsiteX120" fmla="*/ 4953000 w 6610350"/>
              <a:gd name="connsiteY120" fmla="*/ 2176462 h 2481262"/>
              <a:gd name="connsiteX121" fmla="*/ 5072063 w 6610350"/>
              <a:gd name="connsiteY121" fmla="*/ 2176462 h 2481262"/>
              <a:gd name="connsiteX122" fmla="*/ 5072063 w 6610350"/>
              <a:gd name="connsiteY122" fmla="*/ 2233612 h 2481262"/>
              <a:gd name="connsiteX123" fmla="*/ 5400675 w 6610350"/>
              <a:gd name="connsiteY123" fmla="*/ 2233612 h 2481262"/>
              <a:gd name="connsiteX124" fmla="*/ 5400675 w 6610350"/>
              <a:gd name="connsiteY124" fmla="*/ 2233612 h 2481262"/>
              <a:gd name="connsiteX125" fmla="*/ 5500688 w 6610350"/>
              <a:gd name="connsiteY125" fmla="*/ 2233612 h 2481262"/>
              <a:gd name="connsiteX126" fmla="*/ 5500688 w 6610350"/>
              <a:gd name="connsiteY126" fmla="*/ 2305050 h 2481262"/>
              <a:gd name="connsiteX127" fmla="*/ 5586413 w 6610350"/>
              <a:gd name="connsiteY127" fmla="*/ 2305050 h 2481262"/>
              <a:gd name="connsiteX128" fmla="*/ 5586413 w 6610350"/>
              <a:gd name="connsiteY128" fmla="*/ 2328862 h 2481262"/>
              <a:gd name="connsiteX129" fmla="*/ 5629275 w 6610350"/>
              <a:gd name="connsiteY129" fmla="*/ 2328862 h 2481262"/>
              <a:gd name="connsiteX130" fmla="*/ 5629275 w 6610350"/>
              <a:gd name="connsiteY130" fmla="*/ 2390775 h 2481262"/>
              <a:gd name="connsiteX131" fmla="*/ 6134100 w 6610350"/>
              <a:gd name="connsiteY131" fmla="*/ 2390775 h 2481262"/>
              <a:gd name="connsiteX132" fmla="*/ 6134100 w 6610350"/>
              <a:gd name="connsiteY132" fmla="*/ 2481262 h 2481262"/>
              <a:gd name="connsiteX133" fmla="*/ 6610350 w 6610350"/>
              <a:gd name="connsiteY133" fmla="*/ 2481262 h 2481262"/>
              <a:gd name="connsiteX0" fmla="*/ 0 w 6610350"/>
              <a:gd name="connsiteY0" fmla="*/ 4762 h 2481262"/>
              <a:gd name="connsiteX1" fmla="*/ 90488 w 6610350"/>
              <a:gd name="connsiteY1" fmla="*/ 0 h 2481262"/>
              <a:gd name="connsiteX2" fmla="*/ 90488 w 6610350"/>
              <a:gd name="connsiteY2" fmla="*/ 33337 h 2481262"/>
              <a:gd name="connsiteX3" fmla="*/ 133350 w 6610350"/>
              <a:gd name="connsiteY3" fmla="*/ 33337 h 2481262"/>
              <a:gd name="connsiteX4" fmla="*/ 133350 w 6610350"/>
              <a:gd name="connsiteY4" fmla="*/ 66675 h 2481262"/>
              <a:gd name="connsiteX5" fmla="*/ 209550 w 6610350"/>
              <a:gd name="connsiteY5" fmla="*/ 66675 h 2481262"/>
              <a:gd name="connsiteX6" fmla="*/ 204788 w 6610350"/>
              <a:gd name="connsiteY6" fmla="*/ 95250 h 2481262"/>
              <a:gd name="connsiteX7" fmla="*/ 361950 w 6610350"/>
              <a:gd name="connsiteY7" fmla="*/ 104775 h 2481262"/>
              <a:gd name="connsiteX8" fmla="*/ 361950 w 6610350"/>
              <a:gd name="connsiteY8" fmla="*/ 123825 h 2481262"/>
              <a:gd name="connsiteX9" fmla="*/ 423863 w 6610350"/>
              <a:gd name="connsiteY9" fmla="*/ 119062 h 2481262"/>
              <a:gd name="connsiteX10" fmla="*/ 423862 w 6610350"/>
              <a:gd name="connsiteY10" fmla="*/ 166687 h 2481262"/>
              <a:gd name="connsiteX11" fmla="*/ 552450 w 6610350"/>
              <a:gd name="connsiteY11" fmla="*/ 171450 h 2481262"/>
              <a:gd name="connsiteX12" fmla="*/ 557213 w 6610350"/>
              <a:gd name="connsiteY12" fmla="*/ 200025 h 2481262"/>
              <a:gd name="connsiteX13" fmla="*/ 595313 w 6610350"/>
              <a:gd name="connsiteY13" fmla="*/ 204787 h 2481262"/>
              <a:gd name="connsiteX14" fmla="*/ 600075 w 6610350"/>
              <a:gd name="connsiteY14" fmla="*/ 238125 h 2481262"/>
              <a:gd name="connsiteX15" fmla="*/ 642938 w 6610350"/>
              <a:gd name="connsiteY15" fmla="*/ 238125 h 2481262"/>
              <a:gd name="connsiteX16" fmla="*/ 642938 w 6610350"/>
              <a:gd name="connsiteY16" fmla="*/ 276225 h 2481262"/>
              <a:gd name="connsiteX17" fmla="*/ 933450 w 6610350"/>
              <a:gd name="connsiteY17" fmla="*/ 280987 h 2481262"/>
              <a:gd name="connsiteX18" fmla="*/ 938213 w 6610350"/>
              <a:gd name="connsiteY18" fmla="*/ 300037 h 2481262"/>
              <a:gd name="connsiteX19" fmla="*/ 1023938 w 6610350"/>
              <a:gd name="connsiteY19" fmla="*/ 300013 h 2481262"/>
              <a:gd name="connsiteX20" fmla="*/ 1028700 w 6610350"/>
              <a:gd name="connsiteY20" fmla="*/ 357187 h 2481262"/>
              <a:gd name="connsiteX21" fmla="*/ 1147763 w 6610350"/>
              <a:gd name="connsiteY21" fmla="*/ 357187 h 2481262"/>
              <a:gd name="connsiteX22" fmla="*/ 1157288 w 6610350"/>
              <a:gd name="connsiteY22" fmla="*/ 390525 h 2481262"/>
              <a:gd name="connsiteX23" fmla="*/ 1228725 w 6610350"/>
              <a:gd name="connsiteY23" fmla="*/ 390525 h 2481262"/>
              <a:gd name="connsiteX24" fmla="*/ 1228725 w 6610350"/>
              <a:gd name="connsiteY24" fmla="*/ 414215 h 2481262"/>
              <a:gd name="connsiteX25" fmla="*/ 1323975 w 6610350"/>
              <a:gd name="connsiteY25" fmla="*/ 419100 h 2481262"/>
              <a:gd name="connsiteX26" fmla="*/ 1338263 w 6610350"/>
              <a:gd name="connsiteY26" fmla="*/ 471487 h 2481262"/>
              <a:gd name="connsiteX27" fmla="*/ 1400175 w 6610350"/>
              <a:gd name="connsiteY27" fmla="*/ 466725 h 2481262"/>
              <a:gd name="connsiteX28" fmla="*/ 1404938 w 6610350"/>
              <a:gd name="connsiteY28" fmla="*/ 490537 h 2481262"/>
              <a:gd name="connsiteX29" fmla="*/ 1466850 w 6610350"/>
              <a:gd name="connsiteY29" fmla="*/ 495300 h 2481262"/>
              <a:gd name="connsiteX30" fmla="*/ 1471613 w 6610350"/>
              <a:gd name="connsiteY30" fmla="*/ 509587 h 2481262"/>
              <a:gd name="connsiteX31" fmla="*/ 1528763 w 6610350"/>
              <a:gd name="connsiteY31" fmla="*/ 509587 h 2481262"/>
              <a:gd name="connsiteX32" fmla="*/ 1528763 w 6610350"/>
              <a:gd name="connsiteY32" fmla="*/ 557212 h 2481262"/>
              <a:gd name="connsiteX33" fmla="*/ 1714500 w 6610350"/>
              <a:gd name="connsiteY33" fmla="*/ 561974 h 2481262"/>
              <a:gd name="connsiteX34" fmla="*/ 1714500 w 6610350"/>
              <a:gd name="connsiteY34" fmla="*/ 590550 h 2481262"/>
              <a:gd name="connsiteX35" fmla="*/ 1752600 w 6610350"/>
              <a:gd name="connsiteY35" fmla="*/ 590550 h 2481262"/>
              <a:gd name="connsiteX36" fmla="*/ 1762125 w 6610350"/>
              <a:gd name="connsiteY36" fmla="*/ 619125 h 2481262"/>
              <a:gd name="connsiteX37" fmla="*/ 1809750 w 6610350"/>
              <a:gd name="connsiteY37" fmla="*/ 619125 h 2481262"/>
              <a:gd name="connsiteX38" fmla="*/ 1809750 w 6610350"/>
              <a:gd name="connsiteY38" fmla="*/ 647700 h 2481262"/>
              <a:gd name="connsiteX39" fmla="*/ 1847850 w 6610350"/>
              <a:gd name="connsiteY39" fmla="*/ 647700 h 2481262"/>
              <a:gd name="connsiteX40" fmla="*/ 1847850 w 6610350"/>
              <a:gd name="connsiteY40" fmla="*/ 714375 h 2481262"/>
              <a:gd name="connsiteX41" fmla="*/ 1905000 w 6610350"/>
              <a:gd name="connsiteY41" fmla="*/ 714375 h 2481262"/>
              <a:gd name="connsiteX42" fmla="*/ 1909812 w 6610350"/>
              <a:gd name="connsiteY42" fmla="*/ 752401 h 2481262"/>
              <a:gd name="connsiteX43" fmla="*/ 2000299 w 6610350"/>
              <a:gd name="connsiteY43" fmla="*/ 757114 h 2481262"/>
              <a:gd name="connsiteX44" fmla="*/ 2009775 w 6610350"/>
              <a:gd name="connsiteY44" fmla="*/ 804862 h 2481262"/>
              <a:gd name="connsiteX45" fmla="*/ 2038350 w 6610350"/>
              <a:gd name="connsiteY45" fmla="*/ 804862 h 2481262"/>
              <a:gd name="connsiteX46" fmla="*/ 2038350 w 6610350"/>
              <a:gd name="connsiteY46" fmla="*/ 823912 h 2481262"/>
              <a:gd name="connsiteX47" fmla="*/ 2038350 w 6610350"/>
              <a:gd name="connsiteY47" fmla="*/ 823912 h 2481262"/>
              <a:gd name="connsiteX48" fmla="*/ 2071688 w 6610350"/>
              <a:gd name="connsiteY48" fmla="*/ 852487 h 2481262"/>
              <a:gd name="connsiteX49" fmla="*/ 2071688 w 6610350"/>
              <a:gd name="connsiteY49" fmla="*/ 852487 h 2481262"/>
              <a:gd name="connsiteX50" fmla="*/ 2100263 w 6610350"/>
              <a:gd name="connsiteY50" fmla="*/ 885825 h 2481262"/>
              <a:gd name="connsiteX51" fmla="*/ 2190750 w 6610350"/>
              <a:gd name="connsiteY51" fmla="*/ 885825 h 2481262"/>
              <a:gd name="connsiteX52" fmla="*/ 2195513 w 6610350"/>
              <a:gd name="connsiteY52" fmla="*/ 933450 h 2481262"/>
              <a:gd name="connsiteX53" fmla="*/ 2247900 w 6610350"/>
              <a:gd name="connsiteY53" fmla="*/ 923925 h 2481262"/>
              <a:gd name="connsiteX54" fmla="*/ 2247900 w 6610350"/>
              <a:gd name="connsiteY54" fmla="*/ 966787 h 2481262"/>
              <a:gd name="connsiteX55" fmla="*/ 2347937 w 6610350"/>
              <a:gd name="connsiteY55" fmla="*/ 961976 h 2481262"/>
              <a:gd name="connsiteX56" fmla="*/ 2347913 w 6610350"/>
              <a:gd name="connsiteY56" fmla="*/ 985837 h 2481262"/>
              <a:gd name="connsiteX57" fmla="*/ 2400300 w 6610350"/>
              <a:gd name="connsiteY57" fmla="*/ 990600 h 2481262"/>
              <a:gd name="connsiteX58" fmla="*/ 2400300 w 6610350"/>
              <a:gd name="connsiteY58" fmla="*/ 990600 h 2481262"/>
              <a:gd name="connsiteX59" fmla="*/ 2400300 w 6610350"/>
              <a:gd name="connsiteY59" fmla="*/ 1019175 h 2481262"/>
              <a:gd name="connsiteX60" fmla="*/ 2476500 w 6610350"/>
              <a:gd name="connsiteY60" fmla="*/ 1023864 h 2481262"/>
              <a:gd name="connsiteX61" fmla="*/ 2476500 w 6610350"/>
              <a:gd name="connsiteY61" fmla="*/ 1047750 h 2481262"/>
              <a:gd name="connsiteX62" fmla="*/ 2495575 w 6610350"/>
              <a:gd name="connsiteY62" fmla="*/ 1043012 h 2481262"/>
              <a:gd name="connsiteX63" fmla="*/ 2505050 w 6610350"/>
              <a:gd name="connsiteY63" fmla="*/ 1085653 h 2481262"/>
              <a:gd name="connsiteX64" fmla="*/ 2566988 w 6610350"/>
              <a:gd name="connsiteY64" fmla="*/ 1081087 h 2481262"/>
              <a:gd name="connsiteX65" fmla="*/ 2562225 w 6610350"/>
              <a:gd name="connsiteY65" fmla="*/ 1123950 h 2481262"/>
              <a:gd name="connsiteX66" fmla="*/ 2609850 w 6610350"/>
              <a:gd name="connsiteY66" fmla="*/ 1123950 h 2481262"/>
              <a:gd name="connsiteX67" fmla="*/ 2609850 w 6610350"/>
              <a:gd name="connsiteY67" fmla="*/ 1162050 h 2481262"/>
              <a:gd name="connsiteX68" fmla="*/ 2609850 w 6610350"/>
              <a:gd name="connsiteY68" fmla="*/ 1162050 h 2481262"/>
              <a:gd name="connsiteX69" fmla="*/ 2638425 w 6610350"/>
              <a:gd name="connsiteY69" fmla="*/ 1185862 h 2481262"/>
              <a:gd name="connsiteX70" fmla="*/ 2662113 w 6610350"/>
              <a:gd name="connsiteY70" fmla="*/ 1185863 h 2481262"/>
              <a:gd name="connsiteX71" fmla="*/ 2662238 w 6610350"/>
              <a:gd name="connsiteY71" fmla="*/ 1228725 h 2481262"/>
              <a:gd name="connsiteX72" fmla="*/ 2800350 w 6610350"/>
              <a:gd name="connsiteY72" fmla="*/ 1228749 h 2481262"/>
              <a:gd name="connsiteX73" fmla="*/ 2805113 w 6610350"/>
              <a:gd name="connsiteY73" fmla="*/ 1266825 h 2481262"/>
              <a:gd name="connsiteX74" fmla="*/ 2881313 w 6610350"/>
              <a:gd name="connsiteY74" fmla="*/ 1266825 h 2481262"/>
              <a:gd name="connsiteX75" fmla="*/ 2876550 w 6610350"/>
              <a:gd name="connsiteY75" fmla="*/ 1290637 h 2481262"/>
              <a:gd name="connsiteX76" fmla="*/ 2909714 w 6610350"/>
              <a:gd name="connsiteY76" fmla="*/ 1290637 h 2481262"/>
              <a:gd name="connsiteX77" fmla="*/ 2909888 w 6610350"/>
              <a:gd name="connsiteY77" fmla="*/ 1338262 h 2481262"/>
              <a:gd name="connsiteX78" fmla="*/ 2938315 w 6610350"/>
              <a:gd name="connsiteY78" fmla="*/ 1338262 h 2481262"/>
              <a:gd name="connsiteX79" fmla="*/ 2947988 w 6610350"/>
              <a:gd name="connsiteY79" fmla="*/ 1385887 h 2481262"/>
              <a:gd name="connsiteX80" fmla="*/ 3028950 w 6610350"/>
              <a:gd name="connsiteY80" fmla="*/ 1385887 h 2481262"/>
              <a:gd name="connsiteX81" fmla="*/ 3028950 w 6610350"/>
              <a:gd name="connsiteY81" fmla="*/ 1419225 h 2481262"/>
              <a:gd name="connsiteX82" fmla="*/ 3095625 w 6610350"/>
              <a:gd name="connsiteY82" fmla="*/ 1419225 h 2481262"/>
              <a:gd name="connsiteX83" fmla="*/ 3095625 w 6610350"/>
              <a:gd name="connsiteY83" fmla="*/ 1462087 h 2481262"/>
              <a:gd name="connsiteX84" fmla="*/ 3162300 w 6610350"/>
              <a:gd name="connsiteY84" fmla="*/ 1462087 h 2481262"/>
              <a:gd name="connsiteX85" fmla="*/ 3162300 w 6610350"/>
              <a:gd name="connsiteY85" fmla="*/ 1485900 h 2481262"/>
              <a:gd name="connsiteX86" fmla="*/ 3257550 w 6610350"/>
              <a:gd name="connsiteY86" fmla="*/ 1485900 h 2481262"/>
              <a:gd name="connsiteX87" fmla="*/ 3252788 w 6610350"/>
              <a:gd name="connsiteY87" fmla="*/ 1538287 h 2481262"/>
              <a:gd name="connsiteX88" fmla="*/ 3314700 w 6610350"/>
              <a:gd name="connsiteY88" fmla="*/ 1543050 h 2481262"/>
              <a:gd name="connsiteX89" fmla="*/ 3319438 w 6610350"/>
              <a:gd name="connsiteY89" fmla="*/ 1585690 h 2481262"/>
              <a:gd name="connsiteX90" fmla="*/ 3405188 w 6610350"/>
              <a:gd name="connsiteY90" fmla="*/ 1581150 h 2481262"/>
              <a:gd name="connsiteX91" fmla="*/ 3405188 w 6610350"/>
              <a:gd name="connsiteY91" fmla="*/ 1614487 h 2481262"/>
              <a:gd name="connsiteX92" fmla="*/ 3586163 w 6610350"/>
              <a:gd name="connsiteY92" fmla="*/ 1614487 h 2481262"/>
              <a:gd name="connsiteX93" fmla="*/ 3586163 w 6610350"/>
              <a:gd name="connsiteY93" fmla="*/ 1638300 h 2481262"/>
              <a:gd name="connsiteX94" fmla="*/ 3643313 w 6610350"/>
              <a:gd name="connsiteY94" fmla="*/ 1633537 h 2481262"/>
              <a:gd name="connsiteX95" fmla="*/ 3648051 w 6610350"/>
              <a:gd name="connsiteY95" fmla="*/ 1680915 h 2481262"/>
              <a:gd name="connsiteX96" fmla="*/ 3724275 w 6610350"/>
              <a:gd name="connsiteY96" fmla="*/ 1676351 h 2481262"/>
              <a:gd name="connsiteX97" fmla="*/ 3729014 w 6610350"/>
              <a:gd name="connsiteY97" fmla="*/ 1714253 h 2481262"/>
              <a:gd name="connsiteX98" fmla="*/ 3814763 w 6610350"/>
              <a:gd name="connsiteY98" fmla="*/ 1704975 h 2481262"/>
              <a:gd name="connsiteX99" fmla="*/ 3814763 w 6610350"/>
              <a:gd name="connsiteY99" fmla="*/ 1757362 h 2481262"/>
              <a:gd name="connsiteX100" fmla="*/ 3890963 w 6610350"/>
              <a:gd name="connsiteY100" fmla="*/ 1762125 h 2481262"/>
              <a:gd name="connsiteX101" fmla="*/ 3881438 w 6610350"/>
              <a:gd name="connsiteY101" fmla="*/ 1800225 h 2481262"/>
              <a:gd name="connsiteX102" fmla="*/ 3952875 w 6610350"/>
              <a:gd name="connsiteY102" fmla="*/ 1804987 h 2481262"/>
              <a:gd name="connsiteX103" fmla="*/ 3957638 w 6610350"/>
              <a:gd name="connsiteY103" fmla="*/ 1862137 h 2481262"/>
              <a:gd name="connsiteX104" fmla="*/ 4029075 w 6610350"/>
              <a:gd name="connsiteY104" fmla="*/ 1862137 h 2481262"/>
              <a:gd name="connsiteX105" fmla="*/ 4029075 w 6610350"/>
              <a:gd name="connsiteY105" fmla="*/ 1924050 h 2481262"/>
              <a:gd name="connsiteX106" fmla="*/ 4100513 w 6610350"/>
              <a:gd name="connsiteY106" fmla="*/ 1924050 h 2481262"/>
              <a:gd name="connsiteX107" fmla="*/ 4143375 w 6610350"/>
              <a:gd name="connsiteY107" fmla="*/ 1924050 h 2481262"/>
              <a:gd name="connsiteX108" fmla="*/ 4138613 w 6610350"/>
              <a:gd name="connsiteY108" fmla="*/ 1966912 h 2481262"/>
              <a:gd name="connsiteX109" fmla="*/ 4214813 w 6610350"/>
              <a:gd name="connsiteY109" fmla="*/ 1971675 h 2481262"/>
              <a:gd name="connsiteX110" fmla="*/ 4214813 w 6610350"/>
              <a:gd name="connsiteY110" fmla="*/ 2014537 h 2481262"/>
              <a:gd name="connsiteX111" fmla="*/ 4319588 w 6610350"/>
              <a:gd name="connsiteY111" fmla="*/ 2014537 h 2481262"/>
              <a:gd name="connsiteX112" fmla="*/ 4319588 w 6610350"/>
              <a:gd name="connsiteY112" fmla="*/ 2014537 h 2481262"/>
              <a:gd name="connsiteX113" fmla="*/ 4362451 w 6610350"/>
              <a:gd name="connsiteY113" fmla="*/ 2038350 h 2481262"/>
              <a:gd name="connsiteX114" fmla="*/ 4410075 w 6610350"/>
              <a:gd name="connsiteY114" fmla="*/ 2095500 h 2481262"/>
              <a:gd name="connsiteX115" fmla="*/ 4605338 w 6610350"/>
              <a:gd name="connsiteY115" fmla="*/ 2105025 h 2481262"/>
              <a:gd name="connsiteX116" fmla="*/ 4605338 w 6610350"/>
              <a:gd name="connsiteY116" fmla="*/ 2105025 h 2481262"/>
              <a:gd name="connsiteX117" fmla="*/ 4605338 w 6610350"/>
              <a:gd name="connsiteY117" fmla="*/ 2147887 h 2481262"/>
              <a:gd name="connsiteX118" fmla="*/ 4791075 w 6610350"/>
              <a:gd name="connsiteY118" fmla="*/ 2147887 h 2481262"/>
              <a:gd name="connsiteX119" fmla="*/ 4791075 w 6610350"/>
              <a:gd name="connsiteY119" fmla="*/ 2176462 h 2481262"/>
              <a:gd name="connsiteX120" fmla="*/ 4953000 w 6610350"/>
              <a:gd name="connsiteY120" fmla="*/ 2176462 h 2481262"/>
              <a:gd name="connsiteX121" fmla="*/ 5072063 w 6610350"/>
              <a:gd name="connsiteY121" fmla="*/ 2176462 h 2481262"/>
              <a:gd name="connsiteX122" fmla="*/ 5072063 w 6610350"/>
              <a:gd name="connsiteY122" fmla="*/ 2233612 h 2481262"/>
              <a:gd name="connsiteX123" fmla="*/ 5400675 w 6610350"/>
              <a:gd name="connsiteY123" fmla="*/ 2233612 h 2481262"/>
              <a:gd name="connsiteX124" fmla="*/ 5400675 w 6610350"/>
              <a:gd name="connsiteY124" fmla="*/ 2233612 h 2481262"/>
              <a:gd name="connsiteX125" fmla="*/ 5500688 w 6610350"/>
              <a:gd name="connsiteY125" fmla="*/ 2233612 h 2481262"/>
              <a:gd name="connsiteX126" fmla="*/ 5500688 w 6610350"/>
              <a:gd name="connsiteY126" fmla="*/ 2305050 h 2481262"/>
              <a:gd name="connsiteX127" fmla="*/ 5586413 w 6610350"/>
              <a:gd name="connsiteY127" fmla="*/ 2305050 h 2481262"/>
              <a:gd name="connsiteX128" fmla="*/ 5586413 w 6610350"/>
              <a:gd name="connsiteY128" fmla="*/ 2328862 h 2481262"/>
              <a:gd name="connsiteX129" fmla="*/ 5629275 w 6610350"/>
              <a:gd name="connsiteY129" fmla="*/ 2328862 h 2481262"/>
              <a:gd name="connsiteX130" fmla="*/ 5629275 w 6610350"/>
              <a:gd name="connsiteY130" fmla="*/ 2390775 h 2481262"/>
              <a:gd name="connsiteX131" fmla="*/ 6134100 w 6610350"/>
              <a:gd name="connsiteY131" fmla="*/ 2390775 h 2481262"/>
              <a:gd name="connsiteX132" fmla="*/ 6134100 w 6610350"/>
              <a:gd name="connsiteY132" fmla="*/ 2481262 h 2481262"/>
              <a:gd name="connsiteX133" fmla="*/ 6610350 w 6610350"/>
              <a:gd name="connsiteY133" fmla="*/ 2481262 h 2481262"/>
              <a:gd name="connsiteX0" fmla="*/ 0 w 6610350"/>
              <a:gd name="connsiteY0" fmla="*/ 4762 h 2481262"/>
              <a:gd name="connsiteX1" fmla="*/ 90488 w 6610350"/>
              <a:gd name="connsiteY1" fmla="*/ 0 h 2481262"/>
              <a:gd name="connsiteX2" fmla="*/ 90488 w 6610350"/>
              <a:gd name="connsiteY2" fmla="*/ 33337 h 2481262"/>
              <a:gd name="connsiteX3" fmla="*/ 133350 w 6610350"/>
              <a:gd name="connsiteY3" fmla="*/ 33337 h 2481262"/>
              <a:gd name="connsiteX4" fmla="*/ 133350 w 6610350"/>
              <a:gd name="connsiteY4" fmla="*/ 66675 h 2481262"/>
              <a:gd name="connsiteX5" fmla="*/ 209550 w 6610350"/>
              <a:gd name="connsiteY5" fmla="*/ 66675 h 2481262"/>
              <a:gd name="connsiteX6" fmla="*/ 204788 w 6610350"/>
              <a:gd name="connsiteY6" fmla="*/ 95250 h 2481262"/>
              <a:gd name="connsiteX7" fmla="*/ 361950 w 6610350"/>
              <a:gd name="connsiteY7" fmla="*/ 104775 h 2481262"/>
              <a:gd name="connsiteX8" fmla="*/ 361950 w 6610350"/>
              <a:gd name="connsiteY8" fmla="*/ 123825 h 2481262"/>
              <a:gd name="connsiteX9" fmla="*/ 423863 w 6610350"/>
              <a:gd name="connsiteY9" fmla="*/ 119062 h 2481262"/>
              <a:gd name="connsiteX10" fmla="*/ 423862 w 6610350"/>
              <a:gd name="connsiteY10" fmla="*/ 166687 h 2481262"/>
              <a:gd name="connsiteX11" fmla="*/ 552450 w 6610350"/>
              <a:gd name="connsiteY11" fmla="*/ 171450 h 2481262"/>
              <a:gd name="connsiteX12" fmla="*/ 557213 w 6610350"/>
              <a:gd name="connsiteY12" fmla="*/ 200025 h 2481262"/>
              <a:gd name="connsiteX13" fmla="*/ 595313 w 6610350"/>
              <a:gd name="connsiteY13" fmla="*/ 204787 h 2481262"/>
              <a:gd name="connsiteX14" fmla="*/ 600075 w 6610350"/>
              <a:gd name="connsiteY14" fmla="*/ 238125 h 2481262"/>
              <a:gd name="connsiteX15" fmla="*/ 642938 w 6610350"/>
              <a:gd name="connsiteY15" fmla="*/ 238125 h 2481262"/>
              <a:gd name="connsiteX16" fmla="*/ 642938 w 6610350"/>
              <a:gd name="connsiteY16" fmla="*/ 276225 h 2481262"/>
              <a:gd name="connsiteX17" fmla="*/ 933450 w 6610350"/>
              <a:gd name="connsiteY17" fmla="*/ 280987 h 2481262"/>
              <a:gd name="connsiteX18" fmla="*/ 938213 w 6610350"/>
              <a:gd name="connsiteY18" fmla="*/ 300037 h 2481262"/>
              <a:gd name="connsiteX19" fmla="*/ 1023938 w 6610350"/>
              <a:gd name="connsiteY19" fmla="*/ 300013 h 2481262"/>
              <a:gd name="connsiteX20" fmla="*/ 1028700 w 6610350"/>
              <a:gd name="connsiteY20" fmla="*/ 357187 h 2481262"/>
              <a:gd name="connsiteX21" fmla="*/ 1147763 w 6610350"/>
              <a:gd name="connsiteY21" fmla="*/ 357187 h 2481262"/>
              <a:gd name="connsiteX22" fmla="*/ 1157288 w 6610350"/>
              <a:gd name="connsiteY22" fmla="*/ 390525 h 2481262"/>
              <a:gd name="connsiteX23" fmla="*/ 1228725 w 6610350"/>
              <a:gd name="connsiteY23" fmla="*/ 390525 h 2481262"/>
              <a:gd name="connsiteX24" fmla="*/ 1228725 w 6610350"/>
              <a:gd name="connsiteY24" fmla="*/ 414215 h 2481262"/>
              <a:gd name="connsiteX25" fmla="*/ 1323975 w 6610350"/>
              <a:gd name="connsiteY25" fmla="*/ 419100 h 2481262"/>
              <a:gd name="connsiteX26" fmla="*/ 1338263 w 6610350"/>
              <a:gd name="connsiteY26" fmla="*/ 471487 h 2481262"/>
              <a:gd name="connsiteX27" fmla="*/ 1400175 w 6610350"/>
              <a:gd name="connsiteY27" fmla="*/ 466725 h 2481262"/>
              <a:gd name="connsiteX28" fmla="*/ 1404938 w 6610350"/>
              <a:gd name="connsiteY28" fmla="*/ 490537 h 2481262"/>
              <a:gd name="connsiteX29" fmla="*/ 1466850 w 6610350"/>
              <a:gd name="connsiteY29" fmla="*/ 495300 h 2481262"/>
              <a:gd name="connsiteX30" fmla="*/ 1471613 w 6610350"/>
              <a:gd name="connsiteY30" fmla="*/ 509587 h 2481262"/>
              <a:gd name="connsiteX31" fmla="*/ 1528763 w 6610350"/>
              <a:gd name="connsiteY31" fmla="*/ 509587 h 2481262"/>
              <a:gd name="connsiteX32" fmla="*/ 1528763 w 6610350"/>
              <a:gd name="connsiteY32" fmla="*/ 557212 h 2481262"/>
              <a:gd name="connsiteX33" fmla="*/ 1714500 w 6610350"/>
              <a:gd name="connsiteY33" fmla="*/ 561974 h 2481262"/>
              <a:gd name="connsiteX34" fmla="*/ 1714500 w 6610350"/>
              <a:gd name="connsiteY34" fmla="*/ 590550 h 2481262"/>
              <a:gd name="connsiteX35" fmla="*/ 1752600 w 6610350"/>
              <a:gd name="connsiteY35" fmla="*/ 590550 h 2481262"/>
              <a:gd name="connsiteX36" fmla="*/ 1762125 w 6610350"/>
              <a:gd name="connsiteY36" fmla="*/ 619125 h 2481262"/>
              <a:gd name="connsiteX37" fmla="*/ 1809750 w 6610350"/>
              <a:gd name="connsiteY37" fmla="*/ 619125 h 2481262"/>
              <a:gd name="connsiteX38" fmla="*/ 1809750 w 6610350"/>
              <a:gd name="connsiteY38" fmla="*/ 647700 h 2481262"/>
              <a:gd name="connsiteX39" fmla="*/ 1847850 w 6610350"/>
              <a:gd name="connsiteY39" fmla="*/ 647700 h 2481262"/>
              <a:gd name="connsiteX40" fmla="*/ 1847850 w 6610350"/>
              <a:gd name="connsiteY40" fmla="*/ 714375 h 2481262"/>
              <a:gd name="connsiteX41" fmla="*/ 1905000 w 6610350"/>
              <a:gd name="connsiteY41" fmla="*/ 714375 h 2481262"/>
              <a:gd name="connsiteX42" fmla="*/ 1909812 w 6610350"/>
              <a:gd name="connsiteY42" fmla="*/ 752401 h 2481262"/>
              <a:gd name="connsiteX43" fmla="*/ 2000299 w 6610350"/>
              <a:gd name="connsiteY43" fmla="*/ 757114 h 2481262"/>
              <a:gd name="connsiteX44" fmla="*/ 2009775 w 6610350"/>
              <a:gd name="connsiteY44" fmla="*/ 804862 h 2481262"/>
              <a:gd name="connsiteX45" fmla="*/ 2038350 w 6610350"/>
              <a:gd name="connsiteY45" fmla="*/ 804862 h 2481262"/>
              <a:gd name="connsiteX46" fmla="*/ 2038350 w 6610350"/>
              <a:gd name="connsiteY46" fmla="*/ 823912 h 2481262"/>
              <a:gd name="connsiteX47" fmla="*/ 2038350 w 6610350"/>
              <a:gd name="connsiteY47" fmla="*/ 823912 h 2481262"/>
              <a:gd name="connsiteX48" fmla="*/ 2071688 w 6610350"/>
              <a:gd name="connsiteY48" fmla="*/ 852487 h 2481262"/>
              <a:gd name="connsiteX49" fmla="*/ 2071688 w 6610350"/>
              <a:gd name="connsiteY49" fmla="*/ 852487 h 2481262"/>
              <a:gd name="connsiteX50" fmla="*/ 2100263 w 6610350"/>
              <a:gd name="connsiteY50" fmla="*/ 885825 h 2481262"/>
              <a:gd name="connsiteX51" fmla="*/ 2190750 w 6610350"/>
              <a:gd name="connsiteY51" fmla="*/ 885825 h 2481262"/>
              <a:gd name="connsiteX52" fmla="*/ 2195513 w 6610350"/>
              <a:gd name="connsiteY52" fmla="*/ 933450 h 2481262"/>
              <a:gd name="connsiteX53" fmla="*/ 2247900 w 6610350"/>
              <a:gd name="connsiteY53" fmla="*/ 923925 h 2481262"/>
              <a:gd name="connsiteX54" fmla="*/ 2247900 w 6610350"/>
              <a:gd name="connsiteY54" fmla="*/ 966787 h 2481262"/>
              <a:gd name="connsiteX55" fmla="*/ 2347937 w 6610350"/>
              <a:gd name="connsiteY55" fmla="*/ 961976 h 2481262"/>
              <a:gd name="connsiteX56" fmla="*/ 2347913 w 6610350"/>
              <a:gd name="connsiteY56" fmla="*/ 985837 h 2481262"/>
              <a:gd name="connsiteX57" fmla="*/ 2400300 w 6610350"/>
              <a:gd name="connsiteY57" fmla="*/ 990600 h 2481262"/>
              <a:gd name="connsiteX58" fmla="*/ 2400300 w 6610350"/>
              <a:gd name="connsiteY58" fmla="*/ 990600 h 2481262"/>
              <a:gd name="connsiteX59" fmla="*/ 2400300 w 6610350"/>
              <a:gd name="connsiteY59" fmla="*/ 1019175 h 2481262"/>
              <a:gd name="connsiteX60" fmla="*/ 2467024 w 6610350"/>
              <a:gd name="connsiteY60" fmla="*/ 1019126 h 2481262"/>
              <a:gd name="connsiteX61" fmla="*/ 2476500 w 6610350"/>
              <a:gd name="connsiteY61" fmla="*/ 1047750 h 2481262"/>
              <a:gd name="connsiteX62" fmla="*/ 2495575 w 6610350"/>
              <a:gd name="connsiteY62" fmla="*/ 1043012 h 2481262"/>
              <a:gd name="connsiteX63" fmla="*/ 2505050 w 6610350"/>
              <a:gd name="connsiteY63" fmla="*/ 1085653 h 2481262"/>
              <a:gd name="connsiteX64" fmla="*/ 2566988 w 6610350"/>
              <a:gd name="connsiteY64" fmla="*/ 1081087 h 2481262"/>
              <a:gd name="connsiteX65" fmla="*/ 2562225 w 6610350"/>
              <a:gd name="connsiteY65" fmla="*/ 1123950 h 2481262"/>
              <a:gd name="connsiteX66" fmla="*/ 2609850 w 6610350"/>
              <a:gd name="connsiteY66" fmla="*/ 1123950 h 2481262"/>
              <a:gd name="connsiteX67" fmla="*/ 2609850 w 6610350"/>
              <a:gd name="connsiteY67" fmla="*/ 1162050 h 2481262"/>
              <a:gd name="connsiteX68" fmla="*/ 2609850 w 6610350"/>
              <a:gd name="connsiteY68" fmla="*/ 1162050 h 2481262"/>
              <a:gd name="connsiteX69" fmla="*/ 2638425 w 6610350"/>
              <a:gd name="connsiteY69" fmla="*/ 1185862 h 2481262"/>
              <a:gd name="connsiteX70" fmla="*/ 2662113 w 6610350"/>
              <a:gd name="connsiteY70" fmla="*/ 1185863 h 2481262"/>
              <a:gd name="connsiteX71" fmla="*/ 2662238 w 6610350"/>
              <a:gd name="connsiteY71" fmla="*/ 1228725 h 2481262"/>
              <a:gd name="connsiteX72" fmla="*/ 2800350 w 6610350"/>
              <a:gd name="connsiteY72" fmla="*/ 1228749 h 2481262"/>
              <a:gd name="connsiteX73" fmla="*/ 2805113 w 6610350"/>
              <a:gd name="connsiteY73" fmla="*/ 1266825 h 2481262"/>
              <a:gd name="connsiteX74" fmla="*/ 2881313 w 6610350"/>
              <a:gd name="connsiteY74" fmla="*/ 1266825 h 2481262"/>
              <a:gd name="connsiteX75" fmla="*/ 2876550 w 6610350"/>
              <a:gd name="connsiteY75" fmla="*/ 1290637 h 2481262"/>
              <a:gd name="connsiteX76" fmla="*/ 2909714 w 6610350"/>
              <a:gd name="connsiteY76" fmla="*/ 1290637 h 2481262"/>
              <a:gd name="connsiteX77" fmla="*/ 2909888 w 6610350"/>
              <a:gd name="connsiteY77" fmla="*/ 1338262 h 2481262"/>
              <a:gd name="connsiteX78" fmla="*/ 2938315 w 6610350"/>
              <a:gd name="connsiteY78" fmla="*/ 1338262 h 2481262"/>
              <a:gd name="connsiteX79" fmla="*/ 2947988 w 6610350"/>
              <a:gd name="connsiteY79" fmla="*/ 1385887 h 2481262"/>
              <a:gd name="connsiteX80" fmla="*/ 3028950 w 6610350"/>
              <a:gd name="connsiteY80" fmla="*/ 1385887 h 2481262"/>
              <a:gd name="connsiteX81" fmla="*/ 3028950 w 6610350"/>
              <a:gd name="connsiteY81" fmla="*/ 1419225 h 2481262"/>
              <a:gd name="connsiteX82" fmla="*/ 3095625 w 6610350"/>
              <a:gd name="connsiteY82" fmla="*/ 1419225 h 2481262"/>
              <a:gd name="connsiteX83" fmla="*/ 3095625 w 6610350"/>
              <a:gd name="connsiteY83" fmla="*/ 1462087 h 2481262"/>
              <a:gd name="connsiteX84" fmla="*/ 3162300 w 6610350"/>
              <a:gd name="connsiteY84" fmla="*/ 1462087 h 2481262"/>
              <a:gd name="connsiteX85" fmla="*/ 3162300 w 6610350"/>
              <a:gd name="connsiteY85" fmla="*/ 1485900 h 2481262"/>
              <a:gd name="connsiteX86" fmla="*/ 3257550 w 6610350"/>
              <a:gd name="connsiteY86" fmla="*/ 1485900 h 2481262"/>
              <a:gd name="connsiteX87" fmla="*/ 3252788 w 6610350"/>
              <a:gd name="connsiteY87" fmla="*/ 1538287 h 2481262"/>
              <a:gd name="connsiteX88" fmla="*/ 3314700 w 6610350"/>
              <a:gd name="connsiteY88" fmla="*/ 1543050 h 2481262"/>
              <a:gd name="connsiteX89" fmla="*/ 3319438 w 6610350"/>
              <a:gd name="connsiteY89" fmla="*/ 1585690 h 2481262"/>
              <a:gd name="connsiteX90" fmla="*/ 3405188 w 6610350"/>
              <a:gd name="connsiteY90" fmla="*/ 1581150 h 2481262"/>
              <a:gd name="connsiteX91" fmla="*/ 3405188 w 6610350"/>
              <a:gd name="connsiteY91" fmla="*/ 1614487 h 2481262"/>
              <a:gd name="connsiteX92" fmla="*/ 3586163 w 6610350"/>
              <a:gd name="connsiteY92" fmla="*/ 1614487 h 2481262"/>
              <a:gd name="connsiteX93" fmla="*/ 3586163 w 6610350"/>
              <a:gd name="connsiteY93" fmla="*/ 1638300 h 2481262"/>
              <a:gd name="connsiteX94" fmla="*/ 3643313 w 6610350"/>
              <a:gd name="connsiteY94" fmla="*/ 1633537 h 2481262"/>
              <a:gd name="connsiteX95" fmla="*/ 3648051 w 6610350"/>
              <a:gd name="connsiteY95" fmla="*/ 1680915 h 2481262"/>
              <a:gd name="connsiteX96" fmla="*/ 3724275 w 6610350"/>
              <a:gd name="connsiteY96" fmla="*/ 1676351 h 2481262"/>
              <a:gd name="connsiteX97" fmla="*/ 3729014 w 6610350"/>
              <a:gd name="connsiteY97" fmla="*/ 1714253 h 2481262"/>
              <a:gd name="connsiteX98" fmla="*/ 3814763 w 6610350"/>
              <a:gd name="connsiteY98" fmla="*/ 1704975 h 2481262"/>
              <a:gd name="connsiteX99" fmla="*/ 3814763 w 6610350"/>
              <a:gd name="connsiteY99" fmla="*/ 1757362 h 2481262"/>
              <a:gd name="connsiteX100" fmla="*/ 3890963 w 6610350"/>
              <a:gd name="connsiteY100" fmla="*/ 1762125 h 2481262"/>
              <a:gd name="connsiteX101" fmla="*/ 3881438 w 6610350"/>
              <a:gd name="connsiteY101" fmla="*/ 1800225 h 2481262"/>
              <a:gd name="connsiteX102" fmla="*/ 3952875 w 6610350"/>
              <a:gd name="connsiteY102" fmla="*/ 1804987 h 2481262"/>
              <a:gd name="connsiteX103" fmla="*/ 3957638 w 6610350"/>
              <a:gd name="connsiteY103" fmla="*/ 1862137 h 2481262"/>
              <a:gd name="connsiteX104" fmla="*/ 4029075 w 6610350"/>
              <a:gd name="connsiteY104" fmla="*/ 1862137 h 2481262"/>
              <a:gd name="connsiteX105" fmla="*/ 4029075 w 6610350"/>
              <a:gd name="connsiteY105" fmla="*/ 1924050 h 2481262"/>
              <a:gd name="connsiteX106" fmla="*/ 4100513 w 6610350"/>
              <a:gd name="connsiteY106" fmla="*/ 1924050 h 2481262"/>
              <a:gd name="connsiteX107" fmla="*/ 4143375 w 6610350"/>
              <a:gd name="connsiteY107" fmla="*/ 1924050 h 2481262"/>
              <a:gd name="connsiteX108" fmla="*/ 4138613 w 6610350"/>
              <a:gd name="connsiteY108" fmla="*/ 1966912 h 2481262"/>
              <a:gd name="connsiteX109" fmla="*/ 4214813 w 6610350"/>
              <a:gd name="connsiteY109" fmla="*/ 1971675 h 2481262"/>
              <a:gd name="connsiteX110" fmla="*/ 4214813 w 6610350"/>
              <a:gd name="connsiteY110" fmla="*/ 2014537 h 2481262"/>
              <a:gd name="connsiteX111" fmla="*/ 4319588 w 6610350"/>
              <a:gd name="connsiteY111" fmla="*/ 2014537 h 2481262"/>
              <a:gd name="connsiteX112" fmla="*/ 4319588 w 6610350"/>
              <a:gd name="connsiteY112" fmla="*/ 2014537 h 2481262"/>
              <a:gd name="connsiteX113" fmla="*/ 4362451 w 6610350"/>
              <a:gd name="connsiteY113" fmla="*/ 2038350 h 2481262"/>
              <a:gd name="connsiteX114" fmla="*/ 4410075 w 6610350"/>
              <a:gd name="connsiteY114" fmla="*/ 2095500 h 2481262"/>
              <a:gd name="connsiteX115" fmla="*/ 4605338 w 6610350"/>
              <a:gd name="connsiteY115" fmla="*/ 2105025 h 2481262"/>
              <a:gd name="connsiteX116" fmla="*/ 4605338 w 6610350"/>
              <a:gd name="connsiteY116" fmla="*/ 2105025 h 2481262"/>
              <a:gd name="connsiteX117" fmla="*/ 4605338 w 6610350"/>
              <a:gd name="connsiteY117" fmla="*/ 2147887 h 2481262"/>
              <a:gd name="connsiteX118" fmla="*/ 4791075 w 6610350"/>
              <a:gd name="connsiteY118" fmla="*/ 2147887 h 2481262"/>
              <a:gd name="connsiteX119" fmla="*/ 4791075 w 6610350"/>
              <a:gd name="connsiteY119" fmla="*/ 2176462 h 2481262"/>
              <a:gd name="connsiteX120" fmla="*/ 4953000 w 6610350"/>
              <a:gd name="connsiteY120" fmla="*/ 2176462 h 2481262"/>
              <a:gd name="connsiteX121" fmla="*/ 5072063 w 6610350"/>
              <a:gd name="connsiteY121" fmla="*/ 2176462 h 2481262"/>
              <a:gd name="connsiteX122" fmla="*/ 5072063 w 6610350"/>
              <a:gd name="connsiteY122" fmla="*/ 2233612 h 2481262"/>
              <a:gd name="connsiteX123" fmla="*/ 5400675 w 6610350"/>
              <a:gd name="connsiteY123" fmla="*/ 2233612 h 2481262"/>
              <a:gd name="connsiteX124" fmla="*/ 5400675 w 6610350"/>
              <a:gd name="connsiteY124" fmla="*/ 2233612 h 2481262"/>
              <a:gd name="connsiteX125" fmla="*/ 5500688 w 6610350"/>
              <a:gd name="connsiteY125" fmla="*/ 2233612 h 2481262"/>
              <a:gd name="connsiteX126" fmla="*/ 5500688 w 6610350"/>
              <a:gd name="connsiteY126" fmla="*/ 2305050 h 2481262"/>
              <a:gd name="connsiteX127" fmla="*/ 5586413 w 6610350"/>
              <a:gd name="connsiteY127" fmla="*/ 2305050 h 2481262"/>
              <a:gd name="connsiteX128" fmla="*/ 5586413 w 6610350"/>
              <a:gd name="connsiteY128" fmla="*/ 2328862 h 2481262"/>
              <a:gd name="connsiteX129" fmla="*/ 5629275 w 6610350"/>
              <a:gd name="connsiteY129" fmla="*/ 2328862 h 2481262"/>
              <a:gd name="connsiteX130" fmla="*/ 5629275 w 6610350"/>
              <a:gd name="connsiteY130" fmla="*/ 2390775 h 2481262"/>
              <a:gd name="connsiteX131" fmla="*/ 6134100 w 6610350"/>
              <a:gd name="connsiteY131" fmla="*/ 2390775 h 2481262"/>
              <a:gd name="connsiteX132" fmla="*/ 6134100 w 6610350"/>
              <a:gd name="connsiteY132" fmla="*/ 2481262 h 2481262"/>
              <a:gd name="connsiteX133" fmla="*/ 6610350 w 6610350"/>
              <a:gd name="connsiteY133" fmla="*/ 2481262 h 2481262"/>
              <a:gd name="connsiteX0" fmla="*/ 0 w 6610350"/>
              <a:gd name="connsiteY0" fmla="*/ 4762 h 2481262"/>
              <a:gd name="connsiteX1" fmla="*/ 90488 w 6610350"/>
              <a:gd name="connsiteY1" fmla="*/ 0 h 2481262"/>
              <a:gd name="connsiteX2" fmla="*/ 90488 w 6610350"/>
              <a:gd name="connsiteY2" fmla="*/ 33337 h 2481262"/>
              <a:gd name="connsiteX3" fmla="*/ 133350 w 6610350"/>
              <a:gd name="connsiteY3" fmla="*/ 33337 h 2481262"/>
              <a:gd name="connsiteX4" fmla="*/ 133350 w 6610350"/>
              <a:gd name="connsiteY4" fmla="*/ 66675 h 2481262"/>
              <a:gd name="connsiteX5" fmla="*/ 209550 w 6610350"/>
              <a:gd name="connsiteY5" fmla="*/ 66675 h 2481262"/>
              <a:gd name="connsiteX6" fmla="*/ 204788 w 6610350"/>
              <a:gd name="connsiteY6" fmla="*/ 95250 h 2481262"/>
              <a:gd name="connsiteX7" fmla="*/ 361950 w 6610350"/>
              <a:gd name="connsiteY7" fmla="*/ 104775 h 2481262"/>
              <a:gd name="connsiteX8" fmla="*/ 361950 w 6610350"/>
              <a:gd name="connsiteY8" fmla="*/ 123825 h 2481262"/>
              <a:gd name="connsiteX9" fmla="*/ 423863 w 6610350"/>
              <a:gd name="connsiteY9" fmla="*/ 119062 h 2481262"/>
              <a:gd name="connsiteX10" fmla="*/ 423862 w 6610350"/>
              <a:gd name="connsiteY10" fmla="*/ 166687 h 2481262"/>
              <a:gd name="connsiteX11" fmla="*/ 552450 w 6610350"/>
              <a:gd name="connsiteY11" fmla="*/ 171450 h 2481262"/>
              <a:gd name="connsiteX12" fmla="*/ 557213 w 6610350"/>
              <a:gd name="connsiteY12" fmla="*/ 200025 h 2481262"/>
              <a:gd name="connsiteX13" fmla="*/ 595313 w 6610350"/>
              <a:gd name="connsiteY13" fmla="*/ 204787 h 2481262"/>
              <a:gd name="connsiteX14" fmla="*/ 600075 w 6610350"/>
              <a:gd name="connsiteY14" fmla="*/ 238125 h 2481262"/>
              <a:gd name="connsiteX15" fmla="*/ 642938 w 6610350"/>
              <a:gd name="connsiteY15" fmla="*/ 238125 h 2481262"/>
              <a:gd name="connsiteX16" fmla="*/ 642938 w 6610350"/>
              <a:gd name="connsiteY16" fmla="*/ 276225 h 2481262"/>
              <a:gd name="connsiteX17" fmla="*/ 933450 w 6610350"/>
              <a:gd name="connsiteY17" fmla="*/ 280987 h 2481262"/>
              <a:gd name="connsiteX18" fmla="*/ 938213 w 6610350"/>
              <a:gd name="connsiteY18" fmla="*/ 300037 h 2481262"/>
              <a:gd name="connsiteX19" fmla="*/ 1023938 w 6610350"/>
              <a:gd name="connsiteY19" fmla="*/ 300013 h 2481262"/>
              <a:gd name="connsiteX20" fmla="*/ 1028700 w 6610350"/>
              <a:gd name="connsiteY20" fmla="*/ 357187 h 2481262"/>
              <a:gd name="connsiteX21" fmla="*/ 1147763 w 6610350"/>
              <a:gd name="connsiteY21" fmla="*/ 357187 h 2481262"/>
              <a:gd name="connsiteX22" fmla="*/ 1157288 w 6610350"/>
              <a:gd name="connsiteY22" fmla="*/ 390525 h 2481262"/>
              <a:gd name="connsiteX23" fmla="*/ 1228725 w 6610350"/>
              <a:gd name="connsiteY23" fmla="*/ 390525 h 2481262"/>
              <a:gd name="connsiteX24" fmla="*/ 1228725 w 6610350"/>
              <a:gd name="connsiteY24" fmla="*/ 414215 h 2481262"/>
              <a:gd name="connsiteX25" fmla="*/ 1323975 w 6610350"/>
              <a:gd name="connsiteY25" fmla="*/ 419100 h 2481262"/>
              <a:gd name="connsiteX26" fmla="*/ 1338263 w 6610350"/>
              <a:gd name="connsiteY26" fmla="*/ 471487 h 2481262"/>
              <a:gd name="connsiteX27" fmla="*/ 1400175 w 6610350"/>
              <a:gd name="connsiteY27" fmla="*/ 466725 h 2481262"/>
              <a:gd name="connsiteX28" fmla="*/ 1404938 w 6610350"/>
              <a:gd name="connsiteY28" fmla="*/ 490537 h 2481262"/>
              <a:gd name="connsiteX29" fmla="*/ 1466850 w 6610350"/>
              <a:gd name="connsiteY29" fmla="*/ 495300 h 2481262"/>
              <a:gd name="connsiteX30" fmla="*/ 1471613 w 6610350"/>
              <a:gd name="connsiteY30" fmla="*/ 509587 h 2481262"/>
              <a:gd name="connsiteX31" fmla="*/ 1528763 w 6610350"/>
              <a:gd name="connsiteY31" fmla="*/ 509587 h 2481262"/>
              <a:gd name="connsiteX32" fmla="*/ 1528763 w 6610350"/>
              <a:gd name="connsiteY32" fmla="*/ 557212 h 2481262"/>
              <a:gd name="connsiteX33" fmla="*/ 1714500 w 6610350"/>
              <a:gd name="connsiteY33" fmla="*/ 561974 h 2481262"/>
              <a:gd name="connsiteX34" fmla="*/ 1714500 w 6610350"/>
              <a:gd name="connsiteY34" fmla="*/ 590550 h 2481262"/>
              <a:gd name="connsiteX35" fmla="*/ 1752600 w 6610350"/>
              <a:gd name="connsiteY35" fmla="*/ 590550 h 2481262"/>
              <a:gd name="connsiteX36" fmla="*/ 1762125 w 6610350"/>
              <a:gd name="connsiteY36" fmla="*/ 619125 h 2481262"/>
              <a:gd name="connsiteX37" fmla="*/ 1809750 w 6610350"/>
              <a:gd name="connsiteY37" fmla="*/ 619125 h 2481262"/>
              <a:gd name="connsiteX38" fmla="*/ 1809750 w 6610350"/>
              <a:gd name="connsiteY38" fmla="*/ 647700 h 2481262"/>
              <a:gd name="connsiteX39" fmla="*/ 1847850 w 6610350"/>
              <a:gd name="connsiteY39" fmla="*/ 647700 h 2481262"/>
              <a:gd name="connsiteX40" fmla="*/ 1847850 w 6610350"/>
              <a:gd name="connsiteY40" fmla="*/ 714375 h 2481262"/>
              <a:gd name="connsiteX41" fmla="*/ 1905000 w 6610350"/>
              <a:gd name="connsiteY41" fmla="*/ 714375 h 2481262"/>
              <a:gd name="connsiteX42" fmla="*/ 1909812 w 6610350"/>
              <a:gd name="connsiteY42" fmla="*/ 752401 h 2481262"/>
              <a:gd name="connsiteX43" fmla="*/ 2000299 w 6610350"/>
              <a:gd name="connsiteY43" fmla="*/ 757114 h 2481262"/>
              <a:gd name="connsiteX44" fmla="*/ 2009775 w 6610350"/>
              <a:gd name="connsiteY44" fmla="*/ 804862 h 2481262"/>
              <a:gd name="connsiteX45" fmla="*/ 2038350 w 6610350"/>
              <a:gd name="connsiteY45" fmla="*/ 804862 h 2481262"/>
              <a:gd name="connsiteX46" fmla="*/ 2038350 w 6610350"/>
              <a:gd name="connsiteY46" fmla="*/ 823912 h 2481262"/>
              <a:gd name="connsiteX47" fmla="*/ 2038350 w 6610350"/>
              <a:gd name="connsiteY47" fmla="*/ 823912 h 2481262"/>
              <a:gd name="connsiteX48" fmla="*/ 2071688 w 6610350"/>
              <a:gd name="connsiteY48" fmla="*/ 852487 h 2481262"/>
              <a:gd name="connsiteX49" fmla="*/ 2071688 w 6610350"/>
              <a:gd name="connsiteY49" fmla="*/ 852487 h 2481262"/>
              <a:gd name="connsiteX50" fmla="*/ 2100263 w 6610350"/>
              <a:gd name="connsiteY50" fmla="*/ 885825 h 2481262"/>
              <a:gd name="connsiteX51" fmla="*/ 2190750 w 6610350"/>
              <a:gd name="connsiteY51" fmla="*/ 885825 h 2481262"/>
              <a:gd name="connsiteX52" fmla="*/ 2195513 w 6610350"/>
              <a:gd name="connsiteY52" fmla="*/ 933450 h 2481262"/>
              <a:gd name="connsiteX53" fmla="*/ 2247900 w 6610350"/>
              <a:gd name="connsiteY53" fmla="*/ 923925 h 2481262"/>
              <a:gd name="connsiteX54" fmla="*/ 2247900 w 6610350"/>
              <a:gd name="connsiteY54" fmla="*/ 966787 h 2481262"/>
              <a:gd name="connsiteX55" fmla="*/ 2347937 w 6610350"/>
              <a:gd name="connsiteY55" fmla="*/ 961976 h 2481262"/>
              <a:gd name="connsiteX56" fmla="*/ 2347913 w 6610350"/>
              <a:gd name="connsiteY56" fmla="*/ 985837 h 2481262"/>
              <a:gd name="connsiteX57" fmla="*/ 2400300 w 6610350"/>
              <a:gd name="connsiteY57" fmla="*/ 990600 h 2481262"/>
              <a:gd name="connsiteX58" fmla="*/ 2400300 w 6610350"/>
              <a:gd name="connsiteY58" fmla="*/ 990600 h 2481262"/>
              <a:gd name="connsiteX59" fmla="*/ 2400300 w 6610350"/>
              <a:gd name="connsiteY59" fmla="*/ 1019175 h 2481262"/>
              <a:gd name="connsiteX60" fmla="*/ 2467024 w 6610350"/>
              <a:gd name="connsiteY60" fmla="*/ 1019126 h 2481262"/>
              <a:gd name="connsiteX61" fmla="*/ 2476500 w 6610350"/>
              <a:gd name="connsiteY61" fmla="*/ 1047750 h 2481262"/>
              <a:gd name="connsiteX62" fmla="*/ 2500313 w 6610350"/>
              <a:gd name="connsiteY62" fmla="*/ 1047750 h 2481262"/>
              <a:gd name="connsiteX63" fmla="*/ 2505050 w 6610350"/>
              <a:gd name="connsiteY63" fmla="*/ 1085653 h 2481262"/>
              <a:gd name="connsiteX64" fmla="*/ 2566988 w 6610350"/>
              <a:gd name="connsiteY64" fmla="*/ 1081087 h 2481262"/>
              <a:gd name="connsiteX65" fmla="*/ 2562225 w 6610350"/>
              <a:gd name="connsiteY65" fmla="*/ 1123950 h 2481262"/>
              <a:gd name="connsiteX66" fmla="*/ 2609850 w 6610350"/>
              <a:gd name="connsiteY66" fmla="*/ 1123950 h 2481262"/>
              <a:gd name="connsiteX67" fmla="*/ 2609850 w 6610350"/>
              <a:gd name="connsiteY67" fmla="*/ 1162050 h 2481262"/>
              <a:gd name="connsiteX68" fmla="*/ 2609850 w 6610350"/>
              <a:gd name="connsiteY68" fmla="*/ 1162050 h 2481262"/>
              <a:gd name="connsiteX69" fmla="*/ 2638425 w 6610350"/>
              <a:gd name="connsiteY69" fmla="*/ 1185862 h 2481262"/>
              <a:gd name="connsiteX70" fmla="*/ 2662113 w 6610350"/>
              <a:gd name="connsiteY70" fmla="*/ 1185863 h 2481262"/>
              <a:gd name="connsiteX71" fmla="*/ 2662238 w 6610350"/>
              <a:gd name="connsiteY71" fmla="*/ 1228725 h 2481262"/>
              <a:gd name="connsiteX72" fmla="*/ 2800350 w 6610350"/>
              <a:gd name="connsiteY72" fmla="*/ 1228749 h 2481262"/>
              <a:gd name="connsiteX73" fmla="*/ 2805113 w 6610350"/>
              <a:gd name="connsiteY73" fmla="*/ 1266825 h 2481262"/>
              <a:gd name="connsiteX74" fmla="*/ 2881313 w 6610350"/>
              <a:gd name="connsiteY74" fmla="*/ 1266825 h 2481262"/>
              <a:gd name="connsiteX75" fmla="*/ 2876550 w 6610350"/>
              <a:gd name="connsiteY75" fmla="*/ 1290637 h 2481262"/>
              <a:gd name="connsiteX76" fmla="*/ 2909714 w 6610350"/>
              <a:gd name="connsiteY76" fmla="*/ 1290637 h 2481262"/>
              <a:gd name="connsiteX77" fmla="*/ 2909888 w 6610350"/>
              <a:gd name="connsiteY77" fmla="*/ 1338262 h 2481262"/>
              <a:gd name="connsiteX78" fmla="*/ 2938315 w 6610350"/>
              <a:gd name="connsiteY78" fmla="*/ 1338262 h 2481262"/>
              <a:gd name="connsiteX79" fmla="*/ 2947988 w 6610350"/>
              <a:gd name="connsiteY79" fmla="*/ 1385887 h 2481262"/>
              <a:gd name="connsiteX80" fmla="*/ 3028950 w 6610350"/>
              <a:gd name="connsiteY80" fmla="*/ 1385887 h 2481262"/>
              <a:gd name="connsiteX81" fmla="*/ 3028950 w 6610350"/>
              <a:gd name="connsiteY81" fmla="*/ 1419225 h 2481262"/>
              <a:gd name="connsiteX82" fmla="*/ 3095625 w 6610350"/>
              <a:gd name="connsiteY82" fmla="*/ 1419225 h 2481262"/>
              <a:gd name="connsiteX83" fmla="*/ 3095625 w 6610350"/>
              <a:gd name="connsiteY83" fmla="*/ 1462087 h 2481262"/>
              <a:gd name="connsiteX84" fmla="*/ 3162300 w 6610350"/>
              <a:gd name="connsiteY84" fmla="*/ 1462087 h 2481262"/>
              <a:gd name="connsiteX85" fmla="*/ 3162300 w 6610350"/>
              <a:gd name="connsiteY85" fmla="*/ 1485900 h 2481262"/>
              <a:gd name="connsiteX86" fmla="*/ 3257550 w 6610350"/>
              <a:gd name="connsiteY86" fmla="*/ 1485900 h 2481262"/>
              <a:gd name="connsiteX87" fmla="*/ 3252788 w 6610350"/>
              <a:gd name="connsiteY87" fmla="*/ 1538287 h 2481262"/>
              <a:gd name="connsiteX88" fmla="*/ 3314700 w 6610350"/>
              <a:gd name="connsiteY88" fmla="*/ 1543050 h 2481262"/>
              <a:gd name="connsiteX89" fmla="*/ 3319438 w 6610350"/>
              <a:gd name="connsiteY89" fmla="*/ 1585690 h 2481262"/>
              <a:gd name="connsiteX90" fmla="*/ 3405188 w 6610350"/>
              <a:gd name="connsiteY90" fmla="*/ 1581150 h 2481262"/>
              <a:gd name="connsiteX91" fmla="*/ 3405188 w 6610350"/>
              <a:gd name="connsiteY91" fmla="*/ 1614487 h 2481262"/>
              <a:gd name="connsiteX92" fmla="*/ 3586163 w 6610350"/>
              <a:gd name="connsiteY92" fmla="*/ 1614487 h 2481262"/>
              <a:gd name="connsiteX93" fmla="*/ 3586163 w 6610350"/>
              <a:gd name="connsiteY93" fmla="*/ 1638300 h 2481262"/>
              <a:gd name="connsiteX94" fmla="*/ 3643313 w 6610350"/>
              <a:gd name="connsiteY94" fmla="*/ 1633537 h 2481262"/>
              <a:gd name="connsiteX95" fmla="*/ 3648051 w 6610350"/>
              <a:gd name="connsiteY95" fmla="*/ 1680915 h 2481262"/>
              <a:gd name="connsiteX96" fmla="*/ 3724275 w 6610350"/>
              <a:gd name="connsiteY96" fmla="*/ 1676351 h 2481262"/>
              <a:gd name="connsiteX97" fmla="*/ 3729014 w 6610350"/>
              <a:gd name="connsiteY97" fmla="*/ 1714253 h 2481262"/>
              <a:gd name="connsiteX98" fmla="*/ 3814763 w 6610350"/>
              <a:gd name="connsiteY98" fmla="*/ 1704975 h 2481262"/>
              <a:gd name="connsiteX99" fmla="*/ 3814763 w 6610350"/>
              <a:gd name="connsiteY99" fmla="*/ 1757362 h 2481262"/>
              <a:gd name="connsiteX100" fmla="*/ 3890963 w 6610350"/>
              <a:gd name="connsiteY100" fmla="*/ 1762125 h 2481262"/>
              <a:gd name="connsiteX101" fmla="*/ 3881438 w 6610350"/>
              <a:gd name="connsiteY101" fmla="*/ 1800225 h 2481262"/>
              <a:gd name="connsiteX102" fmla="*/ 3952875 w 6610350"/>
              <a:gd name="connsiteY102" fmla="*/ 1804987 h 2481262"/>
              <a:gd name="connsiteX103" fmla="*/ 3957638 w 6610350"/>
              <a:gd name="connsiteY103" fmla="*/ 1862137 h 2481262"/>
              <a:gd name="connsiteX104" fmla="*/ 4029075 w 6610350"/>
              <a:gd name="connsiteY104" fmla="*/ 1862137 h 2481262"/>
              <a:gd name="connsiteX105" fmla="*/ 4029075 w 6610350"/>
              <a:gd name="connsiteY105" fmla="*/ 1924050 h 2481262"/>
              <a:gd name="connsiteX106" fmla="*/ 4100513 w 6610350"/>
              <a:gd name="connsiteY106" fmla="*/ 1924050 h 2481262"/>
              <a:gd name="connsiteX107" fmla="*/ 4143375 w 6610350"/>
              <a:gd name="connsiteY107" fmla="*/ 1924050 h 2481262"/>
              <a:gd name="connsiteX108" fmla="*/ 4138613 w 6610350"/>
              <a:gd name="connsiteY108" fmla="*/ 1966912 h 2481262"/>
              <a:gd name="connsiteX109" fmla="*/ 4214813 w 6610350"/>
              <a:gd name="connsiteY109" fmla="*/ 1971675 h 2481262"/>
              <a:gd name="connsiteX110" fmla="*/ 4214813 w 6610350"/>
              <a:gd name="connsiteY110" fmla="*/ 2014537 h 2481262"/>
              <a:gd name="connsiteX111" fmla="*/ 4319588 w 6610350"/>
              <a:gd name="connsiteY111" fmla="*/ 2014537 h 2481262"/>
              <a:gd name="connsiteX112" fmla="*/ 4319588 w 6610350"/>
              <a:gd name="connsiteY112" fmla="*/ 2014537 h 2481262"/>
              <a:gd name="connsiteX113" fmla="*/ 4362451 w 6610350"/>
              <a:gd name="connsiteY113" fmla="*/ 2038350 h 2481262"/>
              <a:gd name="connsiteX114" fmla="*/ 4410075 w 6610350"/>
              <a:gd name="connsiteY114" fmla="*/ 2095500 h 2481262"/>
              <a:gd name="connsiteX115" fmla="*/ 4605338 w 6610350"/>
              <a:gd name="connsiteY115" fmla="*/ 2105025 h 2481262"/>
              <a:gd name="connsiteX116" fmla="*/ 4605338 w 6610350"/>
              <a:gd name="connsiteY116" fmla="*/ 2105025 h 2481262"/>
              <a:gd name="connsiteX117" fmla="*/ 4605338 w 6610350"/>
              <a:gd name="connsiteY117" fmla="*/ 2147887 h 2481262"/>
              <a:gd name="connsiteX118" fmla="*/ 4791075 w 6610350"/>
              <a:gd name="connsiteY118" fmla="*/ 2147887 h 2481262"/>
              <a:gd name="connsiteX119" fmla="*/ 4791075 w 6610350"/>
              <a:gd name="connsiteY119" fmla="*/ 2176462 h 2481262"/>
              <a:gd name="connsiteX120" fmla="*/ 4953000 w 6610350"/>
              <a:gd name="connsiteY120" fmla="*/ 2176462 h 2481262"/>
              <a:gd name="connsiteX121" fmla="*/ 5072063 w 6610350"/>
              <a:gd name="connsiteY121" fmla="*/ 2176462 h 2481262"/>
              <a:gd name="connsiteX122" fmla="*/ 5072063 w 6610350"/>
              <a:gd name="connsiteY122" fmla="*/ 2233612 h 2481262"/>
              <a:gd name="connsiteX123" fmla="*/ 5400675 w 6610350"/>
              <a:gd name="connsiteY123" fmla="*/ 2233612 h 2481262"/>
              <a:gd name="connsiteX124" fmla="*/ 5400675 w 6610350"/>
              <a:gd name="connsiteY124" fmla="*/ 2233612 h 2481262"/>
              <a:gd name="connsiteX125" fmla="*/ 5500688 w 6610350"/>
              <a:gd name="connsiteY125" fmla="*/ 2233612 h 2481262"/>
              <a:gd name="connsiteX126" fmla="*/ 5500688 w 6610350"/>
              <a:gd name="connsiteY126" fmla="*/ 2305050 h 2481262"/>
              <a:gd name="connsiteX127" fmla="*/ 5586413 w 6610350"/>
              <a:gd name="connsiteY127" fmla="*/ 2305050 h 2481262"/>
              <a:gd name="connsiteX128" fmla="*/ 5586413 w 6610350"/>
              <a:gd name="connsiteY128" fmla="*/ 2328862 h 2481262"/>
              <a:gd name="connsiteX129" fmla="*/ 5629275 w 6610350"/>
              <a:gd name="connsiteY129" fmla="*/ 2328862 h 2481262"/>
              <a:gd name="connsiteX130" fmla="*/ 5629275 w 6610350"/>
              <a:gd name="connsiteY130" fmla="*/ 2390775 h 2481262"/>
              <a:gd name="connsiteX131" fmla="*/ 6134100 w 6610350"/>
              <a:gd name="connsiteY131" fmla="*/ 2390775 h 2481262"/>
              <a:gd name="connsiteX132" fmla="*/ 6134100 w 6610350"/>
              <a:gd name="connsiteY132" fmla="*/ 2481262 h 2481262"/>
              <a:gd name="connsiteX133" fmla="*/ 6610350 w 6610350"/>
              <a:gd name="connsiteY133" fmla="*/ 2481262 h 2481262"/>
              <a:gd name="connsiteX0" fmla="*/ 0 w 6610350"/>
              <a:gd name="connsiteY0" fmla="*/ 4762 h 2481262"/>
              <a:gd name="connsiteX1" fmla="*/ 90488 w 6610350"/>
              <a:gd name="connsiteY1" fmla="*/ 0 h 2481262"/>
              <a:gd name="connsiteX2" fmla="*/ 90488 w 6610350"/>
              <a:gd name="connsiteY2" fmla="*/ 33337 h 2481262"/>
              <a:gd name="connsiteX3" fmla="*/ 133350 w 6610350"/>
              <a:gd name="connsiteY3" fmla="*/ 33337 h 2481262"/>
              <a:gd name="connsiteX4" fmla="*/ 133350 w 6610350"/>
              <a:gd name="connsiteY4" fmla="*/ 66675 h 2481262"/>
              <a:gd name="connsiteX5" fmla="*/ 209550 w 6610350"/>
              <a:gd name="connsiteY5" fmla="*/ 66675 h 2481262"/>
              <a:gd name="connsiteX6" fmla="*/ 204788 w 6610350"/>
              <a:gd name="connsiteY6" fmla="*/ 95250 h 2481262"/>
              <a:gd name="connsiteX7" fmla="*/ 361950 w 6610350"/>
              <a:gd name="connsiteY7" fmla="*/ 104775 h 2481262"/>
              <a:gd name="connsiteX8" fmla="*/ 361950 w 6610350"/>
              <a:gd name="connsiteY8" fmla="*/ 123825 h 2481262"/>
              <a:gd name="connsiteX9" fmla="*/ 423863 w 6610350"/>
              <a:gd name="connsiteY9" fmla="*/ 119062 h 2481262"/>
              <a:gd name="connsiteX10" fmla="*/ 423862 w 6610350"/>
              <a:gd name="connsiteY10" fmla="*/ 166687 h 2481262"/>
              <a:gd name="connsiteX11" fmla="*/ 552450 w 6610350"/>
              <a:gd name="connsiteY11" fmla="*/ 171450 h 2481262"/>
              <a:gd name="connsiteX12" fmla="*/ 557213 w 6610350"/>
              <a:gd name="connsiteY12" fmla="*/ 200025 h 2481262"/>
              <a:gd name="connsiteX13" fmla="*/ 595313 w 6610350"/>
              <a:gd name="connsiteY13" fmla="*/ 204787 h 2481262"/>
              <a:gd name="connsiteX14" fmla="*/ 600075 w 6610350"/>
              <a:gd name="connsiteY14" fmla="*/ 238125 h 2481262"/>
              <a:gd name="connsiteX15" fmla="*/ 642938 w 6610350"/>
              <a:gd name="connsiteY15" fmla="*/ 238125 h 2481262"/>
              <a:gd name="connsiteX16" fmla="*/ 642938 w 6610350"/>
              <a:gd name="connsiteY16" fmla="*/ 276225 h 2481262"/>
              <a:gd name="connsiteX17" fmla="*/ 933450 w 6610350"/>
              <a:gd name="connsiteY17" fmla="*/ 280987 h 2481262"/>
              <a:gd name="connsiteX18" fmla="*/ 938213 w 6610350"/>
              <a:gd name="connsiteY18" fmla="*/ 300037 h 2481262"/>
              <a:gd name="connsiteX19" fmla="*/ 1023938 w 6610350"/>
              <a:gd name="connsiteY19" fmla="*/ 300013 h 2481262"/>
              <a:gd name="connsiteX20" fmla="*/ 1028700 w 6610350"/>
              <a:gd name="connsiteY20" fmla="*/ 357187 h 2481262"/>
              <a:gd name="connsiteX21" fmla="*/ 1147763 w 6610350"/>
              <a:gd name="connsiteY21" fmla="*/ 357187 h 2481262"/>
              <a:gd name="connsiteX22" fmla="*/ 1157288 w 6610350"/>
              <a:gd name="connsiteY22" fmla="*/ 390525 h 2481262"/>
              <a:gd name="connsiteX23" fmla="*/ 1228725 w 6610350"/>
              <a:gd name="connsiteY23" fmla="*/ 390525 h 2481262"/>
              <a:gd name="connsiteX24" fmla="*/ 1228725 w 6610350"/>
              <a:gd name="connsiteY24" fmla="*/ 414215 h 2481262"/>
              <a:gd name="connsiteX25" fmla="*/ 1323975 w 6610350"/>
              <a:gd name="connsiteY25" fmla="*/ 419100 h 2481262"/>
              <a:gd name="connsiteX26" fmla="*/ 1338263 w 6610350"/>
              <a:gd name="connsiteY26" fmla="*/ 471487 h 2481262"/>
              <a:gd name="connsiteX27" fmla="*/ 1400175 w 6610350"/>
              <a:gd name="connsiteY27" fmla="*/ 466725 h 2481262"/>
              <a:gd name="connsiteX28" fmla="*/ 1404938 w 6610350"/>
              <a:gd name="connsiteY28" fmla="*/ 490537 h 2481262"/>
              <a:gd name="connsiteX29" fmla="*/ 1466850 w 6610350"/>
              <a:gd name="connsiteY29" fmla="*/ 495300 h 2481262"/>
              <a:gd name="connsiteX30" fmla="*/ 1471613 w 6610350"/>
              <a:gd name="connsiteY30" fmla="*/ 509587 h 2481262"/>
              <a:gd name="connsiteX31" fmla="*/ 1528763 w 6610350"/>
              <a:gd name="connsiteY31" fmla="*/ 509587 h 2481262"/>
              <a:gd name="connsiteX32" fmla="*/ 1528763 w 6610350"/>
              <a:gd name="connsiteY32" fmla="*/ 557212 h 2481262"/>
              <a:gd name="connsiteX33" fmla="*/ 1714500 w 6610350"/>
              <a:gd name="connsiteY33" fmla="*/ 561974 h 2481262"/>
              <a:gd name="connsiteX34" fmla="*/ 1714500 w 6610350"/>
              <a:gd name="connsiteY34" fmla="*/ 590550 h 2481262"/>
              <a:gd name="connsiteX35" fmla="*/ 1752600 w 6610350"/>
              <a:gd name="connsiteY35" fmla="*/ 590550 h 2481262"/>
              <a:gd name="connsiteX36" fmla="*/ 1762125 w 6610350"/>
              <a:gd name="connsiteY36" fmla="*/ 619125 h 2481262"/>
              <a:gd name="connsiteX37" fmla="*/ 1809750 w 6610350"/>
              <a:gd name="connsiteY37" fmla="*/ 619125 h 2481262"/>
              <a:gd name="connsiteX38" fmla="*/ 1809750 w 6610350"/>
              <a:gd name="connsiteY38" fmla="*/ 647700 h 2481262"/>
              <a:gd name="connsiteX39" fmla="*/ 1847850 w 6610350"/>
              <a:gd name="connsiteY39" fmla="*/ 647700 h 2481262"/>
              <a:gd name="connsiteX40" fmla="*/ 1847850 w 6610350"/>
              <a:gd name="connsiteY40" fmla="*/ 714375 h 2481262"/>
              <a:gd name="connsiteX41" fmla="*/ 1905000 w 6610350"/>
              <a:gd name="connsiteY41" fmla="*/ 714375 h 2481262"/>
              <a:gd name="connsiteX42" fmla="*/ 1909812 w 6610350"/>
              <a:gd name="connsiteY42" fmla="*/ 752401 h 2481262"/>
              <a:gd name="connsiteX43" fmla="*/ 2000299 w 6610350"/>
              <a:gd name="connsiteY43" fmla="*/ 757114 h 2481262"/>
              <a:gd name="connsiteX44" fmla="*/ 2009775 w 6610350"/>
              <a:gd name="connsiteY44" fmla="*/ 804862 h 2481262"/>
              <a:gd name="connsiteX45" fmla="*/ 2038350 w 6610350"/>
              <a:gd name="connsiteY45" fmla="*/ 804862 h 2481262"/>
              <a:gd name="connsiteX46" fmla="*/ 2038350 w 6610350"/>
              <a:gd name="connsiteY46" fmla="*/ 823912 h 2481262"/>
              <a:gd name="connsiteX47" fmla="*/ 2038350 w 6610350"/>
              <a:gd name="connsiteY47" fmla="*/ 823912 h 2481262"/>
              <a:gd name="connsiteX48" fmla="*/ 2071688 w 6610350"/>
              <a:gd name="connsiteY48" fmla="*/ 852487 h 2481262"/>
              <a:gd name="connsiteX49" fmla="*/ 2071688 w 6610350"/>
              <a:gd name="connsiteY49" fmla="*/ 852487 h 2481262"/>
              <a:gd name="connsiteX50" fmla="*/ 2100263 w 6610350"/>
              <a:gd name="connsiteY50" fmla="*/ 885825 h 2481262"/>
              <a:gd name="connsiteX51" fmla="*/ 2190750 w 6610350"/>
              <a:gd name="connsiteY51" fmla="*/ 885825 h 2481262"/>
              <a:gd name="connsiteX52" fmla="*/ 2190775 w 6610350"/>
              <a:gd name="connsiteY52" fmla="*/ 928712 h 2481262"/>
              <a:gd name="connsiteX53" fmla="*/ 2247900 w 6610350"/>
              <a:gd name="connsiteY53" fmla="*/ 923925 h 2481262"/>
              <a:gd name="connsiteX54" fmla="*/ 2247900 w 6610350"/>
              <a:gd name="connsiteY54" fmla="*/ 966787 h 2481262"/>
              <a:gd name="connsiteX55" fmla="*/ 2347937 w 6610350"/>
              <a:gd name="connsiteY55" fmla="*/ 961976 h 2481262"/>
              <a:gd name="connsiteX56" fmla="*/ 2347913 w 6610350"/>
              <a:gd name="connsiteY56" fmla="*/ 985837 h 2481262"/>
              <a:gd name="connsiteX57" fmla="*/ 2400300 w 6610350"/>
              <a:gd name="connsiteY57" fmla="*/ 990600 h 2481262"/>
              <a:gd name="connsiteX58" fmla="*/ 2400300 w 6610350"/>
              <a:gd name="connsiteY58" fmla="*/ 990600 h 2481262"/>
              <a:gd name="connsiteX59" fmla="*/ 2400300 w 6610350"/>
              <a:gd name="connsiteY59" fmla="*/ 1019175 h 2481262"/>
              <a:gd name="connsiteX60" fmla="*/ 2467024 w 6610350"/>
              <a:gd name="connsiteY60" fmla="*/ 1019126 h 2481262"/>
              <a:gd name="connsiteX61" fmla="*/ 2476500 w 6610350"/>
              <a:gd name="connsiteY61" fmla="*/ 1047750 h 2481262"/>
              <a:gd name="connsiteX62" fmla="*/ 2500313 w 6610350"/>
              <a:gd name="connsiteY62" fmla="*/ 1047750 h 2481262"/>
              <a:gd name="connsiteX63" fmla="*/ 2505050 w 6610350"/>
              <a:gd name="connsiteY63" fmla="*/ 1085653 h 2481262"/>
              <a:gd name="connsiteX64" fmla="*/ 2566988 w 6610350"/>
              <a:gd name="connsiteY64" fmla="*/ 1081087 h 2481262"/>
              <a:gd name="connsiteX65" fmla="*/ 2562225 w 6610350"/>
              <a:gd name="connsiteY65" fmla="*/ 1123950 h 2481262"/>
              <a:gd name="connsiteX66" fmla="*/ 2609850 w 6610350"/>
              <a:gd name="connsiteY66" fmla="*/ 1123950 h 2481262"/>
              <a:gd name="connsiteX67" fmla="*/ 2609850 w 6610350"/>
              <a:gd name="connsiteY67" fmla="*/ 1162050 h 2481262"/>
              <a:gd name="connsiteX68" fmla="*/ 2609850 w 6610350"/>
              <a:gd name="connsiteY68" fmla="*/ 1162050 h 2481262"/>
              <a:gd name="connsiteX69" fmla="*/ 2638425 w 6610350"/>
              <a:gd name="connsiteY69" fmla="*/ 1185862 h 2481262"/>
              <a:gd name="connsiteX70" fmla="*/ 2662113 w 6610350"/>
              <a:gd name="connsiteY70" fmla="*/ 1185863 h 2481262"/>
              <a:gd name="connsiteX71" fmla="*/ 2662238 w 6610350"/>
              <a:gd name="connsiteY71" fmla="*/ 1228725 h 2481262"/>
              <a:gd name="connsiteX72" fmla="*/ 2800350 w 6610350"/>
              <a:gd name="connsiteY72" fmla="*/ 1228749 h 2481262"/>
              <a:gd name="connsiteX73" fmla="*/ 2805113 w 6610350"/>
              <a:gd name="connsiteY73" fmla="*/ 1266825 h 2481262"/>
              <a:gd name="connsiteX74" fmla="*/ 2881313 w 6610350"/>
              <a:gd name="connsiteY74" fmla="*/ 1266825 h 2481262"/>
              <a:gd name="connsiteX75" fmla="*/ 2876550 w 6610350"/>
              <a:gd name="connsiteY75" fmla="*/ 1290637 h 2481262"/>
              <a:gd name="connsiteX76" fmla="*/ 2909714 w 6610350"/>
              <a:gd name="connsiteY76" fmla="*/ 1290637 h 2481262"/>
              <a:gd name="connsiteX77" fmla="*/ 2909888 w 6610350"/>
              <a:gd name="connsiteY77" fmla="*/ 1338262 h 2481262"/>
              <a:gd name="connsiteX78" fmla="*/ 2938315 w 6610350"/>
              <a:gd name="connsiteY78" fmla="*/ 1338262 h 2481262"/>
              <a:gd name="connsiteX79" fmla="*/ 2947988 w 6610350"/>
              <a:gd name="connsiteY79" fmla="*/ 1385887 h 2481262"/>
              <a:gd name="connsiteX80" fmla="*/ 3028950 w 6610350"/>
              <a:gd name="connsiteY80" fmla="*/ 1385887 h 2481262"/>
              <a:gd name="connsiteX81" fmla="*/ 3028950 w 6610350"/>
              <a:gd name="connsiteY81" fmla="*/ 1419225 h 2481262"/>
              <a:gd name="connsiteX82" fmla="*/ 3095625 w 6610350"/>
              <a:gd name="connsiteY82" fmla="*/ 1419225 h 2481262"/>
              <a:gd name="connsiteX83" fmla="*/ 3095625 w 6610350"/>
              <a:gd name="connsiteY83" fmla="*/ 1462087 h 2481262"/>
              <a:gd name="connsiteX84" fmla="*/ 3162300 w 6610350"/>
              <a:gd name="connsiteY84" fmla="*/ 1462087 h 2481262"/>
              <a:gd name="connsiteX85" fmla="*/ 3162300 w 6610350"/>
              <a:gd name="connsiteY85" fmla="*/ 1485900 h 2481262"/>
              <a:gd name="connsiteX86" fmla="*/ 3257550 w 6610350"/>
              <a:gd name="connsiteY86" fmla="*/ 1485900 h 2481262"/>
              <a:gd name="connsiteX87" fmla="*/ 3252788 w 6610350"/>
              <a:gd name="connsiteY87" fmla="*/ 1538287 h 2481262"/>
              <a:gd name="connsiteX88" fmla="*/ 3314700 w 6610350"/>
              <a:gd name="connsiteY88" fmla="*/ 1543050 h 2481262"/>
              <a:gd name="connsiteX89" fmla="*/ 3319438 w 6610350"/>
              <a:gd name="connsiteY89" fmla="*/ 1585690 h 2481262"/>
              <a:gd name="connsiteX90" fmla="*/ 3405188 w 6610350"/>
              <a:gd name="connsiteY90" fmla="*/ 1581150 h 2481262"/>
              <a:gd name="connsiteX91" fmla="*/ 3405188 w 6610350"/>
              <a:gd name="connsiteY91" fmla="*/ 1614487 h 2481262"/>
              <a:gd name="connsiteX92" fmla="*/ 3586163 w 6610350"/>
              <a:gd name="connsiteY92" fmla="*/ 1614487 h 2481262"/>
              <a:gd name="connsiteX93" fmla="*/ 3586163 w 6610350"/>
              <a:gd name="connsiteY93" fmla="*/ 1638300 h 2481262"/>
              <a:gd name="connsiteX94" fmla="*/ 3643313 w 6610350"/>
              <a:gd name="connsiteY94" fmla="*/ 1633537 h 2481262"/>
              <a:gd name="connsiteX95" fmla="*/ 3648051 w 6610350"/>
              <a:gd name="connsiteY95" fmla="*/ 1680915 h 2481262"/>
              <a:gd name="connsiteX96" fmla="*/ 3724275 w 6610350"/>
              <a:gd name="connsiteY96" fmla="*/ 1676351 h 2481262"/>
              <a:gd name="connsiteX97" fmla="*/ 3729014 w 6610350"/>
              <a:gd name="connsiteY97" fmla="*/ 1714253 h 2481262"/>
              <a:gd name="connsiteX98" fmla="*/ 3814763 w 6610350"/>
              <a:gd name="connsiteY98" fmla="*/ 1704975 h 2481262"/>
              <a:gd name="connsiteX99" fmla="*/ 3814763 w 6610350"/>
              <a:gd name="connsiteY99" fmla="*/ 1757362 h 2481262"/>
              <a:gd name="connsiteX100" fmla="*/ 3890963 w 6610350"/>
              <a:gd name="connsiteY100" fmla="*/ 1762125 h 2481262"/>
              <a:gd name="connsiteX101" fmla="*/ 3881438 w 6610350"/>
              <a:gd name="connsiteY101" fmla="*/ 1800225 h 2481262"/>
              <a:gd name="connsiteX102" fmla="*/ 3952875 w 6610350"/>
              <a:gd name="connsiteY102" fmla="*/ 1804987 h 2481262"/>
              <a:gd name="connsiteX103" fmla="*/ 3957638 w 6610350"/>
              <a:gd name="connsiteY103" fmla="*/ 1862137 h 2481262"/>
              <a:gd name="connsiteX104" fmla="*/ 4029075 w 6610350"/>
              <a:gd name="connsiteY104" fmla="*/ 1862137 h 2481262"/>
              <a:gd name="connsiteX105" fmla="*/ 4029075 w 6610350"/>
              <a:gd name="connsiteY105" fmla="*/ 1924050 h 2481262"/>
              <a:gd name="connsiteX106" fmla="*/ 4100513 w 6610350"/>
              <a:gd name="connsiteY106" fmla="*/ 1924050 h 2481262"/>
              <a:gd name="connsiteX107" fmla="*/ 4143375 w 6610350"/>
              <a:gd name="connsiteY107" fmla="*/ 1924050 h 2481262"/>
              <a:gd name="connsiteX108" fmla="*/ 4138613 w 6610350"/>
              <a:gd name="connsiteY108" fmla="*/ 1966912 h 2481262"/>
              <a:gd name="connsiteX109" fmla="*/ 4214813 w 6610350"/>
              <a:gd name="connsiteY109" fmla="*/ 1971675 h 2481262"/>
              <a:gd name="connsiteX110" fmla="*/ 4214813 w 6610350"/>
              <a:gd name="connsiteY110" fmla="*/ 2014537 h 2481262"/>
              <a:gd name="connsiteX111" fmla="*/ 4319588 w 6610350"/>
              <a:gd name="connsiteY111" fmla="*/ 2014537 h 2481262"/>
              <a:gd name="connsiteX112" fmla="*/ 4319588 w 6610350"/>
              <a:gd name="connsiteY112" fmla="*/ 2014537 h 2481262"/>
              <a:gd name="connsiteX113" fmla="*/ 4362451 w 6610350"/>
              <a:gd name="connsiteY113" fmla="*/ 2038350 h 2481262"/>
              <a:gd name="connsiteX114" fmla="*/ 4410075 w 6610350"/>
              <a:gd name="connsiteY114" fmla="*/ 2095500 h 2481262"/>
              <a:gd name="connsiteX115" fmla="*/ 4605338 w 6610350"/>
              <a:gd name="connsiteY115" fmla="*/ 2105025 h 2481262"/>
              <a:gd name="connsiteX116" fmla="*/ 4605338 w 6610350"/>
              <a:gd name="connsiteY116" fmla="*/ 2105025 h 2481262"/>
              <a:gd name="connsiteX117" fmla="*/ 4605338 w 6610350"/>
              <a:gd name="connsiteY117" fmla="*/ 2147887 h 2481262"/>
              <a:gd name="connsiteX118" fmla="*/ 4791075 w 6610350"/>
              <a:gd name="connsiteY118" fmla="*/ 2147887 h 2481262"/>
              <a:gd name="connsiteX119" fmla="*/ 4791075 w 6610350"/>
              <a:gd name="connsiteY119" fmla="*/ 2176462 h 2481262"/>
              <a:gd name="connsiteX120" fmla="*/ 4953000 w 6610350"/>
              <a:gd name="connsiteY120" fmla="*/ 2176462 h 2481262"/>
              <a:gd name="connsiteX121" fmla="*/ 5072063 w 6610350"/>
              <a:gd name="connsiteY121" fmla="*/ 2176462 h 2481262"/>
              <a:gd name="connsiteX122" fmla="*/ 5072063 w 6610350"/>
              <a:gd name="connsiteY122" fmla="*/ 2233612 h 2481262"/>
              <a:gd name="connsiteX123" fmla="*/ 5400675 w 6610350"/>
              <a:gd name="connsiteY123" fmla="*/ 2233612 h 2481262"/>
              <a:gd name="connsiteX124" fmla="*/ 5400675 w 6610350"/>
              <a:gd name="connsiteY124" fmla="*/ 2233612 h 2481262"/>
              <a:gd name="connsiteX125" fmla="*/ 5500688 w 6610350"/>
              <a:gd name="connsiteY125" fmla="*/ 2233612 h 2481262"/>
              <a:gd name="connsiteX126" fmla="*/ 5500688 w 6610350"/>
              <a:gd name="connsiteY126" fmla="*/ 2305050 h 2481262"/>
              <a:gd name="connsiteX127" fmla="*/ 5586413 w 6610350"/>
              <a:gd name="connsiteY127" fmla="*/ 2305050 h 2481262"/>
              <a:gd name="connsiteX128" fmla="*/ 5586413 w 6610350"/>
              <a:gd name="connsiteY128" fmla="*/ 2328862 h 2481262"/>
              <a:gd name="connsiteX129" fmla="*/ 5629275 w 6610350"/>
              <a:gd name="connsiteY129" fmla="*/ 2328862 h 2481262"/>
              <a:gd name="connsiteX130" fmla="*/ 5629275 w 6610350"/>
              <a:gd name="connsiteY130" fmla="*/ 2390775 h 2481262"/>
              <a:gd name="connsiteX131" fmla="*/ 6134100 w 6610350"/>
              <a:gd name="connsiteY131" fmla="*/ 2390775 h 2481262"/>
              <a:gd name="connsiteX132" fmla="*/ 6134100 w 6610350"/>
              <a:gd name="connsiteY132" fmla="*/ 2481262 h 2481262"/>
              <a:gd name="connsiteX133" fmla="*/ 6610350 w 6610350"/>
              <a:gd name="connsiteY133" fmla="*/ 2481262 h 2481262"/>
              <a:gd name="connsiteX0" fmla="*/ 0 w 6610350"/>
              <a:gd name="connsiteY0" fmla="*/ 4762 h 2481262"/>
              <a:gd name="connsiteX1" fmla="*/ 90488 w 6610350"/>
              <a:gd name="connsiteY1" fmla="*/ 0 h 2481262"/>
              <a:gd name="connsiteX2" fmla="*/ 90488 w 6610350"/>
              <a:gd name="connsiteY2" fmla="*/ 33337 h 2481262"/>
              <a:gd name="connsiteX3" fmla="*/ 133350 w 6610350"/>
              <a:gd name="connsiteY3" fmla="*/ 33337 h 2481262"/>
              <a:gd name="connsiteX4" fmla="*/ 133350 w 6610350"/>
              <a:gd name="connsiteY4" fmla="*/ 66675 h 2481262"/>
              <a:gd name="connsiteX5" fmla="*/ 209550 w 6610350"/>
              <a:gd name="connsiteY5" fmla="*/ 66675 h 2481262"/>
              <a:gd name="connsiteX6" fmla="*/ 204788 w 6610350"/>
              <a:gd name="connsiteY6" fmla="*/ 95250 h 2481262"/>
              <a:gd name="connsiteX7" fmla="*/ 361950 w 6610350"/>
              <a:gd name="connsiteY7" fmla="*/ 104775 h 2481262"/>
              <a:gd name="connsiteX8" fmla="*/ 361950 w 6610350"/>
              <a:gd name="connsiteY8" fmla="*/ 123825 h 2481262"/>
              <a:gd name="connsiteX9" fmla="*/ 423863 w 6610350"/>
              <a:gd name="connsiteY9" fmla="*/ 119062 h 2481262"/>
              <a:gd name="connsiteX10" fmla="*/ 423862 w 6610350"/>
              <a:gd name="connsiteY10" fmla="*/ 166687 h 2481262"/>
              <a:gd name="connsiteX11" fmla="*/ 552450 w 6610350"/>
              <a:gd name="connsiteY11" fmla="*/ 171450 h 2481262"/>
              <a:gd name="connsiteX12" fmla="*/ 557213 w 6610350"/>
              <a:gd name="connsiteY12" fmla="*/ 200025 h 2481262"/>
              <a:gd name="connsiteX13" fmla="*/ 595313 w 6610350"/>
              <a:gd name="connsiteY13" fmla="*/ 204787 h 2481262"/>
              <a:gd name="connsiteX14" fmla="*/ 600075 w 6610350"/>
              <a:gd name="connsiteY14" fmla="*/ 238125 h 2481262"/>
              <a:gd name="connsiteX15" fmla="*/ 642938 w 6610350"/>
              <a:gd name="connsiteY15" fmla="*/ 238125 h 2481262"/>
              <a:gd name="connsiteX16" fmla="*/ 642938 w 6610350"/>
              <a:gd name="connsiteY16" fmla="*/ 276225 h 2481262"/>
              <a:gd name="connsiteX17" fmla="*/ 933450 w 6610350"/>
              <a:gd name="connsiteY17" fmla="*/ 280987 h 2481262"/>
              <a:gd name="connsiteX18" fmla="*/ 938213 w 6610350"/>
              <a:gd name="connsiteY18" fmla="*/ 300037 h 2481262"/>
              <a:gd name="connsiteX19" fmla="*/ 1023938 w 6610350"/>
              <a:gd name="connsiteY19" fmla="*/ 300013 h 2481262"/>
              <a:gd name="connsiteX20" fmla="*/ 1028700 w 6610350"/>
              <a:gd name="connsiteY20" fmla="*/ 357187 h 2481262"/>
              <a:gd name="connsiteX21" fmla="*/ 1147763 w 6610350"/>
              <a:gd name="connsiteY21" fmla="*/ 357187 h 2481262"/>
              <a:gd name="connsiteX22" fmla="*/ 1157288 w 6610350"/>
              <a:gd name="connsiteY22" fmla="*/ 390525 h 2481262"/>
              <a:gd name="connsiteX23" fmla="*/ 1228725 w 6610350"/>
              <a:gd name="connsiteY23" fmla="*/ 390525 h 2481262"/>
              <a:gd name="connsiteX24" fmla="*/ 1228725 w 6610350"/>
              <a:gd name="connsiteY24" fmla="*/ 414215 h 2481262"/>
              <a:gd name="connsiteX25" fmla="*/ 1323975 w 6610350"/>
              <a:gd name="connsiteY25" fmla="*/ 419100 h 2481262"/>
              <a:gd name="connsiteX26" fmla="*/ 1338263 w 6610350"/>
              <a:gd name="connsiteY26" fmla="*/ 471487 h 2481262"/>
              <a:gd name="connsiteX27" fmla="*/ 1400175 w 6610350"/>
              <a:gd name="connsiteY27" fmla="*/ 466725 h 2481262"/>
              <a:gd name="connsiteX28" fmla="*/ 1404938 w 6610350"/>
              <a:gd name="connsiteY28" fmla="*/ 490537 h 2481262"/>
              <a:gd name="connsiteX29" fmla="*/ 1466850 w 6610350"/>
              <a:gd name="connsiteY29" fmla="*/ 495300 h 2481262"/>
              <a:gd name="connsiteX30" fmla="*/ 1471613 w 6610350"/>
              <a:gd name="connsiteY30" fmla="*/ 509587 h 2481262"/>
              <a:gd name="connsiteX31" fmla="*/ 1528763 w 6610350"/>
              <a:gd name="connsiteY31" fmla="*/ 509587 h 2481262"/>
              <a:gd name="connsiteX32" fmla="*/ 1528763 w 6610350"/>
              <a:gd name="connsiteY32" fmla="*/ 557212 h 2481262"/>
              <a:gd name="connsiteX33" fmla="*/ 1714500 w 6610350"/>
              <a:gd name="connsiteY33" fmla="*/ 561974 h 2481262"/>
              <a:gd name="connsiteX34" fmla="*/ 1714500 w 6610350"/>
              <a:gd name="connsiteY34" fmla="*/ 590550 h 2481262"/>
              <a:gd name="connsiteX35" fmla="*/ 1752600 w 6610350"/>
              <a:gd name="connsiteY35" fmla="*/ 590550 h 2481262"/>
              <a:gd name="connsiteX36" fmla="*/ 1762125 w 6610350"/>
              <a:gd name="connsiteY36" fmla="*/ 619125 h 2481262"/>
              <a:gd name="connsiteX37" fmla="*/ 1809750 w 6610350"/>
              <a:gd name="connsiteY37" fmla="*/ 619125 h 2481262"/>
              <a:gd name="connsiteX38" fmla="*/ 1809750 w 6610350"/>
              <a:gd name="connsiteY38" fmla="*/ 647700 h 2481262"/>
              <a:gd name="connsiteX39" fmla="*/ 1847850 w 6610350"/>
              <a:gd name="connsiteY39" fmla="*/ 647700 h 2481262"/>
              <a:gd name="connsiteX40" fmla="*/ 1847850 w 6610350"/>
              <a:gd name="connsiteY40" fmla="*/ 714375 h 2481262"/>
              <a:gd name="connsiteX41" fmla="*/ 1905000 w 6610350"/>
              <a:gd name="connsiteY41" fmla="*/ 714375 h 2481262"/>
              <a:gd name="connsiteX42" fmla="*/ 1909812 w 6610350"/>
              <a:gd name="connsiteY42" fmla="*/ 752401 h 2481262"/>
              <a:gd name="connsiteX43" fmla="*/ 2000299 w 6610350"/>
              <a:gd name="connsiteY43" fmla="*/ 757114 h 2481262"/>
              <a:gd name="connsiteX44" fmla="*/ 2009775 w 6610350"/>
              <a:gd name="connsiteY44" fmla="*/ 804862 h 2481262"/>
              <a:gd name="connsiteX45" fmla="*/ 2038350 w 6610350"/>
              <a:gd name="connsiteY45" fmla="*/ 804862 h 2481262"/>
              <a:gd name="connsiteX46" fmla="*/ 2038350 w 6610350"/>
              <a:gd name="connsiteY46" fmla="*/ 823912 h 2481262"/>
              <a:gd name="connsiteX47" fmla="*/ 2038350 w 6610350"/>
              <a:gd name="connsiteY47" fmla="*/ 823912 h 2481262"/>
              <a:gd name="connsiteX48" fmla="*/ 2071688 w 6610350"/>
              <a:gd name="connsiteY48" fmla="*/ 852487 h 2481262"/>
              <a:gd name="connsiteX49" fmla="*/ 2071688 w 6610350"/>
              <a:gd name="connsiteY49" fmla="*/ 852487 h 2481262"/>
              <a:gd name="connsiteX50" fmla="*/ 2100263 w 6610350"/>
              <a:gd name="connsiteY50" fmla="*/ 885825 h 2481262"/>
              <a:gd name="connsiteX51" fmla="*/ 2190750 w 6610350"/>
              <a:gd name="connsiteY51" fmla="*/ 885825 h 2481262"/>
              <a:gd name="connsiteX52" fmla="*/ 2190775 w 6610350"/>
              <a:gd name="connsiteY52" fmla="*/ 923974 h 2481262"/>
              <a:gd name="connsiteX53" fmla="*/ 2247900 w 6610350"/>
              <a:gd name="connsiteY53" fmla="*/ 923925 h 2481262"/>
              <a:gd name="connsiteX54" fmla="*/ 2247900 w 6610350"/>
              <a:gd name="connsiteY54" fmla="*/ 966787 h 2481262"/>
              <a:gd name="connsiteX55" fmla="*/ 2347937 w 6610350"/>
              <a:gd name="connsiteY55" fmla="*/ 961976 h 2481262"/>
              <a:gd name="connsiteX56" fmla="*/ 2347913 w 6610350"/>
              <a:gd name="connsiteY56" fmla="*/ 985837 h 2481262"/>
              <a:gd name="connsiteX57" fmla="*/ 2400300 w 6610350"/>
              <a:gd name="connsiteY57" fmla="*/ 990600 h 2481262"/>
              <a:gd name="connsiteX58" fmla="*/ 2400300 w 6610350"/>
              <a:gd name="connsiteY58" fmla="*/ 990600 h 2481262"/>
              <a:gd name="connsiteX59" fmla="*/ 2400300 w 6610350"/>
              <a:gd name="connsiteY59" fmla="*/ 1019175 h 2481262"/>
              <a:gd name="connsiteX60" fmla="*/ 2467024 w 6610350"/>
              <a:gd name="connsiteY60" fmla="*/ 1019126 h 2481262"/>
              <a:gd name="connsiteX61" fmla="*/ 2476500 w 6610350"/>
              <a:gd name="connsiteY61" fmla="*/ 1047750 h 2481262"/>
              <a:gd name="connsiteX62" fmla="*/ 2500313 w 6610350"/>
              <a:gd name="connsiteY62" fmla="*/ 1047750 h 2481262"/>
              <a:gd name="connsiteX63" fmla="*/ 2505050 w 6610350"/>
              <a:gd name="connsiteY63" fmla="*/ 1085653 h 2481262"/>
              <a:gd name="connsiteX64" fmla="*/ 2566988 w 6610350"/>
              <a:gd name="connsiteY64" fmla="*/ 1081087 h 2481262"/>
              <a:gd name="connsiteX65" fmla="*/ 2562225 w 6610350"/>
              <a:gd name="connsiteY65" fmla="*/ 1123950 h 2481262"/>
              <a:gd name="connsiteX66" fmla="*/ 2609850 w 6610350"/>
              <a:gd name="connsiteY66" fmla="*/ 1123950 h 2481262"/>
              <a:gd name="connsiteX67" fmla="*/ 2609850 w 6610350"/>
              <a:gd name="connsiteY67" fmla="*/ 1162050 h 2481262"/>
              <a:gd name="connsiteX68" fmla="*/ 2609850 w 6610350"/>
              <a:gd name="connsiteY68" fmla="*/ 1162050 h 2481262"/>
              <a:gd name="connsiteX69" fmla="*/ 2638425 w 6610350"/>
              <a:gd name="connsiteY69" fmla="*/ 1185862 h 2481262"/>
              <a:gd name="connsiteX70" fmla="*/ 2662113 w 6610350"/>
              <a:gd name="connsiteY70" fmla="*/ 1185863 h 2481262"/>
              <a:gd name="connsiteX71" fmla="*/ 2662238 w 6610350"/>
              <a:gd name="connsiteY71" fmla="*/ 1228725 h 2481262"/>
              <a:gd name="connsiteX72" fmla="*/ 2800350 w 6610350"/>
              <a:gd name="connsiteY72" fmla="*/ 1228749 h 2481262"/>
              <a:gd name="connsiteX73" fmla="*/ 2805113 w 6610350"/>
              <a:gd name="connsiteY73" fmla="*/ 1266825 h 2481262"/>
              <a:gd name="connsiteX74" fmla="*/ 2881313 w 6610350"/>
              <a:gd name="connsiteY74" fmla="*/ 1266825 h 2481262"/>
              <a:gd name="connsiteX75" fmla="*/ 2876550 w 6610350"/>
              <a:gd name="connsiteY75" fmla="*/ 1290637 h 2481262"/>
              <a:gd name="connsiteX76" fmla="*/ 2909714 w 6610350"/>
              <a:gd name="connsiteY76" fmla="*/ 1290637 h 2481262"/>
              <a:gd name="connsiteX77" fmla="*/ 2909888 w 6610350"/>
              <a:gd name="connsiteY77" fmla="*/ 1338262 h 2481262"/>
              <a:gd name="connsiteX78" fmla="*/ 2938315 w 6610350"/>
              <a:gd name="connsiteY78" fmla="*/ 1338262 h 2481262"/>
              <a:gd name="connsiteX79" fmla="*/ 2947988 w 6610350"/>
              <a:gd name="connsiteY79" fmla="*/ 1385887 h 2481262"/>
              <a:gd name="connsiteX80" fmla="*/ 3028950 w 6610350"/>
              <a:gd name="connsiteY80" fmla="*/ 1385887 h 2481262"/>
              <a:gd name="connsiteX81" fmla="*/ 3028950 w 6610350"/>
              <a:gd name="connsiteY81" fmla="*/ 1419225 h 2481262"/>
              <a:gd name="connsiteX82" fmla="*/ 3095625 w 6610350"/>
              <a:gd name="connsiteY82" fmla="*/ 1419225 h 2481262"/>
              <a:gd name="connsiteX83" fmla="*/ 3095625 w 6610350"/>
              <a:gd name="connsiteY83" fmla="*/ 1462087 h 2481262"/>
              <a:gd name="connsiteX84" fmla="*/ 3162300 w 6610350"/>
              <a:gd name="connsiteY84" fmla="*/ 1462087 h 2481262"/>
              <a:gd name="connsiteX85" fmla="*/ 3162300 w 6610350"/>
              <a:gd name="connsiteY85" fmla="*/ 1485900 h 2481262"/>
              <a:gd name="connsiteX86" fmla="*/ 3257550 w 6610350"/>
              <a:gd name="connsiteY86" fmla="*/ 1485900 h 2481262"/>
              <a:gd name="connsiteX87" fmla="*/ 3252788 w 6610350"/>
              <a:gd name="connsiteY87" fmla="*/ 1538287 h 2481262"/>
              <a:gd name="connsiteX88" fmla="*/ 3314700 w 6610350"/>
              <a:gd name="connsiteY88" fmla="*/ 1543050 h 2481262"/>
              <a:gd name="connsiteX89" fmla="*/ 3319438 w 6610350"/>
              <a:gd name="connsiteY89" fmla="*/ 1585690 h 2481262"/>
              <a:gd name="connsiteX90" fmla="*/ 3405188 w 6610350"/>
              <a:gd name="connsiteY90" fmla="*/ 1581150 h 2481262"/>
              <a:gd name="connsiteX91" fmla="*/ 3405188 w 6610350"/>
              <a:gd name="connsiteY91" fmla="*/ 1614487 h 2481262"/>
              <a:gd name="connsiteX92" fmla="*/ 3586163 w 6610350"/>
              <a:gd name="connsiteY92" fmla="*/ 1614487 h 2481262"/>
              <a:gd name="connsiteX93" fmla="*/ 3586163 w 6610350"/>
              <a:gd name="connsiteY93" fmla="*/ 1638300 h 2481262"/>
              <a:gd name="connsiteX94" fmla="*/ 3643313 w 6610350"/>
              <a:gd name="connsiteY94" fmla="*/ 1633537 h 2481262"/>
              <a:gd name="connsiteX95" fmla="*/ 3648051 w 6610350"/>
              <a:gd name="connsiteY95" fmla="*/ 1680915 h 2481262"/>
              <a:gd name="connsiteX96" fmla="*/ 3724275 w 6610350"/>
              <a:gd name="connsiteY96" fmla="*/ 1676351 h 2481262"/>
              <a:gd name="connsiteX97" fmla="*/ 3729014 w 6610350"/>
              <a:gd name="connsiteY97" fmla="*/ 1714253 h 2481262"/>
              <a:gd name="connsiteX98" fmla="*/ 3814763 w 6610350"/>
              <a:gd name="connsiteY98" fmla="*/ 1704975 h 2481262"/>
              <a:gd name="connsiteX99" fmla="*/ 3814763 w 6610350"/>
              <a:gd name="connsiteY99" fmla="*/ 1757362 h 2481262"/>
              <a:gd name="connsiteX100" fmla="*/ 3890963 w 6610350"/>
              <a:gd name="connsiteY100" fmla="*/ 1762125 h 2481262"/>
              <a:gd name="connsiteX101" fmla="*/ 3881438 w 6610350"/>
              <a:gd name="connsiteY101" fmla="*/ 1800225 h 2481262"/>
              <a:gd name="connsiteX102" fmla="*/ 3952875 w 6610350"/>
              <a:gd name="connsiteY102" fmla="*/ 1804987 h 2481262"/>
              <a:gd name="connsiteX103" fmla="*/ 3957638 w 6610350"/>
              <a:gd name="connsiteY103" fmla="*/ 1862137 h 2481262"/>
              <a:gd name="connsiteX104" fmla="*/ 4029075 w 6610350"/>
              <a:gd name="connsiteY104" fmla="*/ 1862137 h 2481262"/>
              <a:gd name="connsiteX105" fmla="*/ 4029075 w 6610350"/>
              <a:gd name="connsiteY105" fmla="*/ 1924050 h 2481262"/>
              <a:gd name="connsiteX106" fmla="*/ 4100513 w 6610350"/>
              <a:gd name="connsiteY106" fmla="*/ 1924050 h 2481262"/>
              <a:gd name="connsiteX107" fmla="*/ 4143375 w 6610350"/>
              <a:gd name="connsiteY107" fmla="*/ 1924050 h 2481262"/>
              <a:gd name="connsiteX108" fmla="*/ 4138613 w 6610350"/>
              <a:gd name="connsiteY108" fmla="*/ 1966912 h 2481262"/>
              <a:gd name="connsiteX109" fmla="*/ 4214813 w 6610350"/>
              <a:gd name="connsiteY109" fmla="*/ 1971675 h 2481262"/>
              <a:gd name="connsiteX110" fmla="*/ 4214813 w 6610350"/>
              <a:gd name="connsiteY110" fmla="*/ 2014537 h 2481262"/>
              <a:gd name="connsiteX111" fmla="*/ 4319588 w 6610350"/>
              <a:gd name="connsiteY111" fmla="*/ 2014537 h 2481262"/>
              <a:gd name="connsiteX112" fmla="*/ 4319588 w 6610350"/>
              <a:gd name="connsiteY112" fmla="*/ 2014537 h 2481262"/>
              <a:gd name="connsiteX113" fmla="*/ 4362451 w 6610350"/>
              <a:gd name="connsiteY113" fmla="*/ 2038350 h 2481262"/>
              <a:gd name="connsiteX114" fmla="*/ 4410075 w 6610350"/>
              <a:gd name="connsiteY114" fmla="*/ 2095500 h 2481262"/>
              <a:gd name="connsiteX115" fmla="*/ 4605338 w 6610350"/>
              <a:gd name="connsiteY115" fmla="*/ 2105025 h 2481262"/>
              <a:gd name="connsiteX116" fmla="*/ 4605338 w 6610350"/>
              <a:gd name="connsiteY116" fmla="*/ 2105025 h 2481262"/>
              <a:gd name="connsiteX117" fmla="*/ 4605338 w 6610350"/>
              <a:gd name="connsiteY117" fmla="*/ 2147887 h 2481262"/>
              <a:gd name="connsiteX118" fmla="*/ 4791075 w 6610350"/>
              <a:gd name="connsiteY118" fmla="*/ 2147887 h 2481262"/>
              <a:gd name="connsiteX119" fmla="*/ 4791075 w 6610350"/>
              <a:gd name="connsiteY119" fmla="*/ 2176462 h 2481262"/>
              <a:gd name="connsiteX120" fmla="*/ 4953000 w 6610350"/>
              <a:gd name="connsiteY120" fmla="*/ 2176462 h 2481262"/>
              <a:gd name="connsiteX121" fmla="*/ 5072063 w 6610350"/>
              <a:gd name="connsiteY121" fmla="*/ 2176462 h 2481262"/>
              <a:gd name="connsiteX122" fmla="*/ 5072063 w 6610350"/>
              <a:gd name="connsiteY122" fmla="*/ 2233612 h 2481262"/>
              <a:gd name="connsiteX123" fmla="*/ 5400675 w 6610350"/>
              <a:gd name="connsiteY123" fmla="*/ 2233612 h 2481262"/>
              <a:gd name="connsiteX124" fmla="*/ 5400675 w 6610350"/>
              <a:gd name="connsiteY124" fmla="*/ 2233612 h 2481262"/>
              <a:gd name="connsiteX125" fmla="*/ 5500688 w 6610350"/>
              <a:gd name="connsiteY125" fmla="*/ 2233612 h 2481262"/>
              <a:gd name="connsiteX126" fmla="*/ 5500688 w 6610350"/>
              <a:gd name="connsiteY126" fmla="*/ 2305050 h 2481262"/>
              <a:gd name="connsiteX127" fmla="*/ 5586413 w 6610350"/>
              <a:gd name="connsiteY127" fmla="*/ 2305050 h 2481262"/>
              <a:gd name="connsiteX128" fmla="*/ 5586413 w 6610350"/>
              <a:gd name="connsiteY128" fmla="*/ 2328862 h 2481262"/>
              <a:gd name="connsiteX129" fmla="*/ 5629275 w 6610350"/>
              <a:gd name="connsiteY129" fmla="*/ 2328862 h 2481262"/>
              <a:gd name="connsiteX130" fmla="*/ 5629275 w 6610350"/>
              <a:gd name="connsiteY130" fmla="*/ 2390775 h 2481262"/>
              <a:gd name="connsiteX131" fmla="*/ 6134100 w 6610350"/>
              <a:gd name="connsiteY131" fmla="*/ 2390775 h 2481262"/>
              <a:gd name="connsiteX132" fmla="*/ 6134100 w 6610350"/>
              <a:gd name="connsiteY132" fmla="*/ 2481262 h 2481262"/>
              <a:gd name="connsiteX133" fmla="*/ 6610350 w 6610350"/>
              <a:gd name="connsiteY133" fmla="*/ 2481262 h 2481262"/>
              <a:gd name="connsiteX0" fmla="*/ 0 w 6610350"/>
              <a:gd name="connsiteY0" fmla="*/ 4762 h 2481262"/>
              <a:gd name="connsiteX1" fmla="*/ 90488 w 6610350"/>
              <a:gd name="connsiteY1" fmla="*/ 0 h 2481262"/>
              <a:gd name="connsiteX2" fmla="*/ 90488 w 6610350"/>
              <a:gd name="connsiteY2" fmla="*/ 33337 h 2481262"/>
              <a:gd name="connsiteX3" fmla="*/ 133350 w 6610350"/>
              <a:gd name="connsiteY3" fmla="*/ 33337 h 2481262"/>
              <a:gd name="connsiteX4" fmla="*/ 133350 w 6610350"/>
              <a:gd name="connsiteY4" fmla="*/ 66675 h 2481262"/>
              <a:gd name="connsiteX5" fmla="*/ 209550 w 6610350"/>
              <a:gd name="connsiteY5" fmla="*/ 66675 h 2481262"/>
              <a:gd name="connsiteX6" fmla="*/ 204788 w 6610350"/>
              <a:gd name="connsiteY6" fmla="*/ 95250 h 2481262"/>
              <a:gd name="connsiteX7" fmla="*/ 361950 w 6610350"/>
              <a:gd name="connsiteY7" fmla="*/ 104775 h 2481262"/>
              <a:gd name="connsiteX8" fmla="*/ 361950 w 6610350"/>
              <a:gd name="connsiteY8" fmla="*/ 123825 h 2481262"/>
              <a:gd name="connsiteX9" fmla="*/ 423863 w 6610350"/>
              <a:gd name="connsiteY9" fmla="*/ 119062 h 2481262"/>
              <a:gd name="connsiteX10" fmla="*/ 423862 w 6610350"/>
              <a:gd name="connsiteY10" fmla="*/ 166687 h 2481262"/>
              <a:gd name="connsiteX11" fmla="*/ 552450 w 6610350"/>
              <a:gd name="connsiteY11" fmla="*/ 171450 h 2481262"/>
              <a:gd name="connsiteX12" fmla="*/ 557213 w 6610350"/>
              <a:gd name="connsiteY12" fmla="*/ 200025 h 2481262"/>
              <a:gd name="connsiteX13" fmla="*/ 595313 w 6610350"/>
              <a:gd name="connsiteY13" fmla="*/ 204787 h 2481262"/>
              <a:gd name="connsiteX14" fmla="*/ 600075 w 6610350"/>
              <a:gd name="connsiteY14" fmla="*/ 238125 h 2481262"/>
              <a:gd name="connsiteX15" fmla="*/ 642938 w 6610350"/>
              <a:gd name="connsiteY15" fmla="*/ 238125 h 2481262"/>
              <a:gd name="connsiteX16" fmla="*/ 642938 w 6610350"/>
              <a:gd name="connsiteY16" fmla="*/ 276225 h 2481262"/>
              <a:gd name="connsiteX17" fmla="*/ 933450 w 6610350"/>
              <a:gd name="connsiteY17" fmla="*/ 280987 h 2481262"/>
              <a:gd name="connsiteX18" fmla="*/ 938213 w 6610350"/>
              <a:gd name="connsiteY18" fmla="*/ 300037 h 2481262"/>
              <a:gd name="connsiteX19" fmla="*/ 1023938 w 6610350"/>
              <a:gd name="connsiteY19" fmla="*/ 300013 h 2481262"/>
              <a:gd name="connsiteX20" fmla="*/ 1028700 w 6610350"/>
              <a:gd name="connsiteY20" fmla="*/ 357187 h 2481262"/>
              <a:gd name="connsiteX21" fmla="*/ 1147763 w 6610350"/>
              <a:gd name="connsiteY21" fmla="*/ 357187 h 2481262"/>
              <a:gd name="connsiteX22" fmla="*/ 1157288 w 6610350"/>
              <a:gd name="connsiteY22" fmla="*/ 390525 h 2481262"/>
              <a:gd name="connsiteX23" fmla="*/ 1228725 w 6610350"/>
              <a:gd name="connsiteY23" fmla="*/ 390525 h 2481262"/>
              <a:gd name="connsiteX24" fmla="*/ 1228725 w 6610350"/>
              <a:gd name="connsiteY24" fmla="*/ 414215 h 2481262"/>
              <a:gd name="connsiteX25" fmla="*/ 1323975 w 6610350"/>
              <a:gd name="connsiteY25" fmla="*/ 419100 h 2481262"/>
              <a:gd name="connsiteX26" fmla="*/ 1338263 w 6610350"/>
              <a:gd name="connsiteY26" fmla="*/ 471487 h 2481262"/>
              <a:gd name="connsiteX27" fmla="*/ 1400175 w 6610350"/>
              <a:gd name="connsiteY27" fmla="*/ 466725 h 2481262"/>
              <a:gd name="connsiteX28" fmla="*/ 1404938 w 6610350"/>
              <a:gd name="connsiteY28" fmla="*/ 490537 h 2481262"/>
              <a:gd name="connsiteX29" fmla="*/ 1466850 w 6610350"/>
              <a:gd name="connsiteY29" fmla="*/ 495300 h 2481262"/>
              <a:gd name="connsiteX30" fmla="*/ 1471613 w 6610350"/>
              <a:gd name="connsiteY30" fmla="*/ 509587 h 2481262"/>
              <a:gd name="connsiteX31" fmla="*/ 1528763 w 6610350"/>
              <a:gd name="connsiteY31" fmla="*/ 509587 h 2481262"/>
              <a:gd name="connsiteX32" fmla="*/ 1528763 w 6610350"/>
              <a:gd name="connsiteY32" fmla="*/ 557212 h 2481262"/>
              <a:gd name="connsiteX33" fmla="*/ 1714500 w 6610350"/>
              <a:gd name="connsiteY33" fmla="*/ 561974 h 2481262"/>
              <a:gd name="connsiteX34" fmla="*/ 1714500 w 6610350"/>
              <a:gd name="connsiteY34" fmla="*/ 590550 h 2481262"/>
              <a:gd name="connsiteX35" fmla="*/ 1752600 w 6610350"/>
              <a:gd name="connsiteY35" fmla="*/ 590550 h 2481262"/>
              <a:gd name="connsiteX36" fmla="*/ 1762125 w 6610350"/>
              <a:gd name="connsiteY36" fmla="*/ 619125 h 2481262"/>
              <a:gd name="connsiteX37" fmla="*/ 1809750 w 6610350"/>
              <a:gd name="connsiteY37" fmla="*/ 619125 h 2481262"/>
              <a:gd name="connsiteX38" fmla="*/ 1809750 w 6610350"/>
              <a:gd name="connsiteY38" fmla="*/ 647700 h 2481262"/>
              <a:gd name="connsiteX39" fmla="*/ 1847850 w 6610350"/>
              <a:gd name="connsiteY39" fmla="*/ 647700 h 2481262"/>
              <a:gd name="connsiteX40" fmla="*/ 1847850 w 6610350"/>
              <a:gd name="connsiteY40" fmla="*/ 714375 h 2481262"/>
              <a:gd name="connsiteX41" fmla="*/ 1905000 w 6610350"/>
              <a:gd name="connsiteY41" fmla="*/ 714375 h 2481262"/>
              <a:gd name="connsiteX42" fmla="*/ 1909812 w 6610350"/>
              <a:gd name="connsiteY42" fmla="*/ 752401 h 2481262"/>
              <a:gd name="connsiteX43" fmla="*/ 2000299 w 6610350"/>
              <a:gd name="connsiteY43" fmla="*/ 757114 h 2481262"/>
              <a:gd name="connsiteX44" fmla="*/ 2009775 w 6610350"/>
              <a:gd name="connsiteY44" fmla="*/ 804862 h 2481262"/>
              <a:gd name="connsiteX45" fmla="*/ 2038350 w 6610350"/>
              <a:gd name="connsiteY45" fmla="*/ 804862 h 2481262"/>
              <a:gd name="connsiteX46" fmla="*/ 2038350 w 6610350"/>
              <a:gd name="connsiteY46" fmla="*/ 823912 h 2481262"/>
              <a:gd name="connsiteX47" fmla="*/ 2071515 w 6610350"/>
              <a:gd name="connsiteY47" fmla="*/ 828650 h 2481262"/>
              <a:gd name="connsiteX48" fmla="*/ 2071688 w 6610350"/>
              <a:gd name="connsiteY48" fmla="*/ 852487 h 2481262"/>
              <a:gd name="connsiteX49" fmla="*/ 2071688 w 6610350"/>
              <a:gd name="connsiteY49" fmla="*/ 852487 h 2481262"/>
              <a:gd name="connsiteX50" fmla="*/ 2100263 w 6610350"/>
              <a:gd name="connsiteY50" fmla="*/ 885825 h 2481262"/>
              <a:gd name="connsiteX51" fmla="*/ 2190750 w 6610350"/>
              <a:gd name="connsiteY51" fmla="*/ 885825 h 2481262"/>
              <a:gd name="connsiteX52" fmla="*/ 2190775 w 6610350"/>
              <a:gd name="connsiteY52" fmla="*/ 923974 h 2481262"/>
              <a:gd name="connsiteX53" fmla="*/ 2247900 w 6610350"/>
              <a:gd name="connsiteY53" fmla="*/ 923925 h 2481262"/>
              <a:gd name="connsiteX54" fmla="*/ 2247900 w 6610350"/>
              <a:gd name="connsiteY54" fmla="*/ 966787 h 2481262"/>
              <a:gd name="connsiteX55" fmla="*/ 2347937 w 6610350"/>
              <a:gd name="connsiteY55" fmla="*/ 961976 h 2481262"/>
              <a:gd name="connsiteX56" fmla="*/ 2347913 w 6610350"/>
              <a:gd name="connsiteY56" fmla="*/ 985837 h 2481262"/>
              <a:gd name="connsiteX57" fmla="*/ 2400300 w 6610350"/>
              <a:gd name="connsiteY57" fmla="*/ 990600 h 2481262"/>
              <a:gd name="connsiteX58" fmla="*/ 2400300 w 6610350"/>
              <a:gd name="connsiteY58" fmla="*/ 990600 h 2481262"/>
              <a:gd name="connsiteX59" fmla="*/ 2400300 w 6610350"/>
              <a:gd name="connsiteY59" fmla="*/ 1019175 h 2481262"/>
              <a:gd name="connsiteX60" fmla="*/ 2467024 w 6610350"/>
              <a:gd name="connsiteY60" fmla="*/ 1019126 h 2481262"/>
              <a:gd name="connsiteX61" fmla="*/ 2476500 w 6610350"/>
              <a:gd name="connsiteY61" fmla="*/ 1047750 h 2481262"/>
              <a:gd name="connsiteX62" fmla="*/ 2500313 w 6610350"/>
              <a:gd name="connsiteY62" fmla="*/ 1047750 h 2481262"/>
              <a:gd name="connsiteX63" fmla="*/ 2505050 w 6610350"/>
              <a:gd name="connsiteY63" fmla="*/ 1085653 h 2481262"/>
              <a:gd name="connsiteX64" fmla="*/ 2566988 w 6610350"/>
              <a:gd name="connsiteY64" fmla="*/ 1081087 h 2481262"/>
              <a:gd name="connsiteX65" fmla="*/ 2562225 w 6610350"/>
              <a:gd name="connsiteY65" fmla="*/ 1123950 h 2481262"/>
              <a:gd name="connsiteX66" fmla="*/ 2609850 w 6610350"/>
              <a:gd name="connsiteY66" fmla="*/ 1123950 h 2481262"/>
              <a:gd name="connsiteX67" fmla="*/ 2609850 w 6610350"/>
              <a:gd name="connsiteY67" fmla="*/ 1162050 h 2481262"/>
              <a:gd name="connsiteX68" fmla="*/ 2609850 w 6610350"/>
              <a:gd name="connsiteY68" fmla="*/ 1162050 h 2481262"/>
              <a:gd name="connsiteX69" fmla="*/ 2638425 w 6610350"/>
              <a:gd name="connsiteY69" fmla="*/ 1185862 h 2481262"/>
              <a:gd name="connsiteX70" fmla="*/ 2662113 w 6610350"/>
              <a:gd name="connsiteY70" fmla="*/ 1185863 h 2481262"/>
              <a:gd name="connsiteX71" fmla="*/ 2662238 w 6610350"/>
              <a:gd name="connsiteY71" fmla="*/ 1228725 h 2481262"/>
              <a:gd name="connsiteX72" fmla="*/ 2800350 w 6610350"/>
              <a:gd name="connsiteY72" fmla="*/ 1228749 h 2481262"/>
              <a:gd name="connsiteX73" fmla="*/ 2805113 w 6610350"/>
              <a:gd name="connsiteY73" fmla="*/ 1266825 h 2481262"/>
              <a:gd name="connsiteX74" fmla="*/ 2881313 w 6610350"/>
              <a:gd name="connsiteY74" fmla="*/ 1266825 h 2481262"/>
              <a:gd name="connsiteX75" fmla="*/ 2876550 w 6610350"/>
              <a:gd name="connsiteY75" fmla="*/ 1290637 h 2481262"/>
              <a:gd name="connsiteX76" fmla="*/ 2909714 w 6610350"/>
              <a:gd name="connsiteY76" fmla="*/ 1290637 h 2481262"/>
              <a:gd name="connsiteX77" fmla="*/ 2909888 w 6610350"/>
              <a:gd name="connsiteY77" fmla="*/ 1338262 h 2481262"/>
              <a:gd name="connsiteX78" fmla="*/ 2938315 w 6610350"/>
              <a:gd name="connsiteY78" fmla="*/ 1338262 h 2481262"/>
              <a:gd name="connsiteX79" fmla="*/ 2947988 w 6610350"/>
              <a:gd name="connsiteY79" fmla="*/ 1385887 h 2481262"/>
              <a:gd name="connsiteX80" fmla="*/ 3028950 w 6610350"/>
              <a:gd name="connsiteY80" fmla="*/ 1385887 h 2481262"/>
              <a:gd name="connsiteX81" fmla="*/ 3028950 w 6610350"/>
              <a:gd name="connsiteY81" fmla="*/ 1419225 h 2481262"/>
              <a:gd name="connsiteX82" fmla="*/ 3095625 w 6610350"/>
              <a:gd name="connsiteY82" fmla="*/ 1419225 h 2481262"/>
              <a:gd name="connsiteX83" fmla="*/ 3095625 w 6610350"/>
              <a:gd name="connsiteY83" fmla="*/ 1462087 h 2481262"/>
              <a:gd name="connsiteX84" fmla="*/ 3162300 w 6610350"/>
              <a:gd name="connsiteY84" fmla="*/ 1462087 h 2481262"/>
              <a:gd name="connsiteX85" fmla="*/ 3162300 w 6610350"/>
              <a:gd name="connsiteY85" fmla="*/ 1485900 h 2481262"/>
              <a:gd name="connsiteX86" fmla="*/ 3257550 w 6610350"/>
              <a:gd name="connsiteY86" fmla="*/ 1485900 h 2481262"/>
              <a:gd name="connsiteX87" fmla="*/ 3252788 w 6610350"/>
              <a:gd name="connsiteY87" fmla="*/ 1538287 h 2481262"/>
              <a:gd name="connsiteX88" fmla="*/ 3314700 w 6610350"/>
              <a:gd name="connsiteY88" fmla="*/ 1543050 h 2481262"/>
              <a:gd name="connsiteX89" fmla="*/ 3319438 w 6610350"/>
              <a:gd name="connsiteY89" fmla="*/ 1585690 h 2481262"/>
              <a:gd name="connsiteX90" fmla="*/ 3405188 w 6610350"/>
              <a:gd name="connsiteY90" fmla="*/ 1581150 h 2481262"/>
              <a:gd name="connsiteX91" fmla="*/ 3405188 w 6610350"/>
              <a:gd name="connsiteY91" fmla="*/ 1614487 h 2481262"/>
              <a:gd name="connsiteX92" fmla="*/ 3586163 w 6610350"/>
              <a:gd name="connsiteY92" fmla="*/ 1614487 h 2481262"/>
              <a:gd name="connsiteX93" fmla="*/ 3586163 w 6610350"/>
              <a:gd name="connsiteY93" fmla="*/ 1638300 h 2481262"/>
              <a:gd name="connsiteX94" fmla="*/ 3643313 w 6610350"/>
              <a:gd name="connsiteY94" fmla="*/ 1633537 h 2481262"/>
              <a:gd name="connsiteX95" fmla="*/ 3648051 w 6610350"/>
              <a:gd name="connsiteY95" fmla="*/ 1680915 h 2481262"/>
              <a:gd name="connsiteX96" fmla="*/ 3724275 w 6610350"/>
              <a:gd name="connsiteY96" fmla="*/ 1676351 h 2481262"/>
              <a:gd name="connsiteX97" fmla="*/ 3729014 w 6610350"/>
              <a:gd name="connsiteY97" fmla="*/ 1714253 h 2481262"/>
              <a:gd name="connsiteX98" fmla="*/ 3814763 w 6610350"/>
              <a:gd name="connsiteY98" fmla="*/ 1704975 h 2481262"/>
              <a:gd name="connsiteX99" fmla="*/ 3814763 w 6610350"/>
              <a:gd name="connsiteY99" fmla="*/ 1757362 h 2481262"/>
              <a:gd name="connsiteX100" fmla="*/ 3890963 w 6610350"/>
              <a:gd name="connsiteY100" fmla="*/ 1762125 h 2481262"/>
              <a:gd name="connsiteX101" fmla="*/ 3881438 w 6610350"/>
              <a:gd name="connsiteY101" fmla="*/ 1800225 h 2481262"/>
              <a:gd name="connsiteX102" fmla="*/ 3952875 w 6610350"/>
              <a:gd name="connsiteY102" fmla="*/ 1804987 h 2481262"/>
              <a:gd name="connsiteX103" fmla="*/ 3957638 w 6610350"/>
              <a:gd name="connsiteY103" fmla="*/ 1862137 h 2481262"/>
              <a:gd name="connsiteX104" fmla="*/ 4029075 w 6610350"/>
              <a:gd name="connsiteY104" fmla="*/ 1862137 h 2481262"/>
              <a:gd name="connsiteX105" fmla="*/ 4029075 w 6610350"/>
              <a:gd name="connsiteY105" fmla="*/ 1924050 h 2481262"/>
              <a:gd name="connsiteX106" fmla="*/ 4100513 w 6610350"/>
              <a:gd name="connsiteY106" fmla="*/ 1924050 h 2481262"/>
              <a:gd name="connsiteX107" fmla="*/ 4143375 w 6610350"/>
              <a:gd name="connsiteY107" fmla="*/ 1924050 h 2481262"/>
              <a:gd name="connsiteX108" fmla="*/ 4138613 w 6610350"/>
              <a:gd name="connsiteY108" fmla="*/ 1966912 h 2481262"/>
              <a:gd name="connsiteX109" fmla="*/ 4214813 w 6610350"/>
              <a:gd name="connsiteY109" fmla="*/ 1971675 h 2481262"/>
              <a:gd name="connsiteX110" fmla="*/ 4214813 w 6610350"/>
              <a:gd name="connsiteY110" fmla="*/ 2014537 h 2481262"/>
              <a:gd name="connsiteX111" fmla="*/ 4319588 w 6610350"/>
              <a:gd name="connsiteY111" fmla="*/ 2014537 h 2481262"/>
              <a:gd name="connsiteX112" fmla="*/ 4319588 w 6610350"/>
              <a:gd name="connsiteY112" fmla="*/ 2014537 h 2481262"/>
              <a:gd name="connsiteX113" fmla="*/ 4362451 w 6610350"/>
              <a:gd name="connsiteY113" fmla="*/ 2038350 h 2481262"/>
              <a:gd name="connsiteX114" fmla="*/ 4410075 w 6610350"/>
              <a:gd name="connsiteY114" fmla="*/ 2095500 h 2481262"/>
              <a:gd name="connsiteX115" fmla="*/ 4605338 w 6610350"/>
              <a:gd name="connsiteY115" fmla="*/ 2105025 h 2481262"/>
              <a:gd name="connsiteX116" fmla="*/ 4605338 w 6610350"/>
              <a:gd name="connsiteY116" fmla="*/ 2105025 h 2481262"/>
              <a:gd name="connsiteX117" fmla="*/ 4605338 w 6610350"/>
              <a:gd name="connsiteY117" fmla="*/ 2147887 h 2481262"/>
              <a:gd name="connsiteX118" fmla="*/ 4791075 w 6610350"/>
              <a:gd name="connsiteY118" fmla="*/ 2147887 h 2481262"/>
              <a:gd name="connsiteX119" fmla="*/ 4791075 w 6610350"/>
              <a:gd name="connsiteY119" fmla="*/ 2176462 h 2481262"/>
              <a:gd name="connsiteX120" fmla="*/ 4953000 w 6610350"/>
              <a:gd name="connsiteY120" fmla="*/ 2176462 h 2481262"/>
              <a:gd name="connsiteX121" fmla="*/ 5072063 w 6610350"/>
              <a:gd name="connsiteY121" fmla="*/ 2176462 h 2481262"/>
              <a:gd name="connsiteX122" fmla="*/ 5072063 w 6610350"/>
              <a:gd name="connsiteY122" fmla="*/ 2233612 h 2481262"/>
              <a:gd name="connsiteX123" fmla="*/ 5400675 w 6610350"/>
              <a:gd name="connsiteY123" fmla="*/ 2233612 h 2481262"/>
              <a:gd name="connsiteX124" fmla="*/ 5400675 w 6610350"/>
              <a:gd name="connsiteY124" fmla="*/ 2233612 h 2481262"/>
              <a:gd name="connsiteX125" fmla="*/ 5500688 w 6610350"/>
              <a:gd name="connsiteY125" fmla="*/ 2233612 h 2481262"/>
              <a:gd name="connsiteX126" fmla="*/ 5500688 w 6610350"/>
              <a:gd name="connsiteY126" fmla="*/ 2305050 h 2481262"/>
              <a:gd name="connsiteX127" fmla="*/ 5586413 w 6610350"/>
              <a:gd name="connsiteY127" fmla="*/ 2305050 h 2481262"/>
              <a:gd name="connsiteX128" fmla="*/ 5586413 w 6610350"/>
              <a:gd name="connsiteY128" fmla="*/ 2328862 h 2481262"/>
              <a:gd name="connsiteX129" fmla="*/ 5629275 w 6610350"/>
              <a:gd name="connsiteY129" fmla="*/ 2328862 h 2481262"/>
              <a:gd name="connsiteX130" fmla="*/ 5629275 w 6610350"/>
              <a:gd name="connsiteY130" fmla="*/ 2390775 h 2481262"/>
              <a:gd name="connsiteX131" fmla="*/ 6134100 w 6610350"/>
              <a:gd name="connsiteY131" fmla="*/ 2390775 h 2481262"/>
              <a:gd name="connsiteX132" fmla="*/ 6134100 w 6610350"/>
              <a:gd name="connsiteY132" fmla="*/ 2481262 h 2481262"/>
              <a:gd name="connsiteX133" fmla="*/ 6610350 w 6610350"/>
              <a:gd name="connsiteY133" fmla="*/ 2481262 h 2481262"/>
              <a:gd name="connsiteX0" fmla="*/ 0 w 6610350"/>
              <a:gd name="connsiteY0" fmla="*/ 4762 h 2481262"/>
              <a:gd name="connsiteX1" fmla="*/ 90488 w 6610350"/>
              <a:gd name="connsiteY1" fmla="*/ 0 h 2481262"/>
              <a:gd name="connsiteX2" fmla="*/ 90488 w 6610350"/>
              <a:gd name="connsiteY2" fmla="*/ 33337 h 2481262"/>
              <a:gd name="connsiteX3" fmla="*/ 133350 w 6610350"/>
              <a:gd name="connsiteY3" fmla="*/ 33337 h 2481262"/>
              <a:gd name="connsiteX4" fmla="*/ 133350 w 6610350"/>
              <a:gd name="connsiteY4" fmla="*/ 66675 h 2481262"/>
              <a:gd name="connsiteX5" fmla="*/ 209550 w 6610350"/>
              <a:gd name="connsiteY5" fmla="*/ 66675 h 2481262"/>
              <a:gd name="connsiteX6" fmla="*/ 204788 w 6610350"/>
              <a:gd name="connsiteY6" fmla="*/ 95250 h 2481262"/>
              <a:gd name="connsiteX7" fmla="*/ 361950 w 6610350"/>
              <a:gd name="connsiteY7" fmla="*/ 104775 h 2481262"/>
              <a:gd name="connsiteX8" fmla="*/ 361950 w 6610350"/>
              <a:gd name="connsiteY8" fmla="*/ 123825 h 2481262"/>
              <a:gd name="connsiteX9" fmla="*/ 423863 w 6610350"/>
              <a:gd name="connsiteY9" fmla="*/ 119062 h 2481262"/>
              <a:gd name="connsiteX10" fmla="*/ 423862 w 6610350"/>
              <a:gd name="connsiteY10" fmla="*/ 166687 h 2481262"/>
              <a:gd name="connsiteX11" fmla="*/ 552450 w 6610350"/>
              <a:gd name="connsiteY11" fmla="*/ 171450 h 2481262"/>
              <a:gd name="connsiteX12" fmla="*/ 557213 w 6610350"/>
              <a:gd name="connsiteY12" fmla="*/ 200025 h 2481262"/>
              <a:gd name="connsiteX13" fmla="*/ 595313 w 6610350"/>
              <a:gd name="connsiteY13" fmla="*/ 204787 h 2481262"/>
              <a:gd name="connsiteX14" fmla="*/ 600075 w 6610350"/>
              <a:gd name="connsiteY14" fmla="*/ 238125 h 2481262"/>
              <a:gd name="connsiteX15" fmla="*/ 642938 w 6610350"/>
              <a:gd name="connsiteY15" fmla="*/ 238125 h 2481262"/>
              <a:gd name="connsiteX16" fmla="*/ 642938 w 6610350"/>
              <a:gd name="connsiteY16" fmla="*/ 276225 h 2481262"/>
              <a:gd name="connsiteX17" fmla="*/ 933450 w 6610350"/>
              <a:gd name="connsiteY17" fmla="*/ 280987 h 2481262"/>
              <a:gd name="connsiteX18" fmla="*/ 938213 w 6610350"/>
              <a:gd name="connsiteY18" fmla="*/ 300037 h 2481262"/>
              <a:gd name="connsiteX19" fmla="*/ 1023938 w 6610350"/>
              <a:gd name="connsiteY19" fmla="*/ 300013 h 2481262"/>
              <a:gd name="connsiteX20" fmla="*/ 1028700 w 6610350"/>
              <a:gd name="connsiteY20" fmla="*/ 357187 h 2481262"/>
              <a:gd name="connsiteX21" fmla="*/ 1147763 w 6610350"/>
              <a:gd name="connsiteY21" fmla="*/ 357187 h 2481262"/>
              <a:gd name="connsiteX22" fmla="*/ 1157288 w 6610350"/>
              <a:gd name="connsiteY22" fmla="*/ 390525 h 2481262"/>
              <a:gd name="connsiteX23" fmla="*/ 1228725 w 6610350"/>
              <a:gd name="connsiteY23" fmla="*/ 390525 h 2481262"/>
              <a:gd name="connsiteX24" fmla="*/ 1228725 w 6610350"/>
              <a:gd name="connsiteY24" fmla="*/ 414215 h 2481262"/>
              <a:gd name="connsiteX25" fmla="*/ 1323975 w 6610350"/>
              <a:gd name="connsiteY25" fmla="*/ 419100 h 2481262"/>
              <a:gd name="connsiteX26" fmla="*/ 1338263 w 6610350"/>
              <a:gd name="connsiteY26" fmla="*/ 471487 h 2481262"/>
              <a:gd name="connsiteX27" fmla="*/ 1400175 w 6610350"/>
              <a:gd name="connsiteY27" fmla="*/ 466725 h 2481262"/>
              <a:gd name="connsiteX28" fmla="*/ 1404938 w 6610350"/>
              <a:gd name="connsiteY28" fmla="*/ 490537 h 2481262"/>
              <a:gd name="connsiteX29" fmla="*/ 1466850 w 6610350"/>
              <a:gd name="connsiteY29" fmla="*/ 495300 h 2481262"/>
              <a:gd name="connsiteX30" fmla="*/ 1471613 w 6610350"/>
              <a:gd name="connsiteY30" fmla="*/ 509587 h 2481262"/>
              <a:gd name="connsiteX31" fmla="*/ 1528763 w 6610350"/>
              <a:gd name="connsiteY31" fmla="*/ 509587 h 2481262"/>
              <a:gd name="connsiteX32" fmla="*/ 1528763 w 6610350"/>
              <a:gd name="connsiteY32" fmla="*/ 557212 h 2481262"/>
              <a:gd name="connsiteX33" fmla="*/ 1714500 w 6610350"/>
              <a:gd name="connsiteY33" fmla="*/ 561974 h 2481262"/>
              <a:gd name="connsiteX34" fmla="*/ 1714500 w 6610350"/>
              <a:gd name="connsiteY34" fmla="*/ 590550 h 2481262"/>
              <a:gd name="connsiteX35" fmla="*/ 1752600 w 6610350"/>
              <a:gd name="connsiteY35" fmla="*/ 590550 h 2481262"/>
              <a:gd name="connsiteX36" fmla="*/ 1762125 w 6610350"/>
              <a:gd name="connsiteY36" fmla="*/ 619125 h 2481262"/>
              <a:gd name="connsiteX37" fmla="*/ 1809750 w 6610350"/>
              <a:gd name="connsiteY37" fmla="*/ 619125 h 2481262"/>
              <a:gd name="connsiteX38" fmla="*/ 1809750 w 6610350"/>
              <a:gd name="connsiteY38" fmla="*/ 647700 h 2481262"/>
              <a:gd name="connsiteX39" fmla="*/ 1847850 w 6610350"/>
              <a:gd name="connsiteY39" fmla="*/ 647700 h 2481262"/>
              <a:gd name="connsiteX40" fmla="*/ 1847850 w 6610350"/>
              <a:gd name="connsiteY40" fmla="*/ 714375 h 2481262"/>
              <a:gd name="connsiteX41" fmla="*/ 1905000 w 6610350"/>
              <a:gd name="connsiteY41" fmla="*/ 714375 h 2481262"/>
              <a:gd name="connsiteX42" fmla="*/ 1909812 w 6610350"/>
              <a:gd name="connsiteY42" fmla="*/ 752401 h 2481262"/>
              <a:gd name="connsiteX43" fmla="*/ 2000299 w 6610350"/>
              <a:gd name="connsiteY43" fmla="*/ 757114 h 2481262"/>
              <a:gd name="connsiteX44" fmla="*/ 2009775 w 6610350"/>
              <a:gd name="connsiteY44" fmla="*/ 804862 h 2481262"/>
              <a:gd name="connsiteX45" fmla="*/ 2038350 w 6610350"/>
              <a:gd name="connsiteY45" fmla="*/ 804862 h 2481262"/>
              <a:gd name="connsiteX46" fmla="*/ 2038350 w 6610350"/>
              <a:gd name="connsiteY46" fmla="*/ 823912 h 2481262"/>
              <a:gd name="connsiteX47" fmla="*/ 2071515 w 6610350"/>
              <a:gd name="connsiteY47" fmla="*/ 828650 h 2481262"/>
              <a:gd name="connsiteX48" fmla="*/ 2071688 w 6610350"/>
              <a:gd name="connsiteY48" fmla="*/ 852487 h 2481262"/>
              <a:gd name="connsiteX49" fmla="*/ 2100115 w 6610350"/>
              <a:gd name="connsiteY49" fmla="*/ 852487 h 2481262"/>
              <a:gd name="connsiteX50" fmla="*/ 2100263 w 6610350"/>
              <a:gd name="connsiteY50" fmla="*/ 885825 h 2481262"/>
              <a:gd name="connsiteX51" fmla="*/ 2190750 w 6610350"/>
              <a:gd name="connsiteY51" fmla="*/ 885825 h 2481262"/>
              <a:gd name="connsiteX52" fmla="*/ 2190775 w 6610350"/>
              <a:gd name="connsiteY52" fmla="*/ 923974 h 2481262"/>
              <a:gd name="connsiteX53" fmla="*/ 2247900 w 6610350"/>
              <a:gd name="connsiteY53" fmla="*/ 923925 h 2481262"/>
              <a:gd name="connsiteX54" fmla="*/ 2247900 w 6610350"/>
              <a:gd name="connsiteY54" fmla="*/ 966787 h 2481262"/>
              <a:gd name="connsiteX55" fmla="*/ 2347937 w 6610350"/>
              <a:gd name="connsiteY55" fmla="*/ 961976 h 2481262"/>
              <a:gd name="connsiteX56" fmla="*/ 2347913 w 6610350"/>
              <a:gd name="connsiteY56" fmla="*/ 985837 h 2481262"/>
              <a:gd name="connsiteX57" fmla="*/ 2400300 w 6610350"/>
              <a:gd name="connsiteY57" fmla="*/ 990600 h 2481262"/>
              <a:gd name="connsiteX58" fmla="*/ 2400300 w 6610350"/>
              <a:gd name="connsiteY58" fmla="*/ 990600 h 2481262"/>
              <a:gd name="connsiteX59" fmla="*/ 2400300 w 6610350"/>
              <a:gd name="connsiteY59" fmla="*/ 1019175 h 2481262"/>
              <a:gd name="connsiteX60" fmla="*/ 2467024 w 6610350"/>
              <a:gd name="connsiteY60" fmla="*/ 1019126 h 2481262"/>
              <a:gd name="connsiteX61" fmla="*/ 2476500 w 6610350"/>
              <a:gd name="connsiteY61" fmla="*/ 1047750 h 2481262"/>
              <a:gd name="connsiteX62" fmla="*/ 2500313 w 6610350"/>
              <a:gd name="connsiteY62" fmla="*/ 1047750 h 2481262"/>
              <a:gd name="connsiteX63" fmla="*/ 2505050 w 6610350"/>
              <a:gd name="connsiteY63" fmla="*/ 1085653 h 2481262"/>
              <a:gd name="connsiteX64" fmla="*/ 2566988 w 6610350"/>
              <a:gd name="connsiteY64" fmla="*/ 1081087 h 2481262"/>
              <a:gd name="connsiteX65" fmla="*/ 2562225 w 6610350"/>
              <a:gd name="connsiteY65" fmla="*/ 1123950 h 2481262"/>
              <a:gd name="connsiteX66" fmla="*/ 2609850 w 6610350"/>
              <a:gd name="connsiteY66" fmla="*/ 1123950 h 2481262"/>
              <a:gd name="connsiteX67" fmla="*/ 2609850 w 6610350"/>
              <a:gd name="connsiteY67" fmla="*/ 1162050 h 2481262"/>
              <a:gd name="connsiteX68" fmla="*/ 2609850 w 6610350"/>
              <a:gd name="connsiteY68" fmla="*/ 1162050 h 2481262"/>
              <a:gd name="connsiteX69" fmla="*/ 2638425 w 6610350"/>
              <a:gd name="connsiteY69" fmla="*/ 1185862 h 2481262"/>
              <a:gd name="connsiteX70" fmla="*/ 2662113 w 6610350"/>
              <a:gd name="connsiteY70" fmla="*/ 1185863 h 2481262"/>
              <a:gd name="connsiteX71" fmla="*/ 2662238 w 6610350"/>
              <a:gd name="connsiteY71" fmla="*/ 1228725 h 2481262"/>
              <a:gd name="connsiteX72" fmla="*/ 2800350 w 6610350"/>
              <a:gd name="connsiteY72" fmla="*/ 1228749 h 2481262"/>
              <a:gd name="connsiteX73" fmla="*/ 2805113 w 6610350"/>
              <a:gd name="connsiteY73" fmla="*/ 1266825 h 2481262"/>
              <a:gd name="connsiteX74" fmla="*/ 2881313 w 6610350"/>
              <a:gd name="connsiteY74" fmla="*/ 1266825 h 2481262"/>
              <a:gd name="connsiteX75" fmla="*/ 2876550 w 6610350"/>
              <a:gd name="connsiteY75" fmla="*/ 1290637 h 2481262"/>
              <a:gd name="connsiteX76" fmla="*/ 2909714 w 6610350"/>
              <a:gd name="connsiteY76" fmla="*/ 1290637 h 2481262"/>
              <a:gd name="connsiteX77" fmla="*/ 2909888 w 6610350"/>
              <a:gd name="connsiteY77" fmla="*/ 1338262 h 2481262"/>
              <a:gd name="connsiteX78" fmla="*/ 2938315 w 6610350"/>
              <a:gd name="connsiteY78" fmla="*/ 1338262 h 2481262"/>
              <a:gd name="connsiteX79" fmla="*/ 2947988 w 6610350"/>
              <a:gd name="connsiteY79" fmla="*/ 1385887 h 2481262"/>
              <a:gd name="connsiteX80" fmla="*/ 3028950 w 6610350"/>
              <a:gd name="connsiteY80" fmla="*/ 1385887 h 2481262"/>
              <a:gd name="connsiteX81" fmla="*/ 3028950 w 6610350"/>
              <a:gd name="connsiteY81" fmla="*/ 1419225 h 2481262"/>
              <a:gd name="connsiteX82" fmla="*/ 3095625 w 6610350"/>
              <a:gd name="connsiteY82" fmla="*/ 1419225 h 2481262"/>
              <a:gd name="connsiteX83" fmla="*/ 3095625 w 6610350"/>
              <a:gd name="connsiteY83" fmla="*/ 1462087 h 2481262"/>
              <a:gd name="connsiteX84" fmla="*/ 3162300 w 6610350"/>
              <a:gd name="connsiteY84" fmla="*/ 1462087 h 2481262"/>
              <a:gd name="connsiteX85" fmla="*/ 3162300 w 6610350"/>
              <a:gd name="connsiteY85" fmla="*/ 1485900 h 2481262"/>
              <a:gd name="connsiteX86" fmla="*/ 3257550 w 6610350"/>
              <a:gd name="connsiteY86" fmla="*/ 1485900 h 2481262"/>
              <a:gd name="connsiteX87" fmla="*/ 3252788 w 6610350"/>
              <a:gd name="connsiteY87" fmla="*/ 1538287 h 2481262"/>
              <a:gd name="connsiteX88" fmla="*/ 3314700 w 6610350"/>
              <a:gd name="connsiteY88" fmla="*/ 1543050 h 2481262"/>
              <a:gd name="connsiteX89" fmla="*/ 3319438 w 6610350"/>
              <a:gd name="connsiteY89" fmla="*/ 1585690 h 2481262"/>
              <a:gd name="connsiteX90" fmla="*/ 3405188 w 6610350"/>
              <a:gd name="connsiteY90" fmla="*/ 1581150 h 2481262"/>
              <a:gd name="connsiteX91" fmla="*/ 3405188 w 6610350"/>
              <a:gd name="connsiteY91" fmla="*/ 1614487 h 2481262"/>
              <a:gd name="connsiteX92" fmla="*/ 3586163 w 6610350"/>
              <a:gd name="connsiteY92" fmla="*/ 1614487 h 2481262"/>
              <a:gd name="connsiteX93" fmla="*/ 3586163 w 6610350"/>
              <a:gd name="connsiteY93" fmla="*/ 1638300 h 2481262"/>
              <a:gd name="connsiteX94" fmla="*/ 3643313 w 6610350"/>
              <a:gd name="connsiteY94" fmla="*/ 1633537 h 2481262"/>
              <a:gd name="connsiteX95" fmla="*/ 3648051 w 6610350"/>
              <a:gd name="connsiteY95" fmla="*/ 1680915 h 2481262"/>
              <a:gd name="connsiteX96" fmla="*/ 3724275 w 6610350"/>
              <a:gd name="connsiteY96" fmla="*/ 1676351 h 2481262"/>
              <a:gd name="connsiteX97" fmla="*/ 3729014 w 6610350"/>
              <a:gd name="connsiteY97" fmla="*/ 1714253 h 2481262"/>
              <a:gd name="connsiteX98" fmla="*/ 3814763 w 6610350"/>
              <a:gd name="connsiteY98" fmla="*/ 1704975 h 2481262"/>
              <a:gd name="connsiteX99" fmla="*/ 3814763 w 6610350"/>
              <a:gd name="connsiteY99" fmla="*/ 1757362 h 2481262"/>
              <a:gd name="connsiteX100" fmla="*/ 3890963 w 6610350"/>
              <a:gd name="connsiteY100" fmla="*/ 1762125 h 2481262"/>
              <a:gd name="connsiteX101" fmla="*/ 3881438 w 6610350"/>
              <a:gd name="connsiteY101" fmla="*/ 1800225 h 2481262"/>
              <a:gd name="connsiteX102" fmla="*/ 3952875 w 6610350"/>
              <a:gd name="connsiteY102" fmla="*/ 1804987 h 2481262"/>
              <a:gd name="connsiteX103" fmla="*/ 3957638 w 6610350"/>
              <a:gd name="connsiteY103" fmla="*/ 1862137 h 2481262"/>
              <a:gd name="connsiteX104" fmla="*/ 4029075 w 6610350"/>
              <a:gd name="connsiteY104" fmla="*/ 1862137 h 2481262"/>
              <a:gd name="connsiteX105" fmla="*/ 4029075 w 6610350"/>
              <a:gd name="connsiteY105" fmla="*/ 1924050 h 2481262"/>
              <a:gd name="connsiteX106" fmla="*/ 4100513 w 6610350"/>
              <a:gd name="connsiteY106" fmla="*/ 1924050 h 2481262"/>
              <a:gd name="connsiteX107" fmla="*/ 4143375 w 6610350"/>
              <a:gd name="connsiteY107" fmla="*/ 1924050 h 2481262"/>
              <a:gd name="connsiteX108" fmla="*/ 4138613 w 6610350"/>
              <a:gd name="connsiteY108" fmla="*/ 1966912 h 2481262"/>
              <a:gd name="connsiteX109" fmla="*/ 4214813 w 6610350"/>
              <a:gd name="connsiteY109" fmla="*/ 1971675 h 2481262"/>
              <a:gd name="connsiteX110" fmla="*/ 4214813 w 6610350"/>
              <a:gd name="connsiteY110" fmla="*/ 2014537 h 2481262"/>
              <a:gd name="connsiteX111" fmla="*/ 4319588 w 6610350"/>
              <a:gd name="connsiteY111" fmla="*/ 2014537 h 2481262"/>
              <a:gd name="connsiteX112" fmla="*/ 4319588 w 6610350"/>
              <a:gd name="connsiteY112" fmla="*/ 2014537 h 2481262"/>
              <a:gd name="connsiteX113" fmla="*/ 4362451 w 6610350"/>
              <a:gd name="connsiteY113" fmla="*/ 2038350 h 2481262"/>
              <a:gd name="connsiteX114" fmla="*/ 4410075 w 6610350"/>
              <a:gd name="connsiteY114" fmla="*/ 2095500 h 2481262"/>
              <a:gd name="connsiteX115" fmla="*/ 4605338 w 6610350"/>
              <a:gd name="connsiteY115" fmla="*/ 2105025 h 2481262"/>
              <a:gd name="connsiteX116" fmla="*/ 4605338 w 6610350"/>
              <a:gd name="connsiteY116" fmla="*/ 2105025 h 2481262"/>
              <a:gd name="connsiteX117" fmla="*/ 4605338 w 6610350"/>
              <a:gd name="connsiteY117" fmla="*/ 2147887 h 2481262"/>
              <a:gd name="connsiteX118" fmla="*/ 4791075 w 6610350"/>
              <a:gd name="connsiteY118" fmla="*/ 2147887 h 2481262"/>
              <a:gd name="connsiteX119" fmla="*/ 4791075 w 6610350"/>
              <a:gd name="connsiteY119" fmla="*/ 2176462 h 2481262"/>
              <a:gd name="connsiteX120" fmla="*/ 4953000 w 6610350"/>
              <a:gd name="connsiteY120" fmla="*/ 2176462 h 2481262"/>
              <a:gd name="connsiteX121" fmla="*/ 5072063 w 6610350"/>
              <a:gd name="connsiteY121" fmla="*/ 2176462 h 2481262"/>
              <a:gd name="connsiteX122" fmla="*/ 5072063 w 6610350"/>
              <a:gd name="connsiteY122" fmla="*/ 2233612 h 2481262"/>
              <a:gd name="connsiteX123" fmla="*/ 5400675 w 6610350"/>
              <a:gd name="connsiteY123" fmla="*/ 2233612 h 2481262"/>
              <a:gd name="connsiteX124" fmla="*/ 5400675 w 6610350"/>
              <a:gd name="connsiteY124" fmla="*/ 2233612 h 2481262"/>
              <a:gd name="connsiteX125" fmla="*/ 5500688 w 6610350"/>
              <a:gd name="connsiteY125" fmla="*/ 2233612 h 2481262"/>
              <a:gd name="connsiteX126" fmla="*/ 5500688 w 6610350"/>
              <a:gd name="connsiteY126" fmla="*/ 2305050 h 2481262"/>
              <a:gd name="connsiteX127" fmla="*/ 5586413 w 6610350"/>
              <a:gd name="connsiteY127" fmla="*/ 2305050 h 2481262"/>
              <a:gd name="connsiteX128" fmla="*/ 5586413 w 6610350"/>
              <a:gd name="connsiteY128" fmla="*/ 2328862 h 2481262"/>
              <a:gd name="connsiteX129" fmla="*/ 5629275 w 6610350"/>
              <a:gd name="connsiteY129" fmla="*/ 2328862 h 2481262"/>
              <a:gd name="connsiteX130" fmla="*/ 5629275 w 6610350"/>
              <a:gd name="connsiteY130" fmla="*/ 2390775 h 2481262"/>
              <a:gd name="connsiteX131" fmla="*/ 6134100 w 6610350"/>
              <a:gd name="connsiteY131" fmla="*/ 2390775 h 2481262"/>
              <a:gd name="connsiteX132" fmla="*/ 6134100 w 6610350"/>
              <a:gd name="connsiteY132" fmla="*/ 2481262 h 2481262"/>
              <a:gd name="connsiteX133" fmla="*/ 6610350 w 6610350"/>
              <a:gd name="connsiteY133" fmla="*/ 2481262 h 2481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Lst>
            <a:rect l="l" t="t" r="r" b="b"/>
            <a:pathLst>
              <a:path w="6610350" h="2481262">
                <a:moveTo>
                  <a:pt x="0" y="4762"/>
                </a:moveTo>
                <a:lnTo>
                  <a:pt x="90488" y="0"/>
                </a:lnTo>
                <a:lnTo>
                  <a:pt x="90488" y="33337"/>
                </a:lnTo>
                <a:lnTo>
                  <a:pt x="133350" y="33337"/>
                </a:lnTo>
                <a:lnTo>
                  <a:pt x="133350" y="66675"/>
                </a:lnTo>
                <a:lnTo>
                  <a:pt x="209550" y="66675"/>
                </a:lnTo>
                <a:lnTo>
                  <a:pt x="204788" y="95250"/>
                </a:lnTo>
                <a:lnTo>
                  <a:pt x="361950" y="104775"/>
                </a:lnTo>
                <a:lnTo>
                  <a:pt x="361950" y="123825"/>
                </a:lnTo>
                <a:lnTo>
                  <a:pt x="423863" y="119062"/>
                </a:lnTo>
                <a:cubicBezTo>
                  <a:pt x="423863" y="134937"/>
                  <a:pt x="423862" y="150812"/>
                  <a:pt x="423862" y="166687"/>
                </a:cubicBezTo>
                <a:lnTo>
                  <a:pt x="552450" y="171450"/>
                </a:lnTo>
                <a:lnTo>
                  <a:pt x="557213" y="200025"/>
                </a:lnTo>
                <a:lnTo>
                  <a:pt x="595313" y="204787"/>
                </a:lnTo>
                <a:lnTo>
                  <a:pt x="600075" y="238125"/>
                </a:lnTo>
                <a:lnTo>
                  <a:pt x="642938" y="238125"/>
                </a:lnTo>
                <a:lnTo>
                  <a:pt x="642938" y="276225"/>
                </a:lnTo>
                <a:lnTo>
                  <a:pt x="933450" y="280987"/>
                </a:lnTo>
                <a:lnTo>
                  <a:pt x="938213" y="300037"/>
                </a:lnTo>
                <a:lnTo>
                  <a:pt x="1023938" y="300013"/>
                </a:lnTo>
                <a:lnTo>
                  <a:pt x="1028700" y="357187"/>
                </a:lnTo>
                <a:lnTo>
                  <a:pt x="1147763" y="357187"/>
                </a:lnTo>
                <a:lnTo>
                  <a:pt x="1157288" y="390525"/>
                </a:lnTo>
                <a:lnTo>
                  <a:pt x="1228725" y="390525"/>
                </a:lnTo>
                <a:lnTo>
                  <a:pt x="1228725" y="414215"/>
                </a:lnTo>
                <a:lnTo>
                  <a:pt x="1323975" y="419100"/>
                </a:lnTo>
                <a:lnTo>
                  <a:pt x="1338263" y="471487"/>
                </a:lnTo>
                <a:lnTo>
                  <a:pt x="1400175" y="466725"/>
                </a:lnTo>
                <a:lnTo>
                  <a:pt x="1404938" y="490537"/>
                </a:lnTo>
                <a:lnTo>
                  <a:pt x="1466850" y="495300"/>
                </a:lnTo>
                <a:lnTo>
                  <a:pt x="1471613" y="509587"/>
                </a:lnTo>
                <a:lnTo>
                  <a:pt x="1528763" y="509587"/>
                </a:lnTo>
                <a:lnTo>
                  <a:pt x="1528763" y="557212"/>
                </a:lnTo>
                <a:lnTo>
                  <a:pt x="1714500" y="561974"/>
                </a:lnTo>
                <a:lnTo>
                  <a:pt x="1714500" y="590550"/>
                </a:lnTo>
                <a:lnTo>
                  <a:pt x="1752600" y="590550"/>
                </a:lnTo>
                <a:lnTo>
                  <a:pt x="1762125" y="619125"/>
                </a:lnTo>
                <a:lnTo>
                  <a:pt x="1809750" y="619125"/>
                </a:lnTo>
                <a:lnTo>
                  <a:pt x="1809750" y="647700"/>
                </a:lnTo>
                <a:lnTo>
                  <a:pt x="1847850" y="647700"/>
                </a:lnTo>
                <a:lnTo>
                  <a:pt x="1847850" y="714375"/>
                </a:lnTo>
                <a:lnTo>
                  <a:pt x="1905000" y="714375"/>
                </a:lnTo>
                <a:lnTo>
                  <a:pt x="1909812" y="752401"/>
                </a:lnTo>
                <a:lnTo>
                  <a:pt x="2000299" y="757114"/>
                </a:lnTo>
                <a:lnTo>
                  <a:pt x="2009775" y="804862"/>
                </a:lnTo>
                <a:lnTo>
                  <a:pt x="2038350" y="804862"/>
                </a:lnTo>
                <a:lnTo>
                  <a:pt x="2038350" y="823912"/>
                </a:lnTo>
                <a:lnTo>
                  <a:pt x="2071515" y="828650"/>
                </a:lnTo>
                <a:cubicBezTo>
                  <a:pt x="2071573" y="836596"/>
                  <a:pt x="2071630" y="844541"/>
                  <a:pt x="2071688" y="852487"/>
                </a:cubicBezTo>
                <a:lnTo>
                  <a:pt x="2100115" y="852487"/>
                </a:lnTo>
                <a:cubicBezTo>
                  <a:pt x="2100164" y="863600"/>
                  <a:pt x="2100214" y="874712"/>
                  <a:pt x="2100263" y="885825"/>
                </a:cubicBezTo>
                <a:lnTo>
                  <a:pt x="2190750" y="885825"/>
                </a:lnTo>
                <a:cubicBezTo>
                  <a:pt x="2190758" y="900121"/>
                  <a:pt x="2190767" y="909678"/>
                  <a:pt x="2190775" y="923974"/>
                </a:cubicBezTo>
                <a:lnTo>
                  <a:pt x="2247900" y="923925"/>
                </a:lnTo>
                <a:lnTo>
                  <a:pt x="2247900" y="966787"/>
                </a:lnTo>
                <a:lnTo>
                  <a:pt x="2347937" y="961976"/>
                </a:lnTo>
                <a:cubicBezTo>
                  <a:pt x="2347929" y="969930"/>
                  <a:pt x="2347921" y="977883"/>
                  <a:pt x="2347913" y="985837"/>
                </a:cubicBezTo>
                <a:lnTo>
                  <a:pt x="2400300" y="990600"/>
                </a:lnTo>
                <a:lnTo>
                  <a:pt x="2400300" y="990600"/>
                </a:lnTo>
                <a:lnTo>
                  <a:pt x="2400300" y="1019175"/>
                </a:lnTo>
                <a:lnTo>
                  <a:pt x="2467024" y="1019126"/>
                </a:lnTo>
                <a:lnTo>
                  <a:pt x="2476500" y="1047750"/>
                </a:lnTo>
                <a:lnTo>
                  <a:pt x="2500313" y="1047750"/>
                </a:lnTo>
                <a:lnTo>
                  <a:pt x="2505050" y="1085653"/>
                </a:lnTo>
                <a:lnTo>
                  <a:pt x="2566988" y="1081087"/>
                </a:lnTo>
                <a:lnTo>
                  <a:pt x="2562225" y="1123950"/>
                </a:lnTo>
                <a:lnTo>
                  <a:pt x="2609850" y="1123950"/>
                </a:lnTo>
                <a:lnTo>
                  <a:pt x="2609850" y="1162050"/>
                </a:lnTo>
                <a:lnTo>
                  <a:pt x="2609850" y="1162050"/>
                </a:lnTo>
                <a:lnTo>
                  <a:pt x="2638425" y="1185862"/>
                </a:lnTo>
                <a:lnTo>
                  <a:pt x="2662113" y="1185863"/>
                </a:lnTo>
                <a:cubicBezTo>
                  <a:pt x="2662155" y="1200150"/>
                  <a:pt x="2662196" y="1214438"/>
                  <a:pt x="2662238" y="1228725"/>
                </a:cubicBezTo>
                <a:lnTo>
                  <a:pt x="2800350" y="1228749"/>
                </a:lnTo>
                <a:lnTo>
                  <a:pt x="2805113" y="1266825"/>
                </a:lnTo>
                <a:lnTo>
                  <a:pt x="2881313" y="1266825"/>
                </a:lnTo>
                <a:lnTo>
                  <a:pt x="2876550" y="1290637"/>
                </a:lnTo>
                <a:lnTo>
                  <a:pt x="2909714" y="1290637"/>
                </a:lnTo>
                <a:lnTo>
                  <a:pt x="2909888" y="1338262"/>
                </a:lnTo>
                <a:lnTo>
                  <a:pt x="2938315" y="1338262"/>
                </a:lnTo>
                <a:lnTo>
                  <a:pt x="2947988" y="1385887"/>
                </a:lnTo>
                <a:lnTo>
                  <a:pt x="3028950" y="1385887"/>
                </a:lnTo>
                <a:lnTo>
                  <a:pt x="3028950" y="1419225"/>
                </a:lnTo>
                <a:lnTo>
                  <a:pt x="3095625" y="1419225"/>
                </a:lnTo>
                <a:lnTo>
                  <a:pt x="3095625" y="1462087"/>
                </a:lnTo>
                <a:lnTo>
                  <a:pt x="3162300" y="1462087"/>
                </a:lnTo>
                <a:lnTo>
                  <a:pt x="3162300" y="1485900"/>
                </a:lnTo>
                <a:lnTo>
                  <a:pt x="3257550" y="1485900"/>
                </a:lnTo>
                <a:lnTo>
                  <a:pt x="3252788" y="1538287"/>
                </a:lnTo>
                <a:lnTo>
                  <a:pt x="3314700" y="1543050"/>
                </a:lnTo>
                <a:lnTo>
                  <a:pt x="3319438" y="1585690"/>
                </a:lnTo>
                <a:lnTo>
                  <a:pt x="3405188" y="1581150"/>
                </a:lnTo>
                <a:lnTo>
                  <a:pt x="3405188" y="1614487"/>
                </a:lnTo>
                <a:lnTo>
                  <a:pt x="3586163" y="1614487"/>
                </a:lnTo>
                <a:lnTo>
                  <a:pt x="3586163" y="1638300"/>
                </a:lnTo>
                <a:lnTo>
                  <a:pt x="3643313" y="1633537"/>
                </a:lnTo>
                <a:lnTo>
                  <a:pt x="3648051" y="1680915"/>
                </a:lnTo>
                <a:lnTo>
                  <a:pt x="3724275" y="1676351"/>
                </a:lnTo>
                <a:lnTo>
                  <a:pt x="3729014" y="1714253"/>
                </a:lnTo>
                <a:lnTo>
                  <a:pt x="3814763" y="1704975"/>
                </a:lnTo>
                <a:lnTo>
                  <a:pt x="3814763" y="1757362"/>
                </a:lnTo>
                <a:lnTo>
                  <a:pt x="3890963" y="1762125"/>
                </a:lnTo>
                <a:lnTo>
                  <a:pt x="3881438" y="1800225"/>
                </a:lnTo>
                <a:lnTo>
                  <a:pt x="3952875" y="1804987"/>
                </a:lnTo>
                <a:lnTo>
                  <a:pt x="3957638" y="1862137"/>
                </a:lnTo>
                <a:lnTo>
                  <a:pt x="4029075" y="1862137"/>
                </a:lnTo>
                <a:lnTo>
                  <a:pt x="4029075" y="1924050"/>
                </a:lnTo>
                <a:lnTo>
                  <a:pt x="4100513" y="1924050"/>
                </a:lnTo>
                <a:lnTo>
                  <a:pt x="4143375" y="1924050"/>
                </a:lnTo>
                <a:lnTo>
                  <a:pt x="4138613" y="1966912"/>
                </a:lnTo>
                <a:lnTo>
                  <a:pt x="4214813" y="1971675"/>
                </a:lnTo>
                <a:lnTo>
                  <a:pt x="4214813" y="2014537"/>
                </a:lnTo>
                <a:lnTo>
                  <a:pt x="4319588" y="2014537"/>
                </a:lnTo>
                <a:lnTo>
                  <a:pt x="4319588" y="2014537"/>
                </a:lnTo>
                <a:lnTo>
                  <a:pt x="4362451" y="2038350"/>
                </a:lnTo>
                <a:lnTo>
                  <a:pt x="4410075" y="2095500"/>
                </a:lnTo>
                <a:lnTo>
                  <a:pt x="4605338" y="2105025"/>
                </a:lnTo>
                <a:lnTo>
                  <a:pt x="4605338" y="2105025"/>
                </a:lnTo>
                <a:lnTo>
                  <a:pt x="4605338" y="2147887"/>
                </a:lnTo>
                <a:lnTo>
                  <a:pt x="4791075" y="2147887"/>
                </a:lnTo>
                <a:lnTo>
                  <a:pt x="4791075" y="2176462"/>
                </a:lnTo>
                <a:lnTo>
                  <a:pt x="4953000" y="2176462"/>
                </a:lnTo>
                <a:lnTo>
                  <a:pt x="5072063" y="2176462"/>
                </a:lnTo>
                <a:lnTo>
                  <a:pt x="5072063" y="2233612"/>
                </a:lnTo>
                <a:lnTo>
                  <a:pt x="5400675" y="2233612"/>
                </a:lnTo>
                <a:lnTo>
                  <a:pt x="5400675" y="2233612"/>
                </a:lnTo>
                <a:lnTo>
                  <a:pt x="5500688" y="2233612"/>
                </a:lnTo>
                <a:lnTo>
                  <a:pt x="5500688" y="2305050"/>
                </a:lnTo>
                <a:lnTo>
                  <a:pt x="5586413" y="2305050"/>
                </a:lnTo>
                <a:lnTo>
                  <a:pt x="5586413" y="2328862"/>
                </a:lnTo>
                <a:lnTo>
                  <a:pt x="5629275" y="2328862"/>
                </a:lnTo>
                <a:lnTo>
                  <a:pt x="5629275" y="2390775"/>
                </a:lnTo>
                <a:lnTo>
                  <a:pt x="6134100" y="2390775"/>
                </a:lnTo>
                <a:lnTo>
                  <a:pt x="6134100" y="2481262"/>
                </a:lnTo>
                <a:lnTo>
                  <a:pt x="6610350" y="2481262"/>
                </a:lnTo>
              </a:path>
            </a:pathLst>
          </a:custGeom>
          <a:noFill/>
          <a:ln w="28575">
            <a:solidFill>
              <a:srgbClr val="015873"/>
            </a:solidFill>
            <a:miter lim="800000"/>
            <a:headEnd/>
            <a:tailEnd/>
          </a:ln>
          <a:extLst>
            <a:ext uri="{909E8E84-426E-40DD-AFC4-6F175D3DCCD1}">
              <a14:hiddenFill xmlns:a14="http://schemas.microsoft.com/office/drawing/2010/main">
                <a:noFill/>
              </a14:hiddenFill>
            </a:ext>
          </a:extLst>
        </p:spPr>
        <p:txBody>
          <a:bodyPr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grpSp>
        <p:nvGrpSpPr>
          <p:cNvPr id="4" name="Group 3">
            <a:extLst>
              <a:ext uri="{FF2B5EF4-FFF2-40B4-BE49-F238E27FC236}">
                <a16:creationId xmlns:a16="http://schemas.microsoft.com/office/drawing/2014/main" id="{06BA5E6F-0343-032B-B96E-EB4CA114AA3D}"/>
              </a:ext>
            </a:extLst>
          </p:cNvPr>
          <p:cNvGrpSpPr/>
          <p:nvPr/>
        </p:nvGrpSpPr>
        <p:grpSpPr>
          <a:xfrm>
            <a:off x="1142963" y="1267754"/>
            <a:ext cx="5701805" cy="2248717"/>
            <a:chOff x="2671763" y="1990725"/>
            <a:chExt cx="6710362" cy="2957513"/>
          </a:xfrm>
        </p:grpSpPr>
        <p:sp>
          <p:nvSpPr>
            <p:cNvPr id="7" name="Freeform: Shape 6">
              <a:extLst>
                <a:ext uri="{FF2B5EF4-FFF2-40B4-BE49-F238E27FC236}">
                  <a16:creationId xmlns:a16="http://schemas.microsoft.com/office/drawing/2014/main" id="{C7B23E76-1146-FD0D-4ACC-B92035856F73}"/>
                </a:ext>
              </a:extLst>
            </p:cNvPr>
            <p:cNvSpPr/>
            <p:nvPr/>
          </p:nvSpPr>
          <p:spPr bwMode="auto">
            <a:xfrm>
              <a:off x="4138613" y="3300413"/>
              <a:ext cx="5243512" cy="1647825"/>
            </a:xfrm>
            <a:custGeom>
              <a:avLst/>
              <a:gdLst>
                <a:gd name="connsiteX0" fmla="*/ 5243512 w 5243512"/>
                <a:gd name="connsiteY0" fmla="*/ 1638300 h 1647825"/>
                <a:gd name="connsiteX1" fmla="*/ 4333875 w 5243512"/>
                <a:gd name="connsiteY1" fmla="*/ 1647825 h 1647825"/>
                <a:gd name="connsiteX2" fmla="*/ 4333875 w 5243512"/>
                <a:gd name="connsiteY2" fmla="*/ 1581150 h 1647825"/>
                <a:gd name="connsiteX3" fmla="*/ 4062412 w 5243512"/>
                <a:gd name="connsiteY3" fmla="*/ 1581150 h 1647825"/>
                <a:gd name="connsiteX4" fmla="*/ 4062412 w 5243512"/>
                <a:gd name="connsiteY4" fmla="*/ 1509712 h 1647825"/>
                <a:gd name="connsiteX5" fmla="*/ 3705225 w 5243512"/>
                <a:gd name="connsiteY5" fmla="*/ 1509712 h 1647825"/>
                <a:gd name="connsiteX6" fmla="*/ 3709987 w 5243512"/>
                <a:gd name="connsiteY6" fmla="*/ 1462087 h 1647825"/>
                <a:gd name="connsiteX7" fmla="*/ 3267075 w 5243512"/>
                <a:gd name="connsiteY7" fmla="*/ 1462087 h 1647825"/>
                <a:gd name="connsiteX8" fmla="*/ 3267075 w 5243512"/>
                <a:gd name="connsiteY8" fmla="*/ 1428750 h 1647825"/>
                <a:gd name="connsiteX9" fmla="*/ 3009900 w 5243512"/>
                <a:gd name="connsiteY9" fmla="*/ 1423987 h 1647825"/>
                <a:gd name="connsiteX10" fmla="*/ 3014662 w 5243512"/>
                <a:gd name="connsiteY10" fmla="*/ 1376362 h 1647825"/>
                <a:gd name="connsiteX11" fmla="*/ 2857500 w 5243512"/>
                <a:gd name="connsiteY11" fmla="*/ 1381125 h 1647825"/>
                <a:gd name="connsiteX12" fmla="*/ 2862262 w 5243512"/>
                <a:gd name="connsiteY12" fmla="*/ 1333500 h 1647825"/>
                <a:gd name="connsiteX13" fmla="*/ 2800350 w 5243512"/>
                <a:gd name="connsiteY13" fmla="*/ 1328737 h 1647825"/>
                <a:gd name="connsiteX14" fmla="*/ 2805112 w 5243512"/>
                <a:gd name="connsiteY14" fmla="*/ 1300162 h 1647825"/>
                <a:gd name="connsiteX15" fmla="*/ 2605087 w 5243512"/>
                <a:gd name="connsiteY15" fmla="*/ 1314450 h 1647825"/>
                <a:gd name="connsiteX16" fmla="*/ 2605087 w 5243512"/>
                <a:gd name="connsiteY16" fmla="*/ 1271587 h 1647825"/>
                <a:gd name="connsiteX17" fmla="*/ 2462212 w 5243512"/>
                <a:gd name="connsiteY17" fmla="*/ 1271587 h 1647825"/>
                <a:gd name="connsiteX18" fmla="*/ 2462212 w 5243512"/>
                <a:gd name="connsiteY18" fmla="*/ 1252537 h 1647825"/>
                <a:gd name="connsiteX19" fmla="*/ 2262187 w 5243512"/>
                <a:gd name="connsiteY19" fmla="*/ 1252537 h 1647825"/>
                <a:gd name="connsiteX20" fmla="*/ 2266950 w 5243512"/>
                <a:gd name="connsiteY20" fmla="*/ 1204912 h 1647825"/>
                <a:gd name="connsiteX21" fmla="*/ 1966912 w 5243512"/>
                <a:gd name="connsiteY21" fmla="*/ 1204912 h 1647825"/>
                <a:gd name="connsiteX22" fmla="*/ 1962150 w 5243512"/>
                <a:gd name="connsiteY22" fmla="*/ 1162050 h 1647825"/>
                <a:gd name="connsiteX23" fmla="*/ 1809750 w 5243512"/>
                <a:gd name="connsiteY23" fmla="*/ 1157287 h 1647825"/>
                <a:gd name="connsiteX24" fmla="*/ 1809750 w 5243512"/>
                <a:gd name="connsiteY24" fmla="*/ 1157287 h 1647825"/>
                <a:gd name="connsiteX25" fmla="*/ 1809750 w 5243512"/>
                <a:gd name="connsiteY25" fmla="*/ 1133475 h 1647825"/>
                <a:gd name="connsiteX26" fmla="*/ 1714500 w 5243512"/>
                <a:gd name="connsiteY26" fmla="*/ 1133475 h 1647825"/>
                <a:gd name="connsiteX27" fmla="*/ 1704975 w 5243512"/>
                <a:gd name="connsiteY27" fmla="*/ 1095375 h 1647825"/>
                <a:gd name="connsiteX28" fmla="*/ 1590675 w 5243512"/>
                <a:gd name="connsiteY28" fmla="*/ 1095375 h 1647825"/>
                <a:gd name="connsiteX29" fmla="*/ 1595437 w 5243512"/>
                <a:gd name="connsiteY29" fmla="*/ 1062037 h 1647825"/>
                <a:gd name="connsiteX30" fmla="*/ 1428750 w 5243512"/>
                <a:gd name="connsiteY30" fmla="*/ 1057275 h 1647825"/>
                <a:gd name="connsiteX31" fmla="*/ 1428750 w 5243512"/>
                <a:gd name="connsiteY31" fmla="*/ 1057275 h 1647825"/>
                <a:gd name="connsiteX32" fmla="*/ 1438275 w 5243512"/>
                <a:gd name="connsiteY32" fmla="*/ 1033462 h 1647825"/>
                <a:gd name="connsiteX33" fmla="*/ 1323975 w 5243512"/>
                <a:gd name="connsiteY33" fmla="*/ 1038225 h 1647825"/>
                <a:gd name="connsiteX34" fmla="*/ 1333500 w 5243512"/>
                <a:gd name="connsiteY34" fmla="*/ 990600 h 1647825"/>
                <a:gd name="connsiteX35" fmla="*/ 1247775 w 5243512"/>
                <a:gd name="connsiteY35" fmla="*/ 995362 h 1647825"/>
                <a:gd name="connsiteX36" fmla="*/ 1247775 w 5243512"/>
                <a:gd name="connsiteY36" fmla="*/ 942975 h 1647825"/>
                <a:gd name="connsiteX37" fmla="*/ 1190625 w 5243512"/>
                <a:gd name="connsiteY37" fmla="*/ 947737 h 1647825"/>
                <a:gd name="connsiteX38" fmla="*/ 1200150 w 5243512"/>
                <a:gd name="connsiteY38" fmla="*/ 890587 h 1647825"/>
                <a:gd name="connsiteX39" fmla="*/ 1123950 w 5243512"/>
                <a:gd name="connsiteY39" fmla="*/ 881062 h 1647825"/>
                <a:gd name="connsiteX40" fmla="*/ 1114425 w 5243512"/>
                <a:gd name="connsiteY40" fmla="*/ 823912 h 1647825"/>
                <a:gd name="connsiteX41" fmla="*/ 1062037 w 5243512"/>
                <a:gd name="connsiteY41" fmla="*/ 823912 h 1647825"/>
                <a:gd name="connsiteX42" fmla="*/ 1062037 w 5243512"/>
                <a:gd name="connsiteY42" fmla="*/ 766762 h 1647825"/>
                <a:gd name="connsiteX43" fmla="*/ 1019175 w 5243512"/>
                <a:gd name="connsiteY43" fmla="*/ 766762 h 1647825"/>
                <a:gd name="connsiteX44" fmla="*/ 1033462 w 5243512"/>
                <a:gd name="connsiteY44" fmla="*/ 709612 h 1647825"/>
                <a:gd name="connsiteX45" fmla="*/ 947737 w 5243512"/>
                <a:gd name="connsiteY45" fmla="*/ 704850 h 1647825"/>
                <a:gd name="connsiteX46" fmla="*/ 947737 w 5243512"/>
                <a:gd name="connsiteY46" fmla="*/ 647700 h 1647825"/>
                <a:gd name="connsiteX47" fmla="*/ 909637 w 5243512"/>
                <a:gd name="connsiteY47" fmla="*/ 647700 h 1647825"/>
                <a:gd name="connsiteX48" fmla="*/ 923925 w 5243512"/>
                <a:gd name="connsiteY48" fmla="*/ 609600 h 1647825"/>
                <a:gd name="connsiteX49" fmla="*/ 852487 w 5243512"/>
                <a:gd name="connsiteY49" fmla="*/ 614362 h 1647825"/>
                <a:gd name="connsiteX50" fmla="*/ 852487 w 5243512"/>
                <a:gd name="connsiteY50" fmla="*/ 571500 h 1647825"/>
                <a:gd name="connsiteX51" fmla="*/ 781050 w 5243512"/>
                <a:gd name="connsiteY51" fmla="*/ 566737 h 1647825"/>
                <a:gd name="connsiteX52" fmla="*/ 781050 w 5243512"/>
                <a:gd name="connsiteY52" fmla="*/ 538162 h 1647825"/>
                <a:gd name="connsiteX53" fmla="*/ 728662 w 5243512"/>
                <a:gd name="connsiteY53" fmla="*/ 533400 h 1647825"/>
                <a:gd name="connsiteX54" fmla="*/ 728662 w 5243512"/>
                <a:gd name="connsiteY54" fmla="*/ 533400 h 1647825"/>
                <a:gd name="connsiteX55" fmla="*/ 647700 w 5243512"/>
                <a:gd name="connsiteY55" fmla="*/ 500062 h 1647825"/>
                <a:gd name="connsiteX56" fmla="*/ 647700 w 5243512"/>
                <a:gd name="connsiteY56" fmla="*/ 466725 h 1647825"/>
                <a:gd name="connsiteX57" fmla="*/ 581025 w 5243512"/>
                <a:gd name="connsiteY57" fmla="*/ 457200 h 1647825"/>
                <a:gd name="connsiteX58" fmla="*/ 581025 w 5243512"/>
                <a:gd name="connsiteY58" fmla="*/ 457200 h 1647825"/>
                <a:gd name="connsiteX59" fmla="*/ 533400 w 5243512"/>
                <a:gd name="connsiteY59" fmla="*/ 428625 h 1647825"/>
                <a:gd name="connsiteX60" fmla="*/ 561975 w 5243512"/>
                <a:gd name="connsiteY60" fmla="*/ 385762 h 1647825"/>
                <a:gd name="connsiteX61" fmla="*/ 466725 w 5243512"/>
                <a:gd name="connsiteY61" fmla="*/ 390525 h 1647825"/>
                <a:gd name="connsiteX62" fmla="*/ 466725 w 5243512"/>
                <a:gd name="connsiteY62" fmla="*/ 342900 h 1647825"/>
                <a:gd name="connsiteX63" fmla="*/ 423862 w 5243512"/>
                <a:gd name="connsiteY63" fmla="*/ 342900 h 1647825"/>
                <a:gd name="connsiteX64" fmla="*/ 423862 w 5243512"/>
                <a:gd name="connsiteY64" fmla="*/ 342900 h 1647825"/>
                <a:gd name="connsiteX65" fmla="*/ 423862 w 5243512"/>
                <a:gd name="connsiteY65" fmla="*/ 295275 h 1647825"/>
                <a:gd name="connsiteX66" fmla="*/ 423862 w 5243512"/>
                <a:gd name="connsiteY66" fmla="*/ 295275 h 1647825"/>
                <a:gd name="connsiteX67" fmla="*/ 390525 w 5243512"/>
                <a:gd name="connsiteY67" fmla="*/ 266700 h 1647825"/>
                <a:gd name="connsiteX68" fmla="*/ 342900 w 5243512"/>
                <a:gd name="connsiteY68" fmla="*/ 261937 h 1647825"/>
                <a:gd name="connsiteX69" fmla="*/ 357187 w 5243512"/>
                <a:gd name="connsiteY69" fmla="*/ 209550 h 1647825"/>
                <a:gd name="connsiteX70" fmla="*/ 280987 w 5243512"/>
                <a:gd name="connsiteY70" fmla="*/ 209550 h 1647825"/>
                <a:gd name="connsiteX71" fmla="*/ 280987 w 5243512"/>
                <a:gd name="connsiteY71" fmla="*/ 209550 h 1647825"/>
                <a:gd name="connsiteX72" fmla="*/ 238125 w 5243512"/>
                <a:gd name="connsiteY72" fmla="*/ 166687 h 1647825"/>
                <a:gd name="connsiteX73" fmla="*/ 238125 w 5243512"/>
                <a:gd name="connsiteY73" fmla="*/ 166687 h 1647825"/>
                <a:gd name="connsiteX74" fmla="*/ 166687 w 5243512"/>
                <a:gd name="connsiteY74" fmla="*/ 138112 h 1647825"/>
                <a:gd name="connsiteX75" fmla="*/ 171450 w 5243512"/>
                <a:gd name="connsiteY75" fmla="*/ 52387 h 1647825"/>
                <a:gd name="connsiteX76" fmla="*/ 71437 w 5243512"/>
                <a:gd name="connsiteY76" fmla="*/ 47625 h 1647825"/>
                <a:gd name="connsiteX77" fmla="*/ 76200 w 5243512"/>
                <a:gd name="connsiteY77" fmla="*/ 0 h 1647825"/>
                <a:gd name="connsiteX78" fmla="*/ 0 w 5243512"/>
                <a:gd name="connsiteY78" fmla="*/ 0 h 1647825"/>
                <a:gd name="connsiteX0" fmla="*/ 5243512 w 5243512"/>
                <a:gd name="connsiteY0" fmla="*/ 1638300 h 1647825"/>
                <a:gd name="connsiteX1" fmla="*/ 4333875 w 5243512"/>
                <a:gd name="connsiteY1" fmla="*/ 1647825 h 1647825"/>
                <a:gd name="connsiteX2" fmla="*/ 4333875 w 5243512"/>
                <a:gd name="connsiteY2" fmla="*/ 1581150 h 1647825"/>
                <a:gd name="connsiteX3" fmla="*/ 4062412 w 5243512"/>
                <a:gd name="connsiteY3" fmla="*/ 1581150 h 1647825"/>
                <a:gd name="connsiteX4" fmla="*/ 4062412 w 5243512"/>
                <a:gd name="connsiteY4" fmla="*/ 1509712 h 1647825"/>
                <a:gd name="connsiteX5" fmla="*/ 3705225 w 5243512"/>
                <a:gd name="connsiteY5" fmla="*/ 1509712 h 1647825"/>
                <a:gd name="connsiteX6" fmla="*/ 3709987 w 5243512"/>
                <a:gd name="connsiteY6" fmla="*/ 1462087 h 1647825"/>
                <a:gd name="connsiteX7" fmla="*/ 3267075 w 5243512"/>
                <a:gd name="connsiteY7" fmla="*/ 1462087 h 1647825"/>
                <a:gd name="connsiteX8" fmla="*/ 3267075 w 5243512"/>
                <a:gd name="connsiteY8" fmla="*/ 1428750 h 1647825"/>
                <a:gd name="connsiteX9" fmla="*/ 3009900 w 5243512"/>
                <a:gd name="connsiteY9" fmla="*/ 1423987 h 1647825"/>
                <a:gd name="connsiteX10" fmla="*/ 3014662 w 5243512"/>
                <a:gd name="connsiteY10" fmla="*/ 1376362 h 1647825"/>
                <a:gd name="connsiteX11" fmla="*/ 2857500 w 5243512"/>
                <a:gd name="connsiteY11" fmla="*/ 1381125 h 1647825"/>
                <a:gd name="connsiteX12" fmla="*/ 2862262 w 5243512"/>
                <a:gd name="connsiteY12" fmla="*/ 1333500 h 1647825"/>
                <a:gd name="connsiteX13" fmla="*/ 2800350 w 5243512"/>
                <a:gd name="connsiteY13" fmla="*/ 1328737 h 1647825"/>
                <a:gd name="connsiteX14" fmla="*/ 2805112 w 5243512"/>
                <a:gd name="connsiteY14" fmla="*/ 1300162 h 1647825"/>
                <a:gd name="connsiteX15" fmla="*/ 2605087 w 5243512"/>
                <a:gd name="connsiteY15" fmla="*/ 1314450 h 1647825"/>
                <a:gd name="connsiteX16" fmla="*/ 2605087 w 5243512"/>
                <a:gd name="connsiteY16" fmla="*/ 1271587 h 1647825"/>
                <a:gd name="connsiteX17" fmla="*/ 2462212 w 5243512"/>
                <a:gd name="connsiteY17" fmla="*/ 1271587 h 1647825"/>
                <a:gd name="connsiteX18" fmla="*/ 2462212 w 5243512"/>
                <a:gd name="connsiteY18" fmla="*/ 1252537 h 1647825"/>
                <a:gd name="connsiteX19" fmla="*/ 2262187 w 5243512"/>
                <a:gd name="connsiteY19" fmla="*/ 1252537 h 1647825"/>
                <a:gd name="connsiteX20" fmla="*/ 2266950 w 5243512"/>
                <a:gd name="connsiteY20" fmla="*/ 1204912 h 1647825"/>
                <a:gd name="connsiteX21" fmla="*/ 1966912 w 5243512"/>
                <a:gd name="connsiteY21" fmla="*/ 1204912 h 1647825"/>
                <a:gd name="connsiteX22" fmla="*/ 1962150 w 5243512"/>
                <a:gd name="connsiteY22" fmla="*/ 1162050 h 1647825"/>
                <a:gd name="connsiteX23" fmla="*/ 1809750 w 5243512"/>
                <a:gd name="connsiteY23" fmla="*/ 1157287 h 1647825"/>
                <a:gd name="connsiteX24" fmla="*/ 1809750 w 5243512"/>
                <a:gd name="connsiteY24" fmla="*/ 1157287 h 1647825"/>
                <a:gd name="connsiteX25" fmla="*/ 1809750 w 5243512"/>
                <a:gd name="connsiteY25" fmla="*/ 1133475 h 1647825"/>
                <a:gd name="connsiteX26" fmla="*/ 1714500 w 5243512"/>
                <a:gd name="connsiteY26" fmla="*/ 1133475 h 1647825"/>
                <a:gd name="connsiteX27" fmla="*/ 1704975 w 5243512"/>
                <a:gd name="connsiteY27" fmla="*/ 1095375 h 1647825"/>
                <a:gd name="connsiteX28" fmla="*/ 1590675 w 5243512"/>
                <a:gd name="connsiteY28" fmla="*/ 1095375 h 1647825"/>
                <a:gd name="connsiteX29" fmla="*/ 1595437 w 5243512"/>
                <a:gd name="connsiteY29" fmla="*/ 1062037 h 1647825"/>
                <a:gd name="connsiteX30" fmla="*/ 1428750 w 5243512"/>
                <a:gd name="connsiteY30" fmla="*/ 1057275 h 1647825"/>
                <a:gd name="connsiteX31" fmla="*/ 1428750 w 5243512"/>
                <a:gd name="connsiteY31" fmla="*/ 1057275 h 1647825"/>
                <a:gd name="connsiteX32" fmla="*/ 1438275 w 5243512"/>
                <a:gd name="connsiteY32" fmla="*/ 1033462 h 1647825"/>
                <a:gd name="connsiteX33" fmla="*/ 1323975 w 5243512"/>
                <a:gd name="connsiteY33" fmla="*/ 1038225 h 1647825"/>
                <a:gd name="connsiteX34" fmla="*/ 1333500 w 5243512"/>
                <a:gd name="connsiteY34" fmla="*/ 990600 h 1647825"/>
                <a:gd name="connsiteX35" fmla="*/ 1247775 w 5243512"/>
                <a:gd name="connsiteY35" fmla="*/ 995362 h 1647825"/>
                <a:gd name="connsiteX36" fmla="*/ 1247775 w 5243512"/>
                <a:gd name="connsiteY36" fmla="*/ 942975 h 1647825"/>
                <a:gd name="connsiteX37" fmla="*/ 1190625 w 5243512"/>
                <a:gd name="connsiteY37" fmla="*/ 947737 h 1647825"/>
                <a:gd name="connsiteX38" fmla="*/ 1200150 w 5243512"/>
                <a:gd name="connsiteY38" fmla="*/ 890587 h 1647825"/>
                <a:gd name="connsiteX39" fmla="*/ 1123950 w 5243512"/>
                <a:gd name="connsiteY39" fmla="*/ 881062 h 1647825"/>
                <a:gd name="connsiteX40" fmla="*/ 1114425 w 5243512"/>
                <a:gd name="connsiteY40" fmla="*/ 823912 h 1647825"/>
                <a:gd name="connsiteX41" fmla="*/ 1062037 w 5243512"/>
                <a:gd name="connsiteY41" fmla="*/ 823912 h 1647825"/>
                <a:gd name="connsiteX42" fmla="*/ 1062037 w 5243512"/>
                <a:gd name="connsiteY42" fmla="*/ 766762 h 1647825"/>
                <a:gd name="connsiteX43" fmla="*/ 1019175 w 5243512"/>
                <a:gd name="connsiteY43" fmla="*/ 766762 h 1647825"/>
                <a:gd name="connsiteX44" fmla="*/ 1033462 w 5243512"/>
                <a:gd name="connsiteY44" fmla="*/ 709612 h 1647825"/>
                <a:gd name="connsiteX45" fmla="*/ 947737 w 5243512"/>
                <a:gd name="connsiteY45" fmla="*/ 704850 h 1647825"/>
                <a:gd name="connsiteX46" fmla="*/ 947737 w 5243512"/>
                <a:gd name="connsiteY46" fmla="*/ 647700 h 1647825"/>
                <a:gd name="connsiteX47" fmla="*/ 909637 w 5243512"/>
                <a:gd name="connsiteY47" fmla="*/ 647700 h 1647825"/>
                <a:gd name="connsiteX48" fmla="*/ 923925 w 5243512"/>
                <a:gd name="connsiteY48" fmla="*/ 609600 h 1647825"/>
                <a:gd name="connsiteX49" fmla="*/ 852487 w 5243512"/>
                <a:gd name="connsiteY49" fmla="*/ 614362 h 1647825"/>
                <a:gd name="connsiteX50" fmla="*/ 852487 w 5243512"/>
                <a:gd name="connsiteY50" fmla="*/ 571500 h 1647825"/>
                <a:gd name="connsiteX51" fmla="*/ 781050 w 5243512"/>
                <a:gd name="connsiteY51" fmla="*/ 566737 h 1647825"/>
                <a:gd name="connsiteX52" fmla="*/ 781050 w 5243512"/>
                <a:gd name="connsiteY52" fmla="*/ 538162 h 1647825"/>
                <a:gd name="connsiteX53" fmla="*/ 728662 w 5243512"/>
                <a:gd name="connsiteY53" fmla="*/ 533400 h 1647825"/>
                <a:gd name="connsiteX54" fmla="*/ 728662 w 5243512"/>
                <a:gd name="connsiteY54" fmla="*/ 533400 h 1647825"/>
                <a:gd name="connsiteX55" fmla="*/ 647700 w 5243512"/>
                <a:gd name="connsiteY55" fmla="*/ 500062 h 1647825"/>
                <a:gd name="connsiteX56" fmla="*/ 647700 w 5243512"/>
                <a:gd name="connsiteY56" fmla="*/ 466725 h 1647825"/>
                <a:gd name="connsiteX57" fmla="*/ 581025 w 5243512"/>
                <a:gd name="connsiteY57" fmla="*/ 457200 h 1647825"/>
                <a:gd name="connsiteX58" fmla="*/ 581025 w 5243512"/>
                <a:gd name="connsiteY58" fmla="*/ 457200 h 1647825"/>
                <a:gd name="connsiteX59" fmla="*/ 533400 w 5243512"/>
                <a:gd name="connsiteY59" fmla="*/ 428625 h 1647825"/>
                <a:gd name="connsiteX60" fmla="*/ 561975 w 5243512"/>
                <a:gd name="connsiteY60" fmla="*/ 385762 h 1647825"/>
                <a:gd name="connsiteX61" fmla="*/ 466725 w 5243512"/>
                <a:gd name="connsiteY61" fmla="*/ 390525 h 1647825"/>
                <a:gd name="connsiteX62" fmla="*/ 466725 w 5243512"/>
                <a:gd name="connsiteY62" fmla="*/ 342900 h 1647825"/>
                <a:gd name="connsiteX63" fmla="*/ 423862 w 5243512"/>
                <a:gd name="connsiteY63" fmla="*/ 342900 h 1647825"/>
                <a:gd name="connsiteX64" fmla="*/ 423862 w 5243512"/>
                <a:gd name="connsiteY64" fmla="*/ 342900 h 1647825"/>
                <a:gd name="connsiteX65" fmla="*/ 423862 w 5243512"/>
                <a:gd name="connsiteY65" fmla="*/ 295275 h 1647825"/>
                <a:gd name="connsiteX66" fmla="*/ 423862 w 5243512"/>
                <a:gd name="connsiteY66" fmla="*/ 295275 h 1647825"/>
                <a:gd name="connsiteX67" fmla="*/ 390525 w 5243512"/>
                <a:gd name="connsiteY67" fmla="*/ 266700 h 1647825"/>
                <a:gd name="connsiteX68" fmla="*/ 342900 w 5243512"/>
                <a:gd name="connsiteY68" fmla="*/ 261937 h 1647825"/>
                <a:gd name="connsiteX69" fmla="*/ 357187 w 5243512"/>
                <a:gd name="connsiteY69" fmla="*/ 209550 h 1647825"/>
                <a:gd name="connsiteX70" fmla="*/ 280987 w 5243512"/>
                <a:gd name="connsiteY70" fmla="*/ 209550 h 1647825"/>
                <a:gd name="connsiteX71" fmla="*/ 280987 w 5243512"/>
                <a:gd name="connsiteY71" fmla="*/ 209550 h 1647825"/>
                <a:gd name="connsiteX72" fmla="*/ 238125 w 5243512"/>
                <a:gd name="connsiteY72" fmla="*/ 166687 h 1647825"/>
                <a:gd name="connsiteX73" fmla="*/ 233362 w 5243512"/>
                <a:gd name="connsiteY73" fmla="*/ 133350 h 1647825"/>
                <a:gd name="connsiteX74" fmla="*/ 166687 w 5243512"/>
                <a:gd name="connsiteY74" fmla="*/ 138112 h 1647825"/>
                <a:gd name="connsiteX75" fmla="*/ 171450 w 5243512"/>
                <a:gd name="connsiteY75" fmla="*/ 52387 h 1647825"/>
                <a:gd name="connsiteX76" fmla="*/ 71437 w 5243512"/>
                <a:gd name="connsiteY76" fmla="*/ 47625 h 1647825"/>
                <a:gd name="connsiteX77" fmla="*/ 76200 w 5243512"/>
                <a:gd name="connsiteY77" fmla="*/ 0 h 1647825"/>
                <a:gd name="connsiteX78" fmla="*/ 0 w 5243512"/>
                <a:gd name="connsiteY78" fmla="*/ 0 h 1647825"/>
                <a:gd name="connsiteX0" fmla="*/ 5243512 w 5243512"/>
                <a:gd name="connsiteY0" fmla="*/ 1638300 h 1647825"/>
                <a:gd name="connsiteX1" fmla="*/ 4333875 w 5243512"/>
                <a:gd name="connsiteY1" fmla="*/ 1647825 h 1647825"/>
                <a:gd name="connsiteX2" fmla="*/ 4333875 w 5243512"/>
                <a:gd name="connsiteY2" fmla="*/ 1581150 h 1647825"/>
                <a:gd name="connsiteX3" fmla="*/ 4062412 w 5243512"/>
                <a:gd name="connsiteY3" fmla="*/ 1581150 h 1647825"/>
                <a:gd name="connsiteX4" fmla="*/ 4062412 w 5243512"/>
                <a:gd name="connsiteY4" fmla="*/ 1509712 h 1647825"/>
                <a:gd name="connsiteX5" fmla="*/ 3705225 w 5243512"/>
                <a:gd name="connsiteY5" fmla="*/ 1509712 h 1647825"/>
                <a:gd name="connsiteX6" fmla="*/ 3709987 w 5243512"/>
                <a:gd name="connsiteY6" fmla="*/ 1462087 h 1647825"/>
                <a:gd name="connsiteX7" fmla="*/ 3267075 w 5243512"/>
                <a:gd name="connsiteY7" fmla="*/ 1462087 h 1647825"/>
                <a:gd name="connsiteX8" fmla="*/ 3267075 w 5243512"/>
                <a:gd name="connsiteY8" fmla="*/ 1428750 h 1647825"/>
                <a:gd name="connsiteX9" fmla="*/ 3009900 w 5243512"/>
                <a:gd name="connsiteY9" fmla="*/ 1423987 h 1647825"/>
                <a:gd name="connsiteX10" fmla="*/ 3014662 w 5243512"/>
                <a:gd name="connsiteY10" fmla="*/ 1376362 h 1647825"/>
                <a:gd name="connsiteX11" fmla="*/ 2857500 w 5243512"/>
                <a:gd name="connsiteY11" fmla="*/ 1381125 h 1647825"/>
                <a:gd name="connsiteX12" fmla="*/ 2862262 w 5243512"/>
                <a:gd name="connsiteY12" fmla="*/ 1333500 h 1647825"/>
                <a:gd name="connsiteX13" fmla="*/ 2800350 w 5243512"/>
                <a:gd name="connsiteY13" fmla="*/ 1328737 h 1647825"/>
                <a:gd name="connsiteX14" fmla="*/ 2805112 w 5243512"/>
                <a:gd name="connsiteY14" fmla="*/ 1300162 h 1647825"/>
                <a:gd name="connsiteX15" fmla="*/ 2605087 w 5243512"/>
                <a:gd name="connsiteY15" fmla="*/ 1314450 h 1647825"/>
                <a:gd name="connsiteX16" fmla="*/ 2605087 w 5243512"/>
                <a:gd name="connsiteY16" fmla="*/ 1271587 h 1647825"/>
                <a:gd name="connsiteX17" fmla="*/ 2462212 w 5243512"/>
                <a:gd name="connsiteY17" fmla="*/ 1271587 h 1647825"/>
                <a:gd name="connsiteX18" fmla="*/ 2462212 w 5243512"/>
                <a:gd name="connsiteY18" fmla="*/ 1252537 h 1647825"/>
                <a:gd name="connsiteX19" fmla="*/ 2262187 w 5243512"/>
                <a:gd name="connsiteY19" fmla="*/ 1252537 h 1647825"/>
                <a:gd name="connsiteX20" fmla="*/ 2266950 w 5243512"/>
                <a:gd name="connsiteY20" fmla="*/ 1204912 h 1647825"/>
                <a:gd name="connsiteX21" fmla="*/ 1966912 w 5243512"/>
                <a:gd name="connsiteY21" fmla="*/ 1204912 h 1647825"/>
                <a:gd name="connsiteX22" fmla="*/ 1962150 w 5243512"/>
                <a:gd name="connsiteY22" fmla="*/ 1162050 h 1647825"/>
                <a:gd name="connsiteX23" fmla="*/ 1809750 w 5243512"/>
                <a:gd name="connsiteY23" fmla="*/ 1157287 h 1647825"/>
                <a:gd name="connsiteX24" fmla="*/ 1809750 w 5243512"/>
                <a:gd name="connsiteY24" fmla="*/ 1157287 h 1647825"/>
                <a:gd name="connsiteX25" fmla="*/ 1809750 w 5243512"/>
                <a:gd name="connsiteY25" fmla="*/ 1133475 h 1647825"/>
                <a:gd name="connsiteX26" fmla="*/ 1714500 w 5243512"/>
                <a:gd name="connsiteY26" fmla="*/ 1133475 h 1647825"/>
                <a:gd name="connsiteX27" fmla="*/ 1704975 w 5243512"/>
                <a:gd name="connsiteY27" fmla="*/ 1095375 h 1647825"/>
                <a:gd name="connsiteX28" fmla="*/ 1590675 w 5243512"/>
                <a:gd name="connsiteY28" fmla="*/ 1095375 h 1647825"/>
                <a:gd name="connsiteX29" fmla="*/ 1595437 w 5243512"/>
                <a:gd name="connsiteY29" fmla="*/ 1062037 h 1647825"/>
                <a:gd name="connsiteX30" fmla="*/ 1428750 w 5243512"/>
                <a:gd name="connsiteY30" fmla="*/ 1057275 h 1647825"/>
                <a:gd name="connsiteX31" fmla="*/ 1428750 w 5243512"/>
                <a:gd name="connsiteY31" fmla="*/ 1057275 h 1647825"/>
                <a:gd name="connsiteX32" fmla="*/ 1438275 w 5243512"/>
                <a:gd name="connsiteY32" fmla="*/ 1033462 h 1647825"/>
                <a:gd name="connsiteX33" fmla="*/ 1323975 w 5243512"/>
                <a:gd name="connsiteY33" fmla="*/ 1038225 h 1647825"/>
                <a:gd name="connsiteX34" fmla="*/ 1333500 w 5243512"/>
                <a:gd name="connsiteY34" fmla="*/ 990600 h 1647825"/>
                <a:gd name="connsiteX35" fmla="*/ 1247775 w 5243512"/>
                <a:gd name="connsiteY35" fmla="*/ 995362 h 1647825"/>
                <a:gd name="connsiteX36" fmla="*/ 1247775 w 5243512"/>
                <a:gd name="connsiteY36" fmla="*/ 942975 h 1647825"/>
                <a:gd name="connsiteX37" fmla="*/ 1190625 w 5243512"/>
                <a:gd name="connsiteY37" fmla="*/ 947737 h 1647825"/>
                <a:gd name="connsiteX38" fmla="*/ 1200150 w 5243512"/>
                <a:gd name="connsiteY38" fmla="*/ 890587 h 1647825"/>
                <a:gd name="connsiteX39" fmla="*/ 1123950 w 5243512"/>
                <a:gd name="connsiteY39" fmla="*/ 881062 h 1647825"/>
                <a:gd name="connsiteX40" fmla="*/ 1114425 w 5243512"/>
                <a:gd name="connsiteY40" fmla="*/ 823912 h 1647825"/>
                <a:gd name="connsiteX41" fmla="*/ 1062037 w 5243512"/>
                <a:gd name="connsiteY41" fmla="*/ 823912 h 1647825"/>
                <a:gd name="connsiteX42" fmla="*/ 1062037 w 5243512"/>
                <a:gd name="connsiteY42" fmla="*/ 766762 h 1647825"/>
                <a:gd name="connsiteX43" fmla="*/ 1019175 w 5243512"/>
                <a:gd name="connsiteY43" fmla="*/ 766762 h 1647825"/>
                <a:gd name="connsiteX44" fmla="*/ 1033462 w 5243512"/>
                <a:gd name="connsiteY44" fmla="*/ 709612 h 1647825"/>
                <a:gd name="connsiteX45" fmla="*/ 947737 w 5243512"/>
                <a:gd name="connsiteY45" fmla="*/ 704850 h 1647825"/>
                <a:gd name="connsiteX46" fmla="*/ 947737 w 5243512"/>
                <a:gd name="connsiteY46" fmla="*/ 647700 h 1647825"/>
                <a:gd name="connsiteX47" fmla="*/ 909637 w 5243512"/>
                <a:gd name="connsiteY47" fmla="*/ 647700 h 1647825"/>
                <a:gd name="connsiteX48" fmla="*/ 923925 w 5243512"/>
                <a:gd name="connsiteY48" fmla="*/ 609600 h 1647825"/>
                <a:gd name="connsiteX49" fmla="*/ 852487 w 5243512"/>
                <a:gd name="connsiteY49" fmla="*/ 614362 h 1647825"/>
                <a:gd name="connsiteX50" fmla="*/ 852487 w 5243512"/>
                <a:gd name="connsiteY50" fmla="*/ 571500 h 1647825"/>
                <a:gd name="connsiteX51" fmla="*/ 781050 w 5243512"/>
                <a:gd name="connsiteY51" fmla="*/ 566737 h 1647825"/>
                <a:gd name="connsiteX52" fmla="*/ 781050 w 5243512"/>
                <a:gd name="connsiteY52" fmla="*/ 538162 h 1647825"/>
                <a:gd name="connsiteX53" fmla="*/ 728662 w 5243512"/>
                <a:gd name="connsiteY53" fmla="*/ 533400 h 1647825"/>
                <a:gd name="connsiteX54" fmla="*/ 728662 w 5243512"/>
                <a:gd name="connsiteY54" fmla="*/ 533400 h 1647825"/>
                <a:gd name="connsiteX55" fmla="*/ 647700 w 5243512"/>
                <a:gd name="connsiteY55" fmla="*/ 500062 h 1647825"/>
                <a:gd name="connsiteX56" fmla="*/ 647700 w 5243512"/>
                <a:gd name="connsiteY56" fmla="*/ 466725 h 1647825"/>
                <a:gd name="connsiteX57" fmla="*/ 581025 w 5243512"/>
                <a:gd name="connsiteY57" fmla="*/ 457200 h 1647825"/>
                <a:gd name="connsiteX58" fmla="*/ 581025 w 5243512"/>
                <a:gd name="connsiteY58" fmla="*/ 457200 h 1647825"/>
                <a:gd name="connsiteX59" fmla="*/ 533400 w 5243512"/>
                <a:gd name="connsiteY59" fmla="*/ 428625 h 1647825"/>
                <a:gd name="connsiteX60" fmla="*/ 561975 w 5243512"/>
                <a:gd name="connsiteY60" fmla="*/ 385762 h 1647825"/>
                <a:gd name="connsiteX61" fmla="*/ 466725 w 5243512"/>
                <a:gd name="connsiteY61" fmla="*/ 390525 h 1647825"/>
                <a:gd name="connsiteX62" fmla="*/ 466725 w 5243512"/>
                <a:gd name="connsiteY62" fmla="*/ 342900 h 1647825"/>
                <a:gd name="connsiteX63" fmla="*/ 423862 w 5243512"/>
                <a:gd name="connsiteY63" fmla="*/ 342900 h 1647825"/>
                <a:gd name="connsiteX64" fmla="*/ 423862 w 5243512"/>
                <a:gd name="connsiteY64" fmla="*/ 342900 h 1647825"/>
                <a:gd name="connsiteX65" fmla="*/ 423862 w 5243512"/>
                <a:gd name="connsiteY65" fmla="*/ 295275 h 1647825"/>
                <a:gd name="connsiteX66" fmla="*/ 423862 w 5243512"/>
                <a:gd name="connsiteY66" fmla="*/ 295275 h 1647825"/>
                <a:gd name="connsiteX67" fmla="*/ 390525 w 5243512"/>
                <a:gd name="connsiteY67" fmla="*/ 266700 h 1647825"/>
                <a:gd name="connsiteX68" fmla="*/ 342900 w 5243512"/>
                <a:gd name="connsiteY68" fmla="*/ 261937 h 1647825"/>
                <a:gd name="connsiteX69" fmla="*/ 357187 w 5243512"/>
                <a:gd name="connsiteY69" fmla="*/ 209550 h 1647825"/>
                <a:gd name="connsiteX70" fmla="*/ 280987 w 5243512"/>
                <a:gd name="connsiteY70" fmla="*/ 209550 h 1647825"/>
                <a:gd name="connsiteX71" fmla="*/ 276224 w 5243512"/>
                <a:gd name="connsiteY71" fmla="*/ 171450 h 1647825"/>
                <a:gd name="connsiteX72" fmla="*/ 238125 w 5243512"/>
                <a:gd name="connsiteY72" fmla="*/ 166687 h 1647825"/>
                <a:gd name="connsiteX73" fmla="*/ 233362 w 5243512"/>
                <a:gd name="connsiteY73" fmla="*/ 133350 h 1647825"/>
                <a:gd name="connsiteX74" fmla="*/ 166687 w 5243512"/>
                <a:gd name="connsiteY74" fmla="*/ 138112 h 1647825"/>
                <a:gd name="connsiteX75" fmla="*/ 171450 w 5243512"/>
                <a:gd name="connsiteY75" fmla="*/ 52387 h 1647825"/>
                <a:gd name="connsiteX76" fmla="*/ 71437 w 5243512"/>
                <a:gd name="connsiteY76" fmla="*/ 47625 h 1647825"/>
                <a:gd name="connsiteX77" fmla="*/ 76200 w 5243512"/>
                <a:gd name="connsiteY77" fmla="*/ 0 h 1647825"/>
                <a:gd name="connsiteX78" fmla="*/ 0 w 5243512"/>
                <a:gd name="connsiteY78" fmla="*/ 0 h 1647825"/>
                <a:gd name="connsiteX0" fmla="*/ 5243512 w 5243512"/>
                <a:gd name="connsiteY0" fmla="*/ 1638300 h 1647825"/>
                <a:gd name="connsiteX1" fmla="*/ 4333875 w 5243512"/>
                <a:gd name="connsiteY1" fmla="*/ 1647825 h 1647825"/>
                <a:gd name="connsiteX2" fmla="*/ 4333875 w 5243512"/>
                <a:gd name="connsiteY2" fmla="*/ 1581150 h 1647825"/>
                <a:gd name="connsiteX3" fmla="*/ 4062412 w 5243512"/>
                <a:gd name="connsiteY3" fmla="*/ 1581150 h 1647825"/>
                <a:gd name="connsiteX4" fmla="*/ 4062412 w 5243512"/>
                <a:gd name="connsiteY4" fmla="*/ 1509712 h 1647825"/>
                <a:gd name="connsiteX5" fmla="*/ 3705225 w 5243512"/>
                <a:gd name="connsiteY5" fmla="*/ 1509712 h 1647825"/>
                <a:gd name="connsiteX6" fmla="*/ 3709987 w 5243512"/>
                <a:gd name="connsiteY6" fmla="*/ 1462087 h 1647825"/>
                <a:gd name="connsiteX7" fmla="*/ 3267075 w 5243512"/>
                <a:gd name="connsiteY7" fmla="*/ 1462087 h 1647825"/>
                <a:gd name="connsiteX8" fmla="*/ 3267075 w 5243512"/>
                <a:gd name="connsiteY8" fmla="*/ 1428750 h 1647825"/>
                <a:gd name="connsiteX9" fmla="*/ 3009900 w 5243512"/>
                <a:gd name="connsiteY9" fmla="*/ 1423987 h 1647825"/>
                <a:gd name="connsiteX10" fmla="*/ 3014662 w 5243512"/>
                <a:gd name="connsiteY10" fmla="*/ 1376362 h 1647825"/>
                <a:gd name="connsiteX11" fmla="*/ 2857500 w 5243512"/>
                <a:gd name="connsiteY11" fmla="*/ 1381125 h 1647825"/>
                <a:gd name="connsiteX12" fmla="*/ 2862262 w 5243512"/>
                <a:gd name="connsiteY12" fmla="*/ 1333500 h 1647825"/>
                <a:gd name="connsiteX13" fmla="*/ 2800350 w 5243512"/>
                <a:gd name="connsiteY13" fmla="*/ 1328737 h 1647825"/>
                <a:gd name="connsiteX14" fmla="*/ 2805112 w 5243512"/>
                <a:gd name="connsiteY14" fmla="*/ 1300162 h 1647825"/>
                <a:gd name="connsiteX15" fmla="*/ 2605087 w 5243512"/>
                <a:gd name="connsiteY15" fmla="*/ 1314450 h 1647825"/>
                <a:gd name="connsiteX16" fmla="*/ 2605087 w 5243512"/>
                <a:gd name="connsiteY16" fmla="*/ 1271587 h 1647825"/>
                <a:gd name="connsiteX17" fmla="*/ 2462212 w 5243512"/>
                <a:gd name="connsiteY17" fmla="*/ 1271587 h 1647825"/>
                <a:gd name="connsiteX18" fmla="*/ 2462212 w 5243512"/>
                <a:gd name="connsiteY18" fmla="*/ 1252537 h 1647825"/>
                <a:gd name="connsiteX19" fmla="*/ 2262187 w 5243512"/>
                <a:gd name="connsiteY19" fmla="*/ 1252537 h 1647825"/>
                <a:gd name="connsiteX20" fmla="*/ 2266950 w 5243512"/>
                <a:gd name="connsiteY20" fmla="*/ 1204912 h 1647825"/>
                <a:gd name="connsiteX21" fmla="*/ 1966912 w 5243512"/>
                <a:gd name="connsiteY21" fmla="*/ 1204912 h 1647825"/>
                <a:gd name="connsiteX22" fmla="*/ 1962150 w 5243512"/>
                <a:gd name="connsiteY22" fmla="*/ 1162050 h 1647825"/>
                <a:gd name="connsiteX23" fmla="*/ 1809750 w 5243512"/>
                <a:gd name="connsiteY23" fmla="*/ 1157287 h 1647825"/>
                <a:gd name="connsiteX24" fmla="*/ 1809750 w 5243512"/>
                <a:gd name="connsiteY24" fmla="*/ 1157287 h 1647825"/>
                <a:gd name="connsiteX25" fmla="*/ 1809750 w 5243512"/>
                <a:gd name="connsiteY25" fmla="*/ 1133475 h 1647825"/>
                <a:gd name="connsiteX26" fmla="*/ 1714500 w 5243512"/>
                <a:gd name="connsiteY26" fmla="*/ 1133475 h 1647825"/>
                <a:gd name="connsiteX27" fmla="*/ 1704975 w 5243512"/>
                <a:gd name="connsiteY27" fmla="*/ 1095375 h 1647825"/>
                <a:gd name="connsiteX28" fmla="*/ 1590675 w 5243512"/>
                <a:gd name="connsiteY28" fmla="*/ 1095375 h 1647825"/>
                <a:gd name="connsiteX29" fmla="*/ 1595437 w 5243512"/>
                <a:gd name="connsiteY29" fmla="*/ 1062037 h 1647825"/>
                <a:gd name="connsiteX30" fmla="*/ 1428750 w 5243512"/>
                <a:gd name="connsiteY30" fmla="*/ 1057275 h 1647825"/>
                <a:gd name="connsiteX31" fmla="*/ 1428750 w 5243512"/>
                <a:gd name="connsiteY31" fmla="*/ 1057275 h 1647825"/>
                <a:gd name="connsiteX32" fmla="*/ 1438275 w 5243512"/>
                <a:gd name="connsiteY32" fmla="*/ 1033462 h 1647825"/>
                <a:gd name="connsiteX33" fmla="*/ 1323975 w 5243512"/>
                <a:gd name="connsiteY33" fmla="*/ 1038225 h 1647825"/>
                <a:gd name="connsiteX34" fmla="*/ 1333500 w 5243512"/>
                <a:gd name="connsiteY34" fmla="*/ 990600 h 1647825"/>
                <a:gd name="connsiteX35" fmla="*/ 1247775 w 5243512"/>
                <a:gd name="connsiteY35" fmla="*/ 995362 h 1647825"/>
                <a:gd name="connsiteX36" fmla="*/ 1247775 w 5243512"/>
                <a:gd name="connsiteY36" fmla="*/ 942975 h 1647825"/>
                <a:gd name="connsiteX37" fmla="*/ 1190625 w 5243512"/>
                <a:gd name="connsiteY37" fmla="*/ 947737 h 1647825"/>
                <a:gd name="connsiteX38" fmla="*/ 1200150 w 5243512"/>
                <a:gd name="connsiteY38" fmla="*/ 890587 h 1647825"/>
                <a:gd name="connsiteX39" fmla="*/ 1123950 w 5243512"/>
                <a:gd name="connsiteY39" fmla="*/ 881062 h 1647825"/>
                <a:gd name="connsiteX40" fmla="*/ 1114425 w 5243512"/>
                <a:gd name="connsiteY40" fmla="*/ 823912 h 1647825"/>
                <a:gd name="connsiteX41" fmla="*/ 1062037 w 5243512"/>
                <a:gd name="connsiteY41" fmla="*/ 823912 h 1647825"/>
                <a:gd name="connsiteX42" fmla="*/ 1062037 w 5243512"/>
                <a:gd name="connsiteY42" fmla="*/ 766762 h 1647825"/>
                <a:gd name="connsiteX43" fmla="*/ 1019175 w 5243512"/>
                <a:gd name="connsiteY43" fmla="*/ 766762 h 1647825"/>
                <a:gd name="connsiteX44" fmla="*/ 1033462 w 5243512"/>
                <a:gd name="connsiteY44" fmla="*/ 709612 h 1647825"/>
                <a:gd name="connsiteX45" fmla="*/ 947737 w 5243512"/>
                <a:gd name="connsiteY45" fmla="*/ 704850 h 1647825"/>
                <a:gd name="connsiteX46" fmla="*/ 947737 w 5243512"/>
                <a:gd name="connsiteY46" fmla="*/ 647700 h 1647825"/>
                <a:gd name="connsiteX47" fmla="*/ 909637 w 5243512"/>
                <a:gd name="connsiteY47" fmla="*/ 647700 h 1647825"/>
                <a:gd name="connsiteX48" fmla="*/ 923925 w 5243512"/>
                <a:gd name="connsiteY48" fmla="*/ 609600 h 1647825"/>
                <a:gd name="connsiteX49" fmla="*/ 852487 w 5243512"/>
                <a:gd name="connsiteY49" fmla="*/ 614362 h 1647825"/>
                <a:gd name="connsiteX50" fmla="*/ 852487 w 5243512"/>
                <a:gd name="connsiteY50" fmla="*/ 571500 h 1647825"/>
                <a:gd name="connsiteX51" fmla="*/ 781050 w 5243512"/>
                <a:gd name="connsiteY51" fmla="*/ 566737 h 1647825"/>
                <a:gd name="connsiteX52" fmla="*/ 781050 w 5243512"/>
                <a:gd name="connsiteY52" fmla="*/ 538162 h 1647825"/>
                <a:gd name="connsiteX53" fmla="*/ 728662 w 5243512"/>
                <a:gd name="connsiteY53" fmla="*/ 533400 h 1647825"/>
                <a:gd name="connsiteX54" fmla="*/ 728662 w 5243512"/>
                <a:gd name="connsiteY54" fmla="*/ 533400 h 1647825"/>
                <a:gd name="connsiteX55" fmla="*/ 647700 w 5243512"/>
                <a:gd name="connsiteY55" fmla="*/ 500062 h 1647825"/>
                <a:gd name="connsiteX56" fmla="*/ 647700 w 5243512"/>
                <a:gd name="connsiteY56" fmla="*/ 466725 h 1647825"/>
                <a:gd name="connsiteX57" fmla="*/ 581025 w 5243512"/>
                <a:gd name="connsiteY57" fmla="*/ 457200 h 1647825"/>
                <a:gd name="connsiteX58" fmla="*/ 581025 w 5243512"/>
                <a:gd name="connsiteY58" fmla="*/ 457200 h 1647825"/>
                <a:gd name="connsiteX59" fmla="*/ 533400 w 5243512"/>
                <a:gd name="connsiteY59" fmla="*/ 428625 h 1647825"/>
                <a:gd name="connsiteX60" fmla="*/ 538163 w 5243512"/>
                <a:gd name="connsiteY60" fmla="*/ 390524 h 1647825"/>
                <a:gd name="connsiteX61" fmla="*/ 466725 w 5243512"/>
                <a:gd name="connsiteY61" fmla="*/ 390525 h 1647825"/>
                <a:gd name="connsiteX62" fmla="*/ 466725 w 5243512"/>
                <a:gd name="connsiteY62" fmla="*/ 342900 h 1647825"/>
                <a:gd name="connsiteX63" fmla="*/ 423862 w 5243512"/>
                <a:gd name="connsiteY63" fmla="*/ 342900 h 1647825"/>
                <a:gd name="connsiteX64" fmla="*/ 423862 w 5243512"/>
                <a:gd name="connsiteY64" fmla="*/ 342900 h 1647825"/>
                <a:gd name="connsiteX65" fmla="*/ 423862 w 5243512"/>
                <a:gd name="connsiteY65" fmla="*/ 295275 h 1647825"/>
                <a:gd name="connsiteX66" fmla="*/ 423862 w 5243512"/>
                <a:gd name="connsiteY66" fmla="*/ 295275 h 1647825"/>
                <a:gd name="connsiteX67" fmla="*/ 390525 w 5243512"/>
                <a:gd name="connsiteY67" fmla="*/ 266700 h 1647825"/>
                <a:gd name="connsiteX68" fmla="*/ 342900 w 5243512"/>
                <a:gd name="connsiteY68" fmla="*/ 261937 h 1647825"/>
                <a:gd name="connsiteX69" fmla="*/ 357187 w 5243512"/>
                <a:gd name="connsiteY69" fmla="*/ 209550 h 1647825"/>
                <a:gd name="connsiteX70" fmla="*/ 280987 w 5243512"/>
                <a:gd name="connsiteY70" fmla="*/ 209550 h 1647825"/>
                <a:gd name="connsiteX71" fmla="*/ 276224 w 5243512"/>
                <a:gd name="connsiteY71" fmla="*/ 171450 h 1647825"/>
                <a:gd name="connsiteX72" fmla="*/ 238125 w 5243512"/>
                <a:gd name="connsiteY72" fmla="*/ 166687 h 1647825"/>
                <a:gd name="connsiteX73" fmla="*/ 233362 w 5243512"/>
                <a:gd name="connsiteY73" fmla="*/ 133350 h 1647825"/>
                <a:gd name="connsiteX74" fmla="*/ 166687 w 5243512"/>
                <a:gd name="connsiteY74" fmla="*/ 138112 h 1647825"/>
                <a:gd name="connsiteX75" fmla="*/ 171450 w 5243512"/>
                <a:gd name="connsiteY75" fmla="*/ 52387 h 1647825"/>
                <a:gd name="connsiteX76" fmla="*/ 71437 w 5243512"/>
                <a:gd name="connsiteY76" fmla="*/ 47625 h 1647825"/>
                <a:gd name="connsiteX77" fmla="*/ 76200 w 5243512"/>
                <a:gd name="connsiteY77" fmla="*/ 0 h 1647825"/>
                <a:gd name="connsiteX78" fmla="*/ 0 w 5243512"/>
                <a:gd name="connsiteY78" fmla="*/ 0 h 1647825"/>
                <a:gd name="connsiteX0" fmla="*/ 5243512 w 5243512"/>
                <a:gd name="connsiteY0" fmla="*/ 1638300 h 1647825"/>
                <a:gd name="connsiteX1" fmla="*/ 4333875 w 5243512"/>
                <a:gd name="connsiteY1" fmla="*/ 1647825 h 1647825"/>
                <a:gd name="connsiteX2" fmla="*/ 4333875 w 5243512"/>
                <a:gd name="connsiteY2" fmla="*/ 1581150 h 1647825"/>
                <a:gd name="connsiteX3" fmla="*/ 4062412 w 5243512"/>
                <a:gd name="connsiteY3" fmla="*/ 1581150 h 1647825"/>
                <a:gd name="connsiteX4" fmla="*/ 4062412 w 5243512"/>
                <a:gd name="connsiteY4" fmla="*/ 1509712 h 1647825"/>
                <a:gd name="connsiteX5" fmla="*/ 3705225 w 5243512"/>
                <a:gd name="connsiteY5" fmla="*/ 1509712 h 1647825"/>
                <a:gd name="connsiteX6" fmla="*/ 3709987 w 5243512"/>
                <a:gd name="connsiteY6" fmla="*/ 1462087 h 1647825"/>
                <a:gd name="connsiteX7" fmla="*/ 3267075 w 5243512"/>
                <a:gd name="connsiteY7" fmla="*/ 1462087 h 1647825"/>
                <a:gd name="connsiteX8" fmla="*/ 3267075 w 5243512"/>
                <a:gd name="connsiteY8" fmla="*/ 1428750 h 1647825"/>
                <a:gd name="connsiteX9" fmla="*/ 3009900 w 5243512"/>
                <a:gd name="connsiteY9" fmla="*/ 1423987 h 1647825"/>
                <a:gd name="connsiteX10" fmla="*/ 3014662 w 5243512"/>
                <a:gd name="connsiteY10" fmla="*/ 1376362 h 1647825"/>
                <a:gd name="connsiteX11" fmla="*/ 2857500 w 5243512"/>
                <a:gd name="connsiteY11" fmla="*/ 1381125 h 1647825"/>
                <a:gd name="connsiteX12" fmla="*/ 2862262 w 5243512"/>
                <a:gd name="connsiteY12" fmla="*/ 1333500 h 1647825"/>
                <a:gd name="connsiteX13" fmla="*/ 2800350 w 5243512"/>
                <a:gd name="connsiteY13" fmla="*/ 1328737 h 1647825"/>
                <a:gd name="connsiteX14" fmla="*/ 2805112 w 5243512"/>
                <a:gd name="connsiteY14" fmla="*/ 1300162 h 1647825"/>
                <a:gd name="connsiteX15" fmla="*/ 2605087 w 5243512"/>
                <a:gd name="connsiteY15" fmla="*/ 1314450 h 1647825"/>
                <a:gd name="connsiteX16" fmla="*/ 2605087 w 5243512"/>
                <a:gd name="connsiteY16" fmla="*/ 1271587 h 1647825"/>
                <a:gd name="connsiteX17" fmla="*/ 2462212 w 5243512"/>
                <a:gd name="connsiteY17" fmla="*/ 1271587 h 1647825"/>
                <a:gd name="connsiteX18" fmla="*/ 2462212 w 5243512"/>
                <a:gd name="connsiteY18" fmla="*/ 1252537 h 1647825"/>
                <a:gd name="connsiteX19" fmla="*/ 2262187 w 5243512"/>
                <a:gd name="connsiteY19" fmla="*/ 1252537 h 1647825"/>
                <a:gd name="connsiteX20" fmla="*/ 2266950 w 5243512"/>
                <a:gd name="connsiteY20" fmla="*/ 1204912 h 1647825"/>
                <a:gd name="connsiteX21" fmla="*/ 1966912 w 5243512"/>
                <a:gd name="connsiteY21" fmla="*/ 1204912 h 1647825"/>
                <a:gd name="connsiteX22" fmla="*/ 1962150 w 5243512"/>
                <a:gd name="connsiteY22" fmla="*/ 1162050 h 1647825"/>
                <a:gd name="connsiteX23" fmla="*/ 1809750 w 5243512"/>
                <a:gd name="connsiteY23" fmla="*/ 1157287 h 1647825"/>
                <a:gd name="connsiteX24" fmla="*/ 1809750 w 5243512"/>
                <a:gd name="connsiteY24" fmla="*/ 1157287 h 1647825"/>
                <a:gd name="connsiteX25" fmla="*/ 1809750 w 5243512"/>
                <a:gd name="connsiteY25" fmla="*/ 1133475 h 1647825"/>
                <a:gd name="connsiteX26" fmla="*/ 1714500 w 5243512"/>
                <a:gd name="connsiteY26" fmla="*/ 1133475 h 1647825"/>
                <a:gd name="connsiteX27" fmla="*/ 1704975 w 5243512"/>
                <a:gd name="connsiteY27" fmla="*/ 1095375 h 1647825"/>
                <a:gd name="connsiteX28" fmla="*/ 1590675 w 5243512"/>
                <a:gd name="connsiteY28" fmla="*/ 1095375 h 1647825"/>
                <a:gd name="connsiteX29" fmla="*/ 1595437 w 5243512"/>
                <a:gd name="connsiteY29" fmla="*/ 1062037 h 1647825"/>
                <a:gd name="connsiteX30" fmla="*/ 1428750 w 5243512"/>
                <a:gd name="connsiteY30" fmla="*/ 1057275 h 1647825"/>
                <a:gd name="connsiteX31" fmla="*/ 1428750 w 5243512"/>
                <a:gd name="connsiteY31" fmla="*/ 1057275 h 1647825"/>
                <a:gd name="connsiteX32" fmla="*/ 1438275 w 5243512"/>
                <a:gd name="connsiteY32" fmla="*/ 1033462 h 1647825"/>
                <a:gd name="connsiteX33" fmla="*/ 1323975 w 5243512"/>
                <a:gd name="connsiteY33" fmla="*/ 1038225 h 1647825"/>
                <a:gd name="connsiteX34" fmla="*/ 1333500 w 5243512"/>
                <a:gd name="connsiteY34" fmla="*/ 990600 h 1647825"/>
                <a:gd name="connsiteX35" fmla="*/ 1247775 w 5243512"/>
                <a:gd name="connsiteY35" fmla="*/ 995362 h 1647825"/>
                <a:gd name="connsiteX36" fmla="*/ 1247775 w 5243512"/>
                <a:gd name="connsiteY36" fmla="*/ 942975 h 1647825"/>
                <a:gd name="connsiteX37" fmla="*/ 1190625 w 5243512"/>
                <a:gd name="connsiteY37" fmla="*/ 947737 h 1647825"/>
                <a:gd name="connsiteX38" fmla="*/ 1200150 w 5243512"/>
                <a:gd name="connsiteY38" fmla="*/ 890587 h 1647825"/>
                <a:gd name="connsiteX39" fmla="*/ 1123950 w 5243512"/>
                <a:gd name="connsiteY39" fmla="*/ 881062 h 1647825"/>
                <a:gd name="connsiteX40" fmla="*/ 1114425 w 5243512"/>
                <a:gd name="connsiteY40" fmla="*/ 823912 h 1647825"/>
                <a:gd name="connsiteX41" fmla="*/ 1062037 w 5243512"/>
                <a:gd name="connsiteY41" fmla="*/ 823912 h 1647825"/>
                <a:gd name="connsiteX42" fmla="*/ 1062037 w 5243512"/>
                <a:gd name="connsiteY42" fmla="*/ 766762 h 1647825"/>
                <a:gd name="connsiteX43" fmla="*/ 1019175 w 5243512"/>
                <a:gd name="connsiteY43" fmla="*/ 766762 h 1647825"/>
                <a:gd name="connsiteX44" fmla="*/ 1033462 w 5243512"/>
                <a:gd name="connsiteY44" fmla="*/ 709612 h 1647825"/>
                <a:gd name="connsiteX45" fmla="*/ 947737 w 5243512"/>
                <a:gd name="connsiteY45" fmla="*/ 704850 h 1647825"/>
                <a:gd name="connsiteX46" fmla="*/ 947737 w 5243512"/>
                <a:gd name="connsiteY46" fmla="*/ 647700 h 1647825"/>
                <a:gd name="connsiteX47" fmla="*/ 909637 w 5243512"/>
                <a:gd name="connsiteY47" fmla="*/ 647700 h 1647825"/>
                <a:gd name="connsiteX48" fmla="*/ 923925 w 5243512"/>
                <a:gd name="connsiteY48" fmla="*/ 609600 h 1647825"/>
                <a:gd name="connsiteX49" fmla="*/ 852487 w 5243512"/>
                <a:gd name="connsiteY49" fmla="*/ 614362 h 1647825"/>
                <a:gd name="connsiteX50" fmla="*/ 852487 w 5243512"/>
                <a:gd name="connsiteY50" fmla="*/ 571500 h 1647825"/>
                <a:gd name="connsiteX51" fmla="*/ 781050 w 5243512"/>
                <a:gd name="connsiteY51" fmla="*/ 566737 h 1647825"/>
                <a:gd name="connsiteX52" fmla="*/ 781050 w 5243512"/>
                <a:gd name="connsiteY52" fmla="*/ 538162 h 1647825"/>
                <a:gd name="connsiteX53" fmla="*/ 728662 w 5243512"/>
                <a:gd name="connsiteY53" fmla="*/ 533400 h 1647825"/>
                <a:gd name="connsiteX54" fmla="*/ 728662 w 5243512"/>
                <a:gd name="connsiteY54" fmla="*/ 533400 h 1647825"/>
                <a:gd name="connsiteX55" fmla="*/ 647700 w 5243512"/>
                <a:gd name="connsiteY55" fmla="*/ 500062 h 1647825"/>
                <a:gd name="connsiteX56" fmla="*/ 647700 w 5243512"/>
                <a:gd name="connsiteY56" fmla="*/ 466725 h 1647825"/>
                <a:gd name="connsiteX57" fmla="*/ 581025 w 5243512"/>
                <a:gd name="connsiteY57" fmla="*/ 457200 h 1647825"/>
                <a:gd name="connsiteX58" fmla="*/ 581025 w 5243512"/>
                <a:gd name="connsiteY58" fmla="*/ 457200 h 1647825"/>
                <a:gd name="connsiteX59" fmla="*/ 533400 w 5243512"/>
                <a:gd name="connsiteY59" fmla="*/ 428625 h 1647825"/>
                <a:gd name="connsiteX60" fmla="*/ 538163 w 5243512"/>
                <a:gd name="connsiteY60" fmla="*/ 390524 h 1647825"/>
                <a:gd name="connsiteX61" fmla="*/ 466725 w 5243512"/>
                <a:gd name="connsiteY61" fmla="*/ 390525 h 1647825"/>
                <a:gd name="connsiteX62" fmla="*/ 466725 w 5243512"/>
                <a:gd name="connsiteY62" fmla="*/ 342900 h 1647825"/>
                <a:gd name="connsiteX63" fmla="*/ 423862 w 5243512"/>
                <a:gd name="connsiteY63" fmla="*/ 342900 h 1647825"/>
                <a:gd name="connsiteX64" fmla="*/ 423862 w 5243512"/>
                <a:gd name="connsiteY64" fmla="*/ 342900 h 1647825"/>
                <a:gd name="connsiteX65" fmla="*/ 423862 w 5243512"/>
                <a:gd name="connsiteY65" fmla="*/ 295275 h 1647825"/>
                <a:gd name="connsiteX66" fmla="*/ 423862 w 5243512"/>
                <a:gd name="connsiteY66" fmla="*/ 295275 h 1647825"/>
                <a:gd name="connsiteX67" fmla="*/ 381000 w 5243512"/>
                <a:gd name="connsiteY67" fmla="*/ 280987 h 1647825"/>
                <a:gd name="connsiteX68" fmla="*/ 342900 w 5243512"/>
                <a:gd name="connsiteY68" fmla="*/ 261937 h 1647825"/>
                <a:gd name="connsiteX69" fmla="*/ 357187 w 5243512"/>
                <a:gd name="connsiteY69" fmla="*/ 209550 h 1647825"/>
                <a:gd name="connsiteX70" fmla="*/ 280987 w 5243512"/>
                <a:gd name="connsiteY70" fmla="*/ 209550 h 1647825"/>
                <a:gd name="connsiteX71" fmla="*/ 276224 w 5243512"/>
                <a:gd name="connsiteY71" fmla="*/ 171450 h 1647825"/>
                <a:gd name="connsiteX72" fmla="*/ 238125 w 5243512"/>
                <a:gd name="connsiteY72" fmla="*/ 166687 h 1647825"/>
                <a:gd name="connsiteX73" fmla="*/ 233362 w 5243512"/>
                <a:gd name="connsiteY73" fmla="*/ 133350 h 1647825"/>
                <a:gd name="connsiteX74" fmla="*/ 166687 w 5243512"/>
                <a:gd name="connsiteY74" fmla="*/ 138112 h 1647825"/>
                <a:gd name="connsiteX75" fmla="*/ 171450 w 5243512"/>
                <a:gd name="connsiteY75" fmla="*/ 52387 h 1647825"/>
                <a:gd name="connsiteX76" fmla="*/ 71437 w 5243512"/>
                <a:gd name="connsiteY76" fmla="*/ 47625 h 1647825"/>
                <a:gd name="connsiteX77" fmla="*/ 76200 w 5243512"/>
                <a:gd name="connsiteY77" fmla="*/ 0 h 1647825"/>
                <a:gd name="connsiteX78" fmla="*/ 0 w 5243512"/>
                <a:gd name="connsiteY78" fmla="*/ 0 h 1647825"/>
                <a:gd name="connsiteX0" fmla="*/ 5243512 w 5243512"/>
                <a:gd name="connsiteY0" fmla="*/ 1638300 h 1647825"/>
                <a:gd name="connsiteX1" fmla="*/ 4333875 w 5243512"/>
                <a:gd name="connsiteY1" fmla="*/ 1647825 h 1647825"/>
                <a:gd name="connsiteX2" fmla="*/ 4333875 w 5243512"/>
                <a:gd name="connsiteY2" fmla="*/ 1581150 h 1647825"/>
                <a:gd name="connsiteX3" fmla="*/ 4062412 w 5243512"/>
                <a:gd name="connsiteY3" fmla="*/ 1581150 h 1647825"/>
                <a:gd name="connsiteX4" fmla="*/ 4062412 w 5243512"/>
                <a:gd name="connsiteY4" fmla="*/ 1509712 h 1647825"/>
                <a:gd name="connsiteX5" fmla="*/ 3705225 w 5243512"/>
                <a:gd name="connsiteY5" fmla="*/ 1509712 h 1647825"/>
                <a:gd name="connsiteX6" fmla="*/ 3709987 w 5243512"/>
                <a:gd name="connsiteY6" fmla="*/ 1462087 h 1647825"/>
                <a:gd name="connsiteX7" fmla="*/ 3267075 w 5243512"/>
                <a:gd name="connsiteY7" fmla="*/ 1462087 h 1647825"/>
                <a:gd name="connsiteX8" fmla="*/ 3267075 w 5243512"/>
                <a:gd name="connsiteY8" fmla="*/ 1428750 h 1647825"/>
                <a:gd name="connsiteX9" fmla="*/ 3009900 w 5243512"/>
                <a:gd name="connsiteY9" fmla="*/ 1423987 h 1647825"/>
                <a:gd name="connsiteX10" fmla="*/ 3014662 w 5243512"/>
                <a:gd name="connsiteY10" fmla="*/ 1376362 h 1647825"/>
                <a:gd name="connsiteX11" fmla="*/ 2857500 w 5243512"/>
                <a:gd name="connsiteY11" fmla="*/ 1381125 h 1647825"/>
                <a:gd name="connsiteX12" fmla="*/ 2862262 w 5243512"/>
                <a:gd name="connsiteY12" fmla="*/ 1333500 h 1647825"/>
                <a:gd name="connsiteX13" fmla="*/ 2800350 w 5243512"/>
                <a:gd name="connsiteY13" fmla="*/ 1328737 h 1647825"/>
                <a:gd name="connsiteX14" fmla="*/ 2805112 w 5243512"/>
                <a:gd name="connsiteY14" fmla="*/ 1300162 h 1647825"/>
                <a:gd name="connsiteX15" fmla="*/ 2605087 w 5243512"/>
                <a:gd name="connsiteY15" fmla="*/ 1314450 h 1647825"/>
                <a:gd name="connsiteX16" fmla="*/ 2605087 w 5243512"/>
                <a:gd name="connsiteY16" fmla="*/ 1271587 h 1647825"/>
                <a:gd name="connsiteX17" fmla="*/ 2462212 w 5243512"/>
                <a:gd name="connsiteY17" fmla="*/ 1271587 h 1647825"/>
                <a:gd name="connsiteX18" fmla="*/ 2462212 w 5243512"/>
                <a:gd name="connsiteY18" fmla="*/ 1252537 h 1647825"/>
                <a:gd name="connsiteX19" fmla="*/ 2262187 w 5243512"/>
                <a:gd name="connsiteY19" fmla="*/ 1252537 h 1647825"/>
                <a:gd name="connsiteX20" fmla="*/ 2266950 w 5243512"/>
                <a:gd name="connsiteY20" fmla="*/ 1204912 h 1647825"/>
                <a:gd name="connsiteX21" fmla="*/ 1966912 w 5243512"/>
                <a:gd name="connsiteY21" fmla="*/ 1204912 h 1647825"/>
                <a:gd name="connsiteX22" fmla="*/ 1962150 w 5243512"/>
                <a:gd name="connsiteY22" fmla="*/ 1162050 h 1647825"/>
                <a:gd name="connsiteX23" fmla="*/ 1809750 w 5243512"/>
                <a:gd name="connsiteY23" fmla="*/ 1157287 h 1647825"/>
                <a:gd name="connsiteX24" fmla="*/ 1809750 w 5243512"/>
                <a:gd name="connsiteY24" fmla="*/ 1157287 h 1647825"/>
                <a:gd name="connsiteX25" fmla="*/ 1809750 w 5243512"/>
                <a:gd name="connsiteY25" fmla="*/ 1133475 h 1647825"/>
                <a:gd name="connsiteX26" fmla="*/ 1714500 w 5243512"/>
                <a:gd name="connsiteY26" fmla="*/ 1133475 h 1647825"/>
                <a:gd name="connsiteX27" fmla="*/ 1704975 w 5243512"/>
                <a:gd name="connsiteY27" fmla="*/ 1095375 h 1647825"/>
                <a:gd name="connsiteX28" fmla="*/ 1590675 w 5243512"/>
                <a:gd name="connsiteY28" fmla="*/ 1095375 h 1647825"/>
                <a:gd name="connsiteX29" fmla="*/ 1595437 w 5243512"/>
                <a:gd name="connsiteY29" fmla="*/ 1062037 h 1647825"/>
                <a:gd name="connsiteX30" fmla="*/ 1428750 w 5243512"/>
                <a:gd name="connsiteY30" fmla="*/ 1057275 h 1647825"/>
                <a:gd name="connsiteX31" fmla="*/ 1428750 w 5243512"/>
                <a:gd name="connsiteY31" fmla="*/ 1057275 h 1647825"/>
                <a:gd name="connsiteX32" fmla="*/ 1438275 w 5243512"/>
                <a:gd name="connsiteY32" fmla="*/ 1033462 h 1647825"/>
                <a:gd name="connsiteX33" fmla="*/ 1323975 w 5243512"/>
                <a:gd name="connsiteY33" fmla="*/ 1038225 h 1647825"/>
                <a:gd name="connsiteX34" fmla="*/ 1333500 w 5243512"/>
                <a:gd name="connsiteY34" fmla="*/ 990600 h 1647825"/>
                <a:gd name="connsiteX35" fmla="*/ 1247775 w 5243512"/>
                <a:gd name="connsiteY35" fmla="*/ 995362 h 1647825"/>
                <a:gd name="connsiteX36" fmla="*/ 1247775 w 5243512"/>
                <a:gd name="connsiteY36" fmla="*/ 942975 h 1647825"/>
                <a:gd name="connsiteX37" fmla="*/ 1190625 w 5243512"/>
                <a:gd name="connsiteY37" fmla="*/ 947737 h 1647825"/>
                <a:gd name="connsiteX38" fmla="*/ 1200150 w 5243512"/>
                <a:gd name="connsiteY38" fmla="*/ 890587 h 1647825"/>
                <a:gd name="connsiteX39" fmla="*/ 1123950 w 5243512"/>
                <a:gd name="connsiteY39" fmla="*/ 881062 h 1647825"/>
                <a:gd name="connsiteX40" fmla="*/ 1114425 w 5243512"/>
                <a:gd name="connsiteY40" fmla="*/ 823912 h 1647825"/>
                <a:gd name="connsiteX41" fmla="*/ 1062037 w 5243512"/>
                <a:gd name="connsiteY41" fmla="*/ 823912 h 1647825"/>
                <a:gd name="connsiteX42" fmla="*/ 1062037 w 5243512"/>
                <a:gd name="connsiteY42" fmla="*/ 766762 h 1647825"/>
                <a:gd name="connsiteX43" fmla="*/ 1019175 w 5243512"/>
                <a:gd name="connsiteY43" fmla="*/ 766762 h 1647825"/>
                <a:gd name="connsiteX44" fmla="*/ 1033462 w 5243512"/>
                <a:gd name="connsiteY44" fmla="*/ 709612 h 1647825"/>
                <a:gd name="connsiteX45" fmla="*/ 947737 w 5243512"/>
                <a:gd name="connsiteY45" fmla="*/ 704850 h 1647825"/>
                <a:gd name="connsiteX46" fmla="*/ 947737 w 5243512"/>
                <a:gd name="connsiteY46" fmla="*/ 647700 h 1647825"/>
                <a:gd name="connsiteX47" fmla="*/ 909637 w 5243512"/>
                <a:gd name="connsiteY47" fmla="*/ 647700 h 1647825"/>
                <a:gd name="connsiteX48" fmla="*/ 923925 w 5243512"/>
                <a:gd name="connsiteY48" fmla="*/ 609600 h 1647825"/>
                <a:gd name="connsiteX49" fmla="*/ 852487 w 5243512"/>
                <a:gd name="connsiteY49" fmla="*/ 614362 h 1647825"/>
                <a:gd name="connsiteX50" fmla="*/ 852487 w 5243512"/>
                <a:gd name="connsiteY50" fmla="*/ 571500 h 1647825"/>
                <a:gd name="connsiteX51" fmla="*/ 781050 w 5243512"/>
                <a:gd name="connsiteY51" fmla="*/ 566737 h 1647825"/>
                <a:gd name="connsiteX52" fmla="*/ 781050 w 5243512"/>
                <a:gd name="connsiteY52" fmla="*/ 538162 h 1647825"/>
                <a:gd name="connsiteX53" fmla="*/ 728662 w 5243512"/>
                <a:gd name="connsiteY53" fmla="*/ 533400 h 1647825"/>
                <a:gd name="connsiteX54" fmla="*/ 728662 w 5243512"/>
                <a:gd name="connsiteY54" fmla="*/ 533400 h 1647825"/>
                <a:gd name="connsiteX55" fmla="*/ 647700 w 5243512"/>
                <a:gd name="connsiteY55" fmla="*/ 500062 h 1647825"/>
                <a:gd name="connsiteX56" fmla="*/ 647700 w 5243512"/>
                <a:gd name="connsiteY56" fmla="*/ 466725 h 1647825"/>
                <a:gd name="connsiteX57" fmla="*/ 581025 w 5243512"/>
                <a:gd name="connsiteY57" fmla="*/ 457200 h 1647825"/>
                <a:gd name="connsiteX58" fmla="*/ 581025 w 5243512"/>
                <a:gd name="connsiteY58" fmla="*/ 457200 h 1647825"/>
                <a:gd name="connsiteX59" fmla="*/ 533400 w 5243512"/>
                <a:gd name="connsiteY59" fmla="*/ 428625 h 1647825"/>
                <a:gd name="connsiteX60" fmla="*/ 538163 w 5243512"/>
                <a:gd name="connsiteY60" fmla="*/ 390524 h 1647825"/>
                <a:gd name="connsiteX61" fmla="*/ 466725 w 5243512"/>
                <a:gd name="connsiteY61" fmla="*/ 390525 h 1647825"/>
                <a:gd name="connsiteX62" fmla="*/ 466725 w 5243512"/>
                <a:gd name="connsiteY62" fmla="*/ 342900 h 1647825"/>
                <a:gd name="connsiteX63" fmla="*/ 423862 w 5243512"/>
                <a:gd name="connsiteY63" fmla="*/ 342900 h 1647825"/>
                <a:gd name="connsiteX64" fmla="*/ 423862 w 5243512"/>
                <a:gd name="connsiteY64" fmla="*/ 342900 h 1647825"/>
                <a:gd name="connsiteX65" fmla="*/ 423862 w 5243512"/>
                <a:gd name="connsiteY65" fmla="*/ 295275 h 1647825"/>
                <a:gd name="connsiteX66" fmla="*/ 371474 w 5243512"/>
                <a:gd name="connsiteY66" fmla="*/ 300038 h 1647825"/>
                <a:gd name="connsiteX67" fmla="*/ 381000 w 5243512"/>
                <a:gd name="connsiteY67" fmla="*/ 280987 h 1647825"/>
                <a:gd name="connsiteX68" fmla="*/ 342900 w 5243512"/>
                <a:gd name="connsiteY68" fmla="*/ 261937 h 1647825"/>
                <a:gd name="connsiteX69" fmla="*/ 357187 w 5243512"/>
                <a:gd name="connsiteY69" fmla="*/ 209550 h 1647825"/>
                <a:gd name="connsiteX70" fmla="*/ 280987 w 5243512"/>
                <a:gd name="connsiteY70" fmla="*/ 209550 h 1647825"/>
                <a:gd name="connsiteX71" fmla="*/ 276224 w 5243512"/>
                <a:gd name="connsiteY71" fmla="*/ 171450 h 1647825"/>
                <a:gd name="connsiteX72" fmla="*/ 238125 w 5243512"/>
                <a:gd name="connsiteY72" fmla="*/ 166687 h 1647825"/>
                <a:gd name="connsiteX73" fmla="*/ 233362 w 5243512"/>
                <a:gd name="connsiteY73" fmla="*/ 133350 h 1647825"/>
                <a:gd name="connsiteX74" fmla="*/ 166687 w 5243512"/>
                <a:gd name="connsiteY74" fmla="*/ 138112 h 1647825"/>
                <a:gd name="connsiteX75" fmla="*/ 171450 w 5243512"/>
                <a:gd name="connsiteY75" fmla="*/ 52387 h 1647825"/>
                <a:gd name="connsiteX76" fmla="*/ 71437 w 5243512"/>
                <a:gd name="connsiteY76" fmla="*/ 47625 h 1647825"/>
                <a:gd name="connsiteX77" fmla="*/ 76200 w 5243512"/>
                <a:gd name="connsiteY77" fmla="*/ 0 h 1647825"/>
                <a:gd name="connsiteX78" fmla="*/ 0 w 5243512"/>
                <a:gd name="connsiteY78" fmla="*/ 0 h 1647825"/>
                <a:gd name="connsiteX0" fmla="*/ 5243512 w 5243512"/>
                <a:gd name="connsiteY0" fmla="*/ 1638300 h 1647825"/>
                <a:gd name="connsiteX1" fmla="*/ 4333875 w 5243512"/>
                <a:gd name="connsiteY1" fmla="*/ 1647825 h 1647825"/>
                <a:gd name="connsiteX2" fmla="*/ 4333875 w 5243512"/>
                <a:gd name="connsiteY2" fmla="*/ 1581150 h 1647825"/>
                <a:gd name="connsiteX3" fmla="*/ 4062412 w 5243512"/>
                <a:gd name="connsiteY3" fmla="*/ 1581150 h 1647825"/>
                <a:gd name="connsiteX4" fmla="*/ 4062412 w 5243512"/>
                <a:gd name="connsiteY4" fmla="*/ 1509712 h 1647825"/>
                <a:gd name="connsiteX5" fmla="*/ 3705225 w 5243512"/>
                <a:gd name="connsiteY5" fmla="*/ 1509712 h 1647825"/>
                <a:gd name="connsiteX6" fmla="*/ 3709987 w 5243512"/>
                <a:gd name="connsiteY6" fmla="*/ 1462087 h 1647825"/>
                <a:gd name="connsiteX7" fmla="*/ 3267075 w 5243512"/>
                <a:gd name="connsiteY7" fmla="*/ 1462087 h 1647825"/>
                <a:gd name="connsiteX8" fmla="*/ 3267075 w 5243512"/>
                <a:gd name="connsiteY8" fmla="*/ 1428750 h 1647825"/>
                <a:gd name="connsiteX9" fmla="*/ 3009900 w 5243512"/>
                <a:gd name="connsiteY9" fmla="*/ 1423987 h 1647825"/>
                <a:gd name="connsiteX10" fmla="*/ 3014662 w 5243512"/>
                <a:gd name="connsiteY10" fmla="*/ 1376362 h 1647825"/>
                <a:gd name="connsiteX11" fmla="*/ 2857500 w 5243512"/>
                <a:gd name="connsiteY11" fmla="*/ 1381125 h 1647825"/>
                <a:gd name="connsiteX12" fmla="*/ 2862262 w 5243512"/>
                <a:gd name="connsiteY12" fmla="*/ 1333500 h 1647825"/>
                <a:gd name="connsiteX13" fmla="*/ 2800350 w 5243512"/>
                <a:gd name="connsiteY13" fmla="*/ 1328737 h 1647825"/>
                <a:gd name="connsiteX14" fmla="*/ 2805112 w 5243512"/>
                <a:gd name="connsiteY14" fmla="*/ 1300162 h 1647825"/>
                <a:gd name="connsiteX15" fmla="*/ 2605087 w 5243512"/>
                <a:gd name="connsiteY15" fmla="*/ 1314450 h 1647825"/>
                <a:gd name="connsiteX16" fmla="*/ 2605087 w 5243512"/>
                <a:gd name="connsiteY16" fmla="*/ 1271587 h 1647825"/>
                <a:gd name="connsiteX17" fmla="*/ 2462212 w 5243512"/>
                <a:gd name="connsiteY17" fmla="*/ 1271587 h 1647825"/>
                <a:gd name="connsiteX18" fmla="*/ 2462212 w 5243512"/>
                <a:gd name="connsiteY18" fmla="*/ 1252537 h 1647825"/>
                <a:gd name="connsiteX19" fmla="*/ 2262187 w 5243512"/>
                <a:gd name="connsiteY19" fmla="*/ 1252537 h 1647825"/>
                <a:gd name="connsiteX20" fmla="*/ 2266950 w 5243512"/>
                <a:gd name="connsiteY20" fmla="*/ 1204912 h 1647825"/>
                <a:gd name="connsiteX21" fmla="*/ 1966912 w 5243512"/>
                <a:gd name="connsiteY21" fmla="*/ 1204912 h 1647825"/>
                <a:gd name="connsiteX22" fmla="*/ 1962150 w 5243512"/>
                <a:gd name="connsiteY22" fmla="*/ 1162050 h 1647825"/>
                <a:gd name="connsiteX23" fmla="*/ 1809750 w 5243512"/>
                <a:gd name="connsiteY23" fmla="*/ 1157287 h 1647825"/>
                <a:gd name="connsiteX24" fmla="*/ 1809750 w 5243512"/>
                <a:gd name="connsiteY24" fmla="*/ 1157287 h 1647825"/>
                <a:gd name="connsiteX25" fmla="*/ 1809750 w 5243512"/>
                <a:gd name="connsiteY25" fmla="*/ 1133475 h 1647825"/>
                <a:gd name="connsiteX26" fmla="*/ 1714500 w 5243512"/>
                <a:gd name="connsiteY26" fmla="*/ 1133475 h 1647825"/>
                <a:gd name="connsiteX27" fmla="*/ 1704975 w 5243512"/>
                <a:gd name="connsiteY27" fmla="*/ 1095375 h 1647825"/>
                <a:gd name="connsiteX28" fmla="*/ 1590675 w 5243512"/>
                <a:gd name="connsiteY28" fmla="*/ 1095375 h 1647825"/>
                <a:gd name="connsiteX29" fmla="*/ 1595437 w 5243512"/>
                <a:gd name="connsiteY29" fmla="*/ 1062037 h 1647825"/>
                <a:gd name="connsiteX30" fmla="*/ 1428750 w 5243512"/>
                <a:gd name="connsiteY30" fmla="*/ 1057275 h 1647825"/>
                <a:gd name="connsiteX31" fmla="*/ 1428750 w 5243512"/>
                <a:gd name="connsiteY31" fmla="*/ 1057275 h 1647825"/>
                <a:gd name="connsiteX32" fmla="*/ 1438275 w 5243512"/>
                <a:gd name="connsiteY32" fmla="*/ 1033462 h 1647825"/>
                <a:gd name="connsiteX33" fmla="*/ 1323975 w 5243512"/>
                <a:gd name="connsiteY33" fmla="*/ 1038225 h 1647825"/>
                <a:gd name="connsiteX34" fmla="*/ 1333500 w 5243512"/>
                <a:gd name="connsiteY34" fmla="*/ 990600 h 1647825"/>
                <a:gd name="connsiteX35" fmla="*/ 1247775 w 5243512"/>
                <a:gd name="connsiteY35" fmla="*/ 995362 h 1647825"/>
                <a:gd name="connsiteX36" fmla="*/ 1247775 w 5243512"/>
                <a:gd name="connsiteY36" fmla="*/ 942975 h 1647825"/>
                <a:gd name="connsiteX37" fmla="*/ 1190625 w 5243512"/>
                <a:gd name="connsiteY37" fmla="*/ 947737 h 1647825"/>
                <a:gd name="connsiteX38" fmla="*/ 1200150 w 5243512"/>
                <a:gd name="connsiteY38" fmla="*/ 890587 h 1647825"/>
                <a:gd name="connsiteX39" fmla="*/ 1123950 w 5243512"/>
                <a:gd name="connsiteY39" fmla="*/ 881062 h 1647825"/>
                <a:gd name="connsiteX40" fmla="*/ 1114425 w 5243512"/>
                <a:gd name="connsiteY40" fmla="*/ 823912 h 1647825"/>
                <a:gd name="connsiteX41" fmla="*/ 1062037 w 5243512"/>
                <a:gd name="connsiteY41" fmla="*/ 823912 h 1647825"/>
                <a:gd name="connsiteX42" fmla="*/ 1062037 w 5243512"/>
                <a:gd name="connsiteY42" fmla="*/ 766762 h 1647825"/>
                <a:gd name="connsiteX43" fmla="*/ 1019175 w 5243512"/>
                <a:gd name="connsiteY43" fmla="*/ 766762 h 1647825"/>
                <a:gd name="connsiteX44" fmla="*/ 1033462 w 5243512"/>
                <a:gd name="connsiteY44" fmla="*/ 709612 h 1647825"/>
                <a:gd name="connsiteX45" fmla="*/ 947737 w 5243512"/>
                <a:gd name="connsiteY45" fmla="*/ 704850 h 1647825"/>
                <a:gd name="connsiteX46" fmla="*/ 947737 w 5243512"/>
                <a:gd name="connsiteY46" fmla="*/ 647700 h 1647825"/>
                <a:gd name="connsiteX47" fmla="*/ 909637 w 5243512"/>
                <a:gd name="connsiteY47" fmla="*/ 647700 h 1647825"/>
                <a:gd name="connsiteX48" fmla="*/ 923925 w 5243512"/>
                <a:gd name="connsiteY48" fmla="*/ 609600 h 1647825"/>
                <a:gd name="connsiteX49" fmla="*/ 852487 w 5243512"/>
                <a:gd name="connsiteY49" fmla="*/ 614362 h 1647825"/>
                <a:gd name="connsiteX50" fmla="*/ 852487 w 5243512"/>
                <a:gd name="connsiteY50" fmla="*/ 571500 h 1647825"/>
                <a:gd name="connsiteX51" fmla="*/ 781050 w 5243512"/>
                <a:gd name="connsiteY51" fmla="*/ 566737 h 1647825"/>
                <a:gd name="connsiteX52" fmla="*/ 781050 w 5243512"/>
                <a:gd name="connsiteY52" fmla="*/ 538162 h 1647825"/>
                <a:gd name="connsiteX53" fmla="*/ 728662 w 5243512"/>
                <a:gd name="connsiteY53" fmla="*/ 533400 h 1647825"/>
                <a:gd name="connsiteX54" fmla="*/ 728662 w 5243512"/>
                <a:gd name="connsiteY54" fmla="*/ 533400 h 1647825"/>
                <a:gd name="connsiteX55" fmla="*/ 647700 w 5243512"/>
                <a:gd name="connsiteY55" fmla="*/ 500062 h 1647825"/>
                <a:gd name="connsiteX56" fmla="*/ 647700 w 5243512"/>
                <a:gd name="connsiteY56" fmla="*/ 466725 h 1647825"/>
                <a:gd name="connsiteX57" fmla="*/ 581025 w 5243512"/>
                <a:gd name="connsiteY57" fmla="*/ 457200 h 1647825"/>
                <a:gd name="connsiteX58" fmla="*/ 581025 w 5243512"/>
                <a:gd name="connsiteY58" fmla="*/ 457200 h 1647825"/>
                <a:gd name="connsiteX59" fmla="*/ 533400 w 5243512"/>
                <a:gd name="connsiteY59" fmla="*/ 428625 h 1647825"/>
                <a:gd name="connsiteX60" fmla="*/ 538163 w 5243512"/>
                <a:gd name="connsiteY60" fmla="*/ 390524 h 1647825"/>
                <a:gd name="connsiteX61" fmla="*/ 466725 w 5243512"/>
                <a:gd name="connsiteY61" fmla="*/ 390525 h 1647825"/>
                <a:gd name="connsiteX62" fmla="*/ 466725 w 5243512"/>
                <a:gd name="connsiteY62" fmla="*/ 342900 h 1647825"/>
                <a:gd name="connsiteX63" fmla="*/ 423862 w 5243512"/>
                <a:gd name="connsiteY63" fmla="*/ 342900 h 1647825"/>
                <a:gd name="connsiteX64" fmla="*/ 423862 w 5243512"/>
                <a:gd name="connsiteY64" fmla="*/ 342900 h 1647825"/>
                <a:gd name="connsiteX65" fmla="*/ 423862 w 5243512"/>
                <a:gd name="connsiteY65" fmla="*/ 295275 h 1647825"/>
                <a:gd name="connsiteX66" fmla="*/ 371474 w 5243512"/>
                <a:gd name="connsiteY66" fmla="*/ 300038 h 1647825"/>
                <a:gd name="connsiteX67" fmla="*/ 385762 w 5243512"/>
                <a:gd name="connsiteY67" fmla="*/ 266699 h 1647825"/>
                <a:gd name="connsiteX68" fmla="*/ 342900 w 5243512"/>
                <a:gd name="connsiteY68" fmla="*/ 261937 h 1647825"/>
                <a:gd name="connsiteX69" fmla="*/ 357187 w 5243512"/>
                <a:gd name="connsiteY69" fmla="*/ 209550 h 1647825"/>
                <a:gd name="connsiteX70" fmla="*/ 280987 w 5243512"/>
                <a:gd name="connsiteY70" fmla="*/ 209550 h 1647825"/>
                <a:gd name="connsiteX71" fmla="*/ 276224 w 5243512"/>
                <a:gd name="connsiteY71" fmla="*/ 171450 h 1647825"/>
                <a:gd name="connsiteX72" fmla="*/ 238125 w 5243512"/>
                <a:gd name="connsiteY72" fmla="*/ 166687 h 1647825"/>
                <a:gd name="connsiteX73" fmla="*/ 233362 w 5243512"/>
                <a:gd name="connsiteY73" fmla="*/ 133350 h 1647825"/>
                <a:gd name="connsiteX74" fmla="*/ 166687 w 5243512"/>
                <a:gd name="connsiteY74" fmla="*/ 138112 h 1647825"/>
                <a:gd name="connsiteX75" fmla="*/ 171450 w 5243512"/>
                <a:gd name="connsiteY75" fmla="*/ 52387 h 1647825"/>
                <a:gd name="connsiteX76" fmla="*/ 71437 w 5243512"/>
                <a:gd name="connsiteY76" fmla="*/ 47625 h 1647825"/>
                <a:gd name="connsiteX77" fmla="*/ 76200 w 5243512"/>
                <a:gd name="connsiteY77" fmla="*/ 0 h 1647825"/>
                <a:gd name="connsiteX78" fmla="*/ 0 w 5243512"/>
                <a:gd name="connsiteY78" fmla="*/ 0 h 1647825"/>
                <a:gd name="connsiteX0" fmla="*/ 5243512 w 5243512"/>
                <a:gd name="connsiteY0" fmla="*/ 1638300 h 1647825"/>
                <a:gd name="connsiteX1" fmla="*/ 4333875 w 5243512"/>
                <a:gd name="connsiteY1" fmla="*/ 1647825 h 1647825"/>
                <a:gd name="connsiteX2" fmla="*/ 4333875 w 5243512"/>
                <a:gd name="connsiteY2" fmla="*/ 1581150 h 1647825"/>
                <a:gd name="connsiteX3" fmla="*/ 4062412 w 5243512"/>
                <a:gd name="connsiteY3" fmla="*/ 1581150 h 1647825"/>
                <a:gd name="connsiteX4" fmla="*/ 4062412 w 5243512"/>
                <a:gd name="connsiteY4" fmla="*/ 1509712 h 1647825"/>
                <a:gd name="connsiteX5" fmla="*/ 3705225 w 5243512"/>
                <a:gd name="connsiteY5" fmla="*/ 1509712 h 1647825"/>
                <a:gd name="connsiteX6" fmla="*/ 3709987 w 5243512"/>
                <a:gd name="connsiteY6" fmla="*/ 1462087 h 1647825"/>
                <a:gd name="connsiteX7" fmla="*/ 3267075 w 5243512"/>
                <a:gd name="connsiteY7" fmla="*/ 1462087 h 1647825"/>
                <a:gd name="connsiteX8" fmla="*/ 3267075 w 5243512"/>
                <a:gd name="connsiteY8" fmla="*/ 1428750 h 1647825"/>
                <a:gd name="connsiteX9" fmla="*/ 3009900 w 5243512"/>
                <a:gd name="connsiteY9" fmla="*/ 1423987 h 1647825"/>
                <a:gd name="connsiteX10" fmla="*/ 3014662 w 5243512"/>
                <a:gd name="connsiteY10" fmla="*/ 1376362 h 1647825"/>
                <a:gd name="connsiteX11" fmla="*/ 2857500 w 5243512"/>
                <a:gd name="connsiteY11" fmla="*/ 1381125 h 1647825"/>
                <a:gd name="connsiteX12" fmla="*/ 2862262 w 5243512"/>
                <a:gd name="connsiteY12" fmla="*/ 1333500 h 1647825"/>
                <a:gd name="connsiteX13" fmla="*/ 2800350 w 5243512"/>
                <a:gd name="connsiteY13" fmla="*/ 1328737 h 1647825"/>
                <a:gd name="connsiteX14" fmla="*/ 2805112 w 5243512"/>
                <a:gd name="connsiteY14" fmla="*/ 1300162 h 1647825"/>
                <a:gd name="connsiteX15" fmla="*/ 2605087 w 5243512"/>
                <a:gd name="connsiteY15" fmla="*/ 1314450 h 1647825"/>
                <a:gd name="connsiteX16" fmla="*/ 2605087 w 5243512"/>
                <a:gd name="connsiteY16" fmla="*/ 1271587 h 1647825"/>
                <a:gd name="connsiteX17" fmla="*/ 2462212 w 5243512"/>
                <a:gd name="connsiteY17" fmla="*/ 1271587 h 1647825"/>
                <a:gd name="connsiteX18" fmla="*/ 2462212 w 5243512"/>
                <a:gd name="connsiteY18" fmla="*/ 1252537 h 1647825"/>
                <a:gd name="connsiteX19" fmla="*/ 2262187 w 5243512"/>
                <a:gd name="connsiteY19" fmla="*/ 1252537 h 1647825"/>
                <a:gd name="connsiteX20" fmla="*/ 2266950 w 5243512"/>
                <a:gd name="connsiteY20" fmla="*/ 1204912 h 1647825"/>
                <a:gd name="connsiteX21" fmla="*/ 1966912 w 5243512"/>
                <a:gd name="connsiteY21" fmla="*/ 1204912 h 1647825"/>
                <a:gd name="connsiteX22" fmla="*/ 1962150 w 5243512"/>
                <a:gd name="connsiteY22" fmla="*/ 1162050 h 1647825"/>
                <a:gd name="connsiteX23" fmla="*/ 1809750 w 5243512"/>
                <a:gd name="connsiteY23" fmla="*/ 1157287 h 1647825"/>
                <a:gd name="connsiteX24" fmla="*/ 1809750 w 5243512"/>
                <a:gd name="connsiteY24" fmla="*/ 1157287 h 1647825"/>
                <a:gd name="connsiteX25" fmla="*/ 1809750 w 5243512"/>
                <a:gd name="connsiteY25" fmla="*/ 1133475 h 1647825"/>
                <a:gd name="connsiteX26" fmla="*/ 1714500 w 5243512"/>
                <a:gd name="connsiteY26" fmla="*/ 1133475 h 1647825"/>
                <a:gd name="connsiteX27" fmla="*/ 1704975 w 5243512"/>
                <a:gd name="connsiteY27" fmla="*/ 1095375 h 1647825"/>
                <a:gd name="connsiteX28" fmla="*/ 1590675 w 5243512"/>
                <a:gd name="connsiteY28" fmla="*/ 1095375 h 1647825"/>
                <a:gd name="connsiteX29" fmla="*/ 1595437 w 5243512"/>
                <a:gd name="connsiteY29" fmla="*/ 1062037 h 1647825"/>
                <a:gd name="connsiteX30" fmla="*/ 1428750 w 5243512"/>
                <a:gd name="connsiteY30" fmla="*/ 1057275 h 1647825"/>
                <a:gd name="connsiteX31" fmla="*/ 1428750 w 5243512"/>
                <a:gd name="connsiteY31" fmla="*/ 1057275 h 1647825"/>
                <a:gd name="connsiteX32" fmla="*/ 1438275 w 5243512"/>
                <a:gd name="connsiteY32" fmla="*/ 1033462 h 1647825"/>
                <a:gd name="connsiteX33" fmla="*/ 1323975 w 5243512"/>
                <a:gd name="connsiteY33" fmla="*/ 1038225 h 1647825"/>
                <a:gd name="connsiteX34" fmla="*/ 1333500 w 5243512"/>
                <a:gd name="connsiteY34" fmla="*/ 990600 h 1647825"/>
                <a:gd name="connsiteX35" fmla="*/ 1247775 w 5243512"/>
                <a:gd name="connsiteY35" fmla="*/ 995362 h 1647825"/>
                <a:gd name="connsiteX36" fmla="*/ 1247775 w 5243512"/>
                <a:gd name="connsiteY36" fmla="*/ 942975 h 1647825"/>
                <a:gd name="connsiteX37" fmla="*/ 1190625 w 5243512"/>
                <a:gd name="connsiteY37" fmla="*/ 947737 h 1647825"/>
                <a:gd name="connsiteX38" fmla="*/ 1200150 w 5243512"/>
                <a:gd name="connsiteY38" fmla="*/ 890587 h 1647825"/>
                <a:gd name="connsiteX39" fmla="*/ 1123950 w 5243512"/>
                <a:gd name="connsiteY39" fmla="*/ 881062 h 1647825"/>
                <a:gd name="connsiteX40" fmla="*/ 1114425 w 5243512"/>
                <a:gd name="connsiteY40" fmla="*/ 823912 h 1647825"/>
                <a:gd name="connsiteX41" fmla="*/ 1062037 w 5243512"/>
                <a:gd name="connsiteY41" fmla="*/ 823912 h 1647825"/>
                <a:gd name="connsiteX42" fmla="*/ 1062037 w 5243512"/>
                <a:gd name="connsiteY42" fmla="*/ 766762 h 1647825"/>
                <a:gd name="connsiteX43" fmla="*/ 1019175 w 5243512"/>
                <a:gd name="connsiteY43" fmla="*/ 766762 h 1647825"/>
                <a:gd name="connsiteX44" fmla="*/ 1033462 w 5243512"/>
                <a:gd name="connsiteY44" fmla="*/ 709612 h 1647825"/>
                <a:gd name="connsiteX45" fmla="*/ 947737 w 5243512"/>
                <a:gd name="connsiteY45" fmla="*/ 704850 h 1647825"/>
                <a:gd name="connsiteX46" fmla="*/ 947737 w 5243512"/>
                <a:gd name="connsiteY46" fmla="*/ 647700 h 1647825"/>
                <a:gd name="connsiteX47" fmla="*/ 909637 w 5243512"/>
                <a:gd name="connsiteY47" fmla="*/ 647700 h 1647825"/>
                <a:gd name="connsiteX48" fmla="*/ 923925 w 5243512"/>
                <a:gd name="connsiteY48" fmla="*/ 609600 h 1647825"/>
                <a:gd name="connsiteX49" fmla="*/ 852487 w 5243512"/>
                <a:gd name="connsiteY49" fmla="*/ 614362 h 1647825"/>
                <a:gd name="connsiteX50" fmla="*/ 852487 w 5243512"/>
                <a:gd name="connsiteY50" fmla="*/ 571500 h 1647825"/>
                <a:gd name="connsiteX51" fmla="*/ 781050 w 5243512"/>
                <a:gd name="connsiteY51" fmla="*/ 566737 h 1647825"/>
                <a:gd name="connsiteX52" fmla="*/ 781050 w 5243512"/>
                <a:gd name="connsiteY52" fmla="*/ 538162 h 1647825"/>
                <a:gd name="connsiteX53" fmla="*/ 728662 w 5243512"/>
                <a:gd name="connsiteY53" fmla="*/ 533400 h 1647825"/>
                <a:gd name="connsiteX54" fmla="*/ 728662 w 5243512"/>
                <a:gd name="connsiteY54" fmla="*/ 533400 h 1647825"/>
                <a:gd name="connsiteX55" fmla="*/ 647700 w 5243512"/>
                <a:gd name="connsiteY55" fmla="*/ 500062 h 1647825"/>
                <a:gd name="connsiteX56" fmla="*/ 647700 w 5243512"/>
                <a:gd name="connsiteY56" fmla="*/ 466725 h 1647825"/>
                <a:gd name="connsiteX57" fmla="*/ 581025 w 5243512"/>
                <a:gd name="connsiteY57" fmla="*/ 457200 h 1647825"/>
                <a:gd name="connsiteX58" fmla="*/ 581025 w 5243512"/>
                <a:gd name="connsiteY58" fmla="*/ 457200 h 1647825"/>
                <a:gd name="connsiteX59" fmla="*/ 533400 w 5243512"/>
                <a:gd name="connsiteY59" fmla="*/ 428625 h 1647825"/>
                <a:gd name="connsiteX60" fmla="*/ 538163 w 5243512"/>
                <a:gd name="connsiteY60" fmla="*/ 390524 h 1647825"/>
                <a:gd name="connsiteX61" fmla="*/ 466725 w 5243512"/>
                <a:gd name="connsiteY61" fmla="*/ 390525 h 1647825"/>
                <a:gd name="connsiteX62" fmla="*/ 466725 w 5243512"/>
                <a:gd name="connsiteY62" fmla="*/ 342900 h 1647825"/>
                <a:gd name="connsiteX63" fmla="*/ 423862 w 5243512"/>
                <a:gd name="connsiteY63" fmla="*/ 342900 h 1647825"/>
                <a:gd name="connsiteX64" fmla="*/ 423862 w 5243512"/>
                <a:gd name="connsiteY64" fmla="*/ 342900 h 1647825"/>
                <a:gd name="connsiteX65" fmla="*/ 423862 w 5243512"/>
                <a:gd name="connsiteY65" fmla="*/ 295275 h 1647825"/>
                <a:gd name="connsiteX66" fmla="*/ 385761 w 5243512"/>
                <a:gd name="connsiteY66" fmla="*/ 300038 h 1647825"/>
                <a:gd name="connsiteX67" fmla="*/ 385762 w 5243512"/>
                <a:gd name="connsiteY67" fmla="*/ 266699 h 1647825"/>
                <a:gd name="connsiteX68" fmla="*/ 342900 w 5243512"/>
                <a:gd name="connsiteY68" fmla="*/ 261937 h 1647825"/>
                <a:gd name="connsiteX69" fmla="*/ 357187 w 5243512"/>
                <a:gd name="connsiteY69" fmla="*/ 209550 h 1647825"/>
                <a:gd name="connsiteX70" fmla="*/ 280987 w 5243512"/>
                <a:gd name="connsiteY70" fmla="*/ 209550 h 1647825"/>
                <a:gd name="connsiteX71" fmla="*/ 276224 w 5243512"/>
                <a:gd name="connsiteY71" fmla="*/ 171450 h 1647825"/>
                <a:gd name="connsiteX72" fmla="*/ 238125 w 5243512"/>
                <a:gd name="connsiteY72" fmla="*/ 166687 h 1647825"/>
                <a:gd name="connsiteX73" fmla="*/ 233362 w 5243512"/>
                <a:gd name="connsiteY73" fmla="*/ 133350 h 1647825"/>
                <a:gd name="connsiteX74" fmla="*/ 166687 w 5243512"/>
                <a:gd name="connsiteY74" fmla="*/ 138112 h 1647825"/>
                <a:gd name="connsiteX75" fmla="*/ 171450 w 5243512"/>
                <a:gd name="connsiteY75" fmla="*/ 52387 h 1647825"/>
                <a:gd name="connsiteX76" fmla="*/ 71437 w 5243512"/>
                <a:gd name="connsiteY76" fmla="*/ 47625 h 1647825"/>
                <a:gd name="connsiteX77" fmla="*/ 76200 w 5243512"/>
                <a:gd name="connsiteY77" fmla="*/ 0 h 1647825"/>
                <a:gd name="connsiteX78" fmla="*/ 0 w 5243512"/>
                <a:gd name="connsiteY78" fmla="*/ 0 h 1647825"/>
                <a:gd name="connsiteX0" fmla="*/ 5243512 w 5243512"/>
                <a:gd name="connsiteY0" fmla="*/ 1638300 h 1647825"/>
                <a:gd name="connsiteX1" fmla="*/ 4333875 w 5243512"/>
                <a:gd name="connsiteY1" fmla="*/ 1647825 h 1647825"/>
                <a:gd name="connsiteX2" fmla="*/ 4333875 w 5243512"/>
                <a:gd name="connsiteY2" fmla="*/ 1581150 h 1647825"/>
                <a:gd name="connsiteX3" fmla="*/ 4062412 w 5243512"/>
                <a:gd name="connsiteY3" fmla="*/ 1581150 h 1647825"/>
                <a:gd name="connsiteX4" fmla="*/ 4062412 w 5243512"/>
                <a:gd name="connsiteY4" fmla="*/ 1509712 h 1647825"/>
                <a:gd name="connsiteX5" fmla="*/ 3705225 w 5243512"/>
                <a:gd name="connsiteY5" fmla="*/ 1509712 h 1647825"/>
                <a:gd name="connsiteX6" fmla="*/ 3709987 w 5243512"/>
                <a:gd name="connsiteY6" fmla="*/ 1462087 h 1647825"/>
                <a:gd name="connsiteX7" fmla="*/ 3267075 w 5243512"/>
                <a:gd name="connsiteY7" fmla="*/ 1462087 h 1647825"/>
                <a:gd name="connsiteX8" fmla="*/ 3267075 w 5243512"/>
                <a:gd name="connsiteY8" fmla="*/ 1428750 h 1647825"/>
                <a:gd name="connsiteX9" fmla="*/ 3009900 w 5243512"/>
                <a:gd name="connsiteY9" fmla="*/ 1423987 h 1647825"/>
                <a:gd name="connsiteX10" fmla="*/ 3014662 w 5243512"/>
                <a:gd name="connsiteY10" fmla="*/ 1376362 h 1647825"/>
                <a:gd name="connsiteX11" fmla="*/ 2857500 w 5243512"/>
                <a:gd name="connsiteY11" fmla="*/ 1381125 h 1647825"/>
                <a:gd name="connsiteX12" fmla="*/ 2862262 w 5243512"/>
                <a:gd name="connsiteY12" fmla="*/ 1333500 h 1647825"/>
                <a:gd name="connsiteX13" fmla="*/ 2800350 w 5243512"/>
                <a:gd name="connsiteY13" fmla="*/ 1328737 h 1647825"/>
                <a:gd name="connsiteX14" fmla="*/ 2805112 w 5243512"/>
                <a:gd name="connsiteY14" fmla="*/ 1300162 h 1647825"/>
                <a:gd name="connsiteX15" fmla="*/ 2605087 w 5243512"/>
                <a:gd name="connsiteY15" fmla="*/ 1314450 h 1647825"/>
                <a:gd name="connsiteX16" fmla="*/ 2605087 w 5243512"/>
                <a:gd name="connsiteY16" fmla="*/ 1271587 h 1647825"/>
                <a:gd name="connsiteX17" fmla="*/ 2462212 w 5243512"/>
                <a:gd name="connsiteY17" fmla="*/ 1271587 h 1647825"/>
                <a:gd name="connsiteX18" fmla="*/ 2462212 w 5243512"/>
                <a:gd name="connsiteY18" fmla="*/ 1252537 h 1647825"/>
                <a:gd name="connsiteX19" fmla="*/ 2262187 w 5243512"/>
                <a:gd name="connsiteY19" fmla="*/ 1252537 h 1647825"/>
                <a:gd name="connsiteX20" fmla="*/ 2266950 w 5243512"/>
                <a:gd name="connsiteY20" fmla="*/ 1204912 h 1647825"/>
                <a:gd name="connsiteX21" fmla="*/ 1966912 w 5243512"/>
                <a:gd name="connsiteY21" fmla="*/ 1204912 h 1647825"/>
                <a:gd name="connsiteX22" fmla="*/ 1962150 w 5243512"/>
                <a:gd name="connsiteY22" fmla="*/ 1162050 h 1647825"/>
                <a:gd name="connsiteX23" fmla="*/ 1809750 w 5243512"/>
                <a:gd name="connsiteY23" fmla="*/ 1157287 h 1647825"/>
                <a:gd name="connsiteX24" fmla="*/ 1809750 w 5243512"/>
                <a:gd name="connsiteY24" fmla="*/ 1157287 h 1647825"/>
                <a:gd name="connsiteX25" fmla="*/ 1809750 w 5243512"/>
                <a:gd name="connsiteY25" fmla="*/ 1133475 h 1647825"/>
                <a:gd name="connsiteX26" fmla="*/ 1714500 w 5243512"/>
                <a:gd name="connsiteY26" fmla="*/ 1133475 h 1647825"/>
                <a:gd name="connsiteX27" fmla="*/ 1704975 w 5243512"/>
                <a:gd name="connsiteY27" fmla="*/ 1095375 h 1647825"/>
                <a:gd name="connsiteX28" fmla="*/ 1590675 w 5243512"/>
                <a:gd name="connsiteY28" fmla="*/ 1095375 h 1647825"/>
                <a:gd name="connsiteX29" fmla="*/ 1595437 w 5243512"/>
                <a:gd name="connsiteY29" fmla="*/ 1062037 h 1647825"/>
                <a:gd name="connsiteX30" fmla="*/ 1428750 w 5243512"/>
                <a:gd name="connsiteY30" fmla="*/ 1057275 h 1647825"/>
                <a:gd name="connsiteX31" fmla="*/ 1428750 w 5243512"/>
                <a:gd name="connsiteY31" fmla="*/ 1057275 h 1647825"/>
                <a:gd name="connsiteX32" fmla="*/ 1438275 w 5243512"/>
                <a:gd name="connsiteY32" fmla="*/ 1033462 h 1647825"/>
                <a:gd name="connsiteX33" fmla="*/ 1323975 w 5243512"/>
                <a:gd name="connsiteY33" fmla="*/ 1038225 h 1647825"/>
                <a:gd name="connsiteX34" fmla="*/ 1333500 w 5243512"/>
                <a:gd name="connsiteY34" fmla="*/ 990600 h 1647825"/>
                <a:gd name="connsiteX35" fmla="*/ 1247775 w 5243512"/>
                <a:gd name="connsiteY35" fmla="*/ 995362 h 1647825"/>
                <a:gd name="connsiteX36" fmla="*/ 1247775 w 5243512"/>
                <a:gd name="connsiteY36" fmla="*/ 942975 h 1647825"/>
                <a:gd name="connsiteX37" fmla="*/ 1190625 w 5243512"/>
                <a:gd name="connsiteY37" fmla="*/ 947737 h 1647825"/>
                <a:gd name="connsiteX38" fmla="*/ 1200150 w 5243512"/>
                <a:gd name="connsiteY38" fmla="*/ 890587 h 1647825"/>
                <a:gd name="connsiteX39" fmla="*/ 1123950 w 5243512"/>
                <a:gd name="connsiteY39" fmla="*/ 881062 h 1647825"/>
                <a:gd name="connsiteX40" fmla="*/ 1114425 w 5243512"/>
                <a:gd name="connsiteY40" fmla="*/ 823912 h 1647825"/>
                <a:gd name="connsiteX41" fmla="*/ 1062037 w 5243512"/>
                <a:gd name="connsiteY41" fmla="*/ 823912 h 1647825"/>
                <a:gd name="connsiteX42" fmla="*/ 1062037 w 5243512"/>
                <a:gd name="connsiteY42" fmla="*/ 766762 h 1647825"/>
                <a:gd name="connsiteX43" fmla="*/ 1019175 w 5243512"/>
                <a:gd name="connsiteY43" fmla="*/ 766762 h 1647825"/>
                <a:gd name="connsiteX44" fmla="*/ 1033462 w 5243512"/>
                <a:gd name="connsiteY44" fmla="*/ 709612 h 1647825"/>
                <a:gd name="connsiteX45" fmla="*/ 947737 w 5243512"/>
                <a:gd name="connsiteY45" fmla="*/ 704850 h 1647825"/>
                <a:gd name="connsiteX46" fmla="*/ 947737 w 5243512"/>
                <a:gd name="connsiteY46" fmla="*/ 647700 h 1647825"/>
                <a:gd name="connsiteX47" fmla="*/ 909637 w 5243512"/>
                <a:gd name="connsiteY47" fmla="*/ 647700 h 1647825"/>
                <a:gd name="connsiteX48" fmla="*/ 923925 w 5243512"/>
                <a:gd name="connsiteY48" fmla="*/ 609600 h 1647825"/>
                <a:gd name="connsiteX49" fmla="*/ 852487 w 5243512"/>
                <a:gd name="connsiteY49" fmla="*/ 614362 h 1647825"/>
                <a:gd name="connsiteX50" fmla="*/ 852487 w 5243512"/>
                <a:gd name="connsiteY50" fmla="*/ 571500 h 1647825"/>
                <a:gd name="connsiteX51" fmla="*/ 781050 w 5243512"/>
                <a:gd name="connsiteY51" fmla="*/ 566737 h 1647825"/>
                <a:gd name="connsiteX52" fmla="*/ 781050 w 5243512"/>
                <a:gd name="connsiteY52" fmla="*/ 538162 h 1647825"/>
                <a:gd name="connsiteX53" fmla="*/ 728662 w 5243512"/>
                <a:gd name="connsiteY53" fmla="*/ 533400 h 1647825"/>
                <a:gd name="connsiteX54" fmla="*/ 723899 w 5243512"/>
                <a:gd name="connsiteY54" fmla="*/ 500062 h 1647825"/>
                <a:gd name="connsiteX55" fmla="*/ 647700 w 5243512"/>
                <a:gd name="connsiteY55" fmla="*/ 500062 h 1647825"/>
                <a:gd name="connsiteX56" fmla="*/ 647700 w 5243512"/>
                <a:gd name="connsiteY56" fmla="*/ 466725 h 1647825"/>
                <a:gd name="connsiteX57" fmla="*/ 581025 w 5243512"/>
                <a:gd name="connsiteY57" fmla="*/ 457200 h 1647825"/>
                <a:gd name="connsiteX58" fmla="*/ 581025 w 5243512"/>
                <a:gd name="connsiteY58" fmla="*/ 457200 h 1647825"/>
                <a:gd name="connsiteX59" fmla="*/ 533400 w 5243512"/>
                <a:gd name="connsiteY59" fmla="*/ 428625 h 1647825"/>
                <a:gd name="connsiteX60" fmla="*/ 538163 w 5243512"/>
                <a:gd name="connsiteY60" fmla="*/ 390524 h 1647825"/>
                <a:gd name="connsiteX61" fmla="*/ 466725 w 5243512"/>
                <a:gd name="connsiteY61" fmla="*/ 390525 h 1647825"/>
                <a:gd name="connsiteX62" fmla="*/ 466725 w 5243512"/>
                <a:gd name="connsiteY62" fmla="*/ 342900 h 1647825"/>
                <a:gd name="connsiteX63" fmla="*/ 423862 w 5243512"/>
                <a:gd name="connsiteY63" fmla="*/ 342900 h 1647825"/>
                <a:gd name="connsiteX64" fmla="*/ 423862 w 5243512"/>
                <a:gd name="connsiteY64" fmla="*/ 342900 h 1647825"/>
                <a:gd name="connsiteX65" fmla="*/ 423862 w 5243512"/>
                <a:gd name="connsiteY65" fmla="*/ 295275 h 1647825"/>
                <a:gd name="connsiteX66" fmla="*/ 385761 w 5243512"/>
                <a:gd name="connsiteY66" fmla="*/ 300038 h 1647825"/>
                <a:gd name="connsiteX67" fmla="*/ 385762 w 5243512"/>
                <a:gd name="connsiteY67" fmla="*/ 266699 h 1647825"/>
                <a:gd name="connsiteX68" fmla="*/ 342900 w 5243512"/>
                <a:gd name="connsiteY68" fmla="*/ 261937 h 1647825"/>
                <a:gd name="connsiteX69" fmla="*/ 357187 w 5243512"/>
                <a:gd name="connsiteY69" fmla="*/ 209550 h 1647825"/>
                <a:gd name="connsiteX70" fmla="*/ 280987 w 5243512"/>
                <a:gd name="connsiteY70" fmla="*/ 209550 h 1647825"/>
                <a:gd name="connsiteX71" fmla="*/ 276224 w 5243512"/>
                <a:gd name="connsiteY71" fmla="*/ 171450 h 1647825"/>
                <a:gd name="connsiteX72" fmla="*/ 238125 w 5243512"/>
                <a:gd name="connsiteY72" fmla="*/ 166687 h 1647825"/>
                <a:gd name="connsiteX73" fmla="*/ 233362 w 5243512"/>
                <a:gd name="connsiteY73" fmla="*/ 133350 h 1647825"/>
                <a:gd name="connsiteX74" fmla="*/ 166687 w 5243512"/>
                <a:gd name="connsiteY74" fmla="*/ 138112 h 1647825"/>
                <a:gd name="connsiteX75" fmla="*/ 171450 w 5243512"/>
                <a:gd name="connsiteY75" fmla="*/ 52387 h 1647825"/>
                <a:gd name="connsiteX76" fmla="*/ 71437 w 5243512"/>
                <a:gd name="connsiteY76" fmla="*/ 47625 h 1647825"/>
                <a:gd name="connsiteX77" fmla="*/ 76200 w 5243512"/>
                <a:gd name="connsiteY77" fmla="*/ 0 h 1647825"/>
                <a:gd name="connsiteX78" fmla="*/ 0 w 5243512"/>
                <a:gd name="connsiteY78" fmla="*/ 0 h 1647825"/>
                <a:gd name="connsiteX0" fmla="*/ 5243512 w 5243512"/>
                <a:gd name="connsiteY0" fmla="*/ 1638300 h 1647825"/>
                <a:gd name="connsiteX1" fmla="*/ 4333875 w 5243512"/>
                <a:gd name="connsiteY1" fmla="*/ 1647825 h 1647825"/>
                <a:gd name="connsiteX2" fmla="*/ 4333875 w 5243512"/>
                <a:gd name="connsiteY2" fmla="*/ 1581150 h 1647825"/>
                <a:gd name="connsiteX3" fmla="*/ 4062412 w 5243512"/>
                <a:gd name="connsiteY3" fmla="*/ 1581150 h 1647825"/>
                <a:gd name="connsiteX4" fmla="*/ 4062412 w 5243512"/>
                <a:gd name="connsiteY4" fmla="*/ 1509712 h 1647825"/>
                <a:gd name="connsiteX5" fmla="*/ 3705225 w 5243512"/>
                <a:gd name="connsiteY5" fmla="*/ 1509712 h 1647825"/>
                <a:gd name="connsiteX6" fmla="*/ 3709987 w 5243512"/>
                <a:gd name="connsiteY6" fmla="*/ 1462087 h 1647825"/>
                <a:gd name="connsiteX7" fmla="*/ 3267075 w 5243512"/>
                <a:gd name="connsiteY7" fmla="*/ 1462087 h 1647825"/>
                <a:gd name="connsiteX8" fmla="*/ 3267075 w 5243512"/>
                <a:gd name="connsiteY8" fmla="*/ 1428750 h 1647825"/>
                <a:gd name="connsiteX9" fmla="*/ 3009900 w 5243512"/>
                <a:gd name="connsiteY9" fmla="*/ 1423987 h 1647825"/>
                <a:gd name="connsiteX10" fmla="*/ 3014662 w 5243512"/>
                <a:gd name="connsiteY10" fmla="*/ 1376362 h 1647825"/>
                <a:gd name="connsiteX11" fmla="*/ 2857500 w 5243512"/>
                <a:gd name="connsiteY11" fmla="*/ 1381125 h 1647825"/>
                <a:gd name="connsiteX12" fmla="*/ 2862262 w 5243512"/>
                <a:gd name="connsiteY12" fmla="*/ 1333500 h 1647825"/>
                <a:gd name="connsiteX13" fmla="*/ 2800350 w 5243512"/>
                <a:gd name="connsiteY13" fmla="*/ 1328737 h 1647825"/>
                <a:gd name="connsiteX14" fmla="*/ 2805112 w 5243512"/>
                <a:gd name="connsiteY14" fmla="*/ 1300162 h 1647825"/>
                <a:gd name="connsiteX15" fmla="*/ 2605087 w 5243512"/>
                <a:gd name="connsiteY15" fmla="*/ 1314450 h 1647825"/>
                <a:gd name="connsiteX16" fmla="*/ 2605087 w 5243512"/>
                <a:gd name="connsiteY16" fmla="*/ 1271587 h 1647825"/>
                <a:gd name="connsiteX17" fmla="*/ 2462212 w 5243512"/>
                <a:gd name="connsiteY17" fmla="*/ 1271587 h 1647825"/>
                <a:gd name="connsiteX18" fmla="*/ 2462212 w 5243512"/>
                <a:gd name="connsiteY18" fmla="*/ 1252537 h 1647825"/>
                <a:gd name="connsiteX19" fmla="*/ 2262187 w 5243512"/>
                <a:gd name="connsiteY19" fmla="*/ 1252537 h 1647825"/>
                <a:gd name="connsiteX20" fmla="*/ 2266950 w 5243512"/>
                <a:gd name="connsiteY20" fmla="*/ 1204912 h 1647825"/>
                <a:gd name="connsiteX21" fmla="*/ 1966912 w 5243512"/>
                <a:gd name="connsiteY21" fmla="*/ 1204912 h 1647825"/>
                <a:gd name="connsiteX22" fmla="*/ 1962150 w 5243512"/>
                <a:gd name="connsiteY22" fmla="*/ 1162050 h 1647825"/>
                <a:gd name="connsiteX23" fmla="*/ 1809750 w 5243512"/>
                <a:gd name="connsiteY23" fmla="*/ 1157287 h 1647825"/>
                <a:gd name="connsiteX24" fmla="*/ 1809750 w 5243512"/>
                <a:gd name="connsiteY24" fmla="*/ 1157287 h 1647825"/>
                <a:gd name="connsiteX25" fmla="*/ 1809750 w 5243512"/>
                <a:gd name="connsiteY25" fmla="*/ 1133475 h 1647825"/>
                <a:gd name="connsiteX26" fmla="*/ 1714500 w 5243512"/>
                <a:gd name="connsiteY26" fmla="*/ 1133475 h 1647825"/>
                <a:gd name="connsiteX27" fmla="*/ 1704975 w 5243512"/>
                <a:gd name="connsiteY27" fmla="*/ 1095375 h 1647825"/>
                <a:gd name="connsiteX28" fmla="*/ 1590675 w 5243512"/>
                <a:gd name="connsiteY28" fmla="*/ 1095375 h 1647825"/>
                <a:gd name="connsiteX29" fmla="*/ 1595437 w 5243512"/>
                <a:gd name="connsiteY29" fmla="*/ 1062037 h 1647825"/>
                <a:gd name="connsiteX30" fmla="*/ 1428750 w 5243512"/>
                <a:gd name="connsiteY30" fmla="*/ 1057275 h 1647825"/>
                <a:gd name="connsiteX31" fmla="*/ 1428750 w 5243512"/>
                <a:gd name="connsiteY31" fmla="*/ 1057275 h 1647825"/>
                <a:gd name="connsiteX32" fmla="*/ 1438275 w 5243512"/>
                <a:gd name="connsiteY32" fmla="*/ 1033462 h 1647825"/>
                <a:gd name="connsiteX33" fmla="*/ 1323975 w 5243512"/>
                <a:gd name="connsiteY33" fmla="*/ 1038225 h 1647825"/>
                <a:gd name="connsiteX34" fmla="*/ 1333500 w 5243512"/>
                <a:gd name="connsiteY34" fmla="*/ 990600 h 1647825"/>
                <a:gd name="connsiteX35" fmla="*/ 1247775 w 5243512"/>
                <a:gd name="connsiteY35" fmla="*/ 995362 h 1647825"/>
                <a:gd name="connsiteX36" fmla="*/ 1247775 w 5243512"/>
                <a:gd name="connsiteY36" fmla="*/ 942975 h 1647825"/>
                <a:gd name="connsiteX37" fmla="*/ 1190625 w 5243512"/>
                <a:gd name="connsiteY37" fmla="*/ 947737 h 1647825"/>
                <a:gd name="connsiteX38" fmla="*/ 1200150 w 5243512"/>
                <a:gd name="connsiteY38" fmla="*/ 890587 h 1647825"/>
                <a:gd name="connsiteX39" fmla="*/ 1123950 w 5243512"/>
                <a:gd name="connsiteY39" fmla="*/ 881062 h 1647825"/>
                <a:gd name="connsiteX40" fmla="*/ 1114425 w 5243512"/>
                <a:gd name="connsiteY40" fmla="*/ 823912 h 1647825"/>
                <a:gd name="connsiteX41" fmla="*/ 1062037 w 5243512"/>
                <a:gd name="connsiteY41" fmla="*/ 823912 h 1647825"/>
                <a:gd name="connsiteX42" fmla="*/ 1062037 w 5243512"/>
                <a:gd name="connsiteY42" fmla="*/ 766762 h 1647825"/>
                <a:gd name="connsiteX43" fmla="*/ 1019175 w 5243512"/>
                <a:gd name="connsiteY43" fmla="*/ 766762 h 1647825"/>
                <a:gd name="connsiteX44" fmla="*/ 1033462 w 5243512"/>
                <a:gd name="connsiteY44" fmla="*/ 709612 h 1647825"/>
                <a:gd name="connsiteX45" fmla="*/ 947737 w 5243512"/>
                <a:gd name="connsiteY45" fmla="*/ 704850 h 1647825"/>
                <a:gd name="connsiteX46" fmla="*/ 947737 w 5243512"/>
                <a:gd name="connsiteY46" fmla="*/ 647700 h 1647825"/>
                <a:gd name="connsiteX47" fmla="*/ 909637 w 5243512"/>
                <a:gd name="connsiteY47" fmla="*/ 647700 h 1647825"/>
                <a:gd name="connsiteX48" fmla="*/ 923925 w 5243512"/>
                <a:gd name="connsiteY48" fmla="*/ 609600 h 1647825"/>
                <a:gd name="connsiteX49" fmla="*/ 852487 w 5243512"/>
                <a:gd name="connsiteY49" fmla="*/ 614362 h 1647825"/>
                <a:gd name="connsiteX50" fmla="*/ 852487 w 5243512"/>
                <a:gd name="connsiteY50" fmla="*/ 571500 h 1647825"/>
                <a:gd name="connsiteX51" fmla="*/ 781050 w 5243512"/>
                <a:gd name="connsiteY51" fmla="*/ 566737 h 1647825"/>
                <a:gd name="connsiteX52" fmla="*/ 781050 w 5243512"/>
                <a:gd name="connsiteY52" fmla="*/ 538162 h 1647825"/>
                <a:gd name="connsiteX53" fmla="*/ 728662 w 5243512"/>
                <a:gd name="connsiteY53" fmla="*/ 533400 h 1647825"/>
                <a:gd name="connsiteX54" fmla="*/ 723899 w 5243512"/>
                <a:gd name="connsiteY54" fmla="*/ 500062 h 1647825"/>
                <a:gd name="connsiteX55" fmla="*/ 647700 w 5243512"/>
                <a:gd name="connsiteY55" fmla="*/ 500062 h 1647825"/>
                <a:gd name="connsiteX56" fmla="*/ 647700 w 5243512"/>
                <a:gd name="connsiteY56" fmla="*/ 466725 h 1647825"/>
                <a:gd name="connsiteX57" fmla="*/ 581025 w 5243512"/>
                <a:gd name="connsiteY57" fmla="*/ 457200 h 1647825"/>
                <a:gd name="connsiteX58" fmla="*/ 590550 w 5243512"/>
                <a:gd name="connsiteY58" fmla="*/ 433387 h 1647825"/>
                <a:gd name="connsiteX59" fmla="*/ 533400 w 5243512"/>
                <a:gd name="connsiteY59" fmla="*/ 428625 h 1647825"/>
                <a:gd name="connsiteX60" fmla="*/ 538163 w 5243512"/>
                <a:gd name="connsiteY60" fmla="*/ 390524 h 1647825"/>
                <a:gd name="connsiteX61" fmla="*/ 466725 w 5243512"/>
                <a:gd name="connsiteY61" fmla="*/ 390525 h 1647825"/>
                <a:gd name="connsiteX62" fmla="*/ 466725 w 5243512"/>
                <a:gd name="connsiteY62" fmla="*/ 342900 h 1647825"/>
                <a:gd name="connsiteX63" fmla="*/ 423862 w 5243512"/>
                <a:gd name="connsiteY63" fmla="*/ 342900 h 1647825"/>
                <a:gd name="connsiteX64" fmla="*/ 423862 w 5243512"/>
                <a:gd name="connsiteY64" fmla="*/ 342900 h 1647825"/>
                <a:gd name="connsiteX65" fmla="*/ 423862 w 5243512"/>
                <a:gd name="connsiteY65" fmla="*/ 295275 h 1647825"/>
                <a:gd name="connsiteX66" fmla="*/ 385761 w 5243512"/>
                <a:gd name="connsiteY66" fmla="*/ 300038 h 1647825"/>
                <a:gd name="connsiteX67" fmla="*/ 385762 w 5243512"/>
                <a:gd name="connsiteY67" fmla="*/ 266699 h 1647825"/>
                <a:gd name="connsiteX68" fmla="*/ 342900 w 5243512"/>
                <a:gd name="connsiteY68" fmla="*/ 261937 h 1647825"/>
                <a:gd name="connsiteX69" fmla="*/ 357187 w 5243512"/>
                <a:gd name="connsiteY69" fmla="*/ 209550 h 1647825"/>
                <a:gd name="connsiteX70" fmla="*/ 280987 w 5243512"/>
                <a:gd name="connsiteY70" fmla="*/ 209550 h 1647825"/>
                <a:gd name="connsiteX71" fmla="*/ 276224 w 5243512"/>
                <a:gd name="connsiteY71" fmla="*/ 171450 h 1647825"/>
                <a:gd name="connsiteX72" fmla="*/ 238125 w 5243512"/>
                <a:gd name="connsiteY72" fmla="*/ 166687 h 1647825"/>
                <a:gd name="connsiteX73" fmla="*/ 233362 w 5243512"/>
                <a:gd name="connsiteY73" fmla="*/ 133350 h 1647825"/>
                <a:gd name="connsiteX74" fmla="*/ 166687 w 5243512"/>
                <a:gd name="connsiteY74" fmla="*/ 138112 h 1647825"/>
                <a:gd name="connsiteX75" fmla="*/ 171450 w 5243512"/>
                <a:gd name="connsiteY75" fmla="*/ 52387 h 1647825"/>
                <a:gd name="connsiteX76" fmla="*/ 71437 w 5243512"/>
                <a:gd name="connsiteY76" fmla="*/ 47625 h 1647825"/>
                <a:gd name="connsiteX77" fmla="*/ 76200 w 5243512"/>
                <a:gd name="connsiteY77" fmla="*/ 0 h 1647825"/>
                <a:gd name="connsiteX78" fmla="*/ 0 w 5243512"/>
                <a:gd name="connsiteY78" fmla="*/ 0 h 1647825"/>
                <a:gd name="connsiteX0" fmla="*/ 5243512 w 5243512"/>
                <a:gd name="connsiteY0" fmla="*/ 1638300 h 1647825"/>
                <a:gd name="connsiteX1" fmla="*/ 4333875 w 5243512"/>
                <a:gd name="connsiteY1" fmla="*/ 1647825 h 1647825"/>
                <a:gd name="connsiteX2" fmla="*/ 4333875 w 5243512"/>
                <a:gd name="connsiteY2" fmla="*/ 1581150 h 1647825"/>
                <a:gd name="connsiteX3" fmla="*/ 4062412 w 5243512"/>
                <a:gd name="connsiteY3" fmla="*/ 1581150 h 1647825"/>
                <a:gd name="connsiteX4" fmla="*/ 4062412 w 5243512"/>
                <a:gd name="connsiteY4" fmla="*/ 1509712 h 1647825"/>
                <a:gd name="connsiteX5" fmla="*/ 3705225 w 5243512"/>
                <a:gd name="connsiteY5" fmla="*/ 1509712 h 1647825"/>
                <a:gd name="connsiteX6" fmla="*/ 3709987 w 5243512"/>
                <a:gd name="connsiteY6" fmla="*/ 1462087 h 1647825"/>
                <a:gd name="connsiteX7" fmla="*/ 3267075 w 5243512"/>
                <a:gd name="connsiteY7" fmla="*/ 1462087 h 1647825"/>
                <a:gd name="connsiteX8" fmla="*/ 3267075 w 5243512"/>
                <a:gd name="connsiteY8" fmla="*/ 1428750 h 1647825"/>
                <a:gd name="connsiteX9" fmla="*/ 3009900 w 5243512"/>
                <a:gd name="connsiteY9" fmla="*/ 1423987 h 1647825"/>
                <a:gd name="connsiteX10" fmla="*/ 3014662 w 5243512"/>
                <a:gd name="connsiteY10" fmla="*/ 1376362 h 1647825"/>
                <a:gd name="connsiteX11" fmla="*/ 2857500 w 5243512"/>
                <a:gd name="connsiteY11" fmla="*/ 1381125 h 1647825"/>
                <a:gd name="connsiteX12" fmla="*/ 2862262 w 5243512"/>
                <a:gd name="connsiteY12" fmla="*/ 1333500 h 1647825"/>
                <a:gd name="connsiteX13" fmla="*/ 2800350 w 5243512"/>
                <a:gd name="connsiteY13" fmla="*/ 1328737 h 1647825"/>
                <a:gd name="connsiteX14" fmla="*/ 2805112 w 5243512"/>
                <a:gd name="connsiteY14" fmla="*/ 1300162 h 1647825"/>
                <a:gd name="connsiteX15" fmla="*/ 2605087 w 5243512"/>
                <a:gd name="connsiteY15" fmla="*/ 1314450 h 1647825"/>
                <a:gd name="connsiteX16" fmla="*/ 2605087 w 5243512"/>
                <a:gd name="connsiteY16" fmla="*/ 1271587 h 1647825"/>
                <a:gd name="connsiteX17" fmla="*/ 2462212 w 5243512"/>
                <a:gd name="connsiteY17" fmla="*/ 1271587 h 1647825"/>
                <a:gd name="connsiteX18" fmla="*/ 2462212 w 5243512"/>
                <a:gd name="connsiteY18" fmla="*/ 1252537 h 1647825"/>
                <a:gd name="connsiteX19" fmla="*/ 2262187 w 5243512"/>
                <a:gd name="connsiteY19" fmla="*/ 1252537 h 1647825"/>
                <a:gd name="connsiteX20" fmla="*/ 2266950 w 5243512"/>
                <a:gd name="connsiteY20" fmla="*/ 1204912 h 1647825"/>
                <a:gd name="connsiteX21" fmla="*/ 1966912 w 5243512"/>
                <a:gd name="connsiteY21" fmla="*/ 1204912 h 1647825"/>
                <a:gd name="connsiteX22" fmla="*/ 1962150 w 5243512"/>
                <a:gd name="connsiteY22" fmla="*/ 1162050 h 1647825"/>
                <a:gd name="connsiteX23" fmla="*/ 1809750 w 5243512"/>
                <a:gd name="connsiteY23" fmla="*/ 1157287 h 1647825"/>
                <a:gd name="connsiteX24" fmla="*/ 1809750 w 5243512"/>
                <a:gd name="connsiteY24" fmla="*/ 1157287 h 1647825"/>
                <a:gd name="connsiteX25" fmla="*/ 1809750 w 5243512"/>
                <a:gd name="connsiteY25" fmla="*/ 1133475 h 1647825"/>
                <a:gd name="connsiteX26" fmla="*/ 1714500 w 5243512"/>
                <a:gd name="connsiteY26" fmla="*/ 1133475 h 1647825"/>
                <a:gd name="connsiteX27" fmla="*/ 1704975 w 5243512"/>
                <a:gd name="connsiteY27" fmla="*/ 1095375 h 1647825"/>
                <a:gd name="connsiteX28" fmla="*/ 1590675 w 5243512"/>
                <a:gd name="connsiteY28" fmla="*/ 1095375 h 1647825"/>
                <a:gd name="connsiteX29" fmla="*/ 1595437 w 5243512"/>
                <a:gd name="connsiteY29" fmla="*/ 1062037 h 1647825"/>
                <a:gd name="connsiteX30" fmla="*/ 1428750 w 5243512"/>
                <a:gd name="connsiteY30" fmla="*/ 1057275 h 1647825"/>
                <a:gd name="connsiteX31" fmla="*/ 1428750 w 5243512"/>
                <a:gd name="connsiteY31" fmla="*/ 1057275 h 1647825"/>
                <a:gd name="connsiteX32" fmla="*/ 1438275 w 5243512"/>
                <a:gd name="connsiteY32" fmla="*/ 1033462 h 1647825"/>
                <a:gd name="connsiteX33" fmla="*/ 1323975 w 5243512"/>
                <a:gd name="connsiteY33" fmla="*/ 1038225 h 1647825"/>
                <a:gd name="connsiteX34" fmla="*/ 1333500 w 5243512"/>
                <a:gd name="connsiteY34" fmla="*/ 990600 h 1647825"/>
                <a:gd name="connsiteX35" fmla="*/ 1247775 w 5243512"/>
                <a:gd name="connsiteY35" fmla="*/ 995362 h 1647825"/>
                <a:gd name="connsiteX36" fmla="*/ 1247775 w 5243512"/>
                <a:gd name="connsiteY36" fmla="*/ 942975 h 1647825"/>
                <a:gd name="connsiteX37" fmla="*/ 1190625 w 5243512"/>
                <a:gd name="connsiteY37" fmla="*/ 947737 h 1647825"/>
                <a:gd name="connsiteX38" fmla="*/ 1200150 w 5243512"/>
                <a:gd name="connsiteY38" fmla="*/ 890587 h 1647825"/>
                <a:gd name="connsiteX39" fmla="*/ 1123950 w 5243512"/>
                <a:gd name="connsiteY39" fmla="*/ 881062 h 1647825"/>
                <a:gd name="connsiteX40" fmla="*/ 1114425 w 5243512"/>
                <a:gd name="connsiteY40" fmla="*/ 823912 h 1647825"/>
                <a:gd name="connsiteX41" fmla="*/ 1062037 w 5243512"/>
                <a:gd name="connsiteY41" fmla="*/ 823912 h 1647825"/>
                <a:gd name="connsiteX42" fmla="*/ 1062037 w 5243512"/>
                <a:gd name="connsiteY42" fmla="*/ 766762 h 1647825"/>
                <a:gd name="connsiteX43" fmla="*/ 1019175 w 5243512"/>
                <a:gd name="connsiteY43" fmla="*/ 766762 h 1647825"/>
                <a:gd name="connsiteX44" fmla="*/ 1033462 w 5243512"/>
                <a:gd name="connsiteY44" fmla="*/ 709612 h 1647825"/>
                <a:gd name="connsiteX45" fmla="*/ 947737 w 5243512"/>
                <a:gd name="connsiteY45" fmla="*/ 704850 h 1647825"/>
                <a:gd name="connsiteX46" fmla="*/ 947737 w 5243512"/>
                <a:gd name="connsiteY46" fmla="*/ 647700 h 1647825"/>
                <a:gd name="connsiteX47" fmla="*/ 909637 w 5243512"/>
                <a:gd name="connsiteY47" fmla="*/ 647700 h 1647825"/>
                <a:gd name="connsiteX48" fmla="*/ 923925 w 5243512"/>
                <a:gd name="connsiteY48" fmla="*/ 609600 h 1647825"/>
                <a:gd name="connsiteX49" fmla="*/ 852487 w 5243512"/>
                <a:gd name="connsiteY49" fmla="*/ 614362 h 1647825"/>
                <a:gd name="connsiteX50" fmla="*/ 852487 w 5243512"/>
                <a:gd name="connsiteY50" fmla="*/ 571500 h 1647825"/>
                <a:gd name="connsiteX51" fmla="*/ 781050 w 5243512"/>
                <a:gd name="connsiteY51" fmla="*/ 566737 h 1647825"/>
                <a:gd name="connsiteX52" fmla="*/ 781050 w 5243512"/>
                <a:gd name="connsiteY52" fmla="*/ 538162 h 1647825"/>
                <a:gd name="connsiteX53" fmla="*/ 728662 w 5243512"/>
                <a:gd name="connsiteY53" fmla="*/ 533400 h 1647825"/>
                <a:gd name="connsiteX54" fmla="*/ 723899 w 5243512"/>
                <a:gd name="connsiteY54" fmla="*/ 500062 h 1647825"/>
                <a:gd name="connsiteX55" fmla="*/ 647700 w 5243512"/>
                <a:gd name="connsiteY55" fmla="*/ 500062 h 1647825"/>
                <a:gd name="connsiteX56" fmla="*/ 647700 w 5243512"/>
                <a:gd name="connsiteY56" fmla="*/ 466725 h 1647825"/>
                <a:gd name="connsiteX57" fmla="*/ 581025 w 5243512"/>
                <a:gd name="connsiteY57" fmla="*/ 457200 h 1647825"/>
                <a:gd name="connsiteX58" fmla="*/ 604838 w 5243512"/>
                <a:gd name="connsiteY58" fmla="*/ 442912 h 1647825"/>
                <a:gd name="connsiteX59" fmla="*/ 533400 w 5243512"/>
                <a:gd name="connsiteY59" fmla="*/ 428625 h 1647825"/>
                <a:gd name="connsiteX60" fmla="*/ 538163 w 5243512"/>
                <a:gd name="connsiteY60" fmla="*/ 390524 h 1647825"/>
                <a:gd name="connsiteX61" fmla="*/ 466725 w 5243512"/>
                <a:gd name="connsiteY61" fmla="*/ 390525 h 1647825"/>
                <a:gd name="connsiteX62" fmla="*/ 466725 w 5243512"/>
                <a:gd name="connsiteY62" fmla="*/ 342900 h 1647825"/>
                <a:gd name="connsiteX63" fmla="*/ 423862 w 5243512"/>
                <a:gd name="connsiteY63" fmla="*/ 342900 h 1647825"/>
                <a:gd name="connsiteX64" fmla="*/ 423862 w 5243512"/>
                <a:gd name="connsiteY64" fmla="*/ 342900 h 1647825"/>
                <a:gd name="connsiteX65" fmla="*/ 423862 w 5243512"/>
                <a:gd name="connsiteY65" fmla="*/ 295275 h 1647825"/>
                <a:gd name="connsiteX66" fmla="*/ 385761 w 5243512"/>
                <a:gd name="connsiteY66" fmla="*/ 300038 h 1647825"/>
                <a:gd name="connsiteX67" fmla="*/ 385762 w 5243512"/>
                <a:gd name="connsiteY67" fmla="*/ 266699 h 1647825"/>
                <a:gd name="connsiteX68" fmla="*/ 342900 w 5243512"/>
                <a:gd name="connsiteY68" fmla="*/ 261937 h 1647825"/>
                <a:gd name="connsiteX69" fmla="*/ 357187 w 5243512"/>
                <a:gd name="connsiteY69" fmla="*/ 209550 h 1647825"/>
                <a:gd name="connsiteX70" fmla="*/ 280987 w 5243512"/>
                <a:gd name="connsiteY70" fmla="*/ 209550 h 1647825"/>
                <a:gd name="connsiteX71" fmla="*/ 276224 w 5243512"/>
                <a:gd name="connsiteY71" fmla="*/ 171450 h 1647825"/>
                <a:gd name="connsiteX72" fmla="*/ 238125 w 5243512"/>
                <a:gd name="connsiteY72" fmla="*/ 166687 h 1647825"/>
                <a:gd name="connsiteX73" fmla="*/ 233362 w 5243512"/>
                <a:gd name="connsiteY73" fmla="*/ 133350 h 1647825"/>
                <a:gd name="connsiteX74" fmla="*/ 166687 w 5243512"/>
                <a:gd name="connsiteY74" fmla="*/ 138112 h 1647825"/>
                <a:gd name="connsiteX75" fmla="*/ 171450 w 5243512"/>
                <a:gd name="connsiteY75" fmla="*/ 52387 h 1647825"/>
                <a:gd name="connsiteX76" fmla="*/ 71437 w 5243512"/>
                <a:gd name="connsiteY76" fmla="*/ 47625 h 1647825"/>
                <a:gd name="connsiteX77" fmla="*/ 76200 w 5243512"/>
                <a:gd name="connsiteY77" fmla="*/ 0 h 1647825"/>
                <a:gd name="connsiteX78" fmla="*/ 0 w 5243512"/>
                <a:gd name="connsiteY78" fmla="*/ 0 h 1647825"/>
                <a:gd name="connsiteX0" fmla="*/ 5243512 w 5243512"/>
                <a:gd name="connsiteY0" fmla="*/ 1638300 h 1647825"/>
                <a:gd name="connsiteX1" fmla="*/ 4333875 w 5243512"/>
                <a:gd name="connsiteY1" fmla="*/ 1647825 h 1647825"/>
                <a:gd name="connsiteX2" fmla="*/ 4333875 w 5243512"/>
                <a:gd name="connsiteY2" fmla="*/ 1581150 h 1647825"/>
                <a:gd name="connsiteX3" fmla="*/ 4062412 w 5243512"/>
                <a:gd name="connsiteY3" fmla="*/ 1581150 h 1647825"/>
                <a:gd name="connsiteX4" fmla="*/ 4062412 w 5243512"/>
                <a:gd name="connsiteY4" fmla="*/ 1509712 h 1647825"/>
                <a:gd name="connsiteX5" fmla="*/ 3705225 w 5243512"/>
                <a:gd name="connsiteY5" fmla="*/ 1509712 h 1647825"/>
                <a:gd name="connsiteX6" fmla="*/ 3709987 w 5243512"/>
                <a:gd name="connsiteY6" fmla="*/ 1462087 h 1647825"/>
                <a:gd name="connsiteX7" fmla="*/ 3267075 w 5243512"/>
                <a:gd name="connsiteY7" fmla="*/ 1462087 h 1647825"/>
                <a:gd name="connsiteX8" fmla="*/ 3267075 w 5243512"/>
                <a:gd name="connsiteY8" fmla="*/ 1428750 h 1647825"/>
                <a:gd name="connsiteX9" fmla="*/ 3009900 w 5243512"/>
                <a:gd name="connsiteY9" fmla="*/ 1423987 h 1647825"/>
                <a:gd name="connsiteX10" fmla="*/ 3014662 w 5243512"/>
                <a:gd name="connsiteY10" fmla="*/ 1376362 h 1647825"/>
                <a:gd name="connsiteX11" fmla="*/ 2857500 w 5243512"/>
                <a:gd name="connsiteY11" fmla="*/ 1381125 h 1647825"/>
                <a:gd name="connsiteX12" fmla="*/ 2862262 w 5243512"/>
                <a:gd name="connsiteY12" fmla="*/ 1333500 h 1647825"/>
                <a:gd name="connsiteX13" fmla="*/ 2800350 w 5243512"/>
                <a:gd name="connsiteY13" fmla="*/ 1328737 h 1647825"/>
                <a:gd name="connsiteX14" fmla="*/ 2805112 w 5243512"/>
                <a:gd name="connsiteY14" fmla="*/ 1300162 h 1647825"/>
                <a:gd name="connsiteX15" fmla="*/ 2605087 w 5243512"/>
                <a:gd name="connsiteY15" fmla="*/ 1314450 h 1647825"/>
                <a:gd name="connsiteX16" fmla="*/ 2605087 w 5243512"/>
                <a:gd name="connsiteY16" fmla="*/ 1271587 h 1647825"/>
                <a:gd name="connsiteX17" fmla="*/ 2462212 w 5243512"/>
                <a:gd name="connsiteY17" fmla="*/ 1271587 h 1647825"/>
                <a:gd name="connsiteX18" fmla="*/ 2462212 w 5243512"/>
                <a:gd name="connsiteY18" fmla="*/ 1252537 h 1647825"/>
                <a:gd name="connsiteX19" fmla="*/ 2262187 w 5243512"/>
                <a:gd name="connsiteY19" fmla="*/ 1252537 h 1647825"/>
                <a:gd name="connsiteX20" fmla="*/ 2266950 w 5243512"/>
                <a:gd name="connsiteY20" fmla="*/ 1204912 h 1647825"/>
                <a:gd name="connsiteX21" fmla="*/ 1966912 w 5243512"/>
                <a:gd name="connsiteY21" fmla="*/ 1204912 h 1647825"/>
                <a:gd name="connsiteX22" fmla="*/ 1962150 w 5243512"/>
                <a:gd name="connsiteY22" fmla="*/ 1162050 h 1647825"/>
                <a:gd name="connsiteX23" fmla="*/ 1809750 w 5243512"/>
                <a:gd name="connsiteY23" fmla="*/ 1157287 h 1647825"/>
                <a:gd name="connsiteX24" fmla="*/ 1809750 w 5243512"/>
                <a:gd name="connsiteY24" fmla="*/ 1157287 h 1647825"/>
                <a:gd name="connsiteX25" fmla="*/ 1809750 w 5243512"/>
                <a:gd name="connsiteY25" fmla="*/ 1133475 h 1647825"/>
                <a:gd name="connsiteX26" fmla="*/ 1714500 w 5243512"/>
                <a:gd name="connsiteY26" fmla="*/ 1133475 h 1647825"/>
                <a:gd name="connsiteX27" fmla="*/ 1704975 w 5243512"/>
                <a:gd name="connsiteY27" fmla="*/ 1095375 h 1647825"/>
                <a:gd name="connsiteX28" fmla="*/ 1590675 w 5243512"/>
                <a:gd name="connsiteY28" fmla="*/ 1095375 h 1647825"/>
                <a:gd name="connsiteX29" fmla="*/ 1595437 w 5243512"/>
                <a:gd name="connsiteY29" fmla="*/ 1062037 h 1647825"/>
                <a:gd name="connsiteX30" fmla="*/ 1428750 w 5243512"/>
                <a:gd name="connsiteY30" fmla="*/ 1057275 h 1647825"/>
                <a:gd name="connsiteX31" fmla="*/ 1428750 w 5243512"/>
                <a:gd name="connsiteY31" fmla="*/ 1057275 h 1647825"/>
                <a:gd name="connsiteX32" fmla="*/ 1438275 w 5243512"/>
                <a:gd name="connsiteY32" fmla="*/ 1033462 h 1647825"/>
                <a:gd name="connsiteX33" fmla="*/ 1323975 w 5243512"/>
                <a:gd name="connsiteY33" fmla="*/ 1038225 h 1647825"/>
                <a:gd name="connsiteX34" fmla="*/ 1333500 w 5243512"/>
                <a:gd name="connsiteY34" fmla="*/ 990600 h 1647825"/>
                <a:gd name="connsiteX35" fmla="*/ 1247775 w 5243512"/>
                <a:gd name="connsiteY35" fmla="*/ 995362 h 1647825"/>
                <a:gd name="connsiteX36" fmla="*/ 1247775 w 5243512"/>
                <a:gd name="connsiteY36" fmla="*/ 942975 h 1647825"/>
                <a:gd name="connsiteX37" fmla="*/ 1190625 w 5243512"/>
                <a:gd name="connsiteY37" fmla="*/ 947737 h 1647825"/>
                <a:gd name="connsiteX38" fmla="*/ 1200150 w 5243512"/>
                <a:gd name="connsiteY38" fmla="*/ 890587 h 1647825"/>
                <a:gd name="connsiteX39" fmla="*/ 1123950 w 5243512"/>
                <a:gd name="connsiteY39" fmla="*/ 881062 h 1647825"/>
                <a:gd name="connsiteX40" fmla="*/ 1114425 w 5243512"/>
                <a:gd name="connsiteY40" fmla="*/ 823912 h 1647825"/>
                <a:gd name="connsiteX41" fmla="*/ 1062037 w 5243512"/>
                <a:gd name="connsiteY41" fmla="*/ 823912 h 1647825"/>
                <a:gd name="connsiteX42" fmla="*/ 1062037 w 5243512"/>
                <a:gd name="connsiteY42" fmla="*/ 766762 h 1647825"/>
                <a:gd name="connsiteX43" fmla="*/ 1019175 w 5243512"/>
                <a:gd name="connsiteY43" fmla="*/ 766762 h 1647825"/>
                <a:gd name="connsiteX44" fmla="*/ 1033462 w 5243512"/>
                <a:gd name="connsiteY44" fmla="*/ 709612 h 1647825"/>
                <a:gd name="connsiteX45" fmla="*/ 947737 w 5243512"/>
                <a:gd name="connsiteY45" fmla="*/ 704850 h 1647825"/>
                <a:gd name="connsiteX46" fmla="*/ 947737 w 5243512"/>
                <a:gd name="connsiteY46" fmla="*/ 647700 h 1647825"/>
                <a:gd name="connsiteX47" fmla="*/ 909637 w 5243512"/>
                <a:gd name="connsiteY47" fmla="*/ 647700 h 1647825"/>
                <a:gd name="connsiteX48" fmla="*/ 923925 w 5243512"/>
                <a:gd name="connsiteY48" fmla="*/ 609600 h 1647825"/>
                <a:gd name="connsiteX49" fmla="*/ 852487 w 5243512"/>
                <a:gd name="connsiteY49" fmla="*/ 614362 h 1647825"/>
                <a:gd name="connsiteX50" fmla="*/ 852487 w 5243512"/>
                <a:gd name="connsiteY50" fmla="*/ 571500 h 1647825"/>
                <a:gd name="connsiteX51" fmla="*/ 781050 w 5243512"/>
                <a:gd name="connsiteY51" fmla="*/ 566737 h 1647825"/>
                <a:gd name="connsiteX52" fmla="*/ 781050 w 5243512"/>
                <a:gd name="connsiteY52" fmla="*/ 538162 h 1647825"/>
                <a:gd name="connsiteX53" fmla="*/ 728662 w 5243512"/>
                <a:gd name="connsiteY53" fmla="*/ 533400 h 1647825"/>
                <a:gd name="connsiteX54" fmla="*/ 723899 w 5243512"/>
                <a:gd name="connsiteY54" fmla="*/ 500062 h 1647825"/>
                <a:gd name="connsiteX55" fmla="*/ 647700 w 5243512"/>
                <a:gd name="connsiteY55" fmla="*/ 500062 h 1647825"/>
                <a:gd name="connsiteX56" fmla="*/ 647700 w 5243512"/>
                <a:gd name="connsiteY56" fmla="*/ 466725 h 1647825"/>
                <a:gd name="connsiteX57" fmla="*/ 581025 w 5243512"/>
                <a:gd name="connsiteY57" fmla="*/ 457200 h 1647825"/>
                <a:gd name="connsiteX58" fmla="*/ 600076 w 5243512"/>
                <a:gd name="connsiteY58" fmla="*/ 433387 h 1647825"/>
                <a:gd name="connsiteX59" fmla="*/ 533400 w 5243512"/>
                <a:gd name="connsiteY59" fmla="*/ 428625 h 1647825"/>
                <a:gd name="connsiteX60" fmla="*/ 538163 w 5243512"/>
                <a:gd name="connsiteY60" fmla="*/ 390524 h 1647825"/>
                <a:gd name="connsiteX61" fmla="*/ 466725 w 5243512"/>
                <a:gd name="connsiteY61" fmla="*/ 390525 h 1647825"/>
                <a:gd name="connsiteX62" fmla="*/ 466725 w 5243512"/>
                <a:gd name="connsiteY62" fmla="*/ 342900 h 1647825"/>
                <a:gd name="connsiteX63" fmla="*/ 423862 w 5243512"/>
                <a:gd name="connsiteY63" fmla="*/ 342900 h 1647825"/>
                <a:gd name="connsiteX64" fmla="*/ 423862 w 5243512"/>
                <a:gd name="connsiteY64" fmla="*/ 342900 h 1647825"/>
                <a:gd name="connsiteX65" fmla="*/ 423862 w 5243512"/>
                <a:gd name="connsiteY65" fmla="*/ 295275 h 1647825"/>
                <a:gd name="connsiteX66" fmla="*/ 385761 w 5243512"/>
                <a:gd name="connsiteY66" fmla="*/ 300038 h 1647825"/>
                <a:gd name="connsiteX67" fmla="*/ 385762 w 5243512"/>
                <a:gd name="connsiteY67" fmla="*/ 266699 h 1647825"/>
                <a:gd name="connsiteX68" fmla="*/ 342900 w 5243512"/>
                <a:gd name="connsiteY68" fmla="*/ 261937 h 1647825"/>
                <a:gd name="connsiteX69" fmla="*/ 357187 w 5243512"/>
                <a:gd name="connsiteY69" fmla="*/ 209550 h 1647825"/>
                <a:gd name="connsiteX70" fmla="*/ 280987 w 5243512"/>
                <a:gd name="connsiteY70" fmla="*/ 209550 h 1647825"/>
                <a:gd name="connsiteX71" fmla="*/ 276224 w 5243512"/>
                <a:gd name="connsiteY71" fmla="*/ 171450 h 1647825"/>
                <a:gd name="connsiteX72" fmla="*/ 238125 w 5243512"/>
                <a:gd name="connsiteY72" fmla="*/ 166687 h 1647825"/>
                <a:gd name="connsiteX73" fmla="*/ 233362 w 5243512"/>
                <a:gd name="connsiteY73" fmla="*/ 133350 h 1647825"/>
                <a:gd name="connsiteX74" fmla="*/ 166687 w 5243512"/>
                <a:gd name="connsiteY74" fmla="*/ 138112 h 1647825"/>
                <a:gd name="connsiteX75" fmla="*/ 171450 w 5243512"/>
                <a:gd name="connsiteY75" fmla="*/ 52387 h 1647825"/>
                <a:gd name="connsiteX76" fmla="*/ 71437 w 5243512"/>
                <a:gd name="connsiteY76" fmla="*/ 47625 h 1647825"/>
                <a:gd name="connsiteX77" fmla="*/ 76200 w 5243512"/>
                <a:gd name="connsiteY77" fmla="*/ 0 h 1647825"/>
                <a:gd name="connsiteX78" fmla="*/ 0 w 5243512"/>
                <a:gd name="connsiteY78" fmla="*/ 0 h 1647825"/>
                <a:gd name="connsiteX0" fmla="*/ 5243512 w 5243512"/>
                <a:gd name="connsiteY0" fmla="*/ 1638300 h 1647825"/>
                <a:gd name="connsiteX1" fmla="*/ 4333875 w 5243512"/>
                <a:gd name="connsiteY1" fmla="*/ 1647825 h 1647825"/>
                <a:gd name="connsiteX2" fmla="*/ 4333875 w 5243512"/>
                <a:gd name="connsiteY2" fmla="*/ 1581150 h 1647825"/>
                <a:gd name="connsiteX3" fmla="*/ 4062412 w 5243512"/>
                <a:gd name="connsiteY3" fmla="*/ 1581150 h 1647825"/>
                <a:gd name="connsiteX4" fmla="*/ 4062412 w 5243512"/>
                <a:gd name="connsiteY4" fmla="*/ 1509712 h 1647825"/>
                <a:gd name="connsiteX5" fmla="*/ 3705225 w 5243512"/>
                <a:gd name="connsiteY5" fmla="*/ 1509712 h 1647825"/>
                <a:gd name="connsiteX6" fmla="*/ 3709987 w 5243512"/>
                <a:gd name="connsiteY6" fmla="*/ 1462087 h 1647825"/>
                <a:gd name="connsiteX7" fmla="*/ 3267075 w 5243512"/>
                <a:gd name="connsiteY7" fmla="*/ 1462087 h 1647825"/>
                <a:gd name="connsiteX8" fmla="*/ 3267075 w 5243512"/>
                <a:gd name="connsiteY8" fmla="*/ 1428750 h 1647825"/>
                <a:gd name="connsiteX9" fmla="*/ 3009900 w 5243512"/>
                <a:gd name="connsiteY9" fmla="*/ 1423987 h 1647825"/>
                <a:gd name="connsiteX10" fmla="*/ 3014662 w 5243512"/>
                <a:gd name="connsiteY10" fmla="*/ 1376362 h 1647825"/>
                <a:gd name="connsiteX11" fmla="*/ 2857500 w 5243512"/>
                <a:gd name="connsiteY11" fmla="*/ 1381125 h 1647825"/>
                <a:gd name="connsiteX12" fmla="*/ 2862262 w 5243512"/>
                <a:gd name="connsiteY12" fmla="*/ 1333500 h 1647825"/>
                <a:gd name="connsiteX13" fmla="*/ 2800350 w 5243512"/>
                <a:gd name="connsiteY13" fmla="*/ 1328737 h 1647825"/>
                <a:gd name="connsiteX14" fmla="*/ 2805112 w 5243512"/>
                <a:gd name="connsiteY14" fmla="*/ 1300162 h 1647825"/>
                <a:gd name="connsiteX15" fmla="*/ 2605087 w 5243512"/>
                <a:gd name="connsiteY15" fmla="*/ 1314450 h 1647825"/>
                <a:gd name="connsiteX16" fmla="*/ 2605087 w 5243512"/>
                <a:gd name="connsiteY16" fmla="*/ 1271587 h 1647825"/>
                <a:gd name="connsiteX17" fmla="*/ 2462212 w 5243512"/>
                <a:gd name="connsiteY17" fmla="*/ 1271587 h 1647825"/>
                <a:gd name="connsiteX18" fmla="*/ 2462212 w 5243512"/>
                <a:gd name="connsiteY18" fmla="*/ 1252537 h 1647825"/>
                <a:gd name="connsiteX19" fmla="*/ 2262187 w 5243512"/>
                <a:gd name="connsiteY19" fmla="*/ 1252537 h 1647825"/>
                <a:gd name="connsiteX20" fmla="*/ 2266950 w 5243512"/>
                <a:gd name="connsiteY20" fmla="*/ 1204912 h 1647825"/>
                <a:gd name="connsiteX21" fmla="*/ 1966912 w 5243512"/>
                <a:gd name="connsiteY21" fmla="*/ 1204912 h 1647825"/>
                <a:gd name="connsiteX22" fmla="*/ 1962150 w 5243512"/>
                <a:gd name="connsiteY22" fmla="*/ 1162050 h 1647825"/>
                <a:gd name="connsiteX23" fmla="*/ 1809750 w 5243512"/>
                <a:gd name="connsiteY23" fmla="*/ 1157287 h 1647825"/>
                <a:gd name="connsiteX24" fmla="*/ 1809750 w 5243512"/>
                <a:gd name="connsiteY24" fmla="*/ 1157287 h 1647825"/>
                <a:gd name="connsiteX25" fmla="*/ 1809750 w 5243512"/>
                <a:gd name="connsiteY25" fmla="*/ 1133475 h 1647825"/>
                <a:gd name="connsiteX26" fmla="*/ 1714500 w 5243512"/>
                <a:gd name="connsiteY26" fmla="*/ 1133475 h 1647825"/>
                <a:gd name="connsiteX27" fmla="*/ 1704975 w 5243512"/>
                <a:gd name="connsiteY27" fmla="*/ 1095375 h 1647825"/>
                <a:gd name="connsiteX28" fmla="*/ 1590675 w 5243512"/>
                <a:gd name="connsiteY28" fmla="*/ 1095375 h 1647825"/>
                <a:gd name="connsiteX29" fmla="*/ 1595437 w 5243512"/>
                <a:gd name="connsiteY29" fmla="*/ 1062037 h 1647825"/>
                <a:gd name="connsiteX30" fmla="*/ 1428750 w 5243512"/>
                <a:gd name="connsiteY30" fmla="*/ 1057275 h 1647825"/>
                <a:gd name="connsiteX31" fmla="*/ 1428750 w 5243512"/>
                <a:gd name="connsiteY31" fmla="*/ 1057275 h 1647825"/>
                <a:gd name="connsiteX32" fmla="*/ 1438275 w 5243512"/>
                <a:gd name="connsiteY32" fmla="*/ 1033462 h 1647825"/>
                <a:gd name="connsiteX33" fmla="*/ 1323975 w 5243512"/>
                <a:gd name="connsiteY33" fmla="*/ 1038225 h 1647825"/>
                <a:gd name="connsiteX34" fmla="*/ 1333500 w 5243512"/>
                <a:gd name="connsiteY34" fmla="*/ 990600 h 1647825"/>
                <a:gd name="connsiteX35" fmla="*/ 1247775 w 5243512"/>
                <a:gd name="connsiteY35" fmla="*/ 995362 h 1647825"/>
                <a:gd name="connsiteX36" fmla="*/ 1247775 w 5243512"/>
                <a:gd name="connsiteY36" fmla="*/ 942975 h 1647825"/>
                <a:gd name="connsiteX37" fmla="*/ 1190625 w 5243512"/>
                <a:gd name="connsiteY37" fmla="*/ 947737 h 1647825"/>
                <a:gd name="connsiteX38" fmla="*/ 1200150 w 5243512"/>
                <a:gd name="connsiteY38" fmla="*/ 890587 h 1647825"/>
                <a:gd name="connsiteX39" fmla="*/ 1123950 w 5243512"/>
                <a:gd name="connsiteY39" fmla="*/ 881062 h 1647825"/>
                <a:gd name="connsiteX40" fmla="*/ 1114425 w 5243512"/>
                <a:gd name="connsiteY40" fmla="*/ 823912 h 1647825"/>
                <a:gd name="connsiteX41" fmla="*/ 1062037 w 5243512"/>
                <a:gd name="connsiteY41" fmla="*/ 823912 h 1647825"/>
                <a:gd name="connsiteX42" fmla="*/ 1062037 w 5243512"/>
                <a:gd name="connsiteY42" fmla="*/ 766762 h 1647825"/>
                <a:gd name="connsiteX43" fmla="*/ 1019175 w 5243512"/>
                <a:gd name="connsiteY43" fmla="*/ 766762 h 1647825"/>
                <a:gd name="connsiteX44" fmla="*/ 1033462 w 5243512"/>
                <a:gd name="connsiteY44" fmla="*/ 709612 h 1647825"/>
                <a:gd name="connsiteX45" fmla="*/ 947737 w 5243512"/>
                <a:gd name="connsiteY45" fmla="*/ 704850 h 1647825"/>
                <a:gd name="connsiteX46" fmla="*/ 947737 w 5243512"/>
                <a:gd name="connsiteY46" fmla="*/ 647700 h 1647825"/>
                <a:gd name="connsiteX47" fmla="*/ 909637 w 5243512"/>
                <a:gd name="connsiteY47" fmla="*/ 647700 h 1647825"/>
                <a:gd name="connsiteX48" fmla="*/ 923925 w 5243512"/>
                <a:gd name="connsiteY48" fmla="*/ 609600 h 1647825"/>
                <a:gd name="connsiteX49" fmla="*/ 852487 w 5243512"/>
                <a:gd name="connsiteY49" fmla="*/ 614362 h 1647825"/>
                <a:gd name="connsiteX50" fmla="*/ 852487 w 5243512"/>
                <a:gd name="connsiteY50" fmla="*/ 571500 h 1647825"/>
                <a:gd name="connsiteX51" fmla="*/ 781050 w 5243512"/>
                <a:gd name="connsiteY51" fmla="*/ 566737 h 1647825"/>
                <a:gd name="connsiteX52" fmla="*/ 781050 w 5243512"/>
                <a:gd name="connsiteY52" fmla="*/ 538162 h 1647825"/>
                <a:gd name="connsiteX53" fmla="*/ 728662 w 5243512"/>
                <a:gd name="connsiteY53" fmla="*/ 533400 h 1647825"/>
                <a:gd name="connsiteX54" fmla="*/ 723899 w 5243512"/>
                <a:gd name="connsiteY54" fmla="*/ 500062 h 1647825"/>
                <a:gd name="connsiteX55" fmla="*/ 647700 w 5243512"/>
                <a:gd name="connsiteY55" fmla="*/ 500062 h 1647825"/>
                <a:gd name="connsiteX56" fmla="*/ 647700 w 5243512"/>
                <a:gd name="connsiteY56" fmla="*/ 466725 h 1647825"/>
                <a:gd name="connsiteX57" fmla="*/ 595313 w 5243512"/>
                <a:gd name="connsiteY57" fmla="*/ 461962 h 1647825"/>
                <a:gd name="connsiteX58" fmla="*/ 600076 w 5243512"/>
                <a:gd name="connsiteY58" fmla="*/ 433387 h 1647825"/>
                <a:gd name="connsiteX59" fmla="*/ 533400 w 5243512"/>
                <a:gd name="connsiteY59" fmla="*/ 428625 h 1647825"/>
                <a:gd name="connsiteX60" fmla="*/ 538163 w 5243512"/>
                <a:gd name="connsiteY60" fmla="*/ 390524 h 1647825"/>
                <a:gd name="connsiteX61" fmla="*/ 466725 w 5243512"/>
                <a:gd name="connsiteY61" fmla="*/ 390525 h 1647825"/>
                <a:gd name="connsiteX62" fmla="*/ 466725 w 5243512"/>
                <a:gd name="connsiteY62" fmla="*/ 342900 h 1647825"/>
                <a:gd name="connsiteX63" fmla="*/ 423862 w 5243512"/>
                <a:gd name="connsiteY63" fmla="*/ 342900 h 1647825"/>
                <a:gd name="connsiteX64" fmla="*/ 423862 w 5243512"/>
                <a:gd name="connsiteY64" fmla="*/ 342900 h 1647825"/>
                <a:gd name="connsiteX65" fmla="*/ 423862 w 5243512"/>
                <a:gd name="connsiteY65" fmla="*/ 295275 h 1647825"/>
                <a:gd name="connsiteX66" fmla="*/ 385761 w 5243512"/>
                <a:gd name="connsiteY66" fmla="*/ 300038 h 1647825"/>
                <a:gd name="connsiteX67" fmla="*/ 385762 w 5243512"/>
                <a:gd name="connsiteY67" fmla="*/ 266699 h 1647825"/>
                <a:gd name="connsiteX68" fmla="*/ 342900 w 5243512"/>
                <a:gd name="connsiteY68" fmla="*/ 261937 h 1647825"/>
                <a:gd name="connsiteX69" fmla="*/ 357187 w 5243512"/>
                <a:gd name="connsiteY69" fmla="*/ 209550 h 1647825"/>
                <a:gd name="connsiteX70" fmla="*/ 280987 w 5243512"/>
                <a:gd name="connsiteY70" fmla="*/ 209550 h 1647825"/>
                <a:gd name="connsiteX71" fmla="*/ 276224 w 5243512"/>
                <a:gd name="connsiteY71" fmla="*/ 171450 h 1647825"/>
                <a:gd name="connsiteX72" fmla="*/ 238125 w 5243512"/>
                <a:gd name="connsiteY72" fmla="*/ 166687 h 1647825"/>
                <a:gd name="connsiteX73" fmla="*/ 233362 w 5243512"/>
                <a:gd name="connsiteY73" fmla="*/ 133350 h 1647825"/>
                <a:gd name="connsiteX74" fmla="*/ 166687 w 5243512"/>
                <a:gd name="connsiteY74" fmla="*/ 138112 h 1647825"/>
                <a:gd name="connsiteX75" fmla="*/ 171450 w 5243512"/>
                <a:gd name="connsiteY75" fmla="*/ 52387 h 1647825"/>
                <a:gd name="connsiteX76" fmla="*/ 71437 w 5243512"/>
                <a:gd name="connsiteY76" fmla="*/ 47625 h 1647825"/>
                <a:gd name="connsiteX77" fmla="*/ 76200 w 5243512"/>
                <a:gd name="connsiteY77" fmla="*/ 0 h 1647825"/>
                <a:gd name="connsiteX78" fmla="*/ 0 w 5243512"/>
                <a:gd name="connsiteY78" fmla="*/ 0 h 1647825"/>
                <a:gd name="connsiteX0" fmla="*/ 5243512 w 5243512"/>
                <a:gd name="connsiteY0" fmla="*/ 1638300 h 1647825"/>
                <a:gd name="connsiteX1" fmla="*/ 4333875 w 5243512"/>
                <a:gd name="connsiteY1" fmla="*/ 1647825 h 1647825"/>
                <a:gd name="connsiteX2" fmla="*/ 4333875 w 5243512"/>
                <a:gd name="connsiteY2" fmla="*/ 1581150 h 1647825"/>
                <a:gd name="connsiteX3" fmla="*/ 4062412 w 5243512"/>
                <a:gd name="connsiteY3" fmla="*/ 1581150 h 1647825"/>
                <a:gd name="connsiteX4" fmla="*/ 4062412 w 5243512"/>
                <a:gd name="connsiteY4" fmla="*/ 1509712 h 1647825"/>
                <a:gd name="connsiteX5" fmla="*/ 3705225 w 5243512"/>
                <a:gd name="connsiteY5" fmla="*/ 1509712 h 1647825"/>
                <a:gd name="connsiteX6" fmla="*/ 3709987 w 5243512"/>
                <a:gd name="connsiteY6" fmla="*/ 1462087 h 1647825"/>
                <a:gd name="connsiteX7" fmla="*/ 3267075 w 5243512"/>
                <a:gd name="connsiteY7" fmla="*/ 1462087 h 1647825"/>
                <a:gd name="connsiteX8" fmla="*/ 3267075 w 5243512"/>
                <a:gd name="connsiteY8" fmla="*/ 1428750 h 1647825"/>
                <a:gd name="connsiteX9" fmla="*/ 3009900 w 5243512"/>
                <a:gd name="connsiteY9" fmla="*/ 1423987 h 1647825"/>
                <a:gd name="connsiteX10" fmla="*/ 3014662 w 5243512"/>
                <a:gd name="connsiteY10" fmla="*/ 1376362 h 1647825"/>
                <a:gd name="connsiteX11" fmla="*/ 2857500 w 5243512"/>
                <a:gd name="connsiteY11" fmla="*/ 1381125 h 1647825"/>
                <a:gd name="connsiteX12" fmla="*/ 2862262 w 5243512"/>
                <a:gd name="connsiteY12" fmla="*/ 1333500 h 1647825"/>
                <a:gd name="connsiteX13" fmla="*/ 2800350 w 5243512"/>
                <a:gd name="connsiteY13" fmla="*/ 1328737 h 1647825"/>
                <a:gd name="connsiteX14" fmla="*/ 2805112 w 5243512"/>
                <a:gd name="connsiteY14" fmla="*/ 1300162 h 1647825"/>
                <a:gd name="connsiteX15" fmla="*/ 2605087 w 5243512"/>
                <a:gd name="connsiteY15" fmla="*/ 1314450 h 1647825"/>
                <a:gd name="connsiteX16" fmla="*/ 2605087 w 5243512"/>
                <a:gd name="connsiteY16" fmla="*/ 1271587 h 1647825"/>
                <a:gd name="connsiteX17" fmla="*/ 2462212 w 5243512"/>
                <a:gd name="connsiteY17" fmla="*/ 1271587 h 1647825"/>
                <a:gd name="connsiteX18" fmla="*/ 2462212 w 5243512"/>
                <a:gd name="connsiteY18" fmla="*/ 1252537 h 1647825"/>
                <a:gd name="connsiteX19" fmla="*/ 2262187 w 5243512"/>
                <a:gd name="connsiteY19" fmla="*/ 1252537 h 1647825"/>
                <a:gd name="connsiteX20" fmla="*/ 2266950 w 5243512"/>
                <a:gd name="connsiteY20" fmla="*/ 1204912 h 1647825"/>
                <a:gd name="connsiteX21" fmla="*/ 1966912 w 5243512"/>
                <a:gd name="connsiteY21" fmla="*/ 1204912 h 1647825"/>
                <a:gd name="connsiteX22" fmla="*/ 1962150 w 5243512"/>
                <a:gd name="connsiteY22" fmla="*/ 1162050 h 1647825"/>
                <a:gd name="connsiteX23" fmla="*/ 1809750 w 5243512"/>
                <a:gd name="connsiteY23" fmla="*/ 1157287 h 1647825"/>
                <a:gd name="connsiteX24" fmla="*/ 1809750 w 5243512"/>
                <a:gd name="connsiteY24" fmla="*/ 1157287 h 1647825"/>
                <a:gd name="connsiteX25" fmla="*/ 1809750 w 5243512"/>
                <a:gd name="connsiteY25" fmla="*/ 1133475 h 1647825"/>
                <a:gd name="connsiteX26" fmla="*/ 1714500 w 5243512"/>
                <a:gd name="connsiteY26" fmla="*/ 1133475 h 1647825"/>
                <a:gd name="connsiteX27" fmla="*/ 1704975 w 5243512"/>
                <a:gd name="connsiteY27" fmla="*/ 1095375 h 1647825"/>
                <a:gd name="connsiteX28" fmla="*/ 1590675 w 5243512"/>
                <a:gd name="connsiteY28" fmla="*/ 1095375 h 1647825"/>
                <a:gd name="connsiteX29" fmla="*/ 1595437 w 5243512"/>
                <a:gd name="connsiteY29" fmla="*/ 1062037 h 1647825"/>
                <a:gd name="connsiteX30" fmla="*/ 1428750 w 5243512"/>
                <a:gd name="connsiteY30" fmla="*/ 1057275 h 1647825"/>
                <a:gd name="connsiteX31" fmla="*/ 1428750 w 5243512"/>
                <a:gd name="connsiteY31" fmla="*/ 1057275 h 1647825"/>
                <a:gd name="connsiteX32" fmla="*/ 1423988 w 5243512"/>
                <a:gd name="connsiteY32" fmla="*/ 1028699 h 1647825"/>
                <a:gd name="connsiteX33" fmla="*/ 1323975 w 5243512"/>
                <a:gd name="connsiteY33" fmla="*/ 1038225 h 1647825"/>
                <a:gd name="connsiteX34" fmla="*/ 1333500 w 5243512"/>
                <a:gd name="connsiteY34" fmla="*/ 990600 h 1647825"/>
                <a:gd name="connsiteX35" fmla="*/ 1247775 w 5243512"/>
                <a:gd name="connsiteY35" fmla="*/ 995362 h 1647825"/>
                <a:gd name="connsiteX36" fmla="*/ 1247775 w 5243512"/>
                <a:gd name="connsiteY36" fmla="*/ 942975 h 1647825"/>
                <a:gd name="connsiteX37" fmla="*/ 1190625 w 5243512"/>
                <a:gd name="connsiteY37" fmla="*/ 947737 h 1647825"/>
                <a:gd name="connsiteX38" fmla="*/ 1200150 w 5243512"/>
                <a:gd name="connsiteY38" fmla="*/ 890587 h 1647825"/>
                <a:gd name="connsiteX39" fmla="*/ 1123950 w 5243512"/>
                <a:gd name="connsiteY39" fmla="*/ 881062 h 1647825"/>
                <a:gd name="connsiteX40" fmla="*/ 1114425 w 5243512"/>
                <a:gd name="connsiteY40" fmla="*/ 823912 h 1647825"/>
                <a:gd name="connsiteX41" fmla="*/ 1062037 w 5243512"/>
                <a:gd name="connsiteY41" fmla="*/ 823912 h 1647825"/>
                <a:gd name="connsiteX42" fmla="*/ 1062037 w 5243512"/>
                <a:gd name="connsiteY42" fmla="*/ 766762 h 1647825"/>
                <a:gd name="connsiteX43" fmla="*/ 1019175 w 5243512"/>
                <a:gd name="connsiteY43" fmla="*/ 766762 h 1647825"/>
                <a:gd name="connsiteX44" fmla="*/ 1033462 w 5243512"/>
                <a:gd name="connsiteY44" fmla="*/ 709612 h 1647825"/>
                <a:gd name="connsiteX45" fmla="*/ 947737 w 5243512"/>
                <a:gd name="connsiteY45" fmla="*/ 704850 h 1647825"/>
                <a:gd name="connsiteX46" fmla="*/ 947737 w 5243512"/>
                <a:gd name="connsiteY46" fmla="*/ 647700 h 1647825"/>
                <a:gd name="connsiteX47" fmla="*/ 909637 w 5243512"/>
                <a:gd name="connsiteY47" fmla="*/ 647700 h 1647825"/>
                <a:gd name="connsiteX48" fmla="*/ 923925 w 5243512"/>
                <a:gd name="connsiteY48" fmla="*/ 609600 h 1647825"/>
                <a:gd name="connsiteX49" fmla="*/ 852487 w 5243512"/>
                <a:gd name="connsiteY49" fmla="*/ 614362 h 1647825"/>
                <a:gd name="connsiteX50" fmla="*/ 852487 w 5243512"/>
                <a:gd name="connsiteY50" fmla="*/ 571500 h 1647825"/>
                <a:gd name="connsiteX51" fmla="*/ 781050 w 5243512"/>
                <a:gd name="connsiteY51" fmla="*/ 566737 h 1647825"/>
                <a:gd name="connsiteX52" fmla="*/ 781050 w 5243512"/>
                <a:gd name="connsiteY52" fmla="*/ 538162 h 1647825"/>
                <a:gd name="connsiteX53" fmla="*/ 728662 w 5243512"/>
                <a:gd name="connsiteY53" fmla="*/ 533400 h 1647825"/>
                <a:gd name="connsiteX54" fmla="*/ 723899 w 5243512"/>
                <a:gd name="connsiteY54" fmla="*/ 500062 h 1647825"/>
                <a:gd name="connsiteX55" fmla="*/ 647700 w 5243512"/>
                <a:gd name="connsiteY55" fmla="*/ 500062 h 1647825"/>
                <a:gd name="connsiteX56" fmla="*/ 647700 w 5243512"/>
                <a:gd name="connsiteY56" fmla="*/ 466725 h 1647825"/>
                <a:gd name="connsiteX57" fmla="*/ 595313 w 5243512"/>
                <a:gd name="connsiteY57" fmla="*/ 461962 h 1647825"/>
                <a:gd name="connsiteX58" fmla="*/ 600076 w 5243512"/>
                <a:gd name="connsiteY58" fmla="*/ 433387 h 1647825"/>
                <a:gd name="connsiteX59" fmla="*/ 533400 w 5243512"/>
                <a:gd name="connsiteY59" fmla="*/ 428625 h 1647825"/>
                <a:gd name="connsiteX60" fmla="*/ 538163 w 5243512"/>
                <a:gd name="connsiteY60" fmla="*/ 390524 h 1647825"/>
                <a:gd name="connsiteX61" fmla="*/ 466725 w 5243512"/>
                <a:gd name="connsiteY61" fmla="*/ 390525 h 1647825"/>
                <a:gd name="connsiteX62" fmla="*/ 466725 w 5243512"/>
                <a:gd name="connsiteY62" fmla="*/ 342900 h 1647825"/>
                <a:gd name="connsiteX63" fmla="*/ 423862 w 5243512"/>
                <a:gd name="connsiteY63" fmla="*/ 342900 h 1647825"/>
                <a:gd name="connsiteX64" fmla="*/ 423862 w 5243512"/>
                <a:gd name="connsiteY64" fmla="*/ 342900 h 1647825"/>
                <a:gd name="connsiteX65" fmla="*/ 423862 w 5243512"/>
                <a:gd name="connsiteY65" fmla="*/ 295275 h 1647825"/>
                <a:gd name="connsiteX66" fmla="*/ 385761 w 5243512"/>
                <a:gd name="connsiteY66" fmla="*/ 300038 h 1647825"/>
                <a:gd name="connsiteX67" fmla="*/ 385762 w 5243512"/>
                <a:gd name="connsiteY67" fmla="*/ 266699 h 1647825"/>
                <a:gd name="connsiteX68" fmla="*/ 342900 w 5243512"/>
                <a:gd name="connsiteY68" fmla="*/ 261937 h 1647825"/>
                <a:gd name="connsiteX69" fmla="*/ 357187 w 5243512"/>
                <a:gd name="connsiteY69" fmla="*/ 209550 h 1647825"/>
                <a:gd name="connsiteX70" fmla="*/ 280987 w 5243512"/>
                <a:gd name="connsiteY70" fmla="*/ 209550 h 1647825"/>
                <a:gd name="connsiteX71" fmla="*/ 276224 w 5243512"/>
                <a:gd name="connsiteY71" fmla="*/ 171450 h 1647825"/>
                <a:gd name="connsiteX72" fmla="*/ 238125 w 5243512"/>
                <a:gd name="connsiteY72" fmla="*/ 166687 h 1647825"/>
                <a:gd name="connsiteX73" fmla="*/ 233362 w 5243512"/>
                <a:gd name="connsiteY73" fmla="*/ 133350 h 1647825"/>
                <a:gd name="connsiteX74" fmla="*/ 166687 w 5243512"/>
                <a:gd name="connsiteY74" fmla="*/ 138112 h 1647825"/>
                <a:gd name="connsiteX75" fmla="*/ 171450 w 5243512"/>
                <a:gd name="connsiteY75" fmla="*/ 52387 h 1647825"/>
                <a:gd name="connsiteX76" fmla="*/ 71437 w 5243512"/>
                <a:gd name="connsiteY76" fmla="*/ 47625 h 1647825"/>
                <a:gd name="connsiteX77" fmla="*/ 76200 w 5243512"/>
                <a:gd name="connsiteY77" fmla="*/ 0 h 1647825"/>
                <a:gd name="connsiteX78" fmla="*/ 0 w 5243512"/>
                <a:gd name="connsiteY78" fmla="*/ 0 h 1647825"/>
                <a:gd name="connsiteX0" fmla="*/ 5243512 w 5243512"/>
                <a:gd name="connsiteY0" fmla="*/ 1638300 h 1647825"/>
                <a:gd name="connsiteX1" fmla="*/ 4333875 w 5243512"/>
                <a:gd name="connsiteY1" fmla="*/ 1647825 h 1647825"/>
                <a:gd name="connsiteX2" fmla="*/ 4333875 w 5243512"/>
                <a:gd name="connsiteY2" fmla="*/ 1581150 h 1647825"/>
                <a:gd name="connsiteX3" fmla="*/ 4062412 w 5243512"/>
                <a:gd name="connsiteY3" fmla="*/ 1581150 h 1647825"/>
                <a:gd name="connsiteX4" fmla="*/ 4062412 w 5243512"/>
                <a:gd name="connsiteY4" fmla="*/ 1509712 h 1647825"/>
                <a:gd name="connsiteX5" fmla="*/ 3705225 w 5243512"/>
                <a:gd name="connsiteY5" fmla="*/ 1509712 h 1647825"/>
                <a:gd name="connsiteX6" fmla="*/ 3709987 w 5243512"/>
                <a:gd name="connsiteY6" fmla="*/ 1462087 h 1647825"/>
                <a:gd name="connsiteX7" fmla="*/ 3267075 w 5243512"/>
                <a:gd name="connsiteY7" fmla="*/ 1462087 h 1647825"/>
                <a:gd name="connsiteX8" fmla="*/ 3267075 w 5243512"/>
                <a:gd name="connsiteY8" fmla="*/ 1428750 h 1647825"/>
                <a:gd name="connsiteX9" fmla="*/ 3009900 w 5243512"/>
                <a:gd name="connsiteY9" fmla="*/ 1423987 h 1647825"/>
                <a:gd name="connsiteX10" fmla="*/ 3014662 w 5243512"/>
                <a:gd name="connsiteY10" fmla="*/ 1376362 h 1647825"/>
                <a:gd name="connsiteX11" fmla="*/ 2857500 w 5243512"/>
                <a:gd name="connsiteY11" fmla="*/ 1381125 h 1647825"/>
                <a:gd name="connsiteX12" fmla="*/ 2862262 w 5243512"/>
                <a:gd name="connsiteY12" fmla="*/ 1333500 h 1647825"/>
                <a:gd name="connsiteX13" fmla="*/ 2800350 w 5243512"/>
                <a:gd name="connsiteY13" fmla="*/ 1328737 h 1647825"/>
                <a:gd name="connsiteX14" fmla="*/ 2805112 w 5243512"/>
                <a:gd name="connsiteY14" fmla="*/ 1300162 h 1647825"/>
                <a:gd name="connsiteX15" fmla="*/ 2605087 w 5243512"/>
                <a:gd name="connsiteY15" fmla="*/ 1314450 h 1647825"/>
                <a:gd name="connsiteX16" fmla="*/ 2605087 w 5243512"/>
                <a:gd name="connsiteY16" fmla="*/ 1271587 h 1647825"/>
                <a:gd name="connsiteX17" fmla="*/ 2462212 w 5243512"/>
                <a:gd name="connsiteY17" fmla="*/ 1271587 h 1647825"/>
                <a:gd name="connsiteX18" fmla="*/ 2462212 w 5243512"/>
                <a:gd name="connsiteY18" fmla="*/ 1252537 h 1647825"/>
                <a:gd name="connsiteX19" fmla="*/ 2262187 w 5243512"/>
                <a:gd name="connsiteY19" fmla="*/ 1252537 h 1647825"/>
                <a:gd name="connsiteX20" fmla="*/ 2266950 w 5243512"/>
                <a:gd name="connsiteY20" fmla="*/ 1204912 h 1647825"/>
                <a:gd name="connsiteX21" fmla="*/ 1966912 w 5243512"/>
                <a:gd name="connsiteY21" fmla="*/ 1204912 h 1647825"/>
                <a:gd name="connsiteX22" fmla="*/ 1962150 w 5243512"/>
                <a:gd name="connsiteY22" fmla="*/ 1162050 h 1647825"/>
                <a:gd name="connsiteX23" fmla="*/ 1809750 w 5243512"/>
                <a:gd name="connsiteY23" fmla="*/ 1157287 h 1647825"/>
                <a:gd name="connsiteX24" fmla="*/ 1809750 w 5243512"/>
                <a:gd name="connsiteY24" fmla="*/ 1157287 h 1647825"/>
                <a:gd name="connsiteX25" fmla="*/ 1809750 w 5243512"/>
                <a:gd name="connsiteY25" fmla="*/ 1133475 h 1647825"/>
                <a:gd name="connsiteX26" fmla="*/ 1714500 w 5243512"/>
                <a:gd name="connsiteY26" fmla="*/ 1133475 h 1647825"/>
                <a:gd name="connsiteX27" fmla="*/ 1704975 w 5243512"/>
                <a:gd name="connsiteY27" fmla="*/ 1095375 h 1647825"/>
                <a:gd name="connsiteX28" fmla="*/ 1590675 w 5243512"/>
                <a:gd name="connsiteY28" fmla="*/ 1095375 h 1647825"/>
                <a:gd name="connsiteX29" fmla="*/ 1595437 w 5243512"/>
                <a:gd name="connsiteY29" fmla="*/ 1062037 h 1647825"/>
                <a:gd name="connsiteX30" fmla="*/ 1428750 w 5243512"/>
                <a:gd name="connsiteY30" fmla="*/ 1057275 h 1647825"/>
                <a:gd name="connsiteX31" fmla="*/ 1428750 w 5243512"/>
                <a:gd name="connsiteY31" fmla="*/ 1057275 h 1647825"/>
                <a:gd name="connsiteX32" fmla="*/ 1423988 w 5243512"/>
                <a:gd name="connsiteY32" fmla="*/ 1028699 h 1647825"/>
                <a:gd name="connsiteX33" fmla="*/ 1352550 w 5243512"/>
                <a:gd name="connsiteY33" fmla="*/ 1033463 h 1647825"/>
                <a:gd name="connsiteX34" fmla="*/ 1333500 w 5243512"/>
                <a:gd name="connsiteY34" fmla="*/ 990600 h 1647825"/>
                <a:gd name="connsiteX35" fmla="*/ 1247775 w 5243512"/>
                <a:gd name="connsiteY35" fmla="*/ 995362 h 1647825"/>
                <a:gd name="connsiteX36" fmla="*/ 1247775 w 5243512"/>
                <a:gd name="connsiteY36" fmla="*/ 942975 h 1647825"/>
                <a:gd name="connsiteX37" fmla="*/ 1190625 w 5243512"/>
                <a:gd name="connsiteY37" fmla="*/ 947737 h 1647825"/>
                <a:gd name="connsiteX38" fmla="*/ 1200150 w 5243512"/>
                <a:gd name="connsiteY38" fmla="*/ 890587 h 1647825"/>
                <a:gd name="connsiteX39" fmla="*/ 1123950 w 5243512"/>
                <a:gd name="connsiteY39" fmla="*/ 881062 h 1647825"/>
                <a:gd name="connsiteX40" fmla="*/ 1114425 w 5243512"/>
                <a:gd name="connsiteY40" fmla="*/ 823912 h 1647825"/>
                <a:gd name="connsiteX41" fmla="*/ 1062037 w 5243512"/>
                <a:gd name="connsiteY41" fmla="*/ 823912 h 1647825"/>
                <a:gd name="connsiteX42" fmla="*/ 1062037 w 5243512"/>
                <a:gd name="connsiteY42" fmla="*/ 766762 h 1647825"/>
                <a:gd name="connsiteX43" fmla="*/ 1019175 w 5243512"/>
                <a:gd name="connsiteY43" fmla="*/ 766762 h 1647825"/>
                <a:gd name="connsiteX44" fmla="*/ 1033462 w 5243512"/>
                <a:gd name="connsiteY44" fmla="*/ 709612 h 1647825"/>
                <a:gd name="connsiteX45" fmla="*/ 947737 w 5243512"/>
                <a:gd name="connsiteY45" fmla="*/ 704850 h 1647825"/>
                <a:gd name="connsiteX46" fmla="*/ 947737 w 5243512"/>
                <a:gd name="connsiteY46" fmla="*/ 647700 h 1647825"/>
                <a:gd name="connsiteX47" fmla="*/ 909637 w 5243512"/>
                <a:gd name="connsiteY47" fmla="*/ 647700 h 1647825"/>
                <a:gd name="connsiteX48" fmla="*/ 923925 w 5243512"/>
                <a:gd name="connsiteY48" fmla="*/ 609600 h 1647825"/>
                <a:gd name="connsiteX49" fmla="*/ 852487 w 5243512"/>
                <a:gd name="connsiteY49" fmla="*/ 614362 h 1647825"/>
                <a:gd name="connsiteX50" fmla="*/ 852487 w 5243512"/>
                <a:gd name="connsiteY50" fmla="*/ 571500 h 1647825"/>
                <a:gd name="connsiteX51" fmla="*/ 781050 w 5243512"/>
                <a:gd name="connsiteY51" fmla="*/ 566737 h 1647825"/>
                <a:gd name="connsiteX52" fmla="*/ 781050 w 5243512"/>
                <a:gd name="connsiteY52" fmla="*/ 538162 h 1647825"/>
                <a:gd name="connsiteX53" fmla="*/ 728662 w 5243512"/>
                <a:gd name="connsiteY53" fmla="*/ 533400 h 1647825"/>
                <a:gd name="connsiteX54" fmla="*/ 723899 w 5243512"/>
                <a:gd name="connsiteY54" fmla="*/ 500062 h 1647825"/>
                <a:gd name="connsiteX55" fmla="*/ 647700 w 5243512"/>
                <a:gd name="connsiteY55" fmla="*/ 500062 h 1647825"/>
                <a:gd name="connsiteX56" fmla="*/ 647700 w 5243512"/>
                <a:gd name="connsiteY56" fmla="*/ 466725 h 1647825"/>
                <a:gd name="connsiteX57" fmla="*/ 595313 w 5243512"/>
                <a:gd name="connsiteY57" fmla="*/ 461962 h 1647825"/>
                <a:gd name="connsiteX58" fmla="*/ 600076 w 5243512"/>
                <a:gd name="connsiteY58" fmla="*/ 433387 h 1647825"/>
                <a:gd name="connsiteX59" fmla="*/ 533400 w 5243512"/>
                <a:gd name="connsiteY59" fmla="*/ 428625 h 1647825"/>
                <a:gd name="connsiteX60" fmla="*/ 538163 w 5243512"/>
                <a:gd name="connsiteY60" fmla="*/ 390524 h 1647825"/>
                <a:gd name="connsiteX61" fmla="*/ 466725 w 5243512"/>
                <a:gd name="connsiteY61" fmla="*/ 390525 h 1647825"/>
                <a:gd name="connsiteX62" fmla="*/ 466725 w 5243512"/>
                <a:gd name="connsiteY62" fmla="*/ 342900 h 1647825"/>
                <a:gd name="connsiteX63" fmla="*/ 423862 w 5243512"/>
                <a:gd name="connsiteY63" fmla="*/ 342900 h 1647825"/>
                <a:gd name="connsiteX64" fmla="*/ 423862 w 5243512"/>
                <a:gd name="connsiteY64" fmla="*/ 342900 h 1647825"/>
                <a:gd name="connsiteX65" fmla="*/ 423862 w 5243512"/>
                <a:gd name="connsiteY65" fmla="*/ 295275 h 1647825"/>
                <a:gd name="connsiteX66" fmla="*/ 385761 w 5243512"/>
                <a:gd name="connsiteY66" fmla="*/ 300038 h 1647825"/>
                <a:gd name="connsiteX67" fmla="*/ 385762 w 5243512"/>
                <a:gd name="connsiteY67" fmla="*/ 266699 h 1647825"/>
                <a:gd name="connsiteX68" fmla="*/ 342900 w 5243512"/>
                <a:gd name="connsiteY68" fmla="*/ 261937 h 1647825"/>
                <a:gd name="connsiteX69" fmla="*/ 357187 w 5243512"/>
                <a:gd name="connsiteY69" fmla="*/ 209550 h 1647825"/>
                <a:gd name="connsiteX70" fmla="*/ 280987 w 5243512"/>
                <a:gd name="connsiteY70" fmla="*/ 209550 h 1647825"/>
                <a:gd name="connsiteX71" fmla="*/ 276224 w 5243512"/>
                <a:gd name="connsiteY71" fmla="*/ 171450 h 1647825"/>
                <a:gd name="connsiteX72" fmla="*/ 238125 w 5243512"/>
                <a:gd name="connsiteY72" fmla="*/ 166687 h 1647825"/>
                <a:gd name="connsiteX73" fmla="*/ 233362 w 5243512"/>
                <a:gd name="connsiteY73" fmla="*/ 133350 h 1647825"/>
                <a:gd name="connsiteX74" fmla="*/ 166687 w 5243512"/>
                <a:gd name="connsiteY74" fmla="*/ 138112 h 1647825"/>
                <a:gd name="connsiteX75" fmla="*/ 171450 w 5243512"/>
                <a:gd name="connsiteY75" fmla="*/ 52387 h 1647825"/>
                <a:gd name="connsiteX76" fmla="*/ 71437 w 5243512"/>
                <a:gd name="connsiteY76" fmla="*/ 47625 h 1647825"/>
                <a:gd name="connsiteX77" fmla="*/ 76200 w 5243512"/>
                <a:gd name="connsiteY77" fmla="*/ 0 h 1647825"/>
                <a:gd name="connsiteX78" fmla="*/ 0 w 5243512"/>
                <a:gd name="connsiteY78" fmla="*/ 0 h 1647825"/>
                <a:gd name="connsiteX0" fmla="*/ 5243512 w 5243512"/>
                <a:gd name="connsiteY0" fmla="*/ 1638300 h 1647825"/>
                <a:gd name="connsiteX1" fmla="*/ 4333875 w 5243512"/>
                <a:gd name="connsiteY1" fmla="*/ 1647825 h 1647825"/>
                <a:gd name="connsiteX2" fmla="*/ 4333875 w 5243512"/>
                <a:gd name="connsiteY2" fmla="*/ 1581150 h 1647825"/>
                <a:gd name="connsiteX3" fmla="*/ 4062412 w 5243512"/>
                <a:gd name="connsiteY3" fmla="*/ 1581150 h 1647825"/>
                <a:gd name="connsiteX4" fmla="*/ 4062412 w 5243512"/>
                <a:gd name="connsiteY4" fmla="*/ 1509712 h 1647825"/>
                <a:gd name="connsiteX5" fmla="*/ 3705225 w 5243512"/>
                <a:gd name="connsiteY5" fmla="*/ 1509712 h 1647825"/>
                <a:gd name="connsiteX6" fmla="*/ 3709987 w 5243512"/>
                <a:gd name="connsiteY6" fmla="*/ 1462087 h 1647825"/>
                <a:gd name="connsiteX7" fmla="*/ 3267075 w 5243512"/>
                <a:gd name="connsiteY7" fmla="*/ 1462087 h 1647825"/>
                <a:gd name="connsiteX8" fmla="*/ 3267075 w 5243512"/>
                <a:gd name="connsiteY8" fmla="*/ 1428750 h 1647825"/>
                <a:gd name="connsiteX9" fmla="*/ 3009900 w 5243512"/>
                <a:gd name="connsiteY9" fmla="*/ 1423987 h 1647825"/>
                <a:gd name="connsiteX10" fmla="*/ 3014662 w 5243512"/>
                <a:gd name="connsiteY10" fmla="*/ 1376362 h 1647825"/>
                <a:gd name="connsiteX11" fmla="*/ 2857500 w 5243512"/>
                <a:gd name="connsiteY11" fmla="*/ 1381125 h 1647825"/>
                <a:gd name="connsiteX12" fmla="*/ 2862262 w 5243512"/>
                <a:gd name="connsiteY12" fmla="*/ 1333500 h 1647825"/>
                <a:gd name="connsiteX13" fmla="*/ 2800350 w 5243512"/>
                <a:gd name="connsiteY13" fmla="*/ 1328737 h 1647825"/>
                <a:gd name="connsiteX14" fmla="*/ 2805112 w 5243512"/>
                <a:gd name="connsiteY14" fmla="*/ 1300162 h 1647825"/>
                <a:gd name="connsiteX15" fmla="*/ 2605087 w 5243512"/>
                <a:gd name="connsiteY15" fmla="*/ 1314450 h 1647825"/>
                <a:gd name="connsiteX16" fmla="*/ 2605087 w 5243512"/>
                <a:gd name="connsiteY16" fmla="*/ 1271587 h 1647825"/>
                <a:gd name="connsiteX17" fmla="*/ 2462212 w 5243512"/>
                <a:gd name="connsiteY17" fmla="*/ 1271587 h 1647825"/>
                <a:gd name="connsiteX18" fmla="*/ 2462212 w 5243512"/>
                <a:gd name="connsiteY18" fmla="*/ 1252537 h 1647825"/>
                <a:gd name="connsiteX19" fmla="*/ 2262187 w 5243512"/>
                <a:gd name="connsiteY19" fmla="*/ 1252537 h 1647825"/>
                <a:gd name="connsiteX20" fmla="*/ 2266950 w 5243512"/>
                <a:gd name="connsiteY20" fmla="*/ 1204912 h 1647825"/>
                <a:gd name="connsiteX21" fmla="*/ 1966912 w 5243512"/>
                <a:gd name="connsiteY21" fmla="*/ 1204912 h 1647825"/>
                <a:gd name="connsiteX22" fmla="*/ 1962150 w 5243512"/>
                <a:gd name="connsiteY22" fmla="*/ 1162050 h 1647825"/>
                <a:gd name="connsiteX23" fmla="*/ 1809750 w 5243512"/>
                <a:gd name="connsiteY23" fmla="*/ 1157287 h 1647825"/>
                <a:gd name="connsiteX24" fmla="*/ 1809750 w 5243512"/>
                <a:gd name="connsiteY24" fmla="*/ 1157287 h 1647825"/>
                <a:gd name="connsiteX25" fmla="*/ 1809750 w 5243512"/>
                <a:gd name="connsiteY25" fmla="*/ 1133475 h 1647825"/>
                <a:gd name="connsiteX26" fmla="*/ 1714500 w 5243512"/>
                <a:gd name="connsiteY26" fmla="*/ 1133475 h 1647825"/>
                <a:gd name="connsiteX27" fmla="*/ 1704975 w 5243512"/>
                <a:gd name="connsiteY27" fmla="*/ 1095375 h 1647825"/>
                <a:gd name="connsiteX28" fmla="*/ 1590675 w 5243512"/>
                <a:gd name="connsiteY28" fmla="*/ 1095375 h 1647825"/>
                <a:gd name="connsiteX29" fmla="*/ 1595437 w 5243512"/>
                <a:gd name="connsiteY29" fmla="*/ 1062037 h 1647825"/>
                <a:gd name="connsiteX30" fmla="*/ 1428750 w 5243512"/>
                <a:gd name="connsiteY30" fmla="*/ 1057275 h 1647825"/>
                <a:gd name="connsiteX31" fmla="*/ 1428750 w 5243512"/>
                <a:gd name="connsiteY31" fmla="*/ 1057275 h 1647825"/>
                <a:gd name="connsiteX32" fmla="*/ 1423988 w 5243512"/>
                <a:gd name="connsiteY32" fmla="*/ 1028699 h 1647825"/>
                <a:gd name="connsiteX33" fmla="*/ 1328737 w 5243512"/>
                <a:gd name="connsiteY33" fmla="*/ 1028700 h 1647825"/>
                <a:gd name="connsiteX34" fmla="*/ 1333500 w 5243512"/>
                <a:gd name="connsiteY34" fmla="*/ 990600 h 1647825"/>
                <a:gd name="connsiteX35" fmla="*/ 1247775 w 5243512"/>
                <a:gd name="connsiteY35" fmla="*/ 995362 h 1647825"/>
                <a:gd name="connsiteX36" fmla="*/ 1247775 w 5243512"/>
                <a:gd name="connsiteY36" fmla="*/ 942975 h 1647825"/>
                <a:gd name="connsiteX37" fmla="*/ 1190625 w 5243512"/>
                <a:gd name="connsiteY37" fmla="*/ 947737 h 1647825"/>
                <a:gd name="connsiteX38" fmla="*/ 1200150 w 5243512"/>
                <a:gd name="connsiteY38" fmla="*/ 890587 h 1647825"/>
                <a:gd name="connsiteX39" fmla="*/ 1123950 w 5243512"/>
                <a:gd name="connsiteY39" fmla="*/ 881062 h 1647825"/>
                <a:gd name="connsiteX40" fmla="*/ 1114425 w 5243512"/>
                <a:gd name="connsiteY40" fmla="*/ 823912 h 1647825"/>
                <a:gd name="connsiteX41" fmla="*/ 1062037 w 5243512"/>
                <a:gd name="connsiteY41" fmla="*/ 823912 h 1647825"/>
                <a:gd name="connsiteX42" fmla="*/ 1062037 w 5243512"/>
                <a:gd name="connsiteY42" fmla="*/ 766762 h 1647825"/>
                <a:gd name="connsiteX43" fmla="*/ 1019175 w 5243512"/>
                <a:gd name="connsiteY43" fmla="*/ 766762 h 1647825"/>
                <a:gd name="connsiteX44" fmla="*/ 1033462 w 5243512"/>
                <a:gd name="connsiteY44" fmla="*/ 709612 h 1647825"/>
                <a:gd name="connsiteX45" fmla="*/ 947737 w 5243512"/>
                <a:gd name="connsiteY45" fmla="*/ 704850 h 1647825"/>
                <a:gd name="connsiteX46" fmla="*/ 947737 w 5243512"/>
                <a:gd name="connsiteY46" fmla="*/ 647700 h 1647825"/>
                <a:gd name="connsiteX47" fmla="*/ 909637 w 5243512"/>
                <a:gd name="connsiteY47" fmla="*/ 647700 h 1647825"/>
                <a:gd name="connsiteX48" fmla="*/ 923925 w 5243512"/>
                <a:gd name="connsiteY48" fmla="*/ 609600 h 1647825"/>
                <a:gd name="connsiteX49" fmla="*/ 852487 w 5243512"/>
                <a:gd name="connsiteY49" fmla="*/ 614362 h 1647825"/>
                <a:gd name="connsiteX50" fmla="*/ 852487 w 5243512"/>
                <a:gd name="connsiteY50" fmla="*/ 571500 h 1647825"/>
                <a:gd name="connsiteX51" fmla="*/ 781050 w 5243512"/>
                <a:gd name="connsiteY51" fmla="*/ 566737 h 1647825"/>
                <a:gd name="connsiteX52" fmla="*/ 781050 w 5243512"/>
                <a:gd name="connsiteY52" fmla="*/ 538162 h 1647825"/>
                <a:gd name="connsiteX53" fmla="*/ 728662 w 5243512"/>
                <a:gd name="connsiteY53" fmla="*/ 533400 h 1647825"/>
                <a:gd name="connsiteX54" fmla="*/ 723899 w 5243512"/>
                <a:gd name="connsiteY54" fmla="*/ 500062 h 1647825"/>
                <a:gd name="connsiteX55" fmla="*/ 647700 w 5243512"/>
                <a:gd name="connsiteY55" fmla="*/ 500062 h 1647825"/>
                <a:gd name="connsiteX56" fmla="*/ 647700 w 5243512"/>
                <a:gd name="connsiteY56" fmla="*/ 466725 h 1647825"/>
                <a:gd name="connsiteX57" fmla="*/ 595313 w 5243512"/>
                <a:gd name="connsiteY57" fmla="*/ 461962 h 1647825"/>
                <a:gd name="connsiteX58" fmla="*/ 600076 w 5243512"/>
                <a:gd name="connsiteY58" fmla="*/ 433387 h 1647825"/>
                <a:gd name="connsiteX59" fmla="*/ 533400 w 5243512"/>
                <a:gd name="connsiteY59" fmla="*/ 428625 h 1647825"/>
                <a:gd name="connsiteX60" fmla="*/ 538163 w 5243512"/>
                <a:gd name="connsiteY60" fmla="*/ 390524 h 1647825"/>
                <a:gd name="connsiteX61" fmla="*/ 466725 w 5243512"/>
                <a:gd name="connsiteY61" fmla="*/ 390525 h 1647825"/>
                <a:gd name="connsiteX62" fmla="*/ 466725 w 5243512"/>
                <a:gd name="connsiteY62" fmla="*/ 342900 h 1647825"/>
                <a:gd name="connsiteX63" fmla="*/ 423862 w 5243512"/>
                <a:gd name="connsiteY63" fmla="*/ 342900 h 1647825"/>
                <a:gd name="connsiteX64" fmla="*/ 423862 w 5243512"/>
                <a:gd name="connsiteY64" fmla="*/ 342900 h 1647825"/>
                <a:gd name="connsiteX65" fmla="*/ 423862 w 5243512"/>
                <a:gd name="connsiteY65" fmla="*/ 295275 h 1647825"/>
                <a:gd name="connsiteX66" fmla="*/ 385761 w 5243512"/>
                <a:gd name="connsiteY66" fmla="*/ 300038 h 1647825"/>
                <a:gd name="connsiteX67" fmla="*/ 385762 w 5243512"/>
                <a:gd name="connsiteY67" fmla="*/ 266699 h 1647825"/>
                <a:gd name="connsiteX68" fmla="*/ 342900 w 5243512"/>
                <a:gd name="connsiteY68" fmla="*/ 261937 h 1647825"/>
                <a:gd name="connsiteX69" fmla="*/ 357187 w 5243512"/>
                <a:gd name="connsiteY69" fmla="*/ 209550 h 1647825"/>
                <a:gd name="connsiteX70" fmla="*/ 280987 w 5243512"/>
                <a:gd name="connsiteY70" fmla="*/ 209550 h 1647825"/>
                <a:gd name="connsiteX71" fmla="*/ 276224 w 5243512"/>
                <a:gd name="connsiteY71" fmla="*/ 171450 h 1647825"/>
                <a:gd name="connsiteX72" fmla="*/ 238125 w 5243512"/>
                <a:gd name="connsiteY72" fmla="*/ 166687 h 1647825"/>
                <a:gd name="connsiteX73" fmla="*/ 233362 w 5243512"/>
                <a:gd name="connsiteY73" fmla="*/ 133350 h 1647825"/>
                <a:gd name="connsiteX74" fmla="*/ 166687 w 5243512"/>
                <a:gd name="connsiteY74" fmla="*/ 138112 h 1647825"/>
                <a:gd name="connsiteX75" fmla="*/ 171450 w 5243512"/>
                <a:gd name="connsiteY75" fmla="*/ 52387 h 1647825"/>
                <a:gd name="connsiteX76" fmla="*/ 71437 w 5243512"/>
                <a:gd name="connsiteY76" fmla="*/ 47625 h 1647825"/>
                <a:gd name="connsiteX77" fmla="*/ 76200 w 5243512"/>
                <a:gd name="connsiteY77" fmla="*/ 0 h 1647825"/>
                <a:gd name="connsiteX78" fmla="*/ 0 w 5243512"/>
                <a:gd name="connsiteY78" fmla="*/ 0 h 1647825"/>
                <a:gd name="connsiteX0" fmla="*/ 5243512 w 5243512"/>
                <a:gd name="connsiteY0" fmla="*/ 1638300 h 1647825"/>
                <a:gd name="connsiteX1" fmla="*/ 4333875 w 5243512"/>
                <a:gd name="connsiteY1" fmla="*/ 1647825 h 1647825"/>
                <a:gd name="connsiteX2" fmla="*/ 4333875 w 5243512"/>
                <a:gd name="connsiteY2" fmla="*/ 1581150 h 1647825"/>
                <a:gd name="connsiteX3" fmla="*/ 4062412 w 5243512"/>
                <a:gd name="connsiteY3" fmla="*/ 1581150 h 1647825"/>
                <a:gd name="connsiteX4" fmla="*/ 4062412 w 5243512"/>
                <a:gd name="connsiteY4" fmla="*/ 1509712 h 1647825"/>
                <a:gd name="connsiteX5" fmla="*/ 3705225 w 5243512"/>
                <a:gd name="connsiteY5" fmla="*/ 1509712 h 1647825"/>
                <a:gd name="connsiteX6" fmla="*/ 3709987 w 5243512"/>
                <a:gd name="connsiteY6" fmla="*/ 1462087 h 1647825"/>
                <a:gd name="connsiteX7" fmla="*/ 3267075 w 5243512"/>
                <a:gd name="connsiteY7" fmla="*/ 1462087 h 1647825"/>
                <a:gd name="connsiteX8" fmla="*/ 3267075 w 5243512"/>
                <a:gd name="connsiteY8" fmla="*/ 1428750 h 1647825"/>
                <a:gd name="connsiteX9" fmla="*/ 3009900 w 5243512"/>
                <a:gd name="connsiteY9" fmla="*/ 1423987 h 1647825"/>
                <a:gd name="connsiteX10" fmla="*/ 3014662 w 5243512"/>
                <a:gd name="connsiteY10" fmla="*/ 1376362 h 1647825"/>
                <a:gd name="connsiteX11" fmla="*/ 2857500 w 5243512"/>
                <a:gd name="connsiteY11" fmla="*/ 1381125 h 1647825"/>
                <a:gd name="connsiteX12" fmla="*/ 2862262 w 5243512"/>
                <a:gd name="connsiteY12" fmla="*/ 1333500 h 1647825"/>
                <a:gd name="connsiteX13" fmla="*/ 2805112 w 5243512"/>
                <a:gd name="connsiteY13" fmla="*/ 1338262 h 1647825"/>
                <a:gd name="connsiteX14" fmla="*/ 2805112 w 5243512"/>
                <a:gd name="connsiteY14" fmla="*/ 1300162 h 1647825"/>
                <a:gd name="connsiteX15" fmla="*/ 2605087 w 5243512"/>
                <a:gd name="connsiteY15" fmla="*/ 1314450 h 1647825"/>
                <a:gd name="connsiteX16" fmla="*/ 2605087 w 5243512"/>
                <a:gd name="connsiteY16" fmla="*/ 1271587 h 1647825"/>
                <a:gd name="connsiteX17" fmla="*/ 2462212 w 5243512"/>
                <a:gd name="connsiteY17" fmla="*/ 1271587 h 1647825"/>
                <a:gd name="connsiteX18" fmla="*/ 2462212 w 5243512"/>
                <a:gd name="connsiteY18" fmla="*/ 1252537 h 1647825"/>
                <a:gd name="connsiteX19" fmla="*/ 2262187 w 5243512"/>
                <a:gd name="connsiteY19" fmla="*/ 1252537 h 1647825"/>
                <a:gd name="connsiteX20" fmla="*/ 2266950 w 5243512"/>
                <a:gd name="connsiteY20" fmla="*/ 1204912 h 1647825"/>
                <a:gd name="connsiteX21" fmla="*/ 1966912 w 5243512"/>
                <a:gd name="connsiteY21" fmla="*/ 1204912 h 1647825"/>
                <a:gd name="connsiteX22" fmla="*/ 1962150 w 5243512"/>
                <a:gd name="connsiteY22" fmla="*/ 1162050 h 1647825"/>
                <a:gd name="connsiteX23" fmla="*/ 1809750 w 5243512"/>
                <a:gd name="connsiteY23" fmla="*/ 1157287 h 1647825"/>
                <a:gd name="connsiteX24" fmla="*/ 1809750 w 5243512"/>
                <a:gd name="connsiteY24" fmla="*/ 1157287 h 1647825"/>
                <a:gd name="connsiteX25" fmla="*/ 1809750 w 5243512"/>
                <a:gd name="connsiteY25" fmla="*/ 1133475 h 1647825"/>
                <a:gd name="connsiteX26" fmla="*/ 1714500 w 5243512"/>
                <a:gd name="connsiteY26" fmla="*/ 1133475 h 1647825"/>
                <a:gd name="connsiteX27" fmla="*/ 1704975 w 5243512"/>
                <a:gd name="connsiteY27" fmla="*/ 1095375 h 1647825"/>
                <a:gd name="connsiteX28" fmla="*/ 1590675 w 5243512"/>
                <a:gd name="connsiteY28" fmla="*/ 1095375 h 1647825"/>
                <a:gd name="connsiteX29" fmla="*/ 1595437 w 5243512"/>
                <a:gd name="connsiteY29" fmla="*/ 1062037 h 1647825"/>
                <a:gd name="connsiteX30" fmla="*/ 1428750 w 5243512"/>
                <a:gd name="connsiteY30" fmla="*/ 1057275 h 1647825"/>
                <a:gd name="connsiteX31" fmla="*/ 1428750 w 5243512"/>
                <a:gd name="connsiteY31" fmla="*/ 1057275 h 1647825"/>
                <a:gd name="connsiteX32" fmla="*/ 1423988 w 5243512"/>
                <a:gd name="connsiteY32" fmla="*/ 1028699 h 1647825"/>
                <a:gd name="connsiteX33" fmla="*/ 1328737 w 5243512"/>
                <a:gd name="connsiteY33" fmla="*/ 1028700 h 1647825"/>
                <a:gd name="connsiteX34" fmla="*/ 1333500 w 5243512"/>
                <a:gd name="connsiteY34" fmla="*/ 990600 h 1647825"/>
                <a:gd name="connsiteX35" fmla="*/ 1247775 w 5243512"/>
                <a:gd name="connsiteY35" fmla="*/ 995362 h 1647825"/>
                <a:gd name="connsiteX36" fmla="*/ 1247775 w 5243512"/>
                <a:gd name="connsiteY36" fmla="*/ 942975 h 1647825"/>
                <a:gd name="connsiteX37" fmla="*/ 1190625 w 5243512"/>
                <a:gd name="connsiteY37" fmla="*/ 947737 h 1647825"/>
                <a:gd name="connsiteX38" fmla="*/ 1200150 w 5243512"/>
                <a:gd name="connsiteY38" fmla="*/ 890587 h 1647825"/>
                <a:gd name="connsiteX39" fmla="*/ 1123950 w 5243512"/>
                <a:gd name="connsiteY39" fmla="*/ 881062 h 1647825"/>
                <a:gd name="connsiteX40" fmla="*/ 1114425 w 5243512"/>
                <a:gd name="connsiteY40" fmla="*/ 823912 h 1647825"/>
                <a:gd name="connsiteX41" fmla="*/ 1062037 w 5243512"/>
                <a:gd name="connsiteY41" fmla="*/ 823912 h 1647825"/>
                <a:gd name="connsiteX42" fmla="*/ 1062037 w 5243512"/>
                <a:gd name="connsiteY42" fmla="*/ 766762 h 1647825"/>
                <a:gd name="connsiteX43" fmla="*/ 1019175 w 5243512"/>
                <a:gd name="connsiteY43" fmla="*/ 766762 h 1647825"/>
                <a:gd name="connsiteX44" fmla="*/ 1033462 w 5243512"/>
                <a:gd name="connsiteY44" fmla="*/ 709612 h 1647825"/>
                <a:gd name="connsiteX45" fmla="*/ 947737 w 5243512"/>
                <a:gd name="connsiteY45" fmla="*/ 704850 h 1647825"/>
                <a:gd name="connsiteX46" fmla="*/ 947737 w 5243512"/>
                <a:gd name="connsiteY46" fmla="*/ 647700 h 1647825"/>
                <a:gd name="connsiteX47" fmla="*/ 909637 w 5243512"/>
                <a:gd name="connsiteY47" fmla="*/ 647700 h 1647825"/>
                <a:gd name="connsiteX48" fmla="*/ 923925 w 5243512"/>
                <a:gd name="connsiteY48" fmla="*/ 609600 h 1647825"/>
                <a:gd name="connsiteX49" fmla="*/ 852487 w 5243512"/>
                <a:gd name="connsiteY49" fmla="*/ 614362 h 1647825"/>
                <a:gd name="connsiteX50" fmla="*/ 852487 w 5243512"/>
                <a:gd name="connsiteY50" fmla="*/ 571500 h 1647825"/>
                <a:gd name="connsiteX51" fmla="*/ 781050 w 5243512"/>
                <a:gd name="connsiteY51" fmla="*/ 566737 h 1647825"/>
                <a:gd name="connsiteX52" fmla="*/ 781050 w 5243512"/>
                <a:gd name="connsiteY52" fmla="*/ 538162 h 1647825"/>
                <a:gd name="connsiteX53" fmla="*/ 728662 w 5243512"/>
                <a:gd name="connsiteY53" fmla="*/ 533400 h 1647825"/>
                <a:gd name="connsiteX54" fmla="*/ 723899 w 5243512"/>
                <a:gd name="connsiteY54" fmla="*/ 500062 h 1647825"/>
                <a:gd name="connsiteX55" fmla="*/ 647700 w 5243512"/>
                <a:gd name="connsiteY55" fmla="*/ 500062 h 1647825"/>
                <a:gd name="connsiteX56" fmla="*/ 647700 w 5243512"/>
                <a:gd name="connsiteY56" fmla="*/ 466725 h 1647825"/>
                <a:gd name="connsiteX57" fmla="*/ 595313 w 5243512"/>
                <a:gd name="connsiteY57" fmla="*/ 461962 h 1647825"/>
                <a:gd name="connsiteX58" fmla="*/ 600076 w 5243512"/>
                <a:gd name="connsiteY58" fmla="*/ 433387 h 1647825"/>
                <a:gd name="connsiteX59" fmla="*/ 533400 w 5243512"/>
                <a:gd name="connsiteY59" fmla="*/ 428625 h 1647825"/>
                <a:gd name="connsiteX60" fmla="*/ 538163 w 5243512"/>
                <a:gd name="connsiteY60" fmla="*/ 390524 h 1647825"/>
                <a:gd name="connsiteX61" fmla="*/ 466725 w 5243512"/>
                <a:gd name="connsiteY61" fmla="*/ 390525 h 1647825"/>
                <a:gd name="connsiteX62" fmla="*/ 466725 w 5243512"/>
                <a:gd name="connsiteY62" fmla="*/ 342900 h 1647825"/>
                <a:gd name="connsiteX63" fmla="*/ 423862 w 5243512"/>
                <a:gd name="connsiteY63" fmla="*/ 342900 h 1647825"/>
                <a:gd name="connsiteX64" fmla="*/ 423862 w 5243512"/>
                <a:gd name="connsiteY64" fmla="*/ 342900 h 1647825"/>
                <a:gd name="connsiteX65" fmla="*/ 423862 w 5243512"/>
                <a:gd name="connsiteY65" fmla="*/ 295275 h 1647825"/>
                <a:gd name="connsiteX66" fmla="*/ 385761 w 5243512"/>
                <a:gd name="connsiteY66" fmla="*/ 300038 h 1647825"/>
                <a:gd name="connsiteX67" fmla="*/ 385762 w 5243512"/>
                <a:gd name="connsiteY67" fmla="*/ 266699 h 1647825"/>
                <a:gd name="connsiteX68" fmla="*/ 342900 w 5243512"/>
                <a:gd name="connsiteY68" fmla="*/ 261937 h 1647825"/>
                <a:gd name="connsiteX69" fmla="*/ 357187 w 5243512"/>
                <a:gd name="connsiteY69" fmla="*/ 209550 h 1647825"/>
                <a:gd name="connsiteX70" fmla="*/ 280987 w 5243512"/>
                <a:gd name="connsiteY70" fmla="*/ 209550 h 1647825"/>
                <a:gd name="connsiteX71" fmla="*/ 276224 w 5243512"/>
                <a:gd name="connsiteY71" fmla="*/ 171450 h 1647825"/>
                <a:gd name="connsiteX72" fmla="*/ 238125 w 5243512"/>
                <a:gd name="connsiteY72" fmla="*/ 166687 h 1647825"/>
                <a:gd name="connsiteX73" fmla="*/ 233362 w 5243512"/>
                <a:gd name="connsiteY73" fmla="*/ 133350 h 1647825"/>
                <a:gd name="connsiteX74" fmla="*/ 166687 w 5243512"/>
                <a:gd name="connsiteY74" fmla="*/ 138112 h 1647825"/>
                <a:gd name="connsiteX75" fmla="*/ 171450 w 5243512"/>
                <a:gd name="connsiteY75" fmla="*/ 52387 h 1647825"/>
                <a:gd name="connsiteX76" fmla="*/ 71437 w 5243512"/>
                <a:gd name="connsiteY76" fmla="*/ 47625 h 1647825"/>
                <a:gd name="connsiteX77" fmla="*/ 76200 w 5243512"/>
                <a:gd name="connsiteY77" fmla="*/ 0 h 1647825"/>
                <a:gd name="connsiteX78" fmla="*/ 0 w 5243512"/>
                <a:gd name="connsiteY78" fmla="*/ 0 h 1647825"/>
                <a:gd name="connsiteX0" fmla="*/ 5243512 w 5243512"/>
                <a:gd name="connsiteY0" fmla="*/ 1638300 h 1647825"/>
                <a:gd name="connsiteX1" fmla="*/ 4333875 w 5243512"/>
                <a:gd name="connsiteY1" fmla="*/ 1647825 h 1647825"/>
                <a:gd name="connsiteX2" fmla="*/ 4333875 w 5243512"/>
                <a:gd name="connsiteY2" fmla="*/ 1581150 h 1647825"/>
                <a:gd name="connsiteX3" fmla="*/ 4062412 w 5243512"/>
                <a:gd name="connsiteY3" fmla="*/ 1581150 h 1647825"/>
                <a:gd name="connsiteX4" fmla="*/ 4062412 w 5243512"/>
                <a:gd name="connsiteY4" fmla="*/ 1509712 h 1647825"/>
                <a:gd name="connsiteX5" fmla="*/ 3705225 w 5243512"/>
                <a:gd name="connsiteY5" fmla="*/ 1509712 h 1647825"/>
                <a:gd name="connsiteX6" fmla="*/ 3709987 w 5243512"/>
                <a:gd name="connsiteY6" fmla="*/ 1462087 h 1647825"/>
                <a:gd name="connsiteX7" fmla="*/ 3267075 w 5243512"/>
                <a:gd name="connsiteY7" fmla="*/ 1462087 h 1647825"/>
                <a:gd name="connsiteX8" fmla="*/ 3267075 w 5243512"/>
                <a:gd name="connsiteY8" fmla="*/ 1428750 h 1647825"/>
                <a:gd name="connsiteX9" fmla="*/ 3009900 w 5243512"/>
                <a:gd name="connsiteY9" fmla="*/ 1423987 h 1647825"/>
                <a:gd name="connsiteX10" fmla="*/ 3014662 w 5243512"/>
                <a:gd name="connsiteY10" fmla="*/ 1376362 h 1647825"/>
                <a:gd name="connsiteX11" fmla="*/ 2857500 w 5243512"/>
                <a:gd name="connsiteY11" fmla="*/ 1381125 h 1647825"/>
                <a:gd name="connsiteX12" fmla="*/ 2862262 w 5243512"/>
                <a:gd name="connsiteY12" fmla="*/ 1333500 h 1647825"/>
                <a:gd name="connsiteX13" fmla="*/ 2805112 w 5243512"/>
                <a:gd name="connsiteY13" fmla="*/ 1338262 h 1647825"/>
                <a:gd name="connsiteX14" fmla="*/ 2805112 w 5243512"/>
                <a:gd name="connsiteY14" fmla="*/ 1300162 h 1647825"/>
                <a:gd name="connsiteX15" fmla="*/ 2605087 w 5243512"/>
                <a:gd name="connsiteY15" fmla="*/ 1314450 h 1647825"/>
                <a:gd name="connsiteX16" fmla="*/ 2605087 w 5243512"/>
                <a:gd name="connsiteY16" fmla="*/ 1271587 h 1647825"/>
                <a:gd name="connsiteX17" fmla="*/ 2462212 w 5243512"/>
                <a:gd name="connsiteY17" fmla="*/ 1271587 h 1647825"/>
                <a:gd name="connsiteX18" fmla="*/ 2462212 w 5243512"/>
                <a:gd name="connsiteY18" fmla="*/ 1252537 h 1647825"/>
                <a:gd name="connsiteX19" fmla="*/ 2262187 w 5243512"/>
                <a:gd name="connsiteY19" fmla="*/ 1252537 h 1647825"/>
                <a:gd name="connsiteX20" fmla="*/ 2266950 w 5243512"/>
                <a:gd name="connsiteY20" fmla="*/ 1204912 h 1647825"/>
                <a:gd name="connsiteX21" fmla="*/ 1966912 w 5243512"/>
                <a:gd name="connsiteY21" fmla="*/ 1204912 h 1647825"/>
                <a:gd name="connsiteX22" fmla="*/ 1962150 w 5243512"/>
                <a:gd name="connsiteY22" fmla="*/ 1162050 h 1647825"/>
                <a:gd name="connsiteX23" fmla="*/ 1809750 w 5243512"/>
                <a:gd name="connsiteY23" fmla="*/ 1157287 h 1647825"/>
                <a:gd name="connsiteX24" fmla="*/ 1809750 w 5243512"/>
                <a:gd name="connsiteY24" fmla="*/ 1157287 h 1647825"/>
                <a:gd name="connsiteX25" fmla="*/ 1809750 w 5243512"/>
                <a:gd name="connsiteY25" fmla="*/ 1133475 h 1647825"/>
                <a:gd name="connsiteX26" fmla="*/ 1714500 w 5243512"/>
                <a:gd name="connsiteY26" fmla="*/ 1133475 h 1647825"/>
                <a:gd name="connsiteX27" fmla="*/ 1704975 w 5243512"/>
                <a:gd name="connsiteY27" fmla="*/ 1095375 h 1647825"/>
                <a:gd name="connsiteX28" fmla="*/ 1590675 w 5243512"/>
                <a:gd name="connsiteY28" fmla="*/ 1095375 h 1647825"/>
                <a:gd name="connsiteX29" fmla="*/ 1595437 w 5243512"/>
                <a:gd name="connsiteY29" fmla="*/ 1062037 h 1647825"/>
                <a:gd name="connsiteX30" fmla="*/ 1428750 w 5243512"/>
                <a:gd name="connsiteY30" fmla="*/ 1057275 h 1647825"/>
                <a:gd name="connsiteX31" fmla="*/ 1428750 w 5243512"/>
                <a:gd name="connsiteY31" fmla="*/ 1057275 h 1647825"/>
                <a:gd name="connsiteX32" fmla="*/ 1423988 w 5243512"/>
                <a:gd name="connsiteY32" fmla="*/ 1028699 h 1647825"/>
                <a:gd name="connsiteX33" fmla="*/ 1328737 w 5243512"/>
                <a:gd name="connsiteY33" fmla="*/ 1028700 h 1647825"/>
                <a:gd name="connsiteX34" fmla="*/ 1333500 w 5243512"/>
                <a:gd name="connsiteY34" fmla="*/ 990600 h 1647825"/>
                <a:gd name="connsiteX35" fmla="*/ 1247775 w 5243512"/>
                <a:gd name="connsiteY35" fmla="*/ 995362 h 1647825"/>
                <a:gd name="connsiteX36" fmla="*/ 1247775 w 5243512"/>
                <a:gd name="connsiteY36" fmla="*/ 942975 h 1647825"/>
                <a:gd name="connsiteX37" fmla="*/ 1190625 w 5243512"/>
                <a:gd name="connsiteY37" fmla="*/ 947737 h 1647825"/>
                <a:gd name="connsiteX38" fmla="*/ 1200150 w 5243512"/>
                <a:gd name="connsiteY38" fmla="*/ 890587 h 1647825"/>
                <a:gd name="connsiteX39" fmla="*/ 1123950 w 5243512"/>
                <a:gd name="connsiteY39" fmla="*/ 881062 h 1647825"/>
                <a:gd name="connsiteX40" fmla="*/ 1114425 w 5243512"/>
                <a:gd name="connsiteY40" fmla="*/ 823912 h 1647825"/>
                <a:gd name="connsiteX41" fmla="*/ 1062037 w 5243512"/>
                <a:gd name="connsiteY41" fmla="*/ 823912 h 1647825"/>
                <a:gd name="connsiteX42" fmla="*/ 1062037 w 5243512"/>
                <a:gd name="connsiteY42" fmla="*/ 766762 h 1647825"/>
                <a:gd name="connsiteX43" fmla="*/ 1019175 w 5243512"/>
                <a:gd name="connsiteY43" fmla="*/ 766762 h 1647825"/>
                <a:gd name="connsiteX44" fmla="*/ 1033462 w 5243512"/>
                <a:gd name="connsiteY44" fmla="*/ 709612 h 1647825"/>
                <a:gd name="connsiteX45" fmla="*/ 947737 w 5243512"/>
                <a:gd name="connsiteY45" fmla="*/ 704850 h 1647825"/>
                <a:gd name="connsiteX46" fmla="*/ 947737 w 5243512"/>
                <a:gd name="connsiteY46" fmla="*/ 647700 h 1647825"/>
                <a:gd name="connsiteX47" fmla="*/ 909637 w 5243512"/>
                <a:gd name="connsiteY47" fmla="*/ 647700 h 1647825"/>
                <a:gd name="connsiteX48" fmla="*/ 923925 w 5243512"/>
                <a:gd name="connsiteY48" fmla="*/ 609600 h 1647825"/>
                <a:gd name="connsiteX49" fmla="*/ 852487 w 5243512"/>
                <a:gd name="connsiteY49" fmla="*/ 614362 h 1647825"/>
                <a:gd name="connsiteX50" fmla="*/ 852487 w 5243512"/>
                <a:gd name="connsiteY50" fmla="*/ 571500 h 1647825"/>
                <a:gd name="connsiteX51" fmla="*/ 781050 w 5243512"/>
                <a:gd name="connsiteY51" fmla="*/ 566737 h 1647825"/>
                <a:gd name="connsiteX52" fmla="*/ 781050 w 5243512"/>
                <a:gd name="connsiteY52" fmla="*/ 538162 h 1647825"/>
                <a:gd name="connsiteX53" fmla="*/ 728662 w 5243512"/>
                <a:gd name="connsiteY53" fmla="*/ 533400 h 1647825"/>
                <a:gd name="connsiteX54" fmla="*/ 723899 w 5243512"/>
                <a:gd name="connsiteY54" fmla="*/ 500062 h 1647825"/>
                <a:gd name="connsiteX55" fmla="*/ 647700 w 5243512"/>
                <a:gd name="connsiteY55" fmla="*/ 500062 h 1647825"/>
                <a:gd name="connsiteX56" fmla="*/ 647700 w 5243512"/>
                <a:gd name="connsiteY56" fmla="*/ 466725 h 1647825"/>
                <a:gd name="connsiteX57" fmla="*/ 595313 w 5243512"/>
                <a:gd name="connsiteY57" fmla="*/ 461962 h 1647825"/>
                <a:gd name="connsiteX58" fmla="*/ 600076 w 5243512"/>
                <a:gd name="connsiteY58" fmla="*/ 433387 h 1647825"/>
                <a:gd name="connsiteX59" fmla="*/ 533400 w 5243512"/>
                <a:gd name="connsiteY59" fmla="*/ 428625 h 1647825"/>
                <a:gd name="connsiteX60" fmla="*/ 538163 w 5243512"/>
                <a:gd name="connsiteY60" fmla="*/ 390524 h 1647825"/>
                <a:gd name="connsiteX61" fmla="*/ 466725 w 5243512"/>
                <a:gd name="connsiteY61" fmla="*/ 390525 h 1647825"/>
                <a:gd name="connsiteX62" fmla="*/ 466725 w 5243512"/>
                <a:gd name="connsiteY62" fmla="*/ 342900 h 1647825"/>
                <a:gd name="connsiteX63" fmla="*/ 423862 w 5243512"/>
                <a:gd name="connsiteY63" fmla="*/ 342900 h 1647825"/>
                <a:gd name="connsiteX64" fmla="*/ 423862 w 5243512"/>
                <a:gd name="connsiteY64" fmla="*/ 342900 h 1647825"/>
                <a:gd name="connsiteX65" fmla="*/ 423862 w 5243512"/>
                <a:gd name="connsiteY65" fmla="*/ 295275 h 1647825"/>
                <a:gd name="connsiteX66" fmla="*/ 385761 w 5243512"/>
                <a:gd name="connsiteY66" fmla="*/ 300038 h 1647825"/>
                <a:gd name="connsiteX67" fmla="*/ 385762 w 5243512"/>
                <a:gd name="connsiteY67" fmla="*/ 266699 h 1647825"/>
                <a:gd name="connsiteX68" fmla="*/ 342900 w 5243512"/>
                <a:gd name="connsiteY68" fmla="*/ 261937 h 1647825"/>
                <a:gd name="connsiteX69" fmla="*/ 347662 w 5243512"/>
                <a:gd name="connsiteY69" fmla="*/ 209550 h 1647825"/>
                <a:gd name="connsiteX70" fmla="*/ 280987 w 5243512"/>
                <a:gd name="connsiteY70" fmla="*/ 209550 h 1647825"/>
                <a:gd name="connsiteX71" fmla="*/ 276224 w 5243512"/>
                <a:gd name="connsiteY71" fmla="*/ 171450 h 1647825"/>
                <a:gd name="connsiteX72" fmla="*/ 238125 w 5243512"/>
                <a:gd name="connsiteY72" fmla="*/ 166687 h 1647825"/>
                <a:gd name="connsiteX73" fmla="*/ 233362 w 5243512"/>
                <a:gd name="connsiteY73" fmla="*/ 133350 h 1647825"/>
                <a:gd name="connsiteX74" fmla="*/ 166687 w 5243512"/>
                <a:gd name="connsiteY74" fmla="*/ 138112 h 1647825"/>
                <a:gd name="connsiteX75" fmla="*/ 171450 w 5243512"/>
                <a:gd name="connsiteY75" fmla="*/ 52387 h 1647825"/>
                <a:gd name="connsiteX76" fmla="*/ 71437 w 5243512"/>
                <a:gd name="connsiteY76" fmla="*/ 47625 h 1647825"/>
                <a:gd name="connsiteX77" fmla="*/ 76200 w 5243512"/>
                <a:gd name="connsiteY77" fmla="*/ 0 h 1647825"/>
                <a:gd name="connsiteX78" fmla="*/ 0 w 5243512"/>
                <a:gd name="connsiteY78" fmla="*/ 0 h 1647825"/>
                <a:gd name="connsiteX0" fmla="*/ 5243512 w 5243512"/>
                <a:gd name="connsiteY0" fmla="*/ 1638300 h 1647825"/>
                <a:gd name="connsiteX1" fmla="*/ 4333875 w 5243512"/>
                <a:gd name="connsiteY1" fmla="*/ 1647825 h 1647825"/>
                <a:gd name="connsiteX2" fmla="*/ 4333875 w 5243512"/>
                <a:gd name="connsiteY2" fmla="*/ 1581150 h 1647825"/>
                <a:gd name="connsiteX3" fmla="*/ 4062412 w 5243512"/>
                <a:gd name="connsiteY3" fmla="*/ 1581150 h 1647825"/>
                <a:gd name="connsiteX4" fmla="*/ 4062412 w 5243512"/>
                <a:gd name="connsiteY4" fmla="*/ 1509712 h 1647825"/>
                <a:gd name="connsiteX5" fmla="*/ 3705225 w 5243512"/>
                <a:gd name="connsiteY5" fmla="*/ 1509712 h 1647825"/>
                <a:gd name="connsiteX6" fmla="*/ 3709987 w 5243512"/>
                <a:gd name="connsiteY6" fmla="*/ 1462087 h 1647825"/>
                <a:gd name="connsiteX7" fmla="*/ 3267075 w 5243512"/>
                <a:gd name="connsiteY7" fmla="*/ 1462087 h 1647825"/>
                <a:gd name="connsiteX8" fmla="*/ 3267075 w 5243512"/>
                <a:gd name="connsiteY8" fmla="*/ 1428750 h 1647825"/>
                <a:gd name="connsiteX9" fmla="*/ 3009900 w 5243512"/>
                <a:gd name="connsiteY9" fmla="*/ 1423987 h 1647825"/>
                <a:gd name="connsiteX10" fmla="*/ 3014662 w 5243512"/>
                <a:gd name="connsiteY10" fmla="*/ 1376362 h 1647825"/>
                <a:gd name="connsiteX11" fmla="*/ 2857500 w 5243512"/>
                <a:gd name="connsiteY11" fmla="*/ 1381125 h 1647825"/>
                <a:gd name="connsiteX12" fmla="*/ 2862262 w 5243512"/>
                <a:gd name="connsiteY12" fmla="*/ 1333500 h 1647825"/>
                <a:gd name="connsiteX13" fmla="*/ 2805112 w 5243512"/>
                <a:gd name="connsiteY13" fmla="*/ 1338262 h 1647825"/>
                <a:gd name="connsiteX14" fmla="*/ 2805112 w 5243512"/>
                <a:gd name="connsiteY14" fmla="*/ 1300162 h 1647825"/>
                <a:gd name="connsiteX15" fmla="*/ 2605087 w 5243512"/>
                <a:gd name="connsiteY15" fmla="*/ 1314450 h 1647825"/>
                <a:gd name="connsiteX16" fmla="*/ 2605087 w 5243512"/>
                <a:gd name="connsiteY16" fmla="*/ 1271587 h 1647825"/>
                <a:gd name="connsiteX17" fmla="*/ 2462212 w 5243512"/>
                <a:gd name="connsiteY17" fmla="*/ 1271587 h 1647825"/>
                <a:gd name="connsiteX18" fmla="*/ 2462212 w 5243512"/>
                <a:gd name="connsiteY18" fmla="*/ 1252537 h 1647825"/>
                <a:gd name="connsiteX19" fmla="*/ 2262187 w 5243512"/>
                <a:gd name="connsiteY19" fmla="*/ 1252537 h 1647825"/>
                <a:gd name="connsiteX20" fmla="*/ 2266950 w 5243512"/>
                <a:gd name="connsiteY20" fmla="*/ 1204912 h 1647825"/>
                <a:gd name="connsiteX21" fmla="*/ 1966912 w 5243512"/>
                <a:gd name="connsiteY21" fmla="*/ 1204912 h 1647825"/>
                <a:gd name="connsiteX22" fmla="*/ 1962150 w 5243512"/>
                <a:gd name="connsiteY22" fmla="*/ 1162050 h 1647825"/>
                <a:gd name="connsiteX23" fmla="*/ 1809750 w 5243512"/>
                <a:gd name="connsiteY23" fmla="*/ 1157287 h 1647825"/>
                <a:gd name="connsiteX24" fmla="*/ 1809750 w 5243512"/>
                <a:gd name="connsiteY24" fmla="*/ 1157287 h 1647825"/>
                <a:gd name="connsiteX25" fmla="*/ 1809750 w 5243512"/>
                <a:gd name="connsiteY25" fmla="*/ 1133475 h 1647825"/>
                <a:gd name="connsiteX26" fmla="*/ 1714500 w 5243512"/>
                <a:gd name="connsiteY26" fmla="*/ 1133475 h 1647825"/>
                <a:gd name="connsiteX27" fmla="*/ 1704975 w 5243512"/>
                <a:gd name="connsiteY27" fmla="*/ 1095375 h 1647825"/>
                <a:gd name="connsiteX28" fmla="*/ 1590675 w 5243512"/>
                <a:gd name="connsiteY28" fmla="*/ 1095375 h 1647825"/>
                <a:gd name="connsiteX29" fmla="*/ 1595437 w 5243512"/>
                <a:gd name="connsiteY29" fmla="*/ 1062037 h 1647825"/>
                <a:gd name="connsiteX30" fmla="*/ 1428750 w 5243512"/>
                <a:gd name="connsiteY30" fmla="*/ 1057275 h 1647825"/>
                <a:gd name="connsiteX31" fmla="*/ 1428750 w 5243512"/>
                <a:gd name="connsiteY31" fmla="*/ 1057275 h 1647825"/>
                <a:gd name="connsiteX32" fmla="*/ 1423988 w 5243512"/>
                <a:gd name="connsiteY32" fmla="*/ 1028699 h 1647825"/>
                <a:gd name="connsiteX33" fmla="*/ 1328737 w 5243512"/>
                <a:gd name="connsiteY33" fmla="*/ 1028700 h 1647825"/>
                <a:gd name="connsiteX34" fmla="*/ 1333500 w 5243512"/>
                <a:gd name="connsiteY34" fmla="*/ 990600 h 1647825"/>
                <a:gd name="connsiteX35" fmla="*/ 1247775 w 5243512"/>
                <a:gd name="connsiteY35" fmla="*/ 995362 h 1647825"/>
                <a:gd name="connsiteX36" fmla="*/ 1247775 w 5243512"/>
                <a:gd name="connsiteY36" fmla="*/ 942975 h 1647825"/>
                <a:gd name="connsiteX37" fmla="*/ 1190625 w 5243512"/>
                <a:gd name="connsiteY37" fmla="*/ 947737 h 1647825"/>
                <a:gd name="connsiteX38" fmla="*/ 1200150 w 5243512"/>
                <a:gd name="connsiteY38" fmla="*/ 890587 h 1647825"/>
                <a:gd name="connsiteX39" fmla="*/ 1123950 w 5243512"/>
                <a:gd name="connsiteY39" fmla="*/ 881062 h 1647825"/>
                <a:gd name="connsiteX40" fmla="*/ 1114425 w 5243512"/>
                <a:gd name="connsiteY40" fmla="*/ 823912 h 1647825"/>
                <a:gd name="connsiteX41" fmla="*/ 1062037 w 5243512"/>
                <a:gd name="connsiteY41" fmla="*/ 823912 h 1647825"/>
                <a:gd name="connsiteX42" fmla="*/ 1062037 w 5243512"/>
                <a:gd name="connsiteY42" fmla="*/ 766762 h 1647825"/>
                <a:gd name="connsiteX43" fmla="*/ 1019175 w 5243512"/>
                <a:gd name="connsiteY43" fmla="*/ 766762 h 1647825"/>
                <a:gd name="connsiteX44" fmla="*/ 1033462 w 5243512"/>
                <a:gd name="connsiteY44" fmla="*/ 709612 h 1647825"/>
                <a:gd name="connsiteX45" fmla="*/ 947737 w 5243512"/>
                <a:gd name="connsiteY45" fmla="*/ 704850 h 1647825"/>
                <a:gd name="connsiteX46" fmla="*/ 947737 w 5243512"/>
                <a:gd name="connsiteY46" fmla="*/ 647700 h 1647825"/>
                <a:gd name="connsiteX47" fmla="*/ 909637 w 5243512"/>
                <a:gd name="connsiteY47" fmla="*/ 647700 h 1647825"/>
                <a:gd name="connsiteX48" fmla="*/ 914400 w 5243512"/>
                <a:gd name="connsiteY48" fmla="*/ 609600 h 1647825"/>
                <a:gd name="connsiteX49" fmla="*/ 852487 w 5243512"/>
                <a:gd name="connsiteY49" fmla="*/ 614362 h 1647825"/>
                <a:gd name="connsiteX50" fmla="*/ 852487 w 5243512"/>
                <a:gd name="connsiteY50" fmla="*/ 571500 h 1647825"/>
                <a:gd name="connsiteX51" fmla="*/ 781050 w 5243512"/>
                <a:gd name="connsiteY51" fmla="*/ 566737 h 1647825"/>
                <a:gd name="connsiteX52" fmla="*/ 781050 w 5243512"/>
                <a:gd name="connsiteY52" fmla="*/ 538162 h 1647825"/>
                <a:gd name="connsiteX53" fmla="*/ 728662 w 5243512"/>
                <a:gd name="connsiteY53" fmla="*/ 533400 h 1647825"/>
                <a:gd name="connsiteX54" fmla="*/ 723899 w 5243512"/>
                <a:gd name="connsiteY54" fmla="*/ 500062 h 1647825"/>
                <a:gd name="connsiteX55" fmla="*/ 647700 w 5243512"/>
                <a:gd name="connsiteY55" fmla="*/ 500062 h 1647825"/>
                <a:gd name="connsiteX56" fmla="*/ 647700 w 5243512"/>
                <a:gd name="connsiteY56" fmla="*/ 466725 h 1647825"/>
                <a:gd name="connsiteX57" fmla="*/ 595313 w 5243512"/>
                <a:gd name="connsiteY57" fmla="*/ 461962 h 1647825"/>
                <a:gd name="connsiteX58" fmla="*/ 600076 w 5243512"/>
                <a:gd name="connsiteY58" fmla="*/ 433387 h 1647825"/>
                <a:gd name="connsiteX59" fmla="*/ 533400 w 5243512"/>
                <a:gd name="connsiteY59" fmla="*/ 428625 h 1647825"/>
                <a:gd name="connsiteX60" fmla="*/ 538163 w 5243512"/>
                <a:gd name="connsiteY60" fmla="*/ 390524 h 1647825"/>
                <a:gd name="connsiteX61" fmla="*/ 466725 w 5243512"/>
                <a:gd name="connsiteY61" fmla="*/ 390525 h 1647825"/>
                <a:gd name="connsiteX62" fmla="*/ 466725 w 5243512"/>
                <a:gd name="connsiteY62" fmla="*/ 342900 h 1647825"/>
                <a:gd name="connsiteX63" fmla="*/ 423862 w 5243512"/>
                <a:gd name="connsiteY63" fmla="*/ 342900 h 1647825"/>
                <a:gd name="connsiteX64" fmla="*/ 423862 w 5243512"/>
                <a:gd name="connsiteY64" fmla="*/ 342900 h 1647825"/>
                <a:gd name="connsiteX65" fmla="*/ 423862 w 5243512"/>
                <a:gd name="connsiteY65" fmla="*/ 295275 h 1647825"/>
                <a:gd name="connsiteX66" fmla="*/ 385761 w 5243512"/>
                <a:gd name="connsiteY66" fmla="*/ 300038 h 1647825"/>
                <a:gd name="connsiteX67" fmla="*/ 385762 w 5243512"/>
                <a:gd name="connsiteY67" fmla="*/ 266699 h 1647825"/>
                <a:gd name="connsiteX68" fmla="*/ 342900 w 5243512"/>
                <a:gd name="connsiteY68" fmla="*/ 261937 h 1647825"/>
                <a:gd name="connsiteX69" fmla="*/ 347662 w 5243512"/>
                <a:gd name="connsiteY69" fmla="*/ 209550 h 1647825"/>
                <a:gd name="connsiteX70" fmla="*/ 280987 w 5243512"/>
                <a:gd name="connsiteY70" fmla="*/ 209550 h 1647825"/>
                <a:gd name="connsiteX71" fmla="*/ 276224 w 5243512"/>
                <a:gd name="connsiteY71" fmla="*/ 171450 h 1647825"/>
                <a:gd name="connsiteX72" fmla="*/ 238125 w 5243512"/>
                <a:gd name="connsiteY72" fmla="*/ 166687 h 1647825"/>
                <a:gd name="connsiteX73" fmla="*/ 233362 w 5243512"/>
                <a:gd name="connsiteY73" fmla="*/ 133350 h 1647825"/>
                <a:gd name="connsiteX74" fmla="*/ 166687 w 5243512"/>
                <a:gd name="connsiteY74" fmla="*/ 138112 h 1647825"/>
                <a:gd name="connsiteX75" fmla="*/ 171450 w 5243512"/>
                <a:gd name="connsiteY75" fmla="*/ 52387 h 1647825"/>
                <a:gd name="connsiteX76" fmla="*/ 71437 w 5243512"/>
                <a:gd name="connsiteY76" fmla="*/ 47625 h 1647825"/>
                <a:gd name="connsiteX77" fmla="*/ 76200 w 5243512"/>
                <a:gd name="connsiteY77" fmla="*/ 0 h 1647825"/>
                <a:gd name="connsiteX78" fmla="*/ 0 w 5243512"/>
                <a:gd name="connsiteY78" fmla="*/ 0 h 1647825"/>
                <a:gd name="connsiteX0" fmla="*/ 5243512 w 5243512"/>
                <a:gd name="connsiteY0" fmla="*/ 1638300 h 1647825"/>
                <a:gd name="connsiteX1" fmla="*/ 4333875 w 5243512"/>
                <a:gd name="connsiteY1" fmla="*/ 1647825 h 1647825"/>
                <a:gd name="connsiteX2" fmla="*/ 4333875 w 5243512"/>
                <a:gd name="connsiteY2" fmla="*/ 1581150 h 1647825"/>
                <a:gd name="connsiteX3" fmla="*/ 4062412 w 5243512"/>
                <a:gd name="connsiteY3" fmla="*/ 1581150 h 1647825"/>
                <a:gd name="connsiteX4" fmla="*/ 4062412 w 5243512"/>
                <a:gd name="connsiteY4" fmla="*/ 1509712 h 1647825"/>
                <a:gd name="connsiteX5" fmla="*/ 3705225 w 5243512"/>
                <a:gd name="connsiteY5" fmla="*/ 1509712 h 1647825"/>
                <a:gd name="connsiteX6" fmla="*/ 3709987 w 5243512"/>
                <a:gd name="connsiteY6" fmla="*/ 1462087 h 1647825"/>
                <a:gd name="connsiteX7" fmla="*/ 3267075 w 5243512"/>
                <a:gd name="connsiteY7" fmla="*/ 1462087 h 1647825"/>
                <a:gd name="connsiteX8" fmla="*/ 3267075 w 5243512"/>
                <a:gd name="connsiteY8" fmla="*/ 1428750 h 1647825"/>
                <a:gd name="connsiteX9" fmla="*/ 3009900 w 5243512"/>
                <a:gd name="connsiteY9" fmla="*/ 1423987 h 1647825"/>
                <a:gd name="connsiteX10" fmla="*/ 3014662 w 5243512"/>
                <a:gd name="connsiteY10" fmla="*/ 1376362 h 1647825"/>
                <a:gd name="connsiteX11" fmla="*/ 2857500 w 5243512"/>
                <a:gd name="connsiteY11" fmla="*/ 1381125 h 1647825"/>
                <a:gd name="connsiteX12" fmla="*/ 2862262 w 5243512"/>
                <a:gd name="connsiteY12" fmla="*/ 1333500 h 1647825"/>
                <a:gd name="connsiteX13" fmla="*/ 2805112 w 5243512"/>
                <a:gd name="connsiteY13" fmla="*/ 1338262 h 1647825"/>
                <a:gd name="connsiteX14" fmla="*/ 2805112 w 5243512"/>
                <a:gd name="connsiteY14" fmla="*/ 1300162 h 1647825"/>
                <a:gd name="connsiteX15" fmla="*/ 2605087 w 5243512"/>
                <a:gd name="connsiteY15" fmla="*/ 1314450 h 1647825"/>
                <a:gd name="connsiteX16" fmla="*/ 2605087 w 5243512"/>
                <a:gd name="connsiteY16" fmla="*/ 1271587 h 1647825"/>
                <a:gd name="connsiteX17" fmla="*/ 2462212 w 5243512"/>
                <a:gd name="connsiteY17" fmla="*/ 1271587 h 1647825"/>
                <a:gd name="connsiteX18" fmla="*/ 2462212 w 5243512"/>
                <a:gd name="connsiteY18" fmla="*/ 1252537 h 1647825"/>
                <a:gd name="connsiteX19" fmla="*/ 2262187 w 5243512"/>
                <a:gd name="connsiteY19" fmla="*/ 1252537 h 1647825"/>
                <a:gd name="connsiteX20" fmla="*/ 2266950 w 5243512"/>
                <a:gd name="connsiteY20" fmla="*/ 1204912 h 1647825"/>
                <a:gd name="connsiteX21" fmla="*/ 1966912 w 5243512"/>
                <a:gd name="connsiteY21" fmla="*/ 1204912 h 1647825"/>
                <a:gd name="connsiteX22" fmla="*/ 1962150 w 5243512"/>
                <a:gd name="connsiteY22" fmla="*/ 1162050 h 1647825"/>
                <a:gd name="connsiteX23" fmla="*/ 1809750 w 5243512"/>
                <a:gd name="connsiteY23" fmla="*/ 1157287 h 1647825"/>
                <a:gd name="connsiteX24" fmla="*/ 1809750 w 5243512"/>
                <a:gd name="connsiteY24" fmla="*/ 1157287 h 1647825"/>
                <a:gd name="connsiteX25" fmla="*/ 1809750 w 5243512"/>
                <a:gd name="connsiteY25" fmla="*/ 1133475 h 1647825"/>
                <a:gd name="connsiteX26" fmla="*/ 1714500 w 5243512"/>
                <a:gd name="connsiteY26" fmla="*/ 1133475 h 1647825"/>
                <a:gd name="connsiteX27" fmla="*/ 1704975 w 5243512"/>
                <a:gd name="connsiteY27" fmla="*/ 1095375 h 1647825"/>
                <a:gd name="connsiteX28" fmla="*/ 1590675 w 5243512"/>
                <a:gd name="connsiteY28" fmla="*/ 1095375 h 1647825"/>
                <a:gd name="connsiteX29" fmla="*/ 1595437 w 5243512"/>
                <a:gd name="connsiteY29" fmla="*/ 1062037 h 1647825"/>
                <a:gd name="connsiteX30" fmla="*/ 1428750 w 5243512"/>
                <a:gd name="connsiteY30" fmla="*/ 1057275 h 1647825"/>
                <a:gd name="connsiteX31" fmla="*/ 1428750 w 5243512"/>
                <a:gd name="connsiteY31" fmla="*/ 1057275 h 1647825"/>
                <a:gd name="connsiteX32" fmla="*/ 1423988 w 5243512"/>
                <a:gd name="connsiteY32" fmla="*/ 1028699 h 1647825"/>
                <a:gd name="connsiteX33" fmla="*/ 1328737 w 5243512"/>
                <a:gd name="connsiteY33" fmla="*/ 1028700 h 1647825"/>
                <a:gd name="connsiteX34" fmla="*/ 1333500 w 5243512"/>
                <a:gd name="connsiteY34" fmla="*/ 990600 h 1647825"/>
                <a:gd name="connsiteX35" fmla="*/ 1247775 w 5243512"/>
                <a:gd name="connsiteY35" fmla="*/ 995362 h 1647825"/>
                <a:gd name="connsiteX36" fmla="*/ 1247775 w 5243512"/>
                <a:gd name="connsiteY36" fmla="*/ 942975 h 1647825"/>
                <a:gd name="connsiteX37" fmla="*/ 1190625 w 5243512"/>
                <a:gd name="connsiteY37" fmla="*/ 947737 h 1647825"/>
                <a:gd name="connsiteX38" fmla="*/ 1200150 w 5243512"/>
                <a:gd name="connsiteY38" fmla="*/ 890587 h 1647825"/>
                <a:gd name="connsiteX39" fmla="*/ 1123950 w 5243512"/>
                <a:gd name="connsiteY39" fmla="*/ 881062 h 1647825"/>
                <a:gd name="connsiteX40" fmla="*/ 1114425 w 5243512"/>
                <a:gd name="connsiteY40" fmla="*/ 823912 h 1647825"/>
                <a:gd name="connsiteX41" fmla="*/ 1062037 w 5243512"/>
                <a:gd name="connsiteY41" fmla="*/ 823912 h 1647825"/>
                <a:gd name="connsiteX42" fmla="*/ 1062037 w 5243512"/>
                <a:gd name="connsiteY42" fmla="*/ 766762 h 1647825"/>
                <a:gd name="connsiteX43" fmla="*/ 1019175 w 5243512"/>
                <a:gd name="connsiteY43" fmla="*/ 766762 h 1647825"/>
                <a:gd name="connsiteX44" fmla="*/ 1023937 w 5243512"/>
                <a:gd name="connsiteY44" fmla="*/ 709612 h 1647825"/>
                <a:gd name="connsiteX45" fmla="*/ 947737 w 5243512"/>
                <a:gd name="connsiteY45" fmla="*/ 704850 h 1647825"/>
                <a:gd name="connsiteX46" fmla="*/ 947737 w 5243512"/>
                <a:gd name="connsiteY46" fmla="*/ 647700 h 1647825"/>
                <a:gd name="connsiteX47" fmla="*/ 909637 w 5243512"/>
                <a:gd name="connsiteY47" fmla="*/ 647700 h 1647825"/>
                <a:gd name="connsiteX48" fmla="*/ 914400 w 5243512"/>
                <a:gd name="connsiteY48" fmla="*/ 609600 h 1647825"/>
                <a:gd name="connsiteX49" fmla="*/ 852487 w 5243512"/>
                <a:gd name="connsiteY49" fmla="*/ 614362 h 1647825"/>
                <a:gd name="connsiteX50" fmla="*/ 852487 w 5243512"/>
                <a:gd name="connsiteY50" fmla="*/ 571500 h 1647825"/>
                <a:gd name="connsiteX51" fmla="*/ 781050 w 5243512"/>
                <a:gd name="connsiteY51" fmla="*/ 566737 h 1647825"/>
                <a:gd name="connsiteX52" fmla="*/ 781050 w 5243512"/>
                <a:gd name="connsiteY52" fmla="*/ 538162 h 1647825"/>
                <a:gd name="connsiteX53" fmla="*/ 728662 w 5243512"/>
                <a:gd name="connsiteY53" fmla="*/ 533400 h 1647825"/>
                <a:gd name="connsiteX54" fmla="*/ 723899 w 5243512"/>
                <a:gd name="connsiteY54" fmla="*/ 500062 h 1647825"/>
                <a:gd name="connsiteX55" fmla="*/ 647700 w 5243512"/>
                <a:gd name="connsiteY55" fmla="*/ 500062 h 1647825"/>
                <a:gd name="connsiteX56" fmla="*/ 647700 w 5243512"/>
                <a:gd name="connsiteY56" fmla="*/ 466725 h 1647825"/>
                <a:gd name="connsiteX57" fmla="*/ 595313 w 5243512"/>
                <a:gd name="connsiteY57" fmla="*/ 461962 h 1647825"/>
                <a:gd name="connsiteX58" fmla="*/ 600076 w 5243512"/>
                <a:gd name="connsiteY58" fmla="*/ 433387 h 1647825"/>
                <a:gd name="connsiteX59" fmla="*/ 533400 w 5243512"/>
                <a:gd name="connsiteY59" fmla="*/ 428625 h 1647825"/>
                <a:gd name="connsiteX60" fmla="*/ 538163 w 5243512"/>
                <a:gd name="connsiteY60" fmla="*/ 390524 h 1647825"/>
                <a:gd name="connsiteX61" fmla="*/ 466725 w 5243512"/>
                <a:gd name="connsiteY61" fmla="*/ 390525 h 1647825"/>
                <a:gd name="connsiteX62" fmla="*/ 466725 w 5243512"/>
                <a:gd name="connsiteY62" fmla="*/ 342900 h 1647825"/>
                <a:gd name="connsiteX63" fmla="*/ 423862 w 5243512"/>
                <a:gd name="connsiteY63" fmla="*/ 342900 h 1647825"/>
                <a:gd name="connsiteX64" fmla="*/ 423862 w 5243512"/>
                <a:gd name="connsiteY64" fmla="*/ 342900 h 1647825"/>
                <a:gd name="connsiteX65" fmla="*/ 423862 w 5243512"/>
                <a:gd name="connsiteY65" fmla="*/ 295275 h 1647825"/>
                <a:gd name="connsiteX66" fmla="*/ 385761 w 5243512"/>
                <a:gd name="connsiteY66" fmla="*/ 300038 h 1647825"/>
                <a:gd name="connsiteX67" fmla="*/ 385762 w 5243512"/>
                <a:gd name="connsiteY67" fmla="*/ 266699 h 1647825"/>
                <a:gd name="connsiteX68" fmla="*/ 342900 w 5243512"/>
                <a:gd name="connsiteY68" fmla="*/ 261937 h 1647825"/>
                <a:gd name="connsiteX69" fmla="*/ 347662 w 5243512"/>
                <a:gd name="connsiteY69" fmla="*/ 209550 h 1647825"/>
                <a:gd name="connsiteX70" fmla="*/ 280987 w 5243512"/>
                <a:gd name="connsiteY70" fmla="*/ 209550 h 1647825"/>
                <a:gd name="connsiteX71" fmla="*/ 276224 w 5243512"/>
                <a:gd name="connsiteY71" fmla="*/ 171450 h 1647825"/>
                <a:gd name="connsiteX72" fmla="*/ 238125 w 5243512"/>
                <a:gd name="connsiteY72" fmla="*/ 166687 h 1647825"/>
                <a:gd name="connsiteX73" fmla="*/ 233362 w 5243512"/>
                <a:gd name="connsiteY73" fmla="*/ 133350 h 1647825"/>
                <a:gd name="connsiteX74" fmla="*/ 166687 w 5243512"/>
                <a:gd name="connsiteY74" fmla="*/ 138112 h 1647825"/>
                <a:gd name="connsiteX75" fmla="*/ 171450 w 5243512"/>
                <a:gd name="connsiteY75" fmla="*/ 52387 h 1647825"/>
                <a:gd name="connsiteX76" fmla="*/ 71437 w 5243512"/>
                <a:gd name="connsiteY76" fmla="*/ 47625 h 1647825"/>
                <a:gd name="connsiteX77" fmla="*/ 76200 w 5243512"/>
                <a:gd name="connsiteY77" fmla="*/ 0 h 1647825"/>
                <a:gd name="connsiteX78" fmla="*/ 0 w 5243512"/>
                <a:gd name="connsiteY78" fmla="*/ 0 h 1647825"/>
                <a:gd name="connsiteX0" fmla="*/ 5243512 w 5243512"/>
                <a:gd name="connsiteY0" fmla="*/ 1638300 h 1647825"/>
                <a:gd name="connsiteX1" fmla="*/ 4333875 w 5243512"/>
                <a:gd name="connsiteY1" fmla="*/ 1647825 h 1647825"/>
                <a:gd name="connsiteX2" fmla="*/ 4333875 w 5243512"/>
                <a:gd name="connsiteY2" fmla="*/ 1581150 h 1647825"/>
                <a:gd name="connsiteX3" fmla="*/ 4062412 w 5243512"/>
                <a:gd name="connsiteY3" fmla="*/ 1581150 h 1647825"/>
                <a:gd name="connsiteX4" fmla="*/ 4062412 w 5243512"/>
                <a:gd name="connsiteY4" fmla="*/ 1509712 h 1647825"/>
                <a:gd name="connsiteX5" fmla="*/ 3705225 w 5243512"/>
                <a:gd name="connsiteY5" fmla="*/ 1509712 h 1647825"/>
                <a:gd name="connsiteX6" fmla="*/ 3709987 w 5243512"/>
                <a:gd name="connsiteY6" fmla="*/ 1462087 h 1647825"/>
                <a:gd name="connsiteX7" fmla="*/ 3267075 w 5243512"/>
                <a:gd name="connsiteY7" fmla="*/ 1462087 h 1647825"/>
                <a:gd name="connsiteX8" fmla="*/ 3267075 w 5243512"/>
                <a:gd name="connsiteY8" fmla="*/ 1428750 h 1647825"/>
                <a:gd name="connsiteX9" fmla="*/ 3009900 w 5243512"/>
                <a:gd name="connsiteY9" fmla="*/ 1423987 h 1647825"/>
                <a:gd name="connsiteX10" fmla="*/ 3014662 w 5243512"/>
                <a:gd name="connsiteY10" fmla="*/ 1376362 h 1647825"/>
                <a:gd name="connsiteX11" fmla="*/ 2857500 w 5243512"/>
                <a:gd name="connsiteY11" fmla="*/ 1381125 h 1647825"/>
                <a:gd name="connsiteX12" fmla="*/ 2862262 w 5243512"/>
                <a:gd name="connsiteY12" fmla="*/ 1333500 h 1647825"/>
                <a:gd name="connsiteX13" fmla="*/ 2805112 w 5243512"/>
                <a:gd name="connsiteY13" fmla="*/ 1338262 h 1647825"/>
                <a:gd name="connsiteX14" fmla="*/ 2805112 w 5243512"/>
                <a:gd name="connsiteY14" fmla="*/ 1300162 h 1647825"/>
                <a:gd name="connsiteX15" fmla="*/ 2605087 w 5243512"/>
                <a:gd name="connsiteY15" fmla="*/ 1314450 h 1647825"/>
                <a:gd name="connsiteX16" fmla="*/ 2605087 w 5243512"/>
                <a:gd name="connsiteY16" fmla="*/ 1271587 h 1647825"/>
                <a:gd name="connsiteX17" fmla="*/ 2462212 w 5243512"/>
                <a:gd name="connsiteY17" fmla="*/ 1271587 h 1647825"/>
                <a:gd name="connsiteX18" fmla="*/ 2462212 w 5243512"/>
                <a:gd name="connsiteY18" fmla="*/ 1252537 h 1647825"/>
                <a:gd name="connsiteX19" fmla="*/ 2262187 w 5243512"/>
                <a:gd name="connsiteY19" fmla="*/ 1252537 h 1647825"/>
                <a:gd name="connsiteX20" fmla="*/ 2266950 w 5243512"/>
                <a:gd name="connsiteY20" fmla="*/ 1204912 h 1647825"/>
                <a:gd name="connsiteX21" fmla="*/ 1966912 w 5243512"/>
                <a:gd name="connsiteY21" fmla="*/ 1204912 h 1647825"/>
                <a:gd name="connsiteX22" fmla="*/ 1962150 w 5243512"/>
                <a:gd name="connsiteY22" fmla="*/ 1162050 h 1647825"/>
                <a:gd name="connsiteX23" fmla="*/ 1809750 w 5243512"/>
                <a:gd name="connsiteY23" fmla="*/ 1157287 h 1647825"/>
                <a:gd name="connsiteX24" fmla="*/ 1809750 w 5243512"/>
                <a:gd name="connsiteY24" fmla="*/ 1157287 h 1647825"/>
                <a:gd name="connsiteX25" fmla="*/ 1809750 w 5243512"/>
                <a:gd name="connsiteY25" fmla="*/ 1133475 h 1647825"/>
                <a:gd name="connsiteX26" fmla="*/ 1714500 w 5243512"/>
                <a:gd name="connsiteY26" fmla="*/ 1133475 h 1647825"/>
                <a:gd name="connsiteX27" fmla="*/ 1704975 w 5243512"/>
                <a:gd name="connsiteY27" fmla="*/ 1095375 h 1647825"/>
                <a:gd name="connsiteX28" fmla="*/ 1590675 w 5243512"/>
                <a:gd name="connsiteY28" fmla="*/ 1095375 h 1647825"/>
                <a:gd name="connsiteX29" fmla="*/ 1595437 w 5243512"/>
                <a:gd name="connsiteY29" fmla="*/ 1062037 h 1647825"/>
                <a:gd name="connsiteX30" fmla="*/ 1428750 w 5243512"/>
                <a:gd name="connsiteY30" fmla="*/ 1057275 h 1647825"/>
                <a:gd name="connsiteX31" fmla="*/ 1428750 w 5243512"/>
                <a:gd name="connsiteY31" fmla="*/ 1057275 h 1647825"/>
                <a:gd name="connsiteX32" fmla="*/ 1423988 w 5243512"/>
                <a:gd name="connsiteY32" fmla="*/ 1028699 h 1647825"/>
                <a:gd name="connsiteX33" fmla="*/ 1328737 w 5243512"/>
                <a:gd name="connsiteY33" fmla="*/ 1028700 h 1647825"/>
                <a:gd name="connsiteX34" fmla="*/ 1333500 w 5243512"/>
                <a:gd name="connsiteY34" fmla="*/ 990600 h 1647825"/>
                <a:gd name="connsiteX35" fmla="*/ 1247775 w 5243512"/>
                <a:gd name="connsiteY35" fmla="*/ 995362 h 1647825"/>
                <a:gd name="connsiteX36" fmla="*/ 1247775 w 5243512"/>
                <a:gd name="connsiteY36" fmla="*/ 942975 h 1647825"/>
                <a:gd name="connsiteX37" fmla="*/ 1190625 w 5243512"/>
                <a:gd name="connsiteY37" fmla="*/ 947737 h 1647825"/>
                <a:gd name="connsiteX38" fmla="*/ 1200150 w 5243512"/>
                <a:gd name="connsiteY38" fmla="*/ 890587 h 1647825"/>
                <a:gd name="connsiteX39" fmla="*/ 1123950 w 5243512"/>
                <a:gd name="connsiteY39" fmla="*/ 881062 h 1647825"/>
                <a:gd name="connsiteX40" fmla="*/ 1126262 w 5243512"/>
                <a:gd name="connsiteY40" fmla="*/ 826872 h 1647825"/>
                <a:gd name="connsiteX41" fmla="*/ 1062037 w 5243512"/>
                <a:gd name="connsiteY41" fmla="*/ 823912 h 1647825"/>
                <a:gd name="connsiteX42" fmla="*/ 1062037 w 5243512"/>
                <a:gd name="connsiteY42" fmla="*/ 766762 h 1647825"/>
                <a:gd name="connsiteX43" fmla="*/ 1019175 w 5243512"/>
                <a:gd name="connsiteY43" fmla="*/ 766762 h 1647825"/>
                <a:gd name="connsiteX44" fmla="*/ 1023937 w 5243512"/>
                <a:gd name="connsiteY44" fmla="*/ 709612 h 1647825"/>
                <a:gd name="connsiteX45" fmla="*/ 947737 w 5243512"/>
                <a:gd name="connsiteY45" fmla="*/ 704850 h 1647825"/>
                <a:gd name="connsiteX46" fmla="*/ 947737 w 5243512"/>
                <a:gd name="connsiteY46" fmla="*/ 647700 h 1647825"/>
                <a:gd name="connsiteX47" fmla="*/ 909637 w 5243512"/>
                <a:gd name="connsiteY47" fmla="*/ 647700 h 1647825"/>
                <a:gd name="connsiteX48" fmla="*/ 914400 w 5243512"/>
                <a:gd name="connsiteY48" fmla="*/ 609600 h 1647825"/>
                <a:gd name="connsiteX49" fmla="*/ 852487 w 5243512"/>
                <a:gd name="connsiteY49" fmla="*/ 614362 h 1647825"/>
                <a:gd name="connsiteX50" fmla="*/ 852487 w 5243512"/>
                <a:gd name="connsiteY50" fmla="*/ 571500 h 1647825"/>
                <a:gd name="connsiteX51" fmla="*/ 781050 w 5243512"/>
                <a:gd name="connsiteY51" fmla="*/ 566737 h 1647825"/>
                <a:gd name="connsiteX52" fmla="*/ 781050 w 5243512"/>
                <a:gd name="connsiteY52" fmla="*/ 538162 h 1647825"/>
                <a:gd name="connsiteX53" fmla="*/ 728662 w 5243512"/>
                <a:gd name="connsiteY53" fmla="*/ 533400 h 1647825"/>
                <a:gd name="connsiteX54" fmla="*/ 723899 w 5243512"/>
                <a:gd name="connsiteY54" fmla="*/ 500062 h 1647825"/>
                <a:gd name="connsiteX55" fmla="*/ 647700 w 5243512"/>
                <a:gd name="connsiteY55" fmla="*/ 500062 h 1647825"/>
                <a:gd name="connsiteX56" fmla="*/ 647700 w 5243512"/>
                <a:gd name="connsiteY56" fmla="*/ 466725 h 1647825"/>
                <a:gd name="connsiteX57" fmla="*/ 595313 w 5243512"/>
                <a:gd name="connsiteY57" fmla="*/ 461962 h 1647825"/>
                <a:gd name="connsiteX58" fmla="*/ 600076 w 5243512"/>
                <a:gd name="connsiteY58" fmla="*/ 433387 h 1647825"/>
                <a:gd name="connsiteX59" fmla="*/ 533400 w 5243512"/>
                <a:gd name="connsiteY59" fmla="*/ 428625 h 1647825"/>
                <a:gd name="connsiteX60" fmla="*/ 538163 w 5243512"/>
                <a:gd name="connsiteY60" fmla="*/ 390524 h 1647825"/>
                <a:gd name="connsiteX61" fmla="*/ 466725 w 5243512"/>
                <a:gd name="connsiteY61" fmla="*/ 390525 h 1647825"/>
                <a:gd name="connsiteX62" fmla="*/ 466725 w 5243512"/>
                <a:gd name="connsiteY62" fmla="*/ 342900 h 1647825"/>
                <a:gd name="connsiteX63" fmla="*/ 423862 w 5243512"/>
                <a:gd name="connsiteY63" fmla="*/ 342900 h 1647825"/>
                <a:gd name="connsiteX64" fmla="*/ 423862 w 5243512"/>
                <a:gd name="connsiteY64" fmla="*/ 342900 h 1647825"/>
                <a:gd name="connsiteX65" fmla="*/ 423862 w 5243512"/>
                <a:gd name="connsiteY65" fmla="*/ 295275 h 1647825"/>
                <a:gd name="connsiteX66" fmla="*/ 385761 w 5243512"/>
                <a:gd name="connsiteY66" fmla="*/ 300038 h 1647825"/>
                <a:gd name="connsiteX67" fmla="*/ 385762 w 5243512"/>
                <a:gd name="connsiteY67" fmla="*/ 266699 h 1647825"/>
                <a:gd name="connsiteX68" fmla="*/ 342900 w 5243512"/>
                <a:gd name="connsiteY68" fmla="*/ 261937 h 1647825"/>
                <a:gd name="connsiteX69" fmla="*/ 347662 w 5243512"/>
                <a:gd name="connsiteY69" fmla="*/ 209550 h 1647825"/>
                <a:gd name="connsiteX70" fmla="*/ 280987 w 5243512"/>
                <a:gd name="connsiteY70" fmla="*/ 209550 h 1647825"/>
                <a:gd name="connsiteX71" fmla="*/ 276224 w 5243512"/>
                <a:gd name="connsiteY71" fmla="*/ 171450 h 1647825"/>
                <a:gd name="connsiteX72" fmla="*/ 238125 w 5243512"/>
                <a:gd name="connsiteY72" fmla="*/ 166687 h 1647825"/>
                <a:gd name="connsiteX73" fmla="*/ 233362 w 5243512"/>
                <a:gd name="connsiteY73" fmla="*/ 133350 h 1647825"/>
                <a:gd name="connsiteX74" fmla="*/ 166687 w 5243512"/>
                <a:gd name="connsiteY74" fmla="*/ 138112 h 1647825"/>
                <a:gd name="connsiteX75" fmla="*/ 171450 w 5243512"/>
                <a:gd name="connsiteY75" fmla="*/ 52387 h 1647825"/>
                <a:gd name="connsiteX76" fmla="*/ 71437 w 5243512"/>
                <a:gd name="connsiteY76" fmla="*/ 47625 h 1647825"/>
                <a:gd name="connsiteX77" fmla="*/ 76200 w 5243512"/>
                <a:gd name="connsiteY77" fmla="*/ 0 h 1647825"/>
                <a:gd name="connsiteX78" fmla="*/ 0 w 5243512"/>
                <a:gd name="connsiteY78" fmla="*/ 0 h 1647825"/>
                <a:gd name="connsiteX0" fmla="*/ 5243512 w 5243512"/>
                <a:gd name="connsiteY0" fmla="*/ 1638300 h 1647825"/>
                <a:gd name="connsiteX1" fmla="*/ 4333875 w 5243512"/>
                <a:gd name="connsiteY1" fmla="*/ 1647825 h 1647825"/>
                <a:gd name="connsiteX2" fmla="*/ 4333875 w 5243512"/>
                <a:gd name="connsiteY2" fmla="*/ 1581150 h 1647825"/>
                <a:gd name="connsiteX3" fmla="*/ 4062412 w 5243512"/>
                <a:gd name="connsiteY3" fmla="*/ 1581150 h 1647825"/>
                <a:gd name="connsiteX4" fmla="*/ 4062412 w 5243512"/>
                <a:gd name="connsiteY4" fmla="*/ 1509712 h 1647825"/>
                <a:gd name="connsiteX5" fmla="*/ 3705225 w 5243512"/>
                <a:gd name="connsiteY5" fmla="*/ 1509712 h 1647825"/>
                <a:gd name="connsiteX6" fmla="*/ 3709987 w 5243512"/>
                <a:gd name="connsiteY6" fmla="*/ 1462087 h 1647825"/>
                <a:gd name="connsiteX7" fmla="*/ 3267075 w 5243512"/>
                <a:gd name="connsiteY7" fmla="*/ 1462087 h 1647825"/>
                <a:gd name="connsiteX8" fmla="*/ 3267075 w 5243512"/>
                <a:gd name="connsiteY8" fmla="*/ 1428750 h 1647825"/>
                <a:gd name="connsiteX9" fmla="*/ 3009900 w 5243512"/>
                <a:gd name="connsiteY9" fmla="*/ 1423987 h 1647825"/>
                <a:gd name="connsiteX10" fmla="*/ 3014662 w 5243512"/>
                <a:gd name="connsiteY10" fmla="*/ 1376362 h 1647825"/>
                <a:gd name="connsiteX11" fmla="*/ 2857500 w 5243512"/>
                <a:gd name="connsiteY11" fmla="*/ 1381125 h 1647825"/>
                <a:gd name="connsiteX12" fmla="*/ 2862262 w 5243512"/>
                <a:gd name="connsiteY12" fmla="*/ 1333500 h 1647825"/>
                <a:gd name="connsiteX13" fmla="*/ 2805112 w 5243512"/>
                <a:gd name="connsiteY13" fmla="*/ 1338262 h 1647825"/>
                <a:gd name="connsiteX14" fmla="*/ 2805112 w 5243512"/>
                <a:gd name="connsiteY14" fmla="*/ 1300162 h 1647825"/>
                <a:gd name="connsiteX15" fmla="*/ 2605087 w 5243512"/>
                <a:gd name="connsiteY15" fmla="*/ 1314450 h 1647825"/>
                <a:gd name="connsiteX16" fmla="*/ 2605087 w 5243512"/>
                <a:gd name="connsiteY16" fmla="*/ 1271587 h 1647825"/>
                <a:gd name="connsiteX17" fmla="*/ 2462212 w 5243512"/>
                <a:gd name="connsiteY17" fmla="*/ 1271587 h 1647825"/>
                <a:gd name="connsiteX18" fmla="*/ 2462212 w 5243512"/>
                <a:gd name="connsiteY18" fmla="*/ 1252537 h 1647825"/>
                <a:gd name="connsiteX19" fmla="*/ 2262187 w 5243512"/>
                <a:gd name="connsiteY19" fmla="*/ 1252537 h 1647825"/>
                <a:gd name="connsiteX20" fmla="*/ 2266950 w 5243512"/>
                <a:gd name="connsiteY20" fmla="*/ 1204912 h 1647825"/>
                <a:gd name="connsiteX21" fmla="*/ 1966912 w 5243512"/>
                <a:gd name="connsiteY21" fmla="*/ 1204912 h 1647825"/>
                <a:gd name="connsiteX22" fmla="*/ 1962150 w 5243512"/>
                <a:gd name="connsiteY22" fmla="*/ 1162050 h 1647825"/>
                <a:gd name="connsiteX23" fmla="*/ 1809750 w 5243512"/>
                <a:gd name="connsiteY23" fmla="*/ 1157287 h 1647825"/>
                <a:gd name="connsiteX24" fmla="*/ 1809750 w 5243512"/>
                <a:gd name="connsiteY24" fmla="*/ 1157287 h 1647825"/>
                <a:gd name="connsiteX25" fmla="*/ 1809750 w 5243512"/>
                <a:gd name="connsiteY25" fmla="*/ 1133475 h 1647825"/>
                <a:gd name="connsiteX26" fmla="*/ 1714500 w 5243512"/>
                <a:gd name="connsiteY26" fmla="*/ 1133475 h 1647825"/>
                <a:gd name="connsiteX27" fmla="*/ 1704975 w 5243512"/>
                <a:gd name="connsiteY27" fmla="*/ 1095375 h 1647825"/>
                <a:gd name="connsiteX28" fmla="*/ 1590675 w 5243512"/>
                <a:gd name="connsiteY28" fmla="*/ 1095375 h 1647825"/>
                <a:gd name="connsiteX29" fmla="*/ 1595437 w 5243512"/>
                <a:gd name="connsiteY29" fmla="*/ 1062037 h 1647825"/>
                <a:gd name="connsiteX30" fmla="*/ 1428750 w 5243512"/>
                <a:gd name="connsiteY30" fmla="*/ 1057275 h 1647825"/>
                <a:gd name="connsiteX31" fmla="*/ 1428750 w 5243512"/>
                <a:gd name="connsiteY31" fmla="*/ 1057275 h 1647825"/>
                <a:gd name="connsiteX32" fmla="*/ 1423988 w 5243512"/>
                <a:gd name="connsiteY32" fmla="*/ 1028699 h 1647825"/>
                <a:gd name="connsiteX33" fmla="*/ 1328737 w 5243512"/>
                <a:gd name="connsiteY33" fmla="*/ 1028700 h 1647825"/>
                <a:gd name="connsiteX34" fmla="*/ 1333500 w 5243512"/>
                <a:gd name="connsiteY34" fmla="*/ 990600 h 1647825"/>
                <a:gd name="connsiteX35" fmla="*/ 1247775 w 5243512"/>
                <a:gd name="connsiteY35" fmla="*/ 995362 h 1647825"/>
                <a:gd name="connsiteX36" fmla="*/ 1247775 w 5243512"/>
                <a:gd name="connsiteY36" fmla="*/ 942975 h 1647825"/>
                <a:gd name="connsiteX37" fmla="*/ 1190625 w 5243512"/>
                <a:gd name="connsiteY37" fmla="*/ 947737 h 1647825"/>
                <a:gd name="connsiteX38" fmla="*/ 1179435 w 5243512"/>
                <a:gd name="connsiteY38" fmla="*/ 884669 h 1647825"/>
                <a:gd name="connsiteX39" fmla="*/ 1123950 w 5243512"/>
                <a:gd name="connsiteY39" fmla="*/ 881062 h 1647825"/>
                <a:gd name="connsiteX40" fmla="*/ 1126262 w 5243512"/>
                <a:gd name="connsiteY40" fmla="*/ 826872 h 1647825"/>
                <a:gd name="connsiteX41" fmla="*/ 1062037 w 5243512"/>
                <a:gd name="connsiteY41" fmla="*/ 823912 h 1647825"/>
                <a:gd name="connsiteX42" fmla="*/ 1062037 w 5243512"/>
                <a:gd name="connsiteY42" fmla="*/ 766762 h 1647825"/>
                <a:gd name="connsiteX43" fmla="*/ 1019175 w 5243512"/>
                <a:gd name="connsiteY43" fmla="*/ 766762 h 1647825"/>
                <a:gd name="connsiteX44" fmla="*/ 1023937 w 5243512"/>
                <a:gd name="connsiteY44" fmla="*/ 709612 h 1647825"/>
                <a:gd name="connsiteX45" fmla="*/ 947737 w 5243512"/>
                <a:gd name="connsiteY45" fmla="*/ 704850 h 1647825"/>
                <a:gd name="connsiteX46" fmla="*/ 947737 w 5243512"/>
                <a:gd name="connsiteY46" fmla="*/ 647700 h 1647825"/>
                <a:gd name="connsiteX47" fmla="*/ 909637 w 5243512"/>
                <a:gd name="connsiteY47" fmla="*/ 647700 h 1647825"/>
                <a:gd name="connsiteX48" fmla="*/ 914400 w 5243512"/>
                <a:gd name="connsiteY48" fmla="*/ 609600 h 1647825"/>
                <a:gd name="connsiteX49" fmla="*/ 852487 w 5243512"/>
                <a:gd name="connsiteY49" fmla="*/ 614362 h 1647825"/>
                <a:gd name="connsiteX50" fmla="*/ 852487 w 5243512"/>
                <a:gd name="connsiteY50" fmla="*/ 571500 h 1647825"/>
                <a:gd name="connsiteX51" fmla="*/ 781050 w 5243512"/>
                <a:gd name="connsiteY51" fmla="*/ 566737 h 1647825"/>
                <a:gd name="connsiteX52" fmla="*/ 781050 w 5243512"/>
                <a:gd name="connsiteY52" fmla="*/ 538162 h 1647825"/>
                <a:gd name="connsiteX53" fmla="*/ 728662 w 5243512"/>
                <a:gd name="connsiteY53" fmla="*/ 533400 h 1647825"/>
                <a:gd name="connsiteX54" fmla="*/ 723899 w 5243512"/>
                <a:gd name="connsiteY54" fmla="*/ 500062 h 1647825"/>
                <a:gd name="connsiteX55" fmla="*/ 647700 w 5243512"/>
                <a:gd name="connsiteY55" fmla="*/ 500062 h 1647825"/>
                <a:gd name="connsiteX56" fmla="*/ 647700 w 5243512"/>
                <a:gd name="connsiteY56" fmla="*/ 466725 h 1647825"/>
                <a:gd name="connsiteX57" fmla="*/ 595313 w 5243512"/>
                <a:gd name="connsiteY57" fmla="*/ 461962 h 1647825"/>
                <a:gd name="connsiteX58" fmla="*/ 600076 w 5243512"/>
                <a:gd name="connsiteY58" fmla="*/ 433387 h 1647825"/>
                <a:gd name="connsiteX59" fmla="*/ 533400 w 5243512"/>
                <a:gd name="connsiteY59" fmla="*/ 428625 h 1647825"/>
                <a:gd name="connsiteX60" fmla="*/ 538163 w 5243512"/>
                <a:gd name="connsiteY60" fmla="*/ 390524 h 1647825"/>
                <a:gd name="connsiteX61" fmla="*/ 466725 w 5243512"/>
                <a:gd name="connsiteY61" fmla="*/ 390525 h 1647825"/>
                <a:gd name="connsiteX62" fmla="*/ 466725 w 5243512"/>
                <a:gd name="connsiteY62" fmla="*/ 342900 h 1647825"/>
                <a:gd name="connsiteX63" fmla="*/ 423862 w 5243512"/>
                <a:gd name="connsiteY63" fmla="*/ 342900 h 1647825"/>
                <a:gd name="connsiteX64" fmla="*/ 423862 w 5243512"/>
                <a:gd name="connsiteY64" fmla="*/ 342900 h 1647825"/>
                <a:gd name="connsiteX65" fmla="*/ 423862 w 5243512"/>
                <a:gd name="connsiteY65" fmla="*/ 295275 h 1647825"/>
                <a:gd name="connsiteX66" fmla="*/ 385761 w 5243512"/>
                <a:gd name="connsiteY66" fmla="*/ 300038 h 1647825"/>
                <a:gd name="connsiteX67" fmla="*/ 385762 w 5243512"/>
                <a:gd name="connsiteY67" fmla="*/ 266699 h 1647825"/>
                <a:gd name="connsiteX68" fmla="*/ 342900 w 5243512"/>
                <a:gd name="connsiteY68" fmla="*/ 261937 h 1647825"/>
                <a:gd name="connsiteX69" fmla="*/ 347662 w 5243512"/>
                <a:gd name="connsiteY69" fmla="*/ 209550 h 1647825"/>
                <a:gd name="connsiteX70" fmla="*/ 280987 w 5243512"/>
                <a:gd name="connsiteY70" fmla="*/ 209550 h 1647825"/>
                <a:gd name="connsiteX71" fmla="*/ 276224 w 5243512"/>
                <a:gd name="connsiteY71" fmla="*/ 171450 h 1647825"/>
                <a:gd name="connsiteX72" fmla="*/ 238125 w 5243512"/>
                <a:gd name="connsiteY72" fmla="*/ 166687 h 1647825"/>
                <a:gd name="connsiteX73" fmla="*/ 233362 w 5243512"/>
                <a:gd name="connsiteY73" fmla="*/ 133350 h 1647825"/>
                <a:gd name="connsiteX74" fmla="*/ 166687 w 5243512"/>
                <a:gd name="connsiteY74" fmla="*/ 138112 h 1647825"/>
                <a:gd name="connsiteX75" fmla="*/ 171450 w 5243512"/>
                <a:gd name="connsiteY75" fmla="*/ 52387 h 1647825"/>
                <a:gd name="connsiteX76" fmla="*/ 71437 w 5243512"/>
                <a:gd name="connsiteY76" fmla="*/ 47625 h 1647825"/>
                <a:gd name="connsiteX77" fmla="*/ 76200 w 5243512"/>
                <a:gd name="connsiteY77" fmla="*/ 0 h 1647825"/>
                <a:gd name="connsiteX78" fmla="*/ 0 w 5243512"/>
                <a:gd name="connsiteY78" fmla="*/ 0 h 1647825"/>
                <a:gd name="connsiteX0" fmla="*/ 5243512 w 5243512"/>
                <a:gd name="connsiteY0" fmla="*/ 1638300 h 1647825"/>
                <a:gd name="connsiteX1" fmla="*/ 4333875 w 5243512"/>
                <a:gd name="connsiteY1" fmla="*/ 1647825 h 1647825"/>
                <a:gd name="connsiteX2" fmla="*/ 4333875 w 5243512"/>
                <a:gd name="connsiteY2" fmla="*/ 1581150 h 1647825"/>
                <a:gd name="connsiteX3" fmla="*/ 4062412 w 5243512"/>
                <a:gd name="connsiteY3" fmla="*/ 1581150 h 1647825"/>
                <a:gd name="connsiteX4" fmla="*/ 4062412 w 5243512"/>
                <a:gd name="connsiteY4" fmla="*/ 1509712 h 1647825"/>
                <a:gd name="connsiteX5" fmla="*/ 3705225 w 5243512"/>
                <a:gd name="connsiteY5" fmla="*/ 1509712 h 1647825"/>
                <a:gd name="connsiteX6" fmla="*/ 3709987 w 5243512"/>
                <a:gd name="connsiteY6" fmla="*/ 1462087 h 1647825"/>
                <a:gd name="connsiteX7" fmla="*/ 3267075 w 5243512"/>
                <a:gd name="connsiteY7" fmla="*/ 1462087 h 1647825"/>
                <a:gd name="connsiteX8" fmla="*/ 3267075 w 5243512"/>
                <a:gd name="connsiteY8" fmla="*/ 1428750 h 1647825"/>
                <a:gd name="connsiteX9" fmla="*/ 3009900 w 5243512"/>
                <a:gd name="connsiteY9" fmla="*/ 1423987 h 1647825"/>
                <a:gd name="connsiteX10" fmla="*/ 3014662 w 5243512"/>
                <a:gd name="connsiteY10" fmla="*/ 1376362 h 1647825"/>
                <a:gd name="connsiteX11" fmla="*/ 2857500 w 5243512"/>
                <a:gd name="connsiteY11" fmla="*/ 1381125 h 1647825"/>
                <a:gd name="connsiteX12" fmla="*/ 2862262 w 5243512"/>
                <a:gd name="connsiteY12" fmla="*/ 1333500 h 1647825"/>
                <a:gd name="connsiteX13" fmla="*/ 2805112 w 5243512"/>
                <a:gd name="connsiteY13" fmla="*/ 1338262 h 1647825"/>
                <a:gd name="connsiteX14" fmla="*/ 2805112 w 5243512"/>
                <a:gd name="connsiteY14" fmla="*/ 1300162 h 1647825"/>
                <a:gd name="connsiteX15" fmla="*/ 2605087 w 5243512"/>
                <a:gd name="connsiteY15" fmla="*/ 1314450 h 1647825"/>
                <a:gd name="connsiteX16" fmla="*/ 2605087 w 5243512"/>
                <a:gd name="connsiteY16" fmla="*/ 1271587 h 1647825"/>
                <a:gd name="connsiteX17" fmla="*/ 2462212 w 5243512"/>
                <a:gd name="connsiteY17" fmla="*/ 1271587 h 1647825"/>
                <a:gd name="connsiteX18" fmla="*/ 2462212 w 5243512"/>
                <a:gd name="connsiteY18" fmla="*/ 1252537 h 1647825"/>
                <a:gd name="connsiteX19" fmla="*/ 2262187 w 5243512"/>
                <a:gd name="connsiteY19" fmla="*/ 1252537 h 1647825"/>
                <a:gd name="connsiteX20" fmla="*/ 2266950 w 5243512"/>
                <a:gd name="connsiteY20" fmla="*/ 1204912 h 1647825"/>
                <a:gd name="connsiteX21" fmla="*/ 1966912 w 5243512"/>
                <a:gd name="connsiteY21" fmla="*/ 1204912 h 1647825"/>
                <a:gd name="connsiteX22" fmla="*/ 1962150 w 5243512"/>
                <a:gd name="connsiteY22" fmla="*/ 1162050 h 1647825"/>
                <a:gd name="connsiteX23" fmla="*/ 1809750 w 5243512"/>
                <a:gd name="connsiteY23" fmla="*/ 1157287 h 1647825"/>
                <a:gd name="connsiteX24" fmla="*/ 1809750 w 5243512"/>
                <a:gd name="connsiteY24" fmla="*/ 1157287 h 1647825"/>
                <a:gd name="connsiteX25" fmla="*/ 1809750 w 5243512"/>
                <a:gd name="connsiteY25" fmla="*/ 1133475 h 1647825"/>
                <a:gd name="connsiteX26" fmla="*/ 1714500 w 5243512"/>
                <a:gd name="connsiteY26" fmla="*/ 1133475 h 1647825"/>
                <a:gd name="connsiteX27" fmla="*/ 1704975 w 5243512"/>
                <a:gd name="connsiteY27" fmla="*/ 1095375 h 1647825"/>
                <a:gd name="connsiteX28" fmla="*/ 1590675 w 5243512"/>
                <a:gd name="connsiteY28" fmla="*/ 1095375 h 1647825"/>
                <a:gd name="connsiteX29" fmla="*/ 1595437 w 5243512"/>
                <a:gd name="connsiteY29" fmla="*/ 1062037 h 1647825"/>
                <a:gd name="connsiteX30" fmla="*/ 1428750 w 5243512"/>
                <a:gd name="connsiteY30" fmla="*/ 1057275 h 1647825"/>
                <a:gd name="connsiteX31" fmla="*/ 1428750 w 5243512"/>
                <a:gd name="connsiteY31" fmla="*/ 1057275 h 1647825"/>
                <a:gd name="connsiteX32" fmla="*/ 1423988 w 5243512"/>
                <a:gd name="connsiteY32" fmla="*/ 1028699 h 1647825"/>
                <a:gd name="connsiteX33" fmla="*/ 1328737 w 5243512"/>
                <a:gd name="connsiteY33" fmla="*/ 1028700 h 1647825"/>
                <a:gd name="connsiteX34" fmla="*/ 1333500 w 5243512"/>
                <a:gd name="connsiteY34" fmla="*/ 990600 h 1647825"/>
                <a:gd name="connsiteX35" fmla="*/ 1247775 w 5243512"/>
                <a:gd name="connsiteY35" fmla="*/ 995362 h 1647825"/>
                <a:gd name="connsiteX36" fmla="*/ 1247775 w 5243512"/>
                <a:gd name="connsiteY36" fmla="*/ 942975 h 1647825"/>
                <a:gd name="connsiteX37" fmla="*/ 1190625 w 5243512"/>
                <a:gd name="connsiteY37" fmla="*/ 947737 h 1647825"/>
                <a:gd name="connsiteX38" fmla="*/ 1188312 w 5243512"/>
                <a:gd name="connsiteY38" fmla="*/ 884669 h 1647825"/>
                <a:gd name="connsiteX39" fmla="*/ 1123950 w 5243512"/>
                <a:gd name="connsiteY39" fmla="*/ 881062 h 1647825"/>
                <a:gd name="connsiteX40" fmla="*/ 1126262 w 5243512"/>
                <a:gd name="connsiteY40" fmla="*/ 826872 h 1647825"/>
                <a:gd name="connsiteX41" fmla="*/ 1062037 w 5243512"/>
                <a:gd name="connsiteY41" fmla="*/ 823912 h 1647825"/>
                <a:gd name="connsiteX42" fmla="*/ 1062037 w 5243512"/>
                <a:gd name="connsiteY42" fmla="*/ 766762 h 1647825"/>
                <a:gd name="connsiteX43" fmla="*/ 1019175 w 5243512"/>
                <a:gd name="connsiteY43" fmla="*/ 766762 h 1647825"/>
                <a:gd name="connsiteX44" fmla="*/ 1023937 w 5243512"/>
                <a:gd name="connsiteY44" fmla="*/ 709612 h 1647825"/>
                <a:gd name="connsiteX45" fmla="*/ 947737 w 5243512"/>
                <a:gd name="connsiteY45" fmla="*/ 704850 h 1647825"/>
                <a:gd name="connsiteX46" fmla="*/ 947737 w 5243512"/>
                <a:gd name="connsiteY46" fmla="*/ 647700 h 1647825"/>
                <a:gd name="connsiteX47" fmla="*/ 909637 w 5243512"/>
                <a:gd name="connsiteY47" fmla="*/ 647700 h 1647825"/>
                <a:gd name="connsiteX48" fmla="*/ 914400 w 5243512"/>
                <a:gd name="connsiteY48" fmla="*/ 609600 h 1647825"/>
                <a:gd name="connsiteX49" fmla="*/ 852487 w 5243512"/>
                <a:gd name="connsiteY49" fmla="*/ 614362 h 1647825"/>
                <a:gd name="connsiteX50" fmla="*/ 852487 w 5243512"/>
                <a:gd name="connsiteY50" fmla="*/ 571500 h 1647825"/>
                <a:gd name="connsiteX51" fmla="*/ 781050 w 5243512"/>
                <a:gd name="connsiteY51" fmla="*/ 566737 h 1647825"/>
                <a:gd name="connsiteX52" fmla="*/ 781050 w 5243512"/>
                <a:gd name="connsiteY52" fmla="*/ 538162 h 1647825"/>
                <a:gd name="connsiteX53" fmla="*/ 728662 w 5243512"/>
                <a:gd name="connsiteY53" fmla="*/ 533400 h 1647825"/>
                <a:gd name="connsiteX54" fmla="*/ 723899 w 5243512"/>
                <a:gd name="connsiteY54" fmla="*/ 500062 h 1647825"/>
                <a:gd name="connsiteX55" fmla="*/ 647700 w 5243512"/>
                <a:gd name="connsiteY55" fmla="*/ 500062 h 1647825"/>
                <a:gd name="connsiteX56" fmla="*/ 647700 w 5243512"/>
                <a:gd name="connsiteY56" fmla="*/ 466725 h 1647825"/>
                <a:gd name="connsiteX57" fmla="*/ 595313 w 5243512"/>
                <a:gd name="connsiteY57" fmla="*/ 461962 h 1647825"/>
                <a:gd name="connsiteX58" fmla="*/ 600076 w 5243512"/>
                <a:gd name="connsiteY58" fmla="*/ 433387 h 1647825"/>
                <a:gd name="connsiteX59" fmla="*/ 533400 w 5243512"/>
                <a:gd name="connsiteY59" fmla="*/ 428625 h 1647825"/>
                <a:gd name="connsiteX60" fmla="*/ 538163 w 5243512"/>
                <a:gd name="connsiteY60" fmla="*/ 390524 h 1647825"/>
                <a:gd name="connsiteX61" fmla="*/ 466725 w 5243512"/>
                <a:gd name="connsiteY61" fmla="*/ 390525 h 1647825"/>
                <a:gd name="connsiteX62" fmla="*/ 466725 w 5243512"/>
                <a:gd name="connsiteY62" fmla="*/ 342900 h 1647825"/>
                <a:gd name="connsiteX63" fmla="*/ 423862 w 5243512"/>
                <a:gd name="connsiteY63" fmla="*/ 342900 h 1647825"/>
                <a:gd name="connsiteX64" fmla="*/ 423862 w 5243512"/>
                <a:gd name="connsiteY64" fmla="*/ 342900 h 1647825"/>
                <a:gd name="connsiteX65" fmla="*/ 423862 w 5243512"/>
                <a:gd name="connsiteY65" fmla="*/ 295275 h 1647825"/>
                <a:gd name="connsiteX66" fmla="*/ 385761 w 5243512"/>
                <a:gd name="connsiteY66" fmla="*/ 300038 h 1647825"/>
                <a:gd name="connsiteX67" fmla="*/ 385762 w 5243512"/>
                <a:gd name="connsiteY67" fmla="*/ 266699 h 1647825"/>
                <a:gd name="connsiteX68" fmla="*/ 342900 w 5243512"/>
                <a:gd name="connsiteY68" fmla="*/ 261937 h 1647825"/>
                <a:gd name="connsiteX69" fmla="*/ 347662 w 5243512"/>
                <a:gd name="connsiteY69" fmla="*/ 209550 h 1647825"/>
                <a:gd name="connsiteX70" fmla="*/ 280987 w 5243512"/>
                <a:gd name="connsiteY70" fmla="*/ 209550 h 1647825"/>
                <a:gd name="connsiteX71" fmla="*/ 276224 w 5243512"/>
                <a:gd name="connsiteY71" fmla="*/ 171450 h 1647825"/>
                <a:gd name="connsiteX72" fmla="*/ 238125 w 5243512"/>
                <a:gd name="connsiteY72" fmla="*/ 166687 h 1647825"/>
                <a:gd name="connsiteX73" fmla="*/ 233362 w 5243512"/>
                <a:gd name="connsiteY73" fmla="*/ 133350 h 1647825"/>
                <a:gd name="connsiteX74" fmla="*/ 166687 w 5243512"/>
                <a:gd name="connsiteY74" fmla="*/ 138112 h 1647825"/>
                <a:gd name="connsiteX75" fmla="*/ 171450 w 5243512"/>
                <a:gd name="connsiteY75" fmla="*/ 52387 h 1647825"/>
                <a:gd name="connsiteX76" fmla="*/ 71437 w 5243512"/>
                <a:gd name="connsiteY76" fmla="*/ 47625 h 1647825"/>
                <a:gd name="connsiteX77" fmla="*/ 76200 w 5243512"/>
                <a:gd name="connsiteY77" fmla="*/ 0 h 1647825"/>
                <a:gd name="connsiteX78" fmla="*/ 0 w 5243512"/>
                <a:gd name="connsiteY78" fmla="*/ 0 h 1647825"/>
                <a:gd name="connsiteX0" fmla="*/ 5243512 w 5243512"/>
                <a:gd name="connsiteY0" fmla="*/ 1638300 h 1647825"/>
                <a:gd name="connsiteX1" fmla="*/ 4333875 w 5243512"/>
                <a:gd name="connsiteY1" fmla="*/ 1647825 h 1647825"/>
                <a:gd name="connsiteX2" fmla="*/ 4333875 w 5243512"/>
                <a:gd name="connsiteY2" fmla="*/ 1581150 h 1647825"/>
                <a:gd name="connsiteX3" fmla="*/ 4062412 w 5243512"/>
                <a:gd name="connsiteY3" fmla="*/ 1581150 h 1647825"/>
                <a:gd name="connsiteX4" fmla="*/ 4062412 w 5243512"/>
                <a:gd name="connsiteY4" fmla="*/ 1509712 h 1647825"/>
                <a:gd name="connsiteX5" fmla="*/ 3705225 w 5243512"/>
                <a:gd name="connsiteY5" fmla="*/ 1509712 h 1647825"/>
                <a:gd name="connsiteX6" fmla="*/ 3709987 w 5243512"/>
                <a:gd name="connsiteY6" fmla="*/ 1462087 h 1647825"/>
                <a:gd name="connsiteX7" fmla="*/ 3267075 w 5243512"/>
                <a:gd name="connsiteY7" fmla="*/ 1462087 h 1647825"/>
                <a:gd name="connsiteX8" fmla="*/ 3267075 w 5243512"/>
                <a:gd name="connsiteY8" fmla="*/ 1428750 h 1647825"/>
                <a:gd name="connsiteX9" fmla="*/ 3009900 w 5243512"/>
                <a:gd name="connsiteY9" fmla="*/ 1423987 h 1647825"/>
                <a:gd name="connsiteX10" fmla="*/ 3014662 w 5243512"/>
                <a:gd name="connsiteY10" fmla="*/ 1376362 h 1647825"/>
                <a:gd name="connsiteX11" fmla="*/ 2857500 w 5243512"/>
                <a:gd name="connsiteY11" fmla="*/ 1381125 h 1647825"/>
                <a:gd name="connsiteX12" fmla="*/ 2862262 w 5243512"/>
                <a:gd name="connsiteY12" fmla="*/ 1333500 h 1647825"/>
                <a:gd name="connsiteX13" fmla="*/ 2805112 w 5243512"/>
                <a:gd name="connsiteY13" fmla="*/ 1338262 h 1647825"/>
                <a:gd name="connsiteX14" fmla="*/ 2805112 w 5243512"/>
                <a:gd name="connsiteY14" fmla="*/ 1300162 h 1647825"/>
                <a:gd name="connsiteX15" fmla="*/ 2605087 w 5243512"/>
                <a:gd name="connsiteY15" fmla="*/ 1314450 h 1647825"/>
                <a:gd name="connsiteX16" fmla="*/ 2605087 w 5243512"/>
                <a:gd name="connsiteY16" fmla="*/ 1271587 h 1647825"/>
                <a:gd name="connsiteX17" fmla="*/ 2462212 w 5243512"/>
                <a:gd name="connsiteY17" fmla="*/ 1271587 h 1647825"/>
                <a:gd name="connsiteX18" fmla="*/ 2462212 w 5243512"/>
                <a:gd name="connsiteY18" fmla="*/ 1252537 h 1647825"/>
                <a:gd name="connsiteX19" fmla="*/ 2262187 w 5243512"/>
                <a:gd name="connsiteY19" fmla="*/ 1252537 h 1647825"/>
                <a:gd name="connsiteX20" fmla="*/ 2266950 w 5243512"/>
                <a:gd name="connsiteY20" fmla="*/ 1204912 h 1647825"/>
                <a:gd name="connsiteX21" fmla="*/ 1966912 w 5243512"/>
                <a:gd name="connsiteY21" fmla="*/ 1204912 h 1647825"/>
                <a:gd name="connsiteX22" fmla="*/ 1962150 w 5243512"/>
                <a:gd name="connsiteY22" fmla="*/ 1162050 h 1647825"/>
                <a:gd name="connsiteX23" fmla="*/ 1809750 w 5243512"/>
                <a:gd name="connsiteY23" fmla="*/ 1157287 h 1647825"/>
                <a:gd name="connsiteX24" fmla="*/ 1809750 w 5243512"/>
                <a:gd name="connsiteY24" fmla="*/ 1157287 h 1647825"/>
                <a:gd name="connsiteX25" fmla="*/ 1809750 w 5243512"/>
                <a:gd name="connsiteY25" fmla="*/ 1133475 h 1647825"/>
                <a:gd name="connsiteX26" fmla="*/ 1714500 w 5243512"/>
                <a:gd name="connsiteY26" fmla="*/ 1133475 h 1647825"/>
                <a:gd name="connsiteX27" fmla="*/ 1704975 w 5243512"/>
                <a:gd name="connsiteY27" fmla="*/ 1095375 h 1647825"/>
                <a:gd name="connsiteX28" fmla="*/ 1590675 w 5243512"/>
                <a:gd name="connsiteY28" fmla="*/ 1095375 h 1647825"/>
                <a:gd name="connsiteX29" fmla="*/ 1595437 w 5243512"/>
                <a:gd name="connsiteY29" fmla="*/ 1062037 h 1647825"/>
                <a:gd name="connsiteX30" fmla="*/ 1428750 w 5243512"/>
                <a:gd name="connsiteY30" fmla="*/ 1057275 h 1647825"/>
                <a:gd name="connsiteX31" fmla="*/ 1428750 w 5243512"/>
                <a:gd name="connsiteY31" fmla="*/ 1057275 h 1647825"/>
                <a:gd name="connsiteX32" fmla="*/ 1423988 w 5243512"/>
                <a:gd name="connsiteY32" fmla="*/ 1028699 h 1647825"/>
                <a:gd name="connsiteX33" fmla="*/ 1328737 w 5243512"/>
                <a:gd name="connsiteY33" fmla="*/ 1028700 h 1647825"/>
                <a:gd name="connsiteX34" fmla="*/ 1333500 w 5243512"/>
                <a:gd name="connsiteY34" fmla="*/ 990600 h 1647825"/>
                <a:gd name="connsiteX35" fmla="*/ 1247775 w 5243512"/>
                <a:gd name="connsiteY35" fmla="*/ 995362 h 1647825"/>
                <a:gd name="connsiteX36" fmla="*/ 1247775 w 5243512"/>
                <a:gd name="connsiteY36" fmla="*/ 948894 h 1647825"/>
                <a:gd name="connsiteX37" fmla="*/ 1190625 w 5243512"/>
                <a:gd name="connsiteY37" fmla="*/ 947737 h 1647825"/>
                <a:gd name="connsiteX38" fmla="*/ 1188312 w 5243512"/>
                <a:gd name="connsiteY38" fmla="*/ 884669 h 1647825"/>
                <a:gd name="connsiteX39" fmla="*/ 1123950 w 5243512"/>
                <a:gd name="connsiteY39" fmla="*/ 881062 h 1647825"/>
                <a:gd name="connsiteX40" fmla="*/ 1126262 w 5243512"/>
                <a:gd name="connsiteY40" fmla="*/ 826872 h 1647825"/>
                <a:gd name="connsiteX41" fmla="*/ 1062037 w 5243512"/>
                <a:gd name="connsiteY41" fmla="*/ 823912 h 1647825"/>
                <a:gd name="connsiteX42" fmla="*/ 1062037 w 5243512"/>
                <a:gd name="connsiteY42" fmla="*/ 766762 h 1647825"/>
                <a:gd name="connsiteX43" fmla="*/ 1019175 w 5243512"/>
                <a:gd name="connsiteY43" fmla="*/ 766762 h 1647825"/>
                <a:gd name="connsiteX44" fmla="*/ 1023937 w 5243512"/>
                <a:gd name="connsiteY44" fmla="*/ 709612 h 1647825"/>
                <a:gd name="connsiteX45" fmla="*/ 947737 w 5243512"/>
                <a:gd name="connsiteY45" fmla="*/ 704850 h 1647825"/>
                <a:gd name="connsiteX46" fmla="*/ 947737 w 5243512"/>
                <a:gd name="connsiteY46" fmla="*/ 647700 h 1647825"/>
                <a:gd name="connsiteX47" fmla="*/ 909637 w 5243512"/>
                <a:gd name="connsiteY47" fmla="*/ 647700 h 1647825"/>
                <a:gd name="connsiteX48" fmla="*/ 914400 w 5243512"/>
                <a:gd name="connsiteY48" fmla="*/ 609600 h 1647825"/>
                <a:gd name="connsiteX49" fmla="*/ 852487 w 5243512"/>
                <a:gd name="connsiteY49" fmla="*/ 614362 h 1647825"/>
                <a:gd name="connsiteX50" fmla="*/ 852487 w 5243512"/>
                <a:gd name="connsiteY50" fmla="*/ 571500 h 1647825"/>
                <a:gd name="connsiteX51" fmla="*/ 781050 w 5243512"/>
                <a:gd name="connsiteY51" fmla="*/ 566737 h 1647825"/>
                <a:gd name="connsiteX52" fmla="*/ 781050 w 5243512"/>
                <a:gd name="connsiteY52" fmla="*/ 538162 h 1647825"/>
                <a:gd name="connsiteX53" fmla="*/ 728662 w 5243512"/>
                <a:gd name="connsiteY53" fmla="*/ 533400 h 1647825"/>
                <a:gd name="connsiteX54" fmla="*/ 723899 w 5243512"/>
                <a:gd name="connsiteY54" fmla="*/ 500062 h 1647825"/>
                <a:gd name="connsiteX55" fmla="*/ 647700 w 5243512"/>
                <a:gd name="connsiteY55" fmla="*/ 500062 h 1647825"/>
                <a:gd name="connsiteX56" fmla="*/ 647700 w 5243512"/>
                <a:gd name="connsiteY56" fmla="*/ 466725 h 1647825"/>
                <a:gd name="connsiteX57" fmla="*/ 595313 w 5243512"/>
                <a:gd name="connsiteY57" fmla="*/ 461962 h 1647825"/>
                <a:gd name="connsiteX58" fmla="*/ 600076 w 5243512"/>
                <a:gd name="connsiteY58" fmla="*/ 433387 h 1647825"/>
                <a:gd name="connsiteX59" fmla="*/ 533400 w 5243512"/>
                <a:gd name="connsiteY59" fmla="*/ 428625 h 1647825"/>
                <a:gd name="connsiteX60" fmla="*/ 538163 w 5243512"/>
                <a:gd name="connsiteY60" fmla="*/ 390524 h 1647825"/>
                <a:gd name="connsiteX61" fmla="*/ 466725 w 5243512"/>
                <a:gd name="connsiteY61" fmla="*/ 390525 h 1647825"/>
                <a:gd name="connsiteX62" fmla="*/ 466725 w 5243512"/>
                <a:gd name="connsiteY62" fmla="*/ 342900 h 1647825"/>
                <a:gd name="connsiteX63" fmla="*/ 423862 w 5243512"/>
                <a:gd name="connsiteY63" fmla="*/ 342900 h 1647825"/>
                <a:gd name="connsiteX64" fmla="*/ 423862 w 5243512"/>
                <a:gd name="connsiteY64" fmla="*/ 342900 h 1647825"/>
                <a:gd name="connsiteX65" fmla="*/ 423862 w 5243512"/>
                <a:gd name="connsiteY65" fmla="*/ 295275 h 1647825"/>
                <a:gd name="connsiteX66" fmla="*/ 385761 w 5243512"/>
                <a:gd name="connsiteY66" fmla="*/ 300038 h 1647825"/>
                <a:gd name="connsiteX67" fmla="*/ 385762 w 5243512"/>
                <a:gd name="connsiteY67" fmla="*/ 266699 h 1647825"/>
                <a:gd name="connsiteX68" fmla="*/ 342900 w 5243512"/>
                <a:gd name="connsiteY68" fmla="*/ 261937 h 1647825"/>
                <a:gd name="connsiteX69" fmla="*/ 347662 w 5243512"/>
                <a:gd name="connsiteY69" fmla="*/ 209550 h 1647825"/>
                <a:gd name="connsiteX70" fmla="*/ 280987 w 5243512"/>
                <a:gd name="connsiteY70" fmla="*/ 209550 h 1647825"/>
                <a:gd name="connsiteX71" fmla="*/ 276224 w 5243512"/>
                <a:gd name="connsiteY71" fmla="*/ 171450 h 1647825"/>
                <a:gd name="connsiteX72" fmla="*/ 238125 w 5243512"/>
                <a:gd name="connsiteY72" fmla="*/ 166687 h 1647825"/>
                <a:gd name="connsiteX73" fmla="*/ 233362 w 5243512"/>
                <a:gd name="connsiteY73" fmla="*/ 133350 h 1647825"/>
                <a:gd name="connsiteX74" fmla="*/ 166687 w 5243512"/>
                <a:gd name="connsiteY74" fmla="*/ 138112 h 1647825"/>
                <a:gd name="connsiteX75" fmla="*/ 171450 w 5243512"/>
                <a:gd name="connsiteY75" fmla="*/ 52387 h 1647825"/>
                <a:gd name="connsiteX76" fmla="*/ 71437 w 5243512"/>
                <a:gd name="connsiteY76" fmla="*/ 47625 h 1647825"/>
                <a:gd name="connsiteX77" fmla="*/ 76200 w 5243512"/>
                <a:gd name="connsiteY77" fmla="*/ 0 h 1647825"/>
                <a:gd name="connsiteX78" fmla="*/ 0 w 5243512"/>
                <a:gd name="connsiteY78" fmla="*/ 0 h 1647825"/>
                <a:gd name="connsiteX0" fmla="*/ 5243512 w 5243512"/>
                <a:gd name="connsiteY0" fmla="*/ 1638300 h 1647825"/>
                <a:gd name="connsiteX1" fmla="*/ 4333875 w 5243512"/>
                <a:gd name="connsiteY1" fmla="*/ 1647825 h 1647825"/>
                <a:gd name="connsiteX2" fmla="*/ 4333875 w 5243512"/>
                <a:gd name="connsiteY2" fmla="*/ 1581150 h 1647825"/>
                <a:gd name="connsiteX3" fmla="*/ 4062412 w 5243512"/>
                <a:gd name="connsiteY3" fmla="*/ 1581150 h 1647825"/>
                <a:gd name="connsiteX4" fmla="*/ 4062412 w 5243512"/>
                <a:gd name="connsiteY4" fmla="*/ 1509712 h 1647825"/>
                <a:gd name="connsiteX5" fmla="*/ 3705225 w 5243512"/>
                <a:gd name="connsiteY5" fmla="*/ 1509712 h 1647825"/>
                <a:gd name="connsiteX6" fmla="*/ 3709987 w 5243512"/>
                <a:gd name="connsiteY6" fmla="*/ 1462087 h 1647825"/>
                <a:gd name="connsiteX7" fmla="*/ 3267075 w 5243512"/>
                <a:gd name="connsiteY7" fmla="*/ 1462087 h 1647825"/>
                <a:gd name="connsiteX8" fmla="*/ 3267075 w 5243512"/>
                <a:gd name="connsiteY8" fmla="*/ 1428750 h 1647825"/>
                <a:gd name="connsiteX9" fmla="*/ 3009900 w 5243512"/>
                <a:gd name="connsiteY9" fmla="*/ 1423987 h 1647825"/>
                <a:gd name="connsiteX10" fmla="*/ 3014662 w 5243512"/>
                <a:gd name="connsiteY10" fmla="*/ 1376362 h 1647825"/>
                <a:gd name="connsiteX11" fmla="*/ 2857500 w 5243512"/>
                <a:gd name="connsiteY11" fmla="*/ 1381125 h 1647825"/>
                <a:gd name="connsiteX12" fmla="*/ 2862262 w 5243512"/>
                <a:gd name="connsiteY12" fmla="*/ 1333500 h 1647825"/>
                <a:gd name="connsiteX13" fmla="*/ 2805112 w 5243512"/>
                <a:gd name="connsiteY13" fmla="*/ 1338262 h 1647825"/>
                <a:gd name="connsiteX14" fmla="*/ 2805112 w 5243512"/>
                <a:gd name="connsiteY14" fmla="*/ 1300162 h 1647825"/>
                <a:gd name="connsiteX15" fmla="*/ 2605087 w 5243512"/>
                <a:gd name="connsiteY15" fmla="*/ 1314450 h 1647825"/>
                <a:gd name="connsiteX16" fmla="*/ 2605087 w 5243512"/>
                <a:gd name="connsiteY16" fmla="*/ 1271587 h 1647825"/>
                <a:gd name="connsiteX17" fmla="*/ 2462212 w 5243512"/>
                <a:gd name="connsiteY17" fmla="*/ 1271587 h 1647825"/>
                <a:gd name="connsiteX18" fmla="*/ 2462212 w 5243512"/>
                <a:gd name="connsiteY18" fmla="*/ 1252537 h 1647825"/>
                <a:gd name="connsiteX19" fmla="*/ 2262187 w 5243512"/>
                <a:gd name="connsiteY19" fmla="*/ 1252537 h 1647825"/>
                <a:gd name="connsiteX20" fmla="*/ 2266950 w 5243512"/>
                <a:gd name="connsiteY20" fmla="*/ 1204912 h 1647825"/>
                <a:gd name="connsiteX21" fmla="*/ 1966912 w 5243512"/>
                <a:gd name="connsiteY21" fmla="*/ 1204912 h 1647825"/>
                <a:gd name="connsiteX22" fmla="*/ 1962150 w 5243512"/>
                <a:gd name="connsiteY22" fmla="*/ 1162050 h 1647825"/>
                <a:gd name="connsiteX23" fmla="*/ 1809750 w 5243512"/>
                <a:gd name="connsiteY23" fmla="*/ 1157287 h 1647825"/>
                <a:gd name="connsiteX24" fmla="*/ 1809750 w 5243512"/>
                <a:gd name="connsiteY24" fmla="*/ 1157287 h 1647825"/>
                <a:gd name="connsiteX25" fmla="*/ 1809750 w 5243512"/>
                <a:gd name="connsiteY25" fmla="*/ 1133475 h 1647825"/>
                <a:gd name="connsiteX26" fmla="*/ 1714500 w 5243512"/>
                <a:gd name="connsiteY26" fmla="*/ 1133475 h 1647825"/>
                <a:gd name="connsiteX27" fmla="*/ 1704975 w 5243512"/>
                <a:gd name="connsiteY27" fmla="*/ 1095375 h 1647825"/>
                <a:gd name="connsiteX28" fmla="*/ 1590675 w 5243512"/>
                <a:gd name="connsiteY28" fmla="*/ 1095375 h 1647825"/>
                <a:gd name="connsiteX29" fmla="*/ 1595437 w 5243512"/>
                <a:gd name="connsiteY29" fmla="*/ 1062037 h 1647825"/>
                <a:gd name="connsiteX30" fmla="*/ 1428750 w 5243512"/>
                <a:gd name="connsiteY30" fmla="*/ 1057275 h 1647825"/>
                <a:gd name="connsiteX31" fmla="*/ 1428750 w 5243512"/>
                <a:gd name="connsiteY31" fmla="*/ 1057275 h 1647825"/>
                <a:gd name="connsiteX32" fmla="*/ 1423988 w 5243512"/>
                <a:gd name="connsiteY32" fmla="*/ 1028699 h 1647825"/>
                <a:gd name="connsiteX33" fmla="*/ 1328737 w 5243512"/>
                <a:gd name="connsiteY33" fmla="*/ 1028700 h 1647825"/>
                <a:gd name="connsiteX34" fmla="*/ 1333500 w 5243512"/>
                <a:gd name="connsiteY34" fmla="*/ 990600 h 1647825"/>
                <a:gd name="connsiteX35" fmla="*/ 1247775 w 5243512"/>
                <a:gd name="connsiteY35" fmla="*/ 995362 h 1647825"/>
                <a:gd name="connsiteX36" fmla="*/ 1247775 w 5243512"/>
                <a:gd name="connsiteY36" fmla="*/ 948894 h 1647825"/>
                <a:gd name="connsiteX37" fmla="*/ 1190625 w 5243512"/>
                <a:gd name="connsiteY37" fmla="*/ 947737 h 1647825"/>
                <a:gd name="connsiteX38" fmla="*/ 1188312 w 5243512"/>
                <a:gd name="connsiteY38" fmla="*/ 884669 h 1647825"/>
                <a:gd name="connsiteX39" fmla="*/ 1123950 w 5243512"/>
                <a:gd name="connsiteY39" fmla="*/ 881062 h 1647825"/>
                <a:gd name="connsiteX40" fmla="*/ 1126262 w 5243512"/>
                <a:gd name="connsiteY40" fmla="*/ 826872 h 1647825"/>
                <a:gd name="connsiteX41" fmla="*/ 1062037 w 5243512"/>
                <a:gd name="connsiteY41" fmla="*/ 823912 h 1647825"/>
                <a:gd name="connsiteX42" fmla="*/ 1062037 w 5243512"/>
                <a:gd name="connsiteY42" fmla="*/ 766762 h 1647825"/>
                <a:gd name="connsiteX43" fmla="*/ 1019175 w 5243512"/>
                <a:gd name="connsiteY43" fmla="*/ 766762 h 1647825"/>
                <a:gd name="connsiteX44" fmla="*/ 1023937 w 5243512"/>
                <a:gd name="connsiteY44" fmla="*/ 709612 h 1647825"/>
                <a:gd name="connsiteX45" fmla="*/ 947737 w 5243512"/>
                <a:gd name="connsiteY45" fmla="*/ 704850 h 1647825"/>
                <a:gd name="connsiteX46" fmla="*/ 947737 w 5243512"/>
                <a:gd name="connsiteY46" fmla="*/ 647700 h 1647825"/>
                <a:gd name="connsiteX47" fmla="*/ 909637 w 5243512"/>
                <a:gd name="connsiteY47" fmla="*/ 647700 h 1647825"/>
                <a:gd name="connsiteX48" fmla="*/ 914400 w 5243512"/>
                <a:gd name="connsiteY48" fmla="*/ 609600 h 1647825"/>
                <a:gd name="connsiteX49" fmla="*/ 852487 w 5243512"/>
                <a:gd name="connsiteY49" fmla="*/ 614362 h 1647825"/>
                <a:gd name="connsiteX50" fmla="*/ 852487 w 5243512"/>
                <a:gd name="connsiteY50" fmla="*/ 571500 h 1647825"/>
                <a:gd name="connsiteX51" fmla="*/ 781050 w 5243512"/>
                <a:gd name="connsiteY51" fmla="*/ 566737 h 1647825"/>
                <a:gd name="connsiteX52" fmla="*/ 781050 w 5243512"/>
                <a:gd name="connsiteY52" fmla="*/ 538162 h 1647825"/>
                <a:gd name="connsiteX53" fmla="*/ 728662 w 5243512"/>
                <a:gd name="connsiteY53" fmla="*/ 533400 h 1647825"/>
                <a:gd name="connsiteX54" fmla="*/ 723899 w 5243512"/>
                <a:gd name="connsiteY54" fmla="*/ 500062 h 1647825"/>
                <a:gd name="connsiteX55" fmla="*/ 647700 w 5243512"/>
                <a:gd name="connsiteY55" fmla="*/ 500062 h 1647825"/>
                <a:gd name="connsiteX56" fmla="*/ 647700 w 5243512"/>
                <a:gd name="connsiteY56" fmla="*/ 466725 h 1647825"/>
                <a:gd name="connsiteX57" fmla="*/ 595313 w 5243512"/>
                <a:gd name="connsiteY57" fmla="*/ 461962 h 1647825"/>
                <a:gd name="connsiteX58" fmla="*/ 600076 w 5243512"/>
                <a:gd name="connsiteY58" fmla="*/ 433387 h 1647825"/>
                <a:gd name="connsiteX59" fmla="*/ 533400 w 5243512"/>
                <a:gd name="connsiteY59" fmla="*/ 428625 h 1647825"/>
                <a:gd name="connsiteX60" fmla="*/ 538163 w 5243512"/>
                <a:gd name="connsiteY60" fmla="*/ 390524 h 1647825"/>
                <a:gd name="connsiteX61" fmla="*/ 466725 w 5243512"/>
                <a:gd name="connsiteY61" fmla="*/ 390525 h 1647825"/>
                <a:gd name="connsiteX62" fmla="*/ 466725 w 5243512"/>
                <a:gd name="connsiteY62" fmla="*/ 342900 h 1647825"/>
                <a:gd name="connsiteX63" fmla="*/ 423862 w 5243512"/>
                <a:gd name="connsiteY63" fmla="*/ 342900 h 1647825"/>
                <a:gd name="connsiteX64" fmla="*/ 423862 w 5243512"/>
                <a:gd name="connsiteY64" fmla="*/ 342900 h 1647825"/>
                <a:gd name="connsiteX65" fmla="*/ 423862 w 5243512"/>
                <a:gd name="connsiteY65" fmla="*/ 295275 h 1647825"/>
                <a:gd name="connsiteX66" fmla="*/ 385761 w 5243512"/>
                <a:gd name="connsiteY66" fmla="*/ 300038 h 1647825"/>
                <a:gd name="connsiteX67" fmla="*/ 385762 w 5243512"/>
                <a:gd name="connsiteY67" fmla="*/ 266699 h 1647825"/>
                <a:gd name="connsiteX68" fmla="*/ 342900 w 5243512"/>
                <a:gd name="connsiteY68" fmla="*/ 261937 h 1647825"/>
                <a:gd name="connsiteX69" fmla="*/ 347662 w 5243512"/>
                <a:gd name="connsiteY69" fmla="*/ 209550 h 1647825"/>
                <a:gd name="connsiteX70" fmla="*/ 280987 w 5243512"/>
                <a:gd name="connsiteY70" fmla="*/ 209550 h 1647825"/>
                <a:gd name="connsiteX71" fmla="*/ 276224 w 5243512"/>
                <a:gd name="connsiteY71" fmla="*/ 171450 h 1647825"/>
                <a:gd name="connsiteX72" fmla="*/ 238125 w 5243512"/>
                <a:gd name="connsiteY72" fmla="*/ 166687 h 1647825"/>
                <a:gd name="connsiteX73" fmla="*/ 233362 w 5243512"/>
                <a:gd name="connsiteY73" fmla="*/ 133350 h 1647825"/>
                <a:gd name="connsiteX74" fmla="*/ 166687 w 5243512"/>
                <a:gd name="connsiteY74" fmla="*/ 138112 h 1647825"/>
                <a:gd name="connsiteX75" fmla="*/ 171450 w 5243512"/>
                <a:gd name="connsiteY75" fmla="*/ 52387 h 1647825"/>
                <a:gd name="connsiteX76" fmla="*/ 71437 w 5243512"/>
                <a:gd name="connsiteY76" fmla="*/ 47625 h 1647825"/>
                <a:gd name="connsiteX77" fmla="*/ 76200 w 5243512"/>
                <a:gd name="connsiteY77" fmla="*/ 0 h 1647825"/>
                <a:gd name="connsiteX78" fmla="*/ 0 w 5243512"/>
                <a:gd name="connsiteY78" fmla="*/ 0 h 1647825"/>
                <a:gd name="connsiteX0" fmla="*/ 5243512 w 5243512"/>
                <a:gd name="connsiteY0" fmla="*/ 1638300 h 1647825"/>
                <a:gd name="connsiteX1" fmla="*/ 4333875 w 5243512"/>
                <a:gd name="connsiteY1" fmla="*/ 1647825 h 1647825"/>
                <a:gd name="connsiteX2" fmla="*/ 4333875 w 5243512"/>
                <a:gd name="connsiteY2" fmla="*/ 1581150 h 1647825"/>
                <a:gd name="connsiteX3" fmla="*/ 4062412 w 5243512"/>
                <a:gd name="connsiteY3" fmla="*/ 1581150 h 1647825"/>
                <a:gd name="connsiteX4" fmla="*/ 4062412 w 5243512"/>
                <a:gd name="connsiteY4" fmla="*/ 1509712 h 1647825"/>
                <a:gd name="connsiteX5" fmla="*/ 3705225 w 5243512"/>
                <a:gd name="connsiteY5" fmla="*/ 1509712 h 1647825"/>
                <a:gd name="connsiteX6" fmla="*/ 3709987 w 5243512"/>
                <a:gd name="connsiteY6" fmla="*/ 1462087 h 1647825"/>
                <a:gd name="connsiteX7" fmla="*/ 3267075 w 5243512"/>
                <a:gd name="connsiteY7" fmla="*/ 1462087 h 1647825"/>
                <a:gd name="connsiteX8" fmla="*/ 3267075 w 5243512"/>
                <a:gd name="connsiteY8" fmla="*/ 1428750 h 1647825"/>
                <a:gd name="connsiteX9" fmla="*/ 3009900 w 5243512"/>
                <a:gd name="connsiteY9" fmla="*/ 1423987 h 1647825"/>
                <a:gd name="connsiteX10" fmla="*/ 3014662 w 5243512"/>
                <a:gd name="connsiteY10" fmla="*/ 1376362 h 1647825"/>
                <a:gd name="connsiteX11" fmla="*/ 2857500 w 5243512"/>
                <a:gd name="connsiteY11" fmla="*/ 1381125 h 1647825"/>
                <a:gd name="connsiteX12" fmla="*/ 2862262 w 5243512"/>
                <a:gd name="connsiteY12" fmla="*/ 1333500 h 1647825"/>
                <a:gd name="connsiteX13" fmla="*/ 2805112 w 5243512"/>
                <a:gd name="connsiteY13" fmla="*/ 1338262 h 1647825"/>
                <a:gd name="connsiteX14" fmla="*/ 2805112 w 5243512"/>
                <a:gd name="connsiteY14" fmla="*/ 1300162 h 1647825"/>
                <a:gd name="connsiteX15" fmla="*/ 2605087 w 5243512"/>
                <a:gd name="connsiteY15" fmla="*/ 1314450 h 1647825"/>
                <a:gd name="connsiteX16" fmla="*/ 2605087 w 5243512"/>
                <a:gd name="connsiteY16" fmla="*/ 1271587 h 1647825"/>
                <a:gd name="connsiteX17" fmla="*/ 2462212 w 5243512"/>
                <a:gd name="connsiteY17" fmla="*/ 1271587 h 1647825"/>
                <a:gd name="connsiteX18" fmla="*/ 2462212 w 5243512"/>
                <a:gd name="connsiteY18" fmla="*/ 1252537 h 1647825"/>
                <a:gd name="connsiteX19" fmla="*/ 2262187 w 5243512"/>
                <a:gd name="connsiteY19" fmla="*/ 1252537 h 1647825"/>
                <a:gd name="connsiteX20" fmla="*/ 2266950 w 5243512"/>
                <a:gd name="connsiteY20" fmla="*/ 1204912 h 1647825"/>
                <a:gd name="connsiteX21" fmla="*/ 1966912 w 5243512"/>
                <a:gd name="connsiteY21" fmla="*/ 1204912 h 1647825"/>
                <a:gd name="connsiteX22" fmla="*/ 1962150 w 5243512"/>
                <a:gd name="connsiteY22" fmla="*/ 1162050 h 1647825"/>
                <a:gd name="connsiteX23" fmla="*/ 1809750 w 5243512"/>
                <a:gd name="connsiteY23" fmla="*/ 1157287 h 1647825"/>
                <a:gd name="connsiteX24" fmla="*/ 1809750 w 5243512"/>
                <a:gd name="connsiteY24" fmla="*/ 1157287 h 1647825"/>
                <a:gd name="connsiteX25" fmla="*/ 1809750 w 5243512"/>
                <a:gd name="connsiteY25" fmla="*/ 1133475 h 1647825"/>
                <a:gd name="connsiteX26" fmla="*/ 1714500 w 5243512"/>
                <a:gd name="connsiteY26" fmla="*/ 1133475 h 1647825"/>
                <a:gd name="connsiteX27" fmla="*/ 1704975 w 5243512"/>
                <a:gd name="connsiteY27" fmla="*/ 1095375 h 1647825"/>
                <a:gd name="connsiteX28" fmla="*/ 1590675 w 5243512"/>
                <a:gd name="connsiteY28" fmla="*/ 1095375 h 1647825"/>
                <a:gd name="connsiteX29" fmla="*/ 1595437 w 5243512"/>
                <a:gd name="connsiteY29" fmla="*/ 1062037 h 1647825"/>
                <a:gd name="connsiteX30" fmla="*/ 1428750 w 5243512"/>
                <a:gd name="connsiteY30" fmla="*/ 1057275 h 1647825"/>
                <a:gd name="connsiteX31" fmla="*/ 1428750 w 5243512"/>
                <a:gd name="connsiteY31" fmla="*/ 1057275 h 1647825"/>
                <a:gd name="connsiteX32" fmla="*/ 1423988 w 5243512"/>
                <a:gd name="connsiteY32" fmla="*/ 1028699 h 1647825"/>
                <a:gd name="connsiteX33" fmla="*/ 1328737 w 5243512"/>
                <a:gd name="connsiteY33" fmla="*/ 1028700 h 1647825"/>
                <a:gd name="connsiteX34" fmla="*/ 1321663 w 5243512"/>
                <a:gd name="connsiteY34" fmla="*/ 999478 h 1647825"/>
                <a:gd name="connsiteX35" fmla="*/ 1247775 w 5243512"/>
                <a:gd name="connsiteY35" fmla="*/ 995362 h 1647825"/>
                <a:gd name="connsiteX36" fmla="*/ 1247775 w 5243512"/>
                <a:gd name="connsiteY36" fmla="*/ 948894 h 1647825"/>
                <a:gd name="connsiteX37" fmla="*/ 1190625 w 5243512"/>
                <a:gd name="connsiteY37" fmla="*/ 947737 h 1647825"/>
                <a:gd name="connsiteX38" fmla="*/ 1188312 w 5243512"/>
                <a:gd name="connsiteY38" fmla="*/ 884669 h 1647825"/>
                <a:gd name="connsiteX39" fmla="*/ 1123950 w 5243512"/>
                <a:gd name="connsiteY39" fmla="*/ 881062 h 1647825"/>
                <a:gd name="connsiteX40" fmla="*/ 1126262 w 5243512"/>
                <a:gd name="connsiteY40" fmla="*/ 826872 h 1647825"/>
                <a:gd name="connsiteX41" fmla="*/ 1062037 w 5243512"/>
                <a:gd name="connsiteY41" fmla="*/ 823912 h 1647825"/>
                <a:gd name="connsiteX42" fmla="*/ 1062037 w 5243512"/>
                <a:gd name="connsiteY42" fmla="*/ 766762 h 1647825"/>
                <a:gd name="connsiteX43" fmla="*/ 1019175 w 5243512"/>
                <a:gd name="connsiteY43" fmla="*/ 766762 h 1647825"/>
                <a:gd name="connsiteX44" fmla="*/ 1023937 w 5243512"/>
                <a:gd name="connsiteY44" fmla="*/ 709612 h 1647825"/>
                <a:gd name="connsiteX45" fmla="*/ 947737 w 5243512"/>
                <a:gd name="connsiteY45" fmla="*/ 704850 h 1647825"/>
                <a:gd name="connsiteX46" fmla="*/ 947737 w 5243512"/>
                <a:gd name="connsiteY46" fmla="*/ 647700 h 1647825"/>
                <a:gd name="connsiteX47" fmla="*/ 909637 w 5243512"/>
                <a:gd name="connsiteY47" fmla="*/ 647700 h 1647825"/>
                <a:gd name="connsiteX48" fmla="*/ 914400 w 5243512"/>
                <a:gd name="connsiteY48" fmla="*/ 609600 h 1647825"/>
                <a:gd name="connsiteX49" fmla="*/ 852487 w 5243512"/>
                <a:gd name="connsiteY49" fmla="*/ 614362 h 1647825"/>
                <a:gd name="connsiteX50" fmla="*/ 852487 w 5243512"/>
                <a:gd name="connsiteY50" fmla="*/ 571500 h 1647825"/>
                <a:gd name="connsiteX51" fmla="*/ 781050 w 5243512"/>
                <a:gd name="connsiteY51" fmla="*/ 566737 h 1647825"/>
                <a:gd name="connsiteX52" fmla="*/ 781050 w 5243512"/>
                <a:gd name="connsiteY52" fmla="*/ 538162 h 1647825"/>
                <a:gd name="connsiteX53" fmla="*/ 728662 w 5243512"/>
                <a:gd name="connsiteY53" fmla="*/ 533400 h 1647825"/>
                <a:gd name="connsiteX54" fmla="*/ 723899 w 5243512"/>
                <a:gd name="connsiteY54" fmla="*/ 500062 h 1647825"/>
                <a:gd name="connsiteX55" fmla="*/ 647700 w 5243512"/>
                <a:gd name="connsiteY55" fmla="*/ 500062 h 1647825"/>
                <a:gd name="connsiteX56" fmla="*/ 647700 w 5243512"/>
                <a:gd name="connsiteY56" fmla="*/ 466725 h 1647825"/>
                <a:gd name="connsiteX57" fmla="*/ 595313 w 5243512"/>
                <a:gd name="connsiteY57" fmla="*/ 461962 h 1647825"/>
                <a:gd name="connsiteX58" fmla="*/ 600076 w 5243512"/>
                <a:gd name="connsiteY58" fmla="*/ 433387 h 1647825"/>
                <a:gd name="connsiteX59" fmla="*/ 533400 w 5243512"/>
                <a:gd name="connsiteY59" fmla="*/ 428625 h 1647825"/>
                <a:gd name="connsiteX60" fmla="*/ 538163 w 5243512"/>
                <a:gd name="connsiteY60" fmla="*/ 390524 h 1647825"/>
                <a:gd name="connsiteX61" fmla="*/ 466725 w 5243512"/>
                <a:gd name="connsiteY61" fmla="*/ 390525 h 1647825"/>
                <a:gd name="connsiteX62" fmla="*/ 466725 w 5243512"/>
                <a:gd name="connsiteY62" fmla="*/ 342900 h 1647825"/>
                <a:gd name="connsiteX63" fmla="*/ 423862 w 5243512"/>
                <a:gd name="connsiteY63" fmla="*/ 342900 h 1647825"/>
                <a:gd name="connsiteX64" fmla="*/ 423862 w 5243512"/>
                <a:gd name="connsiteY64" fmla="*/ 342900 h 1647825"/>
                <a:gd name="connsiteX65" fmla="*/ 423862 w 5243512"/>
                <a:gd name="connsiteY65" fmla="*/ 295275 h 1647825"/>
                <a:gd name="connsiteX66" fmla="*/ 385761 w 5243512"/>
                <a:gd name="connsiteY66" fmla="*/ 300038 h 1647825"/>
                <a:gd name="connsiteX67" fmla="*/ 385762 w 5243512"/>
                <a:gd name="connsiteY67" fmla="*/ 266699 h 1647825"/>
                <a:gd name="connsiteX68" fmla="*/ 342900 w 5243512"/>
                <a:gd name="connsiteY68" fmla="*/ 261937 h 1647825"/>
                <a:gd name="connsiteX69" fmla="*/ 347662 w 5243512"/>
                <a:gd name="connsiteY69" fmla="*/ 209550 h 1647825"/>
                <a:gd name="connsiteX70" fmla="*/ 280987 w 5243512"/>
                <a:gd name="connsiteY70" fmla="*/ 209550 h 1647825"/>
                <a:gd name="connsiteX71" fmla="*/ 276224 w 5243512"/>
                <a:gd name="connsiteY71" fmla="*/ 171450 h 1647825"/>
                <a:gd name="connsiteX72" fmla="*/ 238125 w 5243512"/>
                <a:gd name="connsiteY72" fmla="*/ 166687 h 1647825"/>
                <a:gd name="connsiteX73" fmla="*/ 233362 w 5243512"/>
                <a:gd name="connsiteY73" fmla="*/ 133350 h 1647825"/>
                <a:gd name="connsiteX74" fmla="*/ 166687 w 5243512"/>
                <a:gd name="connsiteY74" fmla="*/ 138112 h 1647825"/>
                <a:gd name="connsiteX75" fmla="*/ 171450 w 5243512"/>
                <a:gd name="connsiteY75" fmla="*/ 52387 h 1647825"/>
                <a:gd name="connsiteX76" fmla="*/ 71437 w 5243512"/>
                <a:gd name="connsiteY76" fmla="*/ 47625 h 1647825"/>
                <a:gd name="connsiteX77" fmla="*/ 76200 w 5243512"/>
                <a:gd name="connsiteY77" fmla="*/ 0 h 1647825"/>
                <a:gd name="connsiteX78" fmla="*/ 0 w 5243512"/>
                <a:gd name="connsiteY78" fmla="*/ 0 h 1647825"/>
                <a:gd name="connsiteX0" fmla="*/ 5243512 w 5243512"/>
                <a:gd name="connsiteY0" fmla="*/ 1638300 h 1647825"/>
                <a:gd name="connsiteX1" fmla="*/ 4333875 w 5243512"/>
                <a:gd name="connsiteY1" fmla="*/ 1647825 h 1647825"/>
                <a:gd name="connsiteX2" fmla="*/ 4333875 w 5243512"/>
                <a:gd name="connsiteY2" fmla="*/ 1581150 h 1647825"/>
                <a:gd name="connsiteX3" fmla="*/ 4062412 w 5243512"/>
                <a:gd name="connsiteY3" fmla="*/ 1581150 h 1647825"/>
                <a:gd name="connsiteX4" fmla="*/ 4062412 w 5243512"/>
                <a:gd name="connsiteY4" fmla="*/ 1509712 h 1647825"/>
                <a:gd name="connsiteX5" fmla="*/ 3705225 w 5243512"/>
                <a:gd name="connsiteY5" fmla="*/ 1509712 h 1647825"/>
                <a:gd name="connsiteX6" fmla="*/ 3709987 w 5243512"/>
                <a:gd name="connsiteY6" fmla="*/ 1462087 h 1647825"/>
                <a:gd name="connsiteX7" fmla="*/ 3267075 w 5243512"/>
                <a:gd name="connsiteY7" fmla="*/ 1462087 h 1647825"/>
                <a:gd name="connsiteX8" fmla="*/ 3267075 w 5243512"/>
                <a:gd name="connsiteY8" fmla="*/ 1428750 h 1647825"/>
                <a:gd name="connsiteX9" fmla="*/ 3009900 w 5243512"/>
                <a:gd name="connsiteY9" fmla="*/ 1423987 h 1647825"/>
                <a:gd name="connsiteX10" fmla="*/ 3014662 w 5243512"/>
                <a:gd name="connsiteY10" fmla="*/ 1376362 h 1647825"/>
                <a:gd name="connsiteX11" fmla="*/ 2857500 w 5243512"/>
                <a:gd name="connsiteY11" fmla="*/ 1381125 h 1647825"/>
                <a:gd name="connsiteX12" fmla="*/ 2862262 w 5243512"/>
                <a:gd name="connsiteY12" fmla="*/ 1333500 h 1647825"/>
                <a:gd name="connsiteX13" fmla="*/ 2805112 w 5243512"/>
                <a:gd name="connsiteY13" fmla="*/ 1338262 h 1647825"/>
                <a:gd name="connsiteX14" fmla="*/ 2802153 w 5243512"/>
                <a:gd name="connsiteY14" fmla="*/ 1309040 h 1647825"/>
                <a:gd name="connsiteX15" fmla="*/ 2605087 w 5243512"/>
                <a:gd name="connsiteY15" fmla="*/ 1314450 h 1647825"/>
                <a:gd name="connsiteX16" fmla="*/ 2605087 w 5243512"/>
                <a:gd name="connsiteY16" fmla="*/ 1271587 h 1647825"/>
                <a:gd name="connsiteX17" fmla="*/ 2462212 w 5243512"/>
                <a:gd name="connsiteY17" fmla="*/ 1271587 h 1647825"/>
                <a:gd name="connsiteX18" fmla="*/ 2462212 w 5243512"/>
                <a:gd name="connsiteY18" fmla="*/ 1252537 h 1647825"/>
                <a:gd name="connsiteX19" fmla="*/ 2262187 w 5243512"/>
                <a:gd name="connsiteY19" fmla="*/ 1252537 h 1647825"/>
                <a:gd name="connsiteX20" fmla="*/ 2266950 w 5243512"/>
                <a:gd name="connsiteY20" fmla="*/ 1204912 h 1647825"/>
                <a:gd name="connsiteX21" fmla="*/ 1966912 w 5243512"/>
                <a:gd name="connsiteY21" fmla="*/ 1204912 h 1647825"/>
                <a:gd name="connsiteX22" fmla="*/ 1962150 w 5243512"/>
                <a:gd name="connsiteY22" fmla="*/ 1162050 h 1647825"/>
                <a:gd name="connsiteX23" fmla="*/ 1809750 w 5243512"/>
                <a:gd name="connsiteY23" fmla="*/ 1157287 h 1647825"/>
                <a:gd name="connsiteX24" fmla="*/ 1809750 w 5243512"/>
                <a:gd name="connsiteY24" fmla="*/ 1157287 h 1647825"/>
                <a:gd name="connsiteX25" fmla="*/ 1809750 w 5243512"/>
                <a:gd name="connsiteY25" fmla="*/ 1133475 h 1647825"/>
                <a:gd name="connsiteX26" fmla="*/ 1714500 w 5243512"/>
                <a:gd name="connsiteY26" fmla="*/ 1133475 h 1647825"/>
                <a:gd name="connsiteX27" fmla="*/ 1704975 w 5243512"/>
                <a:gd name="connsiteY27" fmla="*/ 1095375 h 1647825"/>
                <a:gd name="connsiteX28" fmla="*/ 1590675 w 5243512"/>
                <a:gd name="connsiteY28" fmla="*/ 1095375 h 1647825"/>
                <a:gd name="connsiteX29" fmla="*/ 1595437 w 5243512"/>
                <a:gd name="connsiteY29" fmla="*/ 1062037 h 1647825"/>
                <a:gd name="connsiteX30" fmla="*/ 1428750 w 5243512"/>
                <a:gd name="connsiteY30" fmla="*/ 1057275 h 1647825"/>
                <a:gd name="connsiteX31" fmla="*/ 1428750 w 5243512"/>
                <a:gd name="connsiteY31" fmla="*/ 1057275 h 1647825"/>
                <a:gd name="connsiteX32" fmla="*/ 1423988 w 5243512"/>
                <a:gd name="connsiteY32" fmla="*/ 1028699 h 1647825"/>
                <a:gd name="connsiteX33" fmla="*/ 1328737 w 5243512"/>
                <a:gd name="connsiteY33" fmla="*/ 1028700 h 1647825"/>
                <a:gd name="connsiteX34" fmla="*/ 1321663 w 5243512"/>
                <a:gd name="connsiteY34" fmla="*/ 999478 h 1647825"/>
                <a:gd name="connsiteX35" fmla="*/ 1247775 w 5243512"/>
                <a:gd name="connsiteY35" fmla="*/ 995362 h 1647825"/>
                <a:gd name="connsiteX36" fmla="*/ 1247775 w 5243512"/>
                <a:gd name="connsiteY36" fmla="*/ 948894 h 1647825"/>
                <a:gd name="connsiteX37" fmla="*/ 1190625 w 5243512"/>
                <a:gd name="connsiteY37" fmla="*/ 947737 h 1647825"/>
                <a:gd name="connsiteX38" fmla="*/ 1188312 w 5243512"/>
                <a:gd name="connsiteY38" fmla="*/ 884669 h 1647825"/>
                <a:gd name="connsiteX39" fmla="*/ 1123950 w 5243512"/>
                <a:gd name="connsiteY39" fmla="*/ 881062 h 1647825"/>
                <a:gd name="connsiteX40" fmla="*/ 1126262 w 5243512"/>
                <a:gd name="connsiteY40" fmla="*/ 826872 h 1647825"/>
                <a:gd name="connsiteX41" fmla="*/ 1062037 w 5243512"/>
                <a:gd name="connsiteY41" fmla="*/ 823912 h 1647825"/>
                <a:gd name="connsiteX42" fmla="*/ 1062037 w 5243512"/>
                <a:gd name="connsiteY42" fmla="*/ 766762 h 1647825"/>
                <a:gd name="connsiteX43" fmla="*/ 1019175 w 5243512"/>
                <a:gd name="connsiteY43" fmla="*/ 766762 h 1647825"/>
                <a:gd name="connsiteX44" fmla="*/ 1023937 w 5243512"/>
                <a:gd name="connsiteY44" fmla="*/ 709612 h 1647825"/>
                <a:gd name="connsiteX45" fmla="*/ 947737 w 5243512"/>
                <a:gd name="connsiteY45" fmla="*/ 704850 h 1647825"/>
                <a:gd name="connsiteX46" fmla="*/ 947737 w 5243512"/>
                <a:gd name="connsiteY46" fmla="*/ 647700 h 1647825"/>
                <a:gd name="connsiteX47" fmla="*/ 909637 w 5243512"/>
                <a:gd name="connsiteY47" fmla="*/ 647700 h 1647825"/>
                <a:gd name="connsiteX48" fmla="*/ 914400 w 5243512"/>
                <a:gd name="connsiteY48" fmla="*/ 609600 h 1647825"/>
                <a:gd name="connsiteX49" fmla="*/ 852487 w 5243512"/>
                <a:gd name="connsiteY49" fmla="*/ 614362 h 1647825"/>
                <a:gd name="connsiteX50" fmla="*/ 852487 w 5243512"/>
                <a:gd name="connsiteY50" fmla="*/ 571500 h 1647825"/>
                <a:gd name="connsiteX51" fmla="*/ 781050 w 5243512"/>
                <a:gd name="connsiteY51" fmla="*/ 566737 h 1647825"/>
                <a:gd name="connsiteX52" fmla="*/ 781050 w 5243512"/>
                <a:gd name="connsiteY52" fmla="*/ 538162 h 1647825"/>
                <a:gd name="connsiteX53" fmla="*/ 728662 w 5243512"/>
                <a:gd name="connsiteY53" fmla="*/ 533400 h 1647825"/>
                <a:gd name="connsiteX54" fmla="*/ 723899 w 5243512"/>
                <a:gd name="connsiteY54" fmla="*/ 500062 h 1647825"/>
                <a:gd name="connsiteX55" fmla="*/ 647700 w 5243512"/>
                <a:gd name="connsiteY55" fmla="*/ 500062 h 1647825"/>
                <a:gd name="connsiteX56" fmla="*/ 647700 w 5243512"/>
                <a:gd name="connsiteY56" fmla="*/ 466725 h 1647825"/>
                <a:gd name="connsiteX57" fmla="*/ 595313 w 5243512"/>
                <a:gd name="connsiteY57" fmla="*/ 461962 h 1647825"/>
                <a:gd name="connsiteX58" fmla="*/ 600076 w 5243512"/>
                <a:gd name="connsiteY58" fmla="*/ 433387 h 1647825"/>
                <a:gd name="connsiteX59" fmla="*/ 533400 w 5243512"/>
                <a:gd name="connsiteY59" fmla="*/ 428625 h 1647825"/>
                <a:gd name="connsiteX60" fmla="*/ 538163 w 5243512"/>
                <a:gd name="connsiteY60" fmla="*/ 390524 h 1647825"/>
                <a:gd name="connsiteX61" fmla="*/ 466725 w 5243512"/>
                <a:gd name="connsiteY61" fmla="*/ 390525 h 1647825"/>
                <a:gd name="connsiteX62" fmla="*/ 466725 w 5243512"/>
                <a:gd name="connsiteY62" fmla="*/ 342900 h 1647825"/>
                <a:gd name="connsiteX63" fmla="*/ 423862 w 5243512"/>
                <a:gd name="connsiteY63" fmla="*/ 342900 h 1647825"/>
                <a:gd name="connsiteX64" fmla="*/ 423862 w 5243512"/>
                <a:gd name="connsiteY64" fmla="*/ 342900 h 1647825"/>
                <a:gd name="connsiteX65" fmla="*/ 423862 w 5243512"/>
                <a:gd name="connsiteY65" fmla="*/ 295275 h 1647825"/>
                <a:gd name="connsiteX66" fmla="*/ 385761 w 5243512"/>
                <a:gd name="connsiteY66" fmla="*/ 300038 h 1647825"/>
                <a:gd name="connsiteX67" fmla="*/ 385762 w 5243512"/>
                <a:gd name="connsiteY67" fmla="*/ 266699 h 1647825"/>
                <a:gd name="connsiteX68" fmla="*/ 342900 w 5243512"/>
                <a:gd name="connsiteY68" fmla="*/ 261937 h 1647825"/>
                <a:gd name="connsiteX69" fmla="*/ 347662 w 5243512"/>
                <a:gd name="connsiteY69" fmla="*/ 209550 h 1647825"/>
                <a:gd name="connsiteX70" fmla="*/ 280987 w 5243512"/>
                <a:gd name="connsiteY70" fmla="*/ 209550 h 1647825"/>
                <a:gd name="connsiteX71" fmla="*/ 276224 w 5243512"/>
                <a:gd name="connsiteY71" fmla="*/ 171450 h 1647825"/>
                <a:gd name="connsiteX72" fmla="*/ 238125 w 5243512"/>
                <a:gd name="connsiteY72" fmla="*/ 166687 h 1647825"/>
                <a:gd name="connsiteX73" fmla="*/ 233362 w 5243512"/>
                <a:gd name="connsiteY73" fmla="*/ 133350 h 1647825"/>
                <a:gd name="connsiteX74" fmla="*/ 166687 w 5243512"/>
                <a:gd name="connsiteY74" fmla="*/ 138112 h 1647825"/>
                <a:gd name="connsiteX75" fmla="*/ 171450 w 5243512"/>
                <a:gd name="connsiteY75" fmla="*/ 52387 h 1647825"/>
                <a:gd name="connsiteX76" fmla="*/ 71437 w 5243512"/>
                <a:gd name="connsiteY76" fmla="*/ 47625 h 1647825"/>
                <a:gd name="connsiteX77" fmla="*/ 76200 w 5243512"/>
                <a:gd name="connsiteY77" fmla="*/ 0 h 1647825"/>
                <a:gd name="connsiteX78" fmla="*/ 0 w 5243512"/>
                <a:gd name="connsiteY78" fmla="*/ 0 h 1647825"/>
                <a:gd name="connsiteX0" fmla="*/ 5243512 w 5243512"/>
                <a:gd name="connsiteY0" fmla="*/ 1638300 h 1647825"/>
                <a:gd name="connsiteX1" fmla="*/ 4333875 w 5243512"/>
                <a:gd name="connsiteY1" fmla="*/ 1647825 h 1647825"/>
                <a:gd name="connsiteX2" fmla="*/ 4333875 w 5243512"/>
                <a:gd name="connsiteY2" fmla="*/ 1581150 h 1647825"/>
                <a:gd name="connsiteX3" fmla="*/ 4062412 w 5243512"/>
                <a:gd name="connsiteY3" fmla="*/ 1581150 h 1647825"/>
                <a:gd name="connsiteX4" fmla="*/ 4062412 w 5243512"/>
                <a:gd name="connsiteY4" fmla="*/ 1509712 h 1647825"/>
                <a:gd name="connsiteX5" fmla="*/ 3705225 w 5243512"/>
                <a:gd name="connsiteY5" fmla="*/ 1509712 h 1647825"/>
                <a:gd name="connsiteX6" fmla="*/ 3709987 w 5243512"/>
                <a:gd name="connsiteY6" fmla="*/ 1462087 h 1647825"/>
                <a:gd name="connsiteX7" fmla="*/ 3267075 w 5243512"/>
                <a:gd name="connsiteY7" fmla="*/ 1462087 h 1647825"/>
                <a:gd name="connsiteX8" fmla="*/ 3267075 w 5243512"/>
                <a:gd name="connsiteY8" fmla="*/ 1428750 h 1647825"/>
                <a:gd name="connsiteX9" fmla="*/ 3009900 w 5243512"/>
                <a:gd name="connsiteY9" fmla="*/ 1423987 h 1647825"/>
                <a:gd name="connsiteX10" fmla="*/ 3011703 w 5243512"/>
                <a:gd name="connsiteY10" fmla="*/ 1385239 h 1647825"/>
                <a:gd name="connsiteX11" fmla="*/ 2857500 w 5243512"/>
                <a:gd name="connsiteY11" fmla="*/ 1381125 h 1647825"/>
                <a:gd name="connsiteX12" fmla="*/ 2862262 w 5243512"/>
                <a:gd name="connsiteY12" fmla="*/ 1333500 h 1647825"/>
                <a:gd name="connsiteX13" fmla="*/ 2805112 w 5243512"/>
                <a:gd name="connsiteY13" fmla="*/ 1338262 h 1647825"/>
                <a:gd name="connsiteX14" fmla="*/ 2802153 w 5243512"/>
                <a:gd name="connsiteY14" fmla="*/ 1309040 h 1647825"/>
                <a:gd name="connsiteX15" fmla="*/ 2605087 w 5243512"/>
                <a:gd name="connsiteY15" fmla="*/ 1314450 h 1647825"/>
                <a:gd name="connsiteX16" fmla="*/ 2605087 w 5243512"/>
                <a:gd name="connsiteY16" fmla="*/ 1271587 h 1647825"/>
                <a:gd name="connsiteX17" fmla="*/ 2462212 w 5243512"/>
                <a:gd name="connsiteY17" fmla="*/ 1271587 h 1647825"/>
                <a:gd name="connsiteX18" fmla="*/ 2462212 w 5243512"/>
                <a:gd name="connsiteY18" fmla="*/ 1252537 h 1647825"/>
                <a:gd name="connsiteX19" fmla="*/ 2262187 w 5243512"/>
                <a:gd name="connsiteY19" fmla="*/ 1252537 h 1647825"/>
                <a:gd name="connsiteX20" fmla="*/ 2266950 w 5243512"/>
                <a:gd name="connsiteY20" fmla="*/ 1204912 h 1647825"/>
                <a:gd name="connsiteX21" fmla="*/ 1966912 w 5243512"/>
                <a:gd name="connsiteY21" fmla="*/ 1204912 h 1647825"/>
                <a:gd name="connsiteX22" fmla="*/ 1962150 w 5243512"/>
                <a:gd name="connsiteY22" fmla="*/ 1162050 h 1647825"/>
                <a:gd name="connsiteX23" fmla="*/ 1809750 w 5243512"/>
                <a:gd name="connsiteY23" fmla="*/ 1157287 h 1647825"/>
                <a:gd name="connsiteX24" fmla="*/ 1809750 w 5243512"/>
                <a:gd name="connsiteY24" fmla="*/ 1157287 h 1647825"/>
                <a:gd name="connsiteX25" fmla="*/ 1809750 w 5243512"/>
                <a:gd name="connsiteY25" fmla="*/ 1133475 h 1647825"/>
                <a:gd name="connsiteX26" fmla="*/ 1714500 w 5243512"/>
                <a:gd name="connsiteY26" fmla="*/ 1133475 h 1647825"/>
                <a:gd name="connsiteX27" fmla="*/ 1704975 w 5243512"/>
                <a:gd name="connsiteY27" fmla="*/ 1095375 h 1647825"/>
                <a:gd name="connsiteX28" fmla="*/ 1590675 w 5243512"/>
                <a:gd name="connsiteY28" fmla="*/ 1095375 h 1647825"/>
                <a:gd name="connsiteX29" fmla="*/ 1595437 w 5243512"/>
                <a:gd name="connsiteY29" fmla="*/ 1062037 h 1647825"/>
                <a:gd name="connsiteX30" fmla="*/ 1428750 w 5243512"/>
                <a:gd name="connsiteY30" fmla="*/ 1057275 h 1647825"/>
                <a:gd name="connsiteX31" fmla="*/ 1428750 w 5243512"/>
                <a:gd name="connsiteY31" fmla="*/ 1057275 h 1647825"/>
                <a:gd name="connsiteX32" fmla="*/ 1423988 w 5243512"/>
                <a:gd name="connsiteY32" fmla="*/ 1028699 h 1647825"/>
                <a:gd name="connsiteX33" fmla="*/ 1328737 w 5243512"/>
                <a:gd name="connsiteY33" fmla="*/ 1028700 h 1647825"/>
                <a:gd name="connsiteX34" fmla="*/ 1321663 w 5243512"/>
                <a:gd name="connsiteY34" fmla="*/ 999478 h 1647825"/>
                <a:gd name="connsiteX35" fmla="*/ 1247775 w 5243512"/>
                <a:gd name="connsiteY35" fmla="*/ 995362 h 1647825"/>
                <a:gd name="connsiteX36" fmla="*/ 1247775 w 5243512"/>
                <a:gd name="connsiteY36" fmla="*/ 948894 h 1647825"/>
                <a:gd name="connsiteX37" fmla="*/ 1190625 w 5243512"/>
                <a:gd name="connsiteY37" fmla="*/ 947737 h 1647825"/>
                <a:gd name="connsiteX38" fmla="*/ 1188312 w 5243512"/>
                <a:gd name="connsiteY38" fmla="*/ 884669 h 1647825"/>
                <a:gd name="connsiteX39" fmla="*/ 1123950 w 5243512"/>
                <a:gd name="connsiteY39" fmla="*/ 881062 h 1647825"/>
                <a:gd name="connsiteX40" fmla="*/ 1126262 w 5243512"/>
                <a:gd name="connsiteY40" fmla="*/ 826872 h 1647825"/>
                <a:gd name="connsiteX41" fmla="*/ 1062037 w 5243512"/>
                <a:gd name="connsiteY41" fmla="*/ 823912 h 1647825"/>
                <a:gd name="connsiteX42" fmla="*/ 1062037 w 5243512"/>
                <a:gd name="connsiteY42" fmla="*/ 766762 h 1647825"/>
                <a:gd name="connsiteX43" fmla="*/ 1019175 w 5243512"/>
                <a:gd name="connsiteY43" fmla="*/ 766762 h 1647825"/>
                <a:gd name="connsiteX44" fmla="*/ 1023937 w 5243512"/>
                <a:gd name="connsiteY44" fmla="*/ 709612 h 1647825"/>
                <a:gd name="connsiteX45" fmla="*/ 947737 w 5243512"/>
                <a:gd name="connsiteY45" fmla="*/ 704850 h 1647825"/>
                <a:gd name="connsiteX46" fmla="*/ 947737 w 5243512"/>
                <a:gd name="connsiteY46" fmla="*/ 647700 h 1647825"/>
                <a:gd name="connsiteX47" fmla="*/ 909637 w 5243512"/>
                <a:gd name="connsiteY47" fmla="*/ 647700 h 1647825"/>
                <a:gd name="connsiteX48" fmla="*/ 914400 w 5243512"/>
                <a:gd name="connsiteY48" fmla="*/ 609600 h 1647825"/>
                <a:gd name="connsiteX49" fmla="*/ 852487 w 5243512"/>
                <a:gd name="connsiteY49" fmla="*/ 614362 h 1647825"/>
                <a:gd name="connsiteX50" fmla="*/ 852487 w 5243512"/>
                <a:gd name="connsiteY50" fmla="*/ 571500 h 1647825"/>
                <a:gd name="connsiteX51" fmla="*/ 781050 w 5243512"/>
                <a:gd name="connsiteY51" fmla="*/ 566737 h 1647825"/>
                <a:gd name="connsiteX52" fmla="*/ 781050 w 5243512"/>
                <a:gd name="connsiteY52" fmla="*/ 538162 h 1647825"/>
                <a:gd name="connsiteX53" fmla="*/ 728662 w 5243512"/>
                <a:gd name="connsiteY53" fmla="*/ 533400 h 1647825"/>
                <a:gd name="connsiteX54" fmla="*/ 723899 w 5243512"/>
                <a:gd name="connsiteY54" fmla="*/ 500062 h 1647825"/>
                <a:gd name="connsiteX55" fmla="*/ 647700 w 5243512"/>
                <a:gd name="connsiteY55" fmla="*/ 500062 h 1647825"/>
                <a:gd name="connsiteX56" fmla="*/ 647700 w 5243512"/>
                <a:gd name="connsiteY56" fmla="*/ 466725 h 1647825"/>
                <a:gd name="connsiteX57" fmla="*/ 595313 w 5243512"/>
                <a:gd name="connsiteY57" fmla="*/ 461962 h 1647825"/>
                <a:gd name="connsiteX58" fmla="*/ 600076 w 5243512"/>
                <a:gd name="connsiteY58" fmla="*/ 433387 h 1647825"/>
                <a:gd name="connsiteX59" fmla="*/ 533400 w 5243512"/>
                <a:gd name="connsiteY59" fmla="*/ 428625 h 1647825"/>
                <a:gd name="connsiteX60" fmla="*/ 538163 w 5243512"/>
                <a:gd name="connsiteY60" fmla="*/ 390524 h 1647825"/>
                <a:gd name="connsiteX61" fmla="*/ 466725 w 5243512"/>
                <a:gd name="connsiteY61" fmla="*/ 390525 h 1647825"/>
                <a:gd name="connsiteX62" fmla="*/ 466725 w 5243512"/>
                <a:gd name="connsiteY62" fmla="*/ 342900 h 1647825"/>
                <a:gd name="connsiteX63" fmla="*/ 423862 w 5243512"/>
                <a:gd name="connsiteY63" fmla="*/ 342900 h 1647825"/>
                <a:gd name="connsiteX64" fmla="*/ 423862 w 5243512"/>
                <a:gd name="connsiteY64" fmla="*/ 342900 h 1647825"/>
                <a:gd name="connsiteX65" fmla="*/ 423862 w 5243512"/>
                <a:gd name="connsiteY65" fmla="*/ 295275 h 1647825"/>
                <a:gd name="connsiteX66" fmla="*/ 385761 w 5243512"/>
                <a:gd name="connsiteY66" fmla="*/ 300038 h 1647825"/>
                <a:gd name="connsiteX67" fmla="*/ 385762 w 5243512"/>
                <a:gd name="connsiteY67" fmla="*/ 266699 h 1647825"/>
                <a:gd name="connsiteX68" fmla="*/ 342900 w 5243512"/>
                <a:gd name="connsiteY68" fmla="*/ 261937 h 1647825"/>
                <a:gd name="connsiteX69" fmla="*/ 347662 w 5243512"/>
                <a:gd name="connsiteY69" fmla="*/ 209550 h 1647825"/>
                <a:gd name="connsiteX70" fmla="*/ 280987 w 5243512"/>
                <a:gd name="connsiteY70" fmla="*/ 209550 h 1647825"/>
                <a:gd name="connsiteX71" fmla="*/ 276224 w 5243512"/>
                <a:gd name="connsiteY71" fmla="*/ 171450 h 1647825"/>
                <a:gd name="connsiteX72" fmla="*/ 238125 w 5243512"/>
                <a:gd name="connsiteY72" fmla="*/ 166687 h 1647825"/>
                <a:gd name="connsiteX73" fmla="*/ 233362 w 5243512"/>
                <a:gd name="connsiteY73" fmla="*/ 133350 h 1647825"/>
                <a:gd name="connsiteX74" fmla="*/ 166687 w 5243512"/>
                <a:gd name="connsiteY74" fmla="*/ 138112 h 1647825"/>
                <a:gd name="connsiteX75" fmla="*/ 171450 w 5243512"/>
                <a:gd name="connsiteY75" fmla="*/ 52387 h 1647825"/>
                <a:gd name="connsiteX76" fmla="*/ 71437 w 5243512"/>
                <a:gd name="connsiteY76" fmla="*/ 47625 h 1647825"/>
                <a:gd name="connsiteX77" fmla="*/ 76200 w 5243512"/>
                <a:gd name="connsiteY77" fmla="*/ 0 h 1647825"/>
                <a:gd name="connsiteX78" fmla="*/ 0 w 5243512"/>
                <a:gd name="connsiteY78" fmla="*/ 0 h 1647825"/>
                <a:gd name="connsiteX0" fmla="*/ 5243512 w 5243512"/>
                <a:gd name="connsiteY0" fmla="*/ 1638300 h 1647825"/>
                <a:gd name="connsiteX1" fmla="*/ 4333875 w 5243512"/>
                <a:gd name="connsiteY1" fmla="*/ 1647825 h 1647825"/>
                <a:gd name="connsiteX2" fmla="*/ 4333875 w 5243512"/>
                <a:gd name="connsiteY2" fmla="*/ 1581150 h 1647825"/>
                <a:gd name="connsiteX3" fmla="*/ 4062412 w 5243512"/>
                <a:gd name="connsiteY3" fmla="*/ 1581150 h 1647825"/>
                <a:gd name="connsiteX4" fmla="*/ 4062412 w 5243512"/>
                <a:gd name="connsiteY4" fmla="*/ 1509712 h 1647825"/>
                <a:gd name="connsiteX5" fmla="*/ 3705225 w 5243512"/>
                <a:gd name="connsiteY5" fmla="*/ 1509712 h 1647825"/>
                <a:gd name="connsiteX6" fmla="*/ 3709987 w 5243512"/>
                <a:gd name="connsiteY6" fmla="*/ 1462087 h 1647825"/>
                <a:gd name="connsiteX7" fmla="*/ 3267075 w 5243512"/>
                <a:gd name="connsiteY7" fmla="*/ 1462087 h 1647825"/>
                <a:gd name="connsiteX8" fmla="*/ 3267075 w 5243512"/>
                <a:gd name="connsiteY8" fmla="*/ 1428750 h 1647825"/>
                <a:gd name="connsiteX9" fmla="*/ 3009900 w 5243512"/>
                <a:gd name="connsiteY9" fmla="*/ 1423987 h 1647825"/>
                <a:gd name="connsiteX10" fmla="*/ 3011703 w 5243512"/>
                <a:gd name="connsiteY10" fmla="*/ 1385239 h 1647825"/>
                <a:gd name="connsiteX11" fmla="*/ 2857500 w 5243512"/>
                <a:gd name="connsiteY11" fmla="*/ 1381125 h 1647825"/>
                <a:gd name="connsiteX12" fmla="*/ 2853384 w 5243512"/>
                <a:gd name="connsiteY12" fmla="*/ 1336460 h 1647825"/>
                <a:gd name="connsiteX13" fmla="*/ 2805112 w 5243512"/>
                <a:gd name="connsiteY13" fmla="*/ 1338262 h 1647825"/>
                <a:gd name="connsiteX14" fmla="*/ 2802153 w 5243512"/>
                <a:gd name="connsiteY14" fmla="*/ 1309040 h 1647825"/>
                <a:gd name="connsiteX15" fmla="*/ 2605087 w 5243512"/>
                <a:gd name="connsiteY15" fmla="*/ 1314450 h 1647825"/>
                <a:gd name="connsiteX16" fmla="*/ 2605087 w 5243512"/>
                <a:gd name="connsiteY16" fmla="*/ 1271587 h 1647825"/>
                <a:gd name="connsiteX17" fmla="*/ 2462212 w 5243512"/>
                <a:gd name="connsiteY17" fmla="*/ 1271587 h 1647825"/>
                <a:gd name="connsiteX18" fmla="*/ 2462212 w 5243512"/>
                <a:gd name="connsiteY18" fmla="*/ 1252537 h 1647825"/>
                <a:gd name="connsiteX19" fmla="*/ 2262187 w 5243512"/>
                <a:gd name="connsiteY19" fmla="*/ 1252537 h 1647825"/>
                <a:gd name="connsiteX20" fmla="*/ 2266950 w 5243512"/>
                <a:gd name="connsiteY20" fmla="*/ 1204912 h 1647825"/>
                <a:gd name="connsiteX21" fmla="*/ 1966912 w 5243512"/>
                <a:gd name="connsiteY21" fmla="*/ 1204912 h 1647825"/>
                <a:gd name="connsiteX22" fmla="*/ 1962150 w 5243512"/>
                <a:gd name="connsiteY22" fmla="*/ 1162050 h 1647825"/>
                <a:gd name="connsiteX23" fmla="*/ 1809750 w 5243512"/>
                <a:gd name="connsiteY23" fmla="*/ 1157287 h 1647825"/>
                <a:gd name="connsiteX24" fmla="*/ 1809750 w 5243512"/>
                <a:gd name="connsiteY24" fmla="*/ 1157287 h 1647825"/>
                <a:gd name="connsiteX25" fmla="*/ 1809750 w 5243512"/>
                <a:gd name="connsiteY25" fmla="*/ 1133475 h 1647825"/>
                <a:gd name="connsiteX26" fmla="*/ 1714500 w 5243512"/>
                <a:gd name="connsiteY26" fmla="*/ 1133475 h 1647825"/>
                <a:gd name="connsiteX27" fmla="*/ 1704975 w 5243512"/>
                <a:gd name="connsiteY27" fmla="*/ 1095375 h 1647825"/>
                <a:gd name="connsiteX28" fmla="*/ 1590675 w 5243512"/>
                <a:gd name="connsiteY28" fmla="*/ 1095375 h 1647825"/>
                <a:gd name="connsiteX29" fmla="*/ 1595437 w 5243512"/>
                <a:gd name="connsiteY29" fmla="*/ 1062037 h 1647825"/>
                <a:gd name="connsiteX30" fmla="*/ 1428750 w 5243512"/>
                <a:gd name="connsiteY30" fmla="*/ 1057275 h 1647825"/>
                <a:gd name="connsiteX31" fmla="*/ 1428750 w 5243512"/>
                <a:gd name="connsiteY31" fmla="*/ 1057275 h 1647825"/>
                <a:gd name="connsiteX32" fmla="*/ 1423988 w 5243512"/>
                <a:gd name="connsiteY32" fmla="*/ 1028699 h 1647825"/>
                <a:gd name="connsiteX33" fmla="*/ 1328737 w 5243512"/>
                <a:gd name="connsiteY33" fmla="*/ 1028700 h 1647825"/>
                <a:gd name="connsiteX34" fmla="*/ 1321663 w 5243512"/>
                <a:gd name="connsiteY34" fmla="*/ 999478 h 1647825"/>
                <a:gd name="connsiteX35" fmla="*/ 1247775 w 5243512"/>
                <a:gd name="connsiteY35" fmla="*/ 995362 h 1647825"/>
                <a:gd name="connsiteX36" fmla="*/ 1247775 w 5243512"/>
                <a:gd name="connsiteY36" fmla="*/ 948894 h 1647825"/>
                <a:gd name="connsiteX37" fmla="*/ 1190625 w 5243512"/>
                <a:gd name="connsiteY37" fmla="*/ 947737 h 1647825"/>
                <a:gd name="connsiteX38" fmla="*/ 1188312 w 5243512"/>
                <a:gd name="connsiteY38" fmla="*/ 884669 h 1647825"/>
                <a:gd name="connsiteX39" fmla="*/ 1123950 w 5243512"/>
                <a:gd name="connsiteY39" fmla="*/ 881062 h 1647825"/>
                <a:gd name="connsiteX40" fmla="*/ 1126262 w 5243512"/>
                <a:gd name="connsiteY40" fmla="*/ 826872 h 1647825"/>
                <a:gd name="connsiteX41" fmla="*/ 1062037 w 5243512"/>
                <a:gd name="connsiteY41" fmla="*/ 823912 h 1647825"/>
                <a:gd name="connsiteX42" fmla="*/ 1062037 w 5243512"/>
                <a:gd name="connsiteY42" fmla="*/ 766762 h 1647825"/>
                <a:gd name="connsiteX43" fmla="*/ 1019175 w 5243512"/>
                <a:gd name="connsiteY43" fmla="*/ 766762 h 1647825"/>
                <a:gd name="connsiteX44" fmla="*/ 1023937 w 5243512"/>
                <a:gd name="connsiteY44" fmla="*/ 709612 h 1647825"/>
                <a:gd name="connsiteX45" fmla="*/ 947737 w 5243512"/>
                <a:gd name="connsiteY45" fmla="*/ 704850 h 1647825"/>
                <a:gd name="connsiteX46" fmla="*/ 947737 w 5243512"/>
                <a:gd name="connsiteY46" fmla="*/ 647700 h 1647825"/>
                <a:gd name="connsiteX47" fmla="*/ 909637 w 5243512"/>
                <a:gd name="connsiteY47" fmla="*/ 647700 h 1647825"/>
                <a:gd name="connsiteX48" fmla="*/ 914400 w 5243512"/>
                <a:gd name="connsiteY48" fmla="*/ 609600 h 1647825"/>
                <a:gd name="connsiteX49" fmla="*/ 852487 w 5243512"/>
                <a:gd name="connsiteY49" fmla="*/ 614362 h 1647825"/>
                <a:gd name="connsiteX50" fmla="*/ 852487 w 5243512"/>
                <a:gd name="connsiteY50" fmla="*/ 571500 h 1647825"/>
                <a:gd name="connsiteX51" fmla="*/ 781050 w 5243512"/>
                <a:gd name="connsiteY51" fmla="*/ 566737 h 1647825"/>
                <a:gd name="connsiteX52" fmla="*/ 781050 w 5243512"/>
                <a:gd name="connsiteY52" fmla="*/ 538162 h 1647825"/>
                <a:gd name="connsiteX53" fmla="*/ 728662 w 5243512"/>
                <a:gd name="connsiteY53" fmla="*/ 533400 h 1647825"/>
                <a:gd name="connsiteX54" fmla="*/ 723899 w 5243512"/>
                <a:gd name="connsiteY54" fmla="*/ 500062 h 1647825"/>
                <a:gd name="connsiteX55" fmla="*/ 647700 w 5243512"/>
                <a:gd name="connsiteY55" fmla="*/ 500062 h 1647825"/>
                <a:gd name="connsiteX56" fmla="*/ 647700 w 5243512"/>
                <a:gd name="connsiteY56" fmla="*/ 466725 h 1647825"/>
                <a:gd name="connsiteX57" fmla="*/ 595313 w 5243512"/>
                <a:gd name="connsiteY57" fmla="*/ 461962 h 1647825"/>
                <a:gd name="connsiteX58" fmla="*/ 600076 w 5243512"/>
                <a:gd name="connsiteY58" fmla="*/ 433387 h 1647825"/>
                <a:gd name="connsiteX59" fmla="*/ 533400 w 5243512"/>
                <a:gd name="connsiteY59" fmla="*/ 428625 h 1647825"/>
                <a:gd name="connsiteX60" fmla="*/ 538163 w 5243512"/>
                <a:gd name="connsiteY60" fmla="*/ 390524 h 1647825"/>
                <a:gd name="connsiteX61" fmla="*/ 466725 w 5243512"/>
                <a:gd name="connsiteY61" fmla="*/ 390525 h 1647825"/>
                <a:gd name="connsiteX62" fmla="*/ 466725 w 5243512"/>
                <a:gd name="connsiteY62" fmla="*/ 342900 h 1647825"/>
                <a:gd name="connsiteX63" fmla="*/ 423862 w 5243512"/>
                <a:gd name="connsiteY63" fmla="*/ 342900 h 1647825"/>
                <a:gd name="connsiteX64" fmla="*/ 423862 w 5243512"/>
                <a:gd name="connsiteY64" fmla="*/ 342900 h 1647825"/>
                <a:gd name="connsiteX65" fmla="*/ 423862 w 5243512"/>
                <a:gd name="connsiteY65" fmla="*/ 295275 h 1647825"/>
                <a:gd name="connsiteX66" fmla="*/ 385761 w 5243512"/>
                <a:gd name="connsiteY66" fmla="*/ 300038 h 1647825"/>
                <a:gd name="connsiteX67" fmla="*/ 385762 w 5243512"/>
                <a:gd name="connsiteY67" fmla="*/ 266699 h 1647825"/>
                <a:gd name="connsiteX68" fmla="*/ 342900 w 5243512"/>
                <a:gd name="connsiteY68" fmla="*/ 261937 h 1647825"/>
                <a:gd name="connsiteX69" fmla="*/ 347662 w 5243512"/>
                <a:gd name="connsiteY69" fmla="*/ 209550 h 1647825"/>
                <a:gd name="connsiteX70" fmla="*/ 280987 w 5243512"/>
                <a:gd name="connsiteY70" fmla="*/ 209550 h 1647825"/>
                <a:gd name="connsiteX71" fmla="*/ 276224 w 5243512"/>
                <a:gd name="connsiteY71" fmla="*/ 171450 h 1647825"/>
                <a:gd name="connsiteX72" fmla="*/ 238125 w 5243512"/>
                <a:gd name="connsiteY72" fmla="*/ 166687 h 1647825"/>
                <a:gd name="connsiteX73" fmla="*/ 233362 w 5243512"/>
                <a:gd name="connsiteY73" fmla="*/ 133350 h 1647825"/>
                <a:gd name="connsiteX74" fmla="*/ 166687 w 5243512"/>
                <a:gd name="connsiteY74" fmla="*/ 138112 h 1647825"/>
                <a:gd name="connsiteX75" fmla="*/ 171450 w 5243512"/>
                <a:gd name="connsiteY75" fmla="*/ 52387 h 1647825"/>
                <a:gd name="connsiteX76" fmla="*/ 71437 w 5243512"/>
                <a:gd name="connsiteY76" fmla="*/ 47625 h 1647825"/>
                <a:gd name="connsiteX77" fmla="*/ 76200 w 5243512"/>
                <a:gd name="connsiteY77" fmla="*/ 0 h 1647825"/>
                <a:gd name="connsiteX78" fmla="*/ 0 w 5243512"/>
                <a:gd name="connsiteY78" fmla="*/ 0 h 1647825"/>
                <a:gd name="connsiteX0" fmla="*/ 5243512 w 5243512"/>
                <a:gd name="connsiteY0" fmla="*/ 1638300 h 1647825"/>
                <a:gd name="connsiteX1" fmla="*/ 4333875 w 5243512"/>
                <a:gd name="connsiteY1" fmla="*/ 1647825 h 1647825"/>
                <a:gd name="connsiteX2" fmla="*/ 4333875 w 5243512"/>
                <a:gd name="connsiteY2" fmla="*/ 1581150 h 1647825"/>
                <a:gd name="connsiteX3" fmla="*/ 4062412 w 5243512"/>
                <a:gd name="connsiteY3" fmla="*/ 1581150 h 1647825"/>
                <a:gd name="connsiteX4" fmla="*/ 4062412 w 5243512"/>
                <a:gd name="connsiteY4" fmla="*/ 1509712 h 1647825"/>
                <a:gd name="connsiteX5" fmla="*/ 3705225 w 5243512"/>
                <a:gd name="connsiteY5" fmla="*/ 1509712 h 1647825"/>
                <a:gd name="connsiteX6" fmla="*/ 3709987 w 5243512"/>
                <a:gd name="connsiteY6" fmla="*/ 1462087 h 1647825"/>
                <a:gd name="connsiteX7" fmla="*/ 3267075 w 5243512"/>
                <a:gd name="connsiteY7" fmla="*/ 1462087 h 1647825"/>
                <a:gd name="connsiteX8" fmla="*/ 3267075 w 5243512"/>
                <a:gd name="connsiteY8" fmla="*/ 1428750 h 1647825"/>
                <a:gd name="connsiteX9" fmla="*/ 3009900 w 5243512"/>
                <a:gd name="connsiteY9" fmla="*/ 1423987 h 1647825"/>
                <a:gd name="connsiteX10" fmla="*/ 3011703 w 5243512"/>
                <a:gd name="connsiteY10" fmla="*/ 1385239 h 1647825"/>
                <a:gd name="connsiteX11" fmla="*/ 2857500 w 5243512"/>
                <a:gd name="connsiteY11" fmla="*/ 1381125 h 1647825"/>
                <a:gd name="connsiteX12" fmla="*/ 2853384 w 5243512"/>
                <a:gd name="connsiteY12" fmla="*/ 1336460 h 1647825"/>
                <a:gd name="connsiteX13" fmla="*/ 2805112 w 5243512"/>
                <a:gd name="connsiteY13" fmla="*/ 1338262 h 1647825"/>
                <a:gd name="connsiteX14" fmla="*/ 2802153 w 5243512"/>
                <a:gd name="connsiteY14" fmla="*/ 1309040 h 1647825"/>
                <a:gd name="connsiteX15" fmla="*/ 2605087 w 5243512"/>
                <a:gd name="connsiteY15" fmla="*/ 1314450 h 1647825"/>
                <a:gd name="connsiteX16" fmla="*/ 2605087 w 5243512"/>
                <a:gd name="connsiteY16" fmla="*/ 1271587 h 1647825"/>
                <a:gd name="connsiteX17" fmla="*/ 2462212 w 5243512"/>
                <a:gd name="connsiteY17" fmla="*/ 1271587 h 1647825"/>
                <a:gd name="connsiteX18" fmla="*/ 2462212 w 5243512"/>
                <a:gd name="connsiteY18" fmla="*/ 1252537 h 1647825"/>
                <a:gd name="connsiteX19" fmla="*/ 2262187 w 5243512"/>
                <a:gd name="connsiteY19" fmla="*/ 1252537 h 1647825"/>
                <a:gd name="connsiteX20" fmla="*/ 2266950 w 5243512"/>
                <a:gd name="connsiteY20" fmla="*/ 1204912 h 1647825"/>
                <a:gd name="connsiteX21" fmla="*/ 1966912 w 5243512"/>
                <a:gd name="connsiteY21" fmla="*/ 1204912 h 1647825"/>
                <a:gd name="connsiteX22" fmla="*/ 1962150 w 5243512"/>
                <a:gd name="connsiteY22" fmla="*/ 1162050 h 1647825"/>
                <a:gd name="connsiteX23" fmla="*/ 1809750 w 5243512"/>
                <a:gd name="connsiteY23" fmla="*/ 1157287 h 1647825"/>
                <a:gd name="connsiteX24" fmla="*/ 1809750 w 5243512"/>
                <a:gd name="connsiteY24" fmla="*/ 1157287 h 1647825"/>
                <a:gd name="connsiteX25" fmla="*/ 1809750 w 5243512"/>
                <a:gd name="connsiteY25" fmla="*/ 1133475 h 1647825"/>
                <a:gd name="connsiteX26" fmla="*/ 1714500 w 5243512"/>
                <a:gd name="connsiteY26" fmla="*/ 1133475 h 1647825"/>
                <a:gd name="connsiteX27" fmla="*/ 1713852 w 5243512"/>
                <a:gd name="connsiteY27" fmla="*/ 1101294 h 1647825"/>
                <a:gd name="connsiteX28" fmla="*/ 1590675 w 5243512"/>
                <a:gd name="connsiteY28" fmla="*/ 1095375 h 1647825"/>
                <a:gd name="connsiteX29" fmla="*/ 1595437 w 5243512"/>
                <a:gd name="connsiteY29" fmla="*/ 1062037 h 1647825"/>
                <a:gd name="connsiteX30" fmla="*/ 1428750 w 5243512"/>
                <a:gd name="connsiteY30" fmla="*/ 1057275 h 1647825"/>
                <a:gd name="connsiteX31" fmla="*/ 1428750 w 5243512"/>
                <a:gd name="connsiteY31" fmla="*/ 1057275 h 1647825"/>
                <a:gd name="connsiteX32" fmla="*/ 1423988 w 5243512"/>
                <a:gd name="connsiteY32" fmla="*/ 1028699 h 1647825"/>
                <a:gd name="connsiteX33" fmla="*/ 1328737 w 5243512"/>
                <a:gd name="connsiteY33" fmla="*/ 1028700 h 1647825"/>
                <a:gd name="connsiteX34" fmla="*/ 1321663 w 5243512"/>
                <a:gd name="connsiteY34" fmla="*/ 999478 h 1647825"/>
                <a:gd name="connsiteX35" fmla="*/ 1247775 w 5243512"/>
                <a:gd name="connsiteY35" fmla="*/ 995362 h 1647825"/>
                <a:gd name="connsiteX36" fmla="*/ 1247775 w 5243512"/>
                <a:gd name="connsiteY36" fmla="*/ 948894 h 1647825"/>
                <a:gd name="connsiteX37" fmla="*/ 1190625 w 5243512"/>
                <a:gd name="connsiteY37" fmla="*/ 947737 h 1647825"/>
                <a:gd name="connsiteX38" fmla="*/ 1188312 w 5243512"/>
                <a:gd name="connsiteY38" fmla="*/ 884669 h 1647825"/>
                <a:gd name="connsiteX39" fmla="*/ 1123950 w 5243512"/>
                <a:gd name="connsiteY39" fmla="*/ 881062 h 1647825"/>
                <a:gd name="connsiteX40" fmla="*/ 1126262 w 5243512"/>
                <a:gd name="connsiteY40" fmla="*/ 826872 h 1647825"/>
                <a:gd name="connsiteX41" fmla="*/ 1062037 w 5243512"/>
                <a:gd name="connsiteY41" fmla="*/ 823912 h 1647825"/>
                <a:gd name="connsiteX42" fmla="*/ 1062037 w 5243512"/>
                <a:gd name="connsiteY42" fmla="*/ 766762 h 1647825"/>
                <a:gd name="connsiteX43" fmla="*/ 1019175 w 5243512"/>
                <a:gd name="connsiteY43" fmla="*/ 766762 h 1647825"/>
                <a:gd name="connsiteX44" fmla="*/ 1023937 w 5243512"/>
                <a:gd name="connsiteY44" fmla="*/ 709612 h 1647825"/>
                <a:gd name="connsiteX45" fmla="*/ 947737 w 5243512"/>
                <a:gd name="connsiteY45" fmla="*/ 704850 h 1647825"/>
                <a:gd name="connsiteX46" fmla="*/ 947737 w 5243512"/>
                <a:gd name="connsiteY46" fmla="*/ 647700 h 1647825"/>
                <a:gd name="connsiteX47" fmla="*/ 909637 w 5243512"/>
                <a:gd name="connsiteY47" fmla="*/ 647700 h 1647825"/>
                <a:gd name="connsiteX48" fmla="*/ 914400 w 5243512"/>
                <a:gd name="connsiteY48" fmla="*/ 609600 h 1647825"/>
                <a:gd name="connsiteX49" fmla="*/ 852487 w 5243512"/>
                <a:gd name="connsiteY49" fmla="*/ 614362 h 1647825"/>
                <a:gd name="connsiteX50" fmla="*/ 852487 w 5243512"/>
                <a:gd name="connsiteY50" fmla="*/ 571500 h 1647825"/>
                <a:gd name="connsiteX51" fmla="*/ 781050 w 5243512"/>
                <a:gd name="connsiteY51" fmla="*/ 566737 h 1647825"/>
                <a:gd name="connsiteX52" fmla="*/ 781050 w 5243512"/>
                <a:gd name="connsiteY52" fmla="*/ 538162 h 1647825"/>
                <a:gd name="connsiteX53" fmla="*/ 728662 w 5243512"/>
                <a:gd name="connsiteY53" fmla="*/ 533400 h 1647825"/>
                <a:gd name="connsiteX54" fmla="*/ 723899 w 5243512"/>
                <a:gd name="connsiteY54" fmla="*/ 500062 h 1647825"/>
                <a:gd name="connsiteX55" fmla="*/ 647700 w 5243512"/>
                <a:gd name="connsiteY55" fmla="*/ 500062 h 1647825"/>
                <a:gd name="connsiteX56" fmla="*/ 647700 w 5243512"/>
                <a:gd name="connsiteY56" fmla="*/ 466725 h 1647825"/>
                <a:gd name="connsiteX57" fmla="*/ 595313 w 5243512"/>
                <a:gd name="connsiteY57" fmla="*/ 461962 h 1647825"/>
                <a:gd name="connsiteX58" fmla="*/ 600076 w 5243512"/>
                <a:gd name="connsiteY58" fmla="*/ 433387 h 1647825"/>
                <a:gd name="connsiteX59" fmla="*/ 533400 w 5243512"/>
                <a:gd name="connsiteY59" fmla="*/ 428625 h 1647825"/>
                <a:gd name="connsiteX60" fmla="*/ 538163 w 5243512"/>
                <a:gd name="connsiteY60" fmla="*/ 390524 h 1647825"/>
                <a:gd name="connsiteX61" fmla="*/ 466725 w 5243512"/>
                <a:gd name="connsiteY61" fmla="*/ 390525 h 1647825"/>
                <a:gd name="connsiteX62" fmla="*/ 466725 w 5243512"/>
                <a:gd name="connsiteY62" fmla="*/ 342900 h 1647825"/>
                <a:gd name="connsiteX63" fmla="*/ 423862 w 5243512"/>
                <a:gd name="connsiteY63" fmla="*/ 342900 h 1647825"/>
                <a:gd name="connsiteX64" fmla="*/ 423862 w 5243512"/>
                <a:gd name="connsiteY64" fmla="*/ 342900 h 1647825"/>
                <a:gd name="connsiteX65" fmla="*/ 423862 w 5243512"/>
                <a:gd name="connsiteY65" fmla="*/ 295275 h 1647825"/>
                <a:gd name="connsiteX66" fmla="*/ 385761 w 5243512"/>
                <a:gd name="connsiteY66" fmla="*/ 300038 h 1647825"/>
                <a:gd name="connsiteX67" fmla="*/ 385762 w 5243512"/>
                <a:gd name="connsiteY67" fmla="*/ 266699 h 1647825"/>
                <a:gd name="connsiteX68" fmla="*/ 342900 w 5243512"/>
                <a:gd name="connsiteY68" fmla="*/ 261937 h 1647825"/>
                <a:gd name="connsiteX69" fmla="*/ 347662 w 5243512"/>
                <a:gd name="connsiteY69" fmla="*/ 209550 h 1647825"/>
                <a:gd name="connsiteX70" fmla="*/ 280987 w 5243512"/>
                <a:gd name="connsiteY70" fmla="*/ 209550 h 1647825"/>
                <a:gd name="connsiteX71" fmla="*/ 276224 w 5243512"/>
                <a:gd name="connsiteY71" fmla="*/ 171450 h 1647825"/>
                <a:gd name="connsiteX72" fmla="*/ 238125 w 5243512"/>
                <a:gd name="connsiteY72" fmla="*/ 166687 h 1647825"/>
                <a:gd name="connsiteX73" fmla="*/ 233362 w 5243512"/>
                <a:gd name="connsiteY73" fmla="*/ 133350 h 1647825"/>
                <a:gd name="connsiteX74" fmla="*/ 166687 w 5243512"/>
                <a:gd name="connsiteY74" fmla="*/ 138112 h 1647825"/>
                <a:gd name="connsiteX75" fmla="*/ 171450 w 5243512"/>
                <a:gd name="connsiteY75" fmla="*/ 52387 h 1647825"/>
                <a:gd name="connsiteX76" fmla="*/ 71437 w 5243512"/>
                <a:gd name="connsiteY76" fmla="*/ 47625 h 1647825"/>
                <a:gd name="connsiteX77" fmla="*/ 76200 w 5243512"/>
                <a:gd name="connsiteY77" fmla="*/ 0 h 1647825"/>
                <a:gd name="connsiteX78" fmla="*/ 0 w 5243512"/>
                <a:gd name="connsiteY78" fmla="*/ 0 h 164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5243512" h="1647825">
                  <a:moveTo>
                    <a:pt x="5243512" y="1638300"/>
                  </a:moveTo>
                  <a:lnTo>
                    <a:pt x="4333875" y="1647825"/>
                  </a:lnTo>
                  <a:lnTo>
                    <a:pt x="4333875" y="1581150"/>
                  </a:lnTo>
                  <a:lnTo>
                    <a:pt x="4062412" y="1581150"/>
                  </a:lnTo>
                  <a:lnTo>
                    <a:pt x="4062412" y="1509712"/>
                  </a:lnTo>
                  <a:lnTo>
                    <a:pt x="3705225" y="1509712"/>
                  </a:lnTo>
                  <a:lnTo>
                    <a:pt x="3709987" y="1462087"/>
                  </a:lnTo>
                  <a:lnTo>
                    <a:pt x="3267075" y="1462087"/>
                  </a:lnTo>
                  <a:lnTo>
                    <a:pt x="3267075" y="1428750"/>
                  </a:lnTo>
                  <a:lnTo>
                    <a:pt x="3009900" y="1423987"/>
                  </a:lnTo>
                  <a:lnTo>
                    <a:pt x="3011703" y="1385239"/>
                  </a:lnTo>
                  <a:lnTo>
                    <a:pt x="2857500" y="1381125"/>
                  </a:lnTo>
                  <a:lnTo>
                    <a:pt x="2853384" y="1336460"/>
                  </a:lnTo>
                  <a:lnTo>
                    <a:pt x="2805112" y="1338262"/>
                  </a:lnTo>
                  <a:lnTo>
                    <a:pt x="2802153" y="1309040"/>
                  </a:lnTo>
                  <a:lnTo>
                    <a:pt x="2605087" y="1314450"/>
                  </a:lnTo>
                  <a:lnTo>
                    <a:pt x="2605087" y="1271587"/>
                  </a:lnTo>
                  <a:lnTo>
                    <a:pt x="2462212" y="1271587"/>
                  </a:lnTo>
                  <a:lnTo>
                    <a:pt x="2462212" y="1252537"/>
                  </a:lnTo>
                  <a:lnTo>
                    <a:pt x="2262187" y="1252537"/>
                  </a:lnTo>
                  <a:lnTo>
                    <a:pt x="2266950" y="1204912"/>
                  </a:lnTo>
                  <a:lnTo>
                    <a:pt x="1966912" y="1204912"/>
                  </a:lnTo>
                  <a:lnTo>
                    <a:pt x="1962150" y="1162050"/>
                  </a:lnTo>
                  <a:lnTo>
                    <a:pt x="1809750" y="1157287"/>
                  </a:lnTo>
                  <a:lnTo>
                    <a:pt x="1809750" y="1157287"/>
                  </a:lnTo>
                  <a:lnTo>
                    <a:pt x="1809750" y="1133475"/>
                  </a:lnTo>
                  <a:lnTo>
                    <a:pt x="1714500" y="1133475"/>
                  </a:lnTo>
                  <a:lnTo>
                    <a:pt x="1713852" y="1101294"/>
                  </a:lnTo>
                  <a:lnTo>
                    <a:pt x="1590675" y="1095375"/>
                  </a:lnTo>
                  <a:lnTo>
                    <a:pt x="1595437" y="1062037"/>
                  </a:lnTo>
                  <a:lnTo>
                    <a:pt x="1428750" y="1057275"/>
                  </a:lnTo>
                  <a:lnTo>
                    <a:pt x="1428750" y="1057275"/>
                  </a:lnTo>
                  <a:lnTo>
                    <a:pt x="1423988" y="1028699"/>
                  </a:lnTo>
                  <a:lnTo>
                    <a:pt x="1328737" y="1028700"/>
                  </a:lnTo>
                  <a:lnTo>
                    <a:pt x="1321663" y="999478"/>
                  </a:lnTo>
                  <a:lnTo>
                    <a:pt x="1247775" y="995362"/>
                  </a:lnTo>
                  <a:lnTo>
                    <a:pt x="1247775" y="948894"/>
                  </a:lnTo>
                  <a:lnTo>
                    <a:pt x="1190625" y="947737"/>
                  </a:lnTo>
                  <a:lnTo>
                    <a:pt x="1188312" y="884669"/>
                  </a:lnTo>
                  <a:lnTo>
                    <a:pt x="1123950" y="881062"/>
                  </a:lnTo>
                  <a:cubicBezTo>
                    <a:pt x="1124721" y="862999"/>
                    <a:pt x="1125491" y="844935"/>
                    <a:pt x="1126262" y="826872"/>
                  </a:cubicBezTo>
                  <a:lnTo>
                    <a:pt x="1062037" y="823912"/>
                  </a:lnTo>
                  <a:lnTo>
                    <a:pt x="1062037" y="766762"/>
                  </a:lnTo>
                  <a:lnTo>
                    <a:pt x="1019175" y="766762"/>
                  </a:lnTo>
                  <a:lnTo>
                    <a:pt x="1023937" y="709612"/>
                  </a:lnTo>
                  <a:lnTo>
                    <a:pt x="947737" y="704850"/>
                  </a:lnTo>
                  <a:lnTo>
                    <a:pt x="947737" y="647700"/>
                  </a:lnTo>
                  <a:lnTo>
                    <a:pt x="909637" y="647700"/>
                  </a:lnTo>
                  <a:lnTo>
                    <a:pt x="914400" y="609600"/>
                  </a:lnTo>
                  <a:lnTo>
                    <a:pt x="852487" y="614362"/>
                  </a:lnTo>
                  <a:lnTo>
                    <a:pt x="852487" y="571500"/>
                  </a:lnTo>
                  <a:lnTo>
                    <a:pt x="781050" y="566737"/>
                  </a:lnTo>
                  <a:lnTo>
                    <a:pt x="781050" y="538162"/>
                  </a:lnTo>
                  <a:lnTo>
                    <a:pt x="728662" y="533400"/>
                  </a:lnTo>
                  <a:lnTo>
                    <a:pt x="723899" y="500062"/>
                  </a:lnTo>
                  <a:lnTo>
                    <a:pt x="647700" y="500062"/>
                  </a:lnTo>
                  <a:lnTo>
                    <a:pt x="647700" y="466725"/>
                  </a:lnTo>
                  <a:lnTo>
                    <a:pt x="595313" y="461962"/>
                  </a:lnTo>
                  <a:lnTo>
                    <a:pt x="600076" y="433387"/>
                  </a:lnTo>
                  <a:lnTo>
                    <a:pt x="533400" y="428625"/>
                  </a:lnTo>
                  <a:lnTo>
                    <a:pt x="538163" y="390524"/>
                  </a:lnTo>
                  <a:lnTo>
                    <a:pt x="466725" y="390525"/>
                  </a:lnTo>
                  <a:lnTo>
                    <a:pt x="466725" y="342900"/>
                  </a:lnTo>
                  <a:lnTo>
                    <a:pt x="423862" y="342900"/>
                  </a:lnTo>
                  <a:lnTo>
                    <a:pt x="423862" y="342900"/>
                  </a:lnTo>
                  <a:lnTo>
                    <a:pt x="423862" y="295275"/>
                  </a:lnTo>
                  <a:lnTo>
                    <a:pt x="385761" y="300038"/>
                  </a:lnTo>
                  <a:cubicBezTo>
                    <a:pt x="385761" y="288925"/>
                    <a:pt x="385762" y="277812"/>
                    <a:pt x="385762" y="266699"/>
                  </a:cubicBezTo>
                  <a:lnTo>
                    <a:pt x="342900" y="261937"/>
                  </a:lnTo>
                  <a:lnTo>
                    <a:pt x="347662" y="209550"/>
                  </a:lnTo>
                  <a:lnTo>
                    <a:pt x="280987" y="209550"/>
                  </a:lnTo>
                  <a:lnTo>
                    <a:pt x="276224" y="171450"/>
                  </a:lnTo>
                  <a:lnTo>
                    <a:pt x="238125" y="166687"/>
                  </a:lnTo>
                  <a:lnTo>
                    <a:pt x="233362" y="133350"/>
                  </a:lnTo>
                  <a:lnTo>
                    <a:pt x="166687" y="138112"/>
                  </a:lnTo>
                  <a:lnTo>
                    <a:pt x="171450" y="52387"/>
                  </a:lnTo>
                  <a:lnTo>
                    <a:pt x="71437" y="47625"/>
                  </a:lnTo>
                  <a:lnTo>
                    <a:pt x="76200" y="0"/>
                  </a:lnTo>
                  <a:lnTo>
                    <a:pt x="0" y="0"/>
                  </a:lnTo>
                </a:path>
              </a:pathLst>
            </a:custGeom>
            <a:noFill/>
            <a:ln w="28575">
              <a:solidFill>
                <a:srgbClr val="E1471D"/>
              </a:solidFill>
              <a:miter lim="800000"/>
              <a:headEnd/>
              <a:tailEnd/>
            </a:ln>
            <a:extLst>
              <a:ext uri="{909E8E84-426E-40DD-AFC4-6F175D3DCCD1}">
                <a14:hiddenFill xmlns:a14="http://schemas.microsoft.com/office/drawing/2010/main">
                  <a:noFill/>
                </a14:hiddenFill>
              </a:ext>
            </a:extLst>
          </p:spPr>
          <p:txBody>
            <a:bodyPr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8" name="Freeform: Shape 7">
              <a:extLst>
                <a:ext uri="{FF2B5EF4-FFF2-40B4-BE49-F238E27FC236}">
                  <a16:creationId xmlns:a16="http://schemas.microsoft.com/office/drawing/2014/main" id="{1FDEBA46-8943-0FD0-68C4-C9676C7293E4}"/>
                </a:ext>
              </a:extLst>
            </p:cNvPr>
            <p:cNvSpPr/>
            <p:nvPr/>
          </p:nvSpPr>
          <p:spPr bwMode="auto">
            <a:xfrm>
              <a:off x="2671763" y="1990725"/>
              <a:ext cx="1466850" cy="1314450"/>
            </a:xfrm>
            <a:custGeom>
              <a:avLst/>
              <a:gdLst>
                <a:gd name="connsiteX0" fmla="*/ 1466850 w 1466850"/>
                <a:gd name="connsiteY0" fmla="*/ 1314450 h 1314450"/>
                <a:gd name="connsiteX1" fmla="*/ 1462087 w 1466850"/>
                <a:gd name="connsiteY1" fmla="*/ 1262063 h 1314450"/>
                <a:gd name="connsiteX2" fmla="*/ 1423987 w 1466850"/>
                <a:gd name="connsiteY2" fmla="*/ 1262063 h 1314450"/>
                <a:gd name="connsiteX3" fmla="*/ 1423987 w 1466850"/>
                <a:gd name="connsiteY3" fmla="*/ 1228725 h 1314450"/>
                <a:gd name="connsiteX4" fmla="*/ 1366837 w 1466850"/>
                <a:gd name="connsiteY4" fmla="*/ 1228725 h 1314450"/>
                <a:gd name="connsiteX5" fmla="*/ 1366837 w 1466850"/>
                <a:gd name="connsiteY5" fmla="*/ 1190625 h 1314450"/>
                <a:gd name="connsiteX6" fmla="*/ 1338262 w 1466850"/>
                <a:gd name="connsiteY6" fmla="*/ 1190625 h 1314450"/>
                <a:gd name="connsiteX7" fmla="*/ 1338262 w 1466850"/>
                <a:gd name="connsiteY7" fmla="*/ 1143000 h 1314450"/>
                <a:gd name="connsiteX8" fmla="*/ 1338262 w 1466850"/>
                <a:gd name="connsiteY8" fmla="*/ 1143000 h 1314450"/>
                <a:gd name="connsiteX9" fmla="*/ 1309687 w 1466850"/>
                <a:gd name="connsiteY9" fmla="*/ 1095375 h 1314450"/>
                <a:gd name="connsiteX10" fmla="*/ 1266825 w 1466850"/>
                <a:gd name="connsiteY10" fmla="*/ 1095375 h 1314450"/>
                <a:gd name="connsiteX11" fmla="*/ 1271587 w 1466850"/>
                <a:gd name="connsiteY11" fmla="*/ 1066800 h 1314450"/>
                <a:gd name="connsiteX12" fmla="*/ 1271587 w 1466850"/>
                <a:gd name="connsiteY12" fmla="*/ 1066800 h 1314450"/>
                <a:gd name="connsiteX13" fmla="*/ 1233487 w 1466850"/>
                <a:gd name="connsiteY13" fmla="*/ 1014413 h 1314450"/>
                <a:gd name="connsiteX14" fmla="*/ 1214437 w 1466850"/>
                <a:gd name="connsiteY14" fmla="*/ 1014413 h 1314450"/>
                <a:gd name="connsiteX15" fmla="*/ 1209675 w 1466850"/>
                <a:gd name="connsiteY15" fmla="*/ 947738 h 1314450"/>
                <a:gd name="connsiteX16" fmla="*/ 1133475 w 1466850"/>
                <a:gd name="connsiteY16" fmla="*/ 952500 h 1314450"/>
                <a:gd name="connsiteX17" fmla="*/ 1133475 w 1466850"/>
                <a:gd name="connsiteY17" fmla="*/ 895350 h 1314450"/>
                <a:gd name="connsiteX18" fmla="*/ 1071562 w 1466850"/>
                <a:gd name="connsiteY18" fmla="*/ 900113 h 1314450"/>
                <a:gd name="connsiteX19" fmla="*/ 1071562 w 1466850"/>
                <a:gd name="connsiteY19" fmla="*/ 847725 h 1314450"/>
                <a:gd name="connsiteX20" fmla="*/ 1000125 w 1466850"/>
                <a:gd name="connsiteY20" fmla="*/ 857250 h 1314450"/>
                <a:gd name="connsiteX21" fmla="*/ 1004887 w 1466850"/>
                <a:gd name="connsiteY21" fmla="*/ 804863 h 1314450"/>
                <a:gd name="connsiteX22" fmla="*/ 966787 w 1466850"/>
                <a:gd name="connsiteY22" fmla="*/ 804863 h 1314450"/>
                <a:gd name="connsiteX23" fmla="*/ 966787 w 1466850"/>
                <a:gd name="connsiteY23" fmla="*/ 771525 h 1314450"/>
                <a:gd name="connsiteX24" fmla="*/ 904875 w 1466850"/>
                <a:gd name="connsiteY24" fmla="*/ 776288 h 1314450"/>
                <a:gd name="connsiteX25" fmla="*/ 904875 w 1466850"/>
                <a:gd name="connsiteY25" fmla="*/ 742950 h 1314450"/>
                <a:gd name="connsiteX26" fmla="*/ 862012 w 1466850"/>
                <a:gd name="connsiteY26" fmla="*/ 742950 h 1314450"/>
                <a:gd name="connsiteX27" fmla="*/ 866775 w 1466850"/>
                <a:gd name="connsiteY27" fmla="*/ 685800 h 1314450"/>
                <a:gd name="connsiteX28" fmla="*/ 814387 w 1466850"/>
                <a:gd name="connsiteY28" fmla="*/ 690563 h 1314450"/>
                <a:gd name="connsiteX29" fmla="*/ 814387 w 1466850"/>
                <a:gd name="connsiteY29" fmla="*/ 647700 h 1314450"/>
                <a:gd name="connsiteX30" fmla="*/ 776287 w 1466850"/>
                <a:gd name="connsiteY30" fmla="*/ 657225 h 1314450"/>
                <a:gd name="connsiteX31" fmla="*/ 781050 w 1466850"/>
                <a:gd name="connsiteY31" fmla="*/ 581025 h 1314450"/>
                <a:gd name="connsiteX32" fmla="*/ 723900 w 1466850"/>
                <a:gd name="connsiteY32" fmla="*/ 576263 h 1314450"/>
                <a:gd name="connsiteX33" fmla="*/ 719137 w 1466850"/>
                <a:gd name="connsiteY33" fmla="*/ 538163 h 1314450"/>
                <a:gd name="connsiteX34" fmla="*/ 695325 w 1466850"/>
                <a:gd name="connsiteY34" fmla="*/ 538163 h 1314450"/>
                <a:gd name="connsiteX35" fmla="*/ 695325 w 1466850"/>
                <a:gd name="connsiteY35" fmla="*/ 500063 h 1314450"/>
                <a:gd name="connsiteX36" fmla="*/ 652462 w 1466850"/>
                <a:gd name="connsiteY36" fmla="*/ 500063 h 1314450"/>
                <a:gd name="connsiteX37" fmla="*/ 657225 w 1466850"/>
                <a:gd name="connsiteY37" fmla="*/ 438150 h 1314450"/>
                <a:gd name="connsiteX38" fmla="*/ 595312 w 1466850"/>
                <a:gd name="connsiteY38" fmla="*/ 438150 h 1314450"/>
                <a:gd name="connsiteX39" fmla="*/ 590550 w 1466850"/>
                <a:gd name="connsiteY39" fmla="*/ 342900 h 1314450"/>
                <a:gd name="connsiteX40" fmla="*/ 542925 w 1466850"/>
                <a:gd name="connsiteY40" fmla="*/ 342900 h 1314450"/>
                <a:gd name="connsiteX41" fmla="*/ 542925 w 1466850"/>
                <a:gd name="connsiteY41" fmla="*/ 276225 h 1314450"/>
                <a:gd name="connsiteX42" fmla="*/ 466725 w 1466850"/>
                <a:gd name="connsiteY42" fmla="*/ 285750 h 1314450"/>
                <a:gd name="connsiteX43" fmla="*/ 471487 w 1466850"/>
                <a:gd name="connsiteY43" fmla="*/ 238125 h 1314450"/>
                <a:gd name="connsiteX44" fmla="*/ 428625 w 1466850"/>
                <a:gd name="connsiteY44" fmla="*/ 238125 h 1314450"/>
                <a:gd name="connsiteX45" fmla="*/ 442912 w 1466850"/>
                <a:gd name="connsiteY45" fmla="*/ 161925 h 1314450"/>
                <a:gd name="connsiteX46" fmla="*/ 385762 w 1466850"/>
                <a:gd name="connsiteY46" fmla="*/ 161925 h 1314450"/>
                <a:gd name="connsiteX47" fmla="*/ 385762 w 1466850"/>
                <a:gd name="connsiteY47" fmla="*/ 104775 h 1314450"/>
                <a:gd name="connsiteX48" fmla="*/ 223837 w 1466850"/>
                <a:gd name="connsiteY48" fmla="*/ 114300 h 1314450"/>
                <a:gd name="connsiteX49" fmla="*/ 223837 w 1466850"/>
                <a:gd name="connsiteY49" fmla="*/ 71438 h 1314450"/>
                <a:gd name="connsiteX50" fmla="*/ 152400 w 1466850"/>
                <a:gd name="connsiteY50" fmla="*/ 71438 h 1314450"/>
                <a:gd name="connsiteX51" fmla="*/ 152400 w 1466850"/>
                <a:gd name="connsiteY51" fmla="*/ 38100 h 1314450"/>
                <a:gd name="connsiteX52" fmla="*/ 76200 w 1466850"/>
                <a:gd name="connsiteY52" fmla="*/ 33338 h 1314450"/>
                <a:gd name="connsiteX53" fmla="*/ 71437 w 1466850"/>
                <a:gd name="connsiteY53" fmla="*/ 0 h 1314450"/>
                <a:gd name="connsiteX54" fmla="*/ 0 w 1466850"/>
                <a:gd name="connsiteY54" fmla="*/ 4763 h 1314450"/>
                <a:gd name="connsiteX0" fmla="*/ 1466850 w 1466850"/>
                <a:gd name="connsiteY0" fmla="*/ 1314450 h 1314450"/>
                <a:gd name="connsiteX1" fmla="*/ 1462087 w 1466850"/>
                <a:gd name="connsiteY1" fmla="*/ 1262063 h 1314450"/>
                <a:gd name="connsiteX2" fmla="*/ 1423987 w 1466850"/>
                <a:gd name="connsiteY2" fmla="*/ 1262063 h 1314450"/>
                <a:gd name="connsiteX3" fmla="*/ 1423987 w 1466850"/>
                <a:gd name="connsiteY3" fmla="*/ 1228725 h 1314450"/>
                <a:gd name="connsiteX4" fmla="*/ 1366837 w 1466850"/>
                <a:gd name="connsiteY4" fmla="*/ 1228725 h 1314450"/>
                <a:gd name="connsiteX5" fmla="*/ 1366837 w 1466850"/>
                <a:gd name="connsiteY5" fmla="*/ 1190625 h 1314450"/>
                <a:gd name="connsiteX6" fmla="*/ 1338262 w 1466850"/>
                <a:gd name="connsiteY6" fmla="*/ 1190625 h 1314450"/>
                <a:gd name="connsiteX7" fmla="*/ 1338262 w 1466850"/>
                <a:gd name="connsiteY7" fmla="*/ 1143000 h 1314450"/>
                <a:gd name="connsiteX8" fmla="*/ 1338262 w 1466850"/>
                <a:gd name="connsiteY8" fmla="*/ 1143000 h 1314450"/>
                <a:gd name="connsiteX9" fmla="*/ 1309687 w 1466850"/>
                <a:gd name="connsiteY9" fmla="*/ 1095375 h 1314450"/>
                <a:gd name="connsiteX10" fmla="*/ 1266825 w 1466850"/>
                <a:gd name="connsiteY10" fmla="*/ 1095375 h 1314450"/>
                <a:gd name="connsiteX11" fmla="*/ 1271587 w 1466850"/>
                <a:gd name="connsiteY11" fmla="*/ 1066800 h 1314450"/>
                <a:gd name="connsiteX12" fmla="*/ 1271587 w 1466850"/>
                <a:gd name="connsiteY12" fmla="*/ 1066800 h 1314450"/>
                <a:gd name="connsiteX13" fmla="*/ 1233487 w 1466850"/>
                <a:gd name="connsiteY13" fmla="*/ 1014413 h 1314450"/>
                <a:gd name="connsiteX14" fmla="*/ 1214437 w 1466850"/>
                <a:gd name="connsiteY14" fmla="*/ 1014413 h 1314450"/>
                <a:gd name="connsiteX15" fmla="*/ 1209675 w 1466850"/>
                <a:gd name="connsiteY15" fmla="*/ 947738 h 1314450"/>
                <a:gd name="connsiteX16" fmla="*/ 1133475 w 1466850"/>
                <a:gd name="connsiteY16" fmla="*/ 952500 h 1314450"/>
                <a:gd name="connsiteX17" fmla="*/ 1133475 w 1466850"/>
                <a:gd name="connsiteY17" fmla="*/ 895350 h 1314450"/>
                <a:gd name="connsiteX18" fmla="*/ 1071562 w 1466850"/>
                <a:gd name="connsiteY18" fmla="*/ 900113 h 1314450"/>
                <a:gd name="connsiteX19" fmla="*/ 1071562 w 1466850"/>
                <a:gd name="connsiteY19" fmla="*/ 847725 h 1314450"/>
                <a:gd name="connsiteX20" fmla="*/ 1000125 w 1466850"/>
                <a:gd name="connsiteY20" fmla="*/ 857250 h 1314450"/>
                <a:gd name="connsiteX21" fmla="*/ 1004887 w 1466850"/>
                <a:gd name="connsiteY21" fmla="*/ 804863 h 1314450"/>
                <a:gd name="connsiteX22" fmla="*/ 966787 w 1466850"/>
                <a:gd name="connsiteY22" fmla="*/ 804863 h 1314450"/>
                <a:gd name="connsiteX23" fmla="*/ 966787 w 1466850"/>
                <a:gd name="connsiteY23" fmla="*/ 771525 h 1314450"/>
                <a:gd name="connsiteX24" fmla="*/ 904875 w 1466850"/>
                <a:gd name="connsiteY24" fmla="*/ 776288 h 1314450"/>
                <a:gd name="connsiteX25" fmla="*/ 904875 w 1466850"/>
                <a:gd name="connsiteY25" fmla="*/ 742950 h 1314450"/>
                <a:gd name="connsiteX26" fmla="*/ 862012 w 1466850"/>
                <a:gd name="connsiteY26" fmla="*/ 742950 h 1314450"/>
                <a:gd name="connsiteX27" fmla="*/ 866775 w 1466850"/>
                <a:gd name="connsiteY27" fmla="*/ 685800 h 1314450"/>
                <a:gd name="connsiteX28" fmla="*/ 814387 w 1466850"/>
                <a:gd name="connsiteY28" fmla="*/ 690563 h 1314450"/>
                <a:gd name="connsiteX29" fmla="*/ 814387 w 1466850"/>
                <a:gd name="connsiteY29" fmla="*/ 647700 h 1314450"/>
                <a:gd name="connsiteX30" fmla="*/ 776287 w 1466850"/>
                <a:gd name="connsiteY30" fmla="*/ 642937 h 1314450"/>
                <a:gd name="connsiteX31" fmla="*/ 781050 w 1466850"/>
                <a:gd name="connsiteY31" fmla="*/ 581025 h 1314450"/>
                <a:gd name="connsiteX32" fmla="*/ 723900 w 1466850"/>
                <a:gd name="connsiteY32" fmla="*/ 576263 h 1314450"/>
                <a:gd name="connsiteX33" fmla="*/ 719137 w 1466850"/>
                <a:gd name="connsiteY33" fmla="*/ 538163 h 1314450"/>
                <a:gd name="connsiteX34" fmla="*/ 695325 w 1466850"/>
                <a:gd name="connsiteY34" fmla="*/ 538163 h 1314450"/>
                <a:gd name="connsiteX35" fmla="*/ 695325 w 1466850"/>
                <a:gd name="connsiteY35" fmla="*/ 500063 h 1314450"/>
                <a:gd name="connsiteX36" fmla="*/ 652462 w 1466850"/>
                <a:gd name="connsiteY36" fmla="*/ 500063 h 1314450"/>
                <a:gd name="connsiteX37" fmla="*/ 657225 w 1466850"/>
                <a:gd name="connsiteY37" fmla="*/ 438150 h 1314450"/>
                <a:gd name="connsiteX38" fmla="*/ 595312 w 1466850"/>
                <a:gd name="connsiteY38" fmla="*/ 438150 h 1314450"/>
                <a:gd name="connsiteX39" fmla="*/ 590550 w 1466850"/>
                <a:gd name="connsiteY39" fmla="*/ 342900 h 1314450"/>
                <a:gd name="connsiteX40" fmla="*/ 542925 w 1466850"/>
                <a:gd name="connsiteY40" fmla="*/ 342900 h 1314450"/>
                <a:gd name="connsiteX41" fmla="*/ 542925 w 1466850"/>
                <a:gd name="connsiteY41" fmla="*/ 276225 h 1314450"/>
                <a:gd name="connsiteX42" fmla="*/ 466725 w 1466850"/>
                <a:gd name="connsiteY42" fmla="*/ 285750 h 1314450"/>
                <a:gd name="connsiteX43" fmla="*/ 471487 w 1466850"/>
                <a:gd name="connsiteY43" fmla="*/ 238125 h 1314450"/>
                <a:gd name="connsiteX44" fmla="*/ 428625 w 1466850"/>
                <a:gd name="connsiteY44" fmla="*/ 238125 h 1314450"/>
                <a:gd name="connsiteX45" fmla="*/ 442912 w 1466850"/>
                <a:gd name="connsiteY45" fmla="*/ 161925 h 1314450"/>
                <a:gd name="connsiteX46" fmla="*/ 385762 w 1466850"/>
                <a:gd name="connsiteY46" fmla="*/ 161925 h 1314450"/>
                <a:gd name="connsiteX47" fmla="*/ 385762 w 1466850"/>
                <a:gd name="connsiteY47" fmla="*/ 104775 h 1314450"/>
                <a:gd name="connsiteX48" fmla="*/ 223837 w 1466850"/>
                <a:gd name="connsiteY48" fmla="*/ 114300 h 1314450"/>
                <a:gd name="connsiteX49" fmla="*/ 223837 w 1466850"/>
                <a:gd name="connsiteY49" fmla="*/ 71438 h 1314450"/>
                <a:gd name="connsiteX50" fmla="*/ 152400 w 1466850"/>
                <a:gd name="connsiteY50" fmla="*/ 71438 h 1314450"/>
                <a:gd name="connsiteX51" fmla="*/ 152400 w 1466850"/>
                <a:gd name="connsiteY51" fmla="*/ 38100 h 1314450"/>
                <a:gd name="connsiteX52" fmla="*/ 76200 w 1466850"/>
                <a:gd name="connsiteY52" fmla="*/ 33338 h 1314450"/>
                <a:gd name="connsiteX53" fmla="*/ 71437 w 1466850"/>
                <a:gd name="connsiteY53" fmla="*/ 0 h 1314450"/>
                <a:gd name="connsiteX54" fmla="*/ 0 w 1466850"/>
                <a:gd name="connsiteY54" fmla="*/ 4763 h 1314450"/>
                <a:gd name="connsiteX0" fmla="*/ 1466850 w 1466850"/>
                <a:gd name="connsiteY0" fmla="*/ 1314450 h 1314450"/>
                <a:gd name="connsiteX1" fmla="*/ 1462087 w 1466850"/>
                <a:gd name="connsiteY1" fmla="*/ 1262063 h 1314450"/>
                <a:gd name="connsiteX2" fmla="*/ 1423987 w 1466850"/>
                <a:gd name="connsiteY2" fmla="*/ 1262063 h 1314450"/>
                <a:gd name="connsiteX3" fmla="*/ 1423987 w 1466850"/>
                <a:gd name="connsiteY3" fmla="*/ 1228725 h 1314450"/>
                <a:gd name="connsiteX4" fmla="*/ 1366837 w 1466850"/>
                <a:gd name="connsiteY4" fmla="*/ 1228725 h 1314450"/>
                <a:gd name="connsiteX5" fmla="*/ 1366837 w 1466850"/>
                <a:gd name="connsiteY5" fmla="*/ 1190625 h 1314450"/>
                <a:gd name="connsiteX6" fmla="*/ 1338262 w 1466850"/>
                <a:gd name="connsiteY6" fmla="*/ 1190625 h 1314450"/>
                <a:gd name="connsiteX7" fmla="*/ 1338262 w 1466850"/>
                <a:gd name="connsiteY7" fmla="*/ 1143000 h 1314450"/>
                <a:gd name="connsiteX8" fmla="*/ 1338262 w 1466850"/>
                <a:gd name="connsiteY8" fmla="*/ 1143000 h 1314450"/>
                <a:gd name="connsiteX9" fmla="*/ 1304924 w 1466850"/>
                <a:gd name="connsiteY9" fmla="*/ 1138238 h 1314450"/>
                <a:gd name="connsiteX10" fmla="*/ 1266825 w 1466850"/>
                <a:gd name="connsiteY10" fmla="*/ 1095375 h 1314450"/>
                <a:gd name="connsiteX11" fmla="*/ 1271587 w 1466850"/>
                <a:gd name="connsiteY11" fmla="*/ 1066800 h 1314450"/>
                <a:gd name="connsiteX12" fmla="*/ 1271587 w 1466850"/>
                <a:gd name="connsiteY12" fmla="*/ 1066800 h 1314450"/>
                <a:gd name="connsiteX13" fmla="*/ 1233487 w 1466850"/>
                <a:gd name="connsiteY13" fmla="*/ 1014413 h 1314450"/>
                <a:gd name="connsiteX14" fmla="*/ 1214437 w 1466850"/>
                <a:gd name="connsiteY14" fmla="*/ 1014413 h 1314450"/>
                <a:gd name="connsiteX15" fmla="*/ 1209675 w 1466850"/>
                <a:gd name="connsiteY15" fmla="*/ 947738 h 1314450"/>
                <a:gd name="connsiteX16" fmla="*/ 1133475 w 1466850"/>
                <a:gd name="connsiteY16" fmla="*/ 952500 h 1314450"/>
                <a:gd name="connsiteX17" fmla="*/ 1133475 w 1466850"/>
                <a:gd name="connsiteY17" fmla="*/ 895350 h 1314450"/>
                <a:gd name="connsiteX18" fmla="*/ 1071562 w 1466850"/>
                <a:gd name="connsiteY18" fmla="*/ 900113 h 1314450"/>
                <a:gd name="connsiteX19" fmla="*/ 1071562 w 1466850"/>
                <a:gd name="connsiteY19" fmla="*/ 847725 h 1314450"/>
                <a:gd name="connsiteX20" fmla="*/ 1000125 w 1466850"/>
                <a:gd name="connsiteY20" fmla="*/ 857250 h 1314450"/>
                <a:gd name="connsiteX21" fmla="*/ 1004887 w 1466850"/>
                <a:gd name="connsiteY21" fmla="*/ 804863 h 1314450"/>
                <a:gd name="connsiteX22" fmla="*/ 966787 w 1466850"/>
                <a:gd name="connsiteY22" fmla="*/ 804863 h 1314450"/>
                <a:gd name="connsiteX23" fmla="*/ 966787 w 1466850"/>
                <a:gd name="connsiteY23" fmla="*/ 771525 h 1314450"/>
                <a:gd name="connsiteX24" fmla="*/ 904875 w 1466850"/>
                <a:gd name="connsiteY24" fmla="*/ 776288 h 1314450"/>
                <a:gd name="connsiteX25" fmla="*/ 904875 w 1466850"/>
                <a:gd name="connsiteY25" fmla="*/ 742950 h 1314450"/>
                <a:gd name="connsiteX26" fmla="*/ 862012 w 1466850"/>
                <a:gd name="connsiteY26" fmla="*/ 742950 h 1314450"/>
                <a:gd name="connsiteX27" fmla="*/ 866775 w 1466850"/>
                <a:gd name="connsiteY27" fmla="*/ 685800 h 1314450"/>
                <a:gd name="connsiteX28" fmla="*/ 814387 w 1466850"/>
                <a:gd name="connsiteY28" fmla="*/ 690563 h 1314450"/>
                <a:gd name="connsiteX29" fmla="*/ 814387 w 1466850"/>
                <a:gd name="connsiteY29" fmla="*/ 647700 h 1314450"/>
                <a:gd name="connsiteX30" fmla="*/ 776287 w 1466850"/>
                <a:gd name="connsiteY30" fmla="*/ 642937 h 1314450"/>
                <a:gd name="connsiteX31" fmla="*/ 781050 w 1466850"/>
                <a:gd name="connsiteY31" fmla="*/ 581025 h 1314450"/>
                <a:gd name="connsiteX32" fmla="*/ 723900 w 1466850"/>
                <a:gd name="connsiteY32" fmla="*/ 576263 h 1314450"/>
                <a:gd name="connsiteX33" fmla="*/ 719137 w 1466850"/>
                <a:gd name="connsiteY33" fmla="*/ 538163 h 1314450"/>
                <a:gd name="connsiteX34" fmla="*/ 695325 w 1466850"/>
                <a:gd name="connsiteY34" fmla="*/ 538163 h 1314450"/>
                <a:gd name="connsiteX35" fmla="*/ 695325 w 1466850"/>
                <a:gd name="connsiteY35" fmla="*/ 500063 h 1314450"/>
                <a:gd name="connsiteX36" fmla="*/ 652462 w 1466850"/>
                <a:gd name="connsiteY36" fmla="*/ 500063 h 1314450"/>
                <a:gd name="connsiteX37" fmla="*/ 657225 w 1466850"/>
                <a:gd name="connsiteY37" fmla="*/ 438150 h 1314450"/>
                <a:gd name="connsiteX38" fmla="*/ 595312 w 1466850"/>
                <a:gd name="connsiteY38" fmla="*/ 438150 h 1314450"/>
                <a:gd name="connsiteX39" fmla="*/ 590550 w 1466850"/>
                <a:gd name="connsiteY39" fmla="*/ 342900 h 1314450"/>
                <a:gd name="connsiteX40" fmla="*/ 542925 w 1466850"/>
                <a:gd name="connsiteY40" fmla="*/ 342900 h 1314450"/>
                <a:gd name="connsiteX41" fmla="*/ 542925 w 1466850"/>
                <a:gd name="connsiteY41" fmla="*/ 276225 h 1314450"/>
                <a:gd name="connsiteX42" fmla="*/ 466725 w 1466850"/>
                <a:gd name="connsiteY42" fmla="*/ 285750 h 1314450"/>
                <a:gd name="connsiteX43" fmla="*/ 471487 w 1466850"/>
                <a:gd name="connsiteY43" fmla="*/ 238125 h 1314450"/>
                <a:gd name="connsiteX44" fmla="*/ 428625 w 1466850"/>
                <a:gd name="connsiteY44" fmla="*/ 238125 h 1314450"/>
                <a:gd name="connsiteX45" fmla="*/ 442912 w 1466850"/>
                <a:gd name="connsiteY45" fmla="*/ 161925 h 1314450"/>
                <a:gd name="connsiteX46" fmla="*/ 385762 w 1466850"/>
                <a:gd name="connsiteY46" fmla="*/ 161925 h 1314450"/>
                <a:gd name="connsiteX47" fmla="*/ 385762 w 1466850"/>
                <a:gd name="connsiteY47" fmla="*/ 104775 h 1314450"/>
                <a:gd name="connsiteX48" fmla="*/ 223837 w 1466850"/>
                <a:gd name="connsiteY48" fmla="*/ 114300 h 1314450"/>
                <a:gd name="connsiteX49" fmla="*/ 223837 w 1466850"/>
                <a:gd name="connsiteY49" fmla="*/ 71438 h 1314450"/>
                <a:gd name="connsiteX50" fmla="*/ 152400 w 1466850"/>
                <a:gd name="connsiteY50" fmla="*/ 71438 h 1314450"/>
                <a:gd name="connsiteX51" fmla="*/ 152400 w 1466850"/>
                <a:gd name="connsiteY51" fmla="*/ 38100 h 1314450"/>
                <a:gd name="connsiteX52" fmla="*/ 76200 w 1466850"/>
                <a:gd name="connsiteY52" fmla="*/ 33338 h 1314450"/>
                <a:gd name="connsiteX53" fmla="*/ 71437 w 1466850"/>
                <a:gd name="connsiteY53" fmla="*/ 0 h 1314450"/>
                <a:gd name="connsiteX54" fmla="*/ 0 w 1466850"/>
                <a:gd name="connsiteY54" fmla="*/ 4763 h 1314450"/>
                <a:gd name="connsiteX0" fmla="*/ 1466850 w 1466850"/>
                <a:gd name="connsiteY0" fmla="*/ 1314450 h 1314450"/>
                <a:gd name="connsiteX1" fmla="*/ 1462087 w 1466850"/>
                <a:gd name="connsiteY1" fmla="*/ 1262063 h 1314450"/>
                <a:gd name="connsiteX2" fmla="*/ 1423987 w 1466850"/>
                <a:gd name="connsiteY2" fmla="*/ 1262063 h 1314450"/>
                <a:gd name="connsiteX3" fmla="*/ 1423987 w 1466850"/>
                <a:gd name="connsiteY3" fmla="*/ 1228725 h 1314450"/>
                <a:gd name="connsiteX4" fmla="*/ 1366837 w 1466850"/>
                <a:gd name="connsiteY4" fmla="*/ 1228725 h 1314450"/>
                <a:gd name="connsiteX5" fmla="*/ 1366837 w 1466850"/>
                <a:gd name="connsiteY5" fmla="*/ 1190625 h 1314450"/>
                <a:gd name="connsiteX6" fmla="*/ 1338262 w 1466850"/>
                <a:gd name="connsiteY6" fmla="*/ 1190625 h 1314450"/>
                <a:gd name="connsiteX7" fmla="*/ 1338262 w 1466850"/>
                <a:gd name="connsiteY7" fmla="*/ 1143000 h 1314450"/>
                <a:gd name="connsiteX8" fmla="*/ 1338262 w 1466850"/>
                <a:gd name="connsiteY8" fmla="*/ 1143000 h 1314450"/>
                <a:gd name="connsiteX9" fmla="*/ 1304924 w 1466850"/>
                <a:gd name="connsiteY9" fmla="*/ 1138238 h 1314450"/>
                <a:gd name="connsiteX10" fmla="*/ 1300163 w 1466850"/>
                <a:gd name="connsiteY10" fmla="*/ 1100137 h 1314450"/>
                <a:gd name="connsiteX11" fmla="*/ 1271587 w 1466850"/>
                <a:gd name="connsiteY11" fmla="*/ 1066800 h 1314450"/>
                <a:gd name="connsiteX12" fmla="*/ 1271587 w 1466850"/>
                <a:gd name="connsiteY12" fmla="*/ 1066800 h 1314450"/>
                <a:gd name="connsiteX13" fmla="*/ 1233487 w 1466850"/>
                <a:gd name="connsiteY13" fmla="*/ 1014413 h 1314450"/>
                <a:gd name="connsiteX14" fmla="*/ 1214437 w 1466850"/>
                <a:gd name="connsiteY14" fmla="*/ 1014413 h 1314450"/>
                <a:gd name="connsiteX15" fmla="*/ 1209675 w 1466850"/>
                <a:gd name="connsiteY15" fmla="*/ 947738 h 1314450"/>
                <a:gd name="connsiteX16" fmla="*/ 1133475 w 1466850"/>
                <a:gd name="connsiteY16" fmla="*/ 952500 h 1314450"/>
                <a:gd name="connsiteX17" fmla="*/ 1133475 w 1466850"/>
                <a:gd name="connsiteY17" fmla="*/ 895350 h 1314450"/>
                <a:gd name="connsiteX18" fmla="*/ 1071562 w 1466850"/>
                <a:gd name="connsiteY18" fmla="*/ 900113 h 1314450"/>
                <a:gd name="connsiteX19" fmla="*/ 1071562 w 1466850"/>
                <a:gd name="connsiteY19" fmla="*/ 847725 h 1314450"/>
                <a:gd name="connsiteX20" fmla="*/ 1000125 w 1466850"/>
                <a:gd name="connsiteY20" fmla="*/ 857250 h 1314450"/>
                <a:gd name="connsiteX21" fmla="*/ 1004887 w 1466850"/>
                <a:gd name="connsiteY21" fmla="*/ 804863 h 1314450"/>
                <a:gd name="connsiteX22" fmla="*/ 966787 w 1466850"/>
                <a:gd name="connsiteY22" fmla="*/ 804863 h 1314450"/>
                <a:gd name="connsiteX23" fmla="*/ 966787 w 1466850"/>
                <a:gd name="connsiteY23" fmla="*/ 771525 h 1314450"/>
                <a:gd name="connsiteX24" fmla="*/ 904875 w 1466850"/>
                <a:gd name="connsiteY24" fmla="*/ 776288 h 1314450"/>
                <a:gd name="connsiteX25" fmla="*/ 904875 w 1466850"/>
                <a:gd name="connsiteY25" fmla="*/ 742950 h 1314450"/>
                <a:gd name="connsiteX26" fmla="*/ 862012 w 1466850"/>
                <a:gd name="connsiteY26" fmla="*/ 742950 h 1314450"/>
                <a:gd name="connsiteX27" fmla="*/ 866775 w 1466850"/>
                <a:gd name="connsiteY27" fmla="*/ 685800 h 1314450"/>
                <a:gd name="connsiteX28" fmla="*/ 814387 w 1466850"/>
                <a:gd name="connsiteY28" fmla="*/ 690563 h 1314450"/>
                <a:gd name="connsiteX29" fmla="*/ 814387 w 1466850"/>
                <a:gd name="connsiteY29" fmla="*/ 647700 h 1314450"/>
                <a:gd name="connsiteX30" fmla="*/ 776287 w 1466850"/>
                <a:gd name="connsiteY30" fmla="*/ 642937 h 1314450"/>
                <a:gd name="connsiteX31" fmla="*/ 781050 w 1466850"/>
                <a:gd name="connsiteY31" fmla="*/ 581025 h 1314450"/>
                <a:gd name="connsiteX32" fmla="*/ 723900 w 1466850"/>
                <a:gd name="connsiteY32" fmla="*/ 576263 h 1314450"/>
                <a:gd name="connsiteX33" fmla="*/ 719137 w 1466850"/>
                <a:gd name="connsiteY33" fmla="*/ 538163 h 1314450"/>
                <a:gd name="connsiteX34" fmla="*/ 695325 w 1466850"/>
                <a:gd name="connsiteY34" fmla="*/ 538163 h 1314450"/>
                <a:gd name="connsiteX35" fmla="*/ 695325 w 1466850"/>
                <a:gd name="connsiteY35" fmla="*/ 500063 h 1314450"/>
                <a:gd name="connsiteX36" fmla="*/ 652462 w 1466850"/>
                <a:gd name="connsiteY36" fmla="*/ 500063 h 1314450"/>
                <a:gd name="connsiteX37" fmla="*/ 657225 w 1466850"/>
                <a:gd name="connsiteY37" fmla="*/ 438150 h 1314450"/>
                <a:gd name="connsiteX38" fmla="*/ 595312 w 1466850"/>
                <a:gd name="connsiteY38" fmla="*/ 438150 h 1314450"/>
                <a:gd name="connsiteX39" fmla="*/ 590550 w 1466850"/>
                <a:gd name="connsiteY39" fmla="*/ 342900 h 1314450"/>
                <a:gd name="connsiteX40" fmla="*/ 542925 w 1466850"/>
                <a:gd name="connsiteY40" fmla="*/ 342900 h 1314450"/>
                <a:gd name="connsiteX41" fmla="*/ 542925 w 1466850"/>
                <a:gd name="connsiteY41" fmla="*/ 276225 h 1314450"/>
                <a:gd name="connsiteX42" fmla="*/ 466725 w 1466850"/>
                <a:gd name="connsiteY42" fmla="*/ 285750 h 1314450"/>
                <a:gd name="connsiteX43" fmla="*/ 471487 w 1466850"/>
                <a:gd name="connsiteY43" fmla="*/ 238125 h 1314450"/>
                <a:gd name="connsiteX44" fmla="*/ 428625 w 1466850"/>
                <a:gd name="connsiteY44" fmla="*/ 238125 h 1314450"/>
                <a:gd name="connsiteX45" fmla="*/ 442912 w 1466850"/>
                <a:gd name="connsiteY45" fmla="*/ 161925 h 1314450"/>
                <a:gd name="connsiteX46" fmla="*/ 385762 w 1466850"/>
                <a:gd name="connsiteY46" fmla="*/ 161925 h 1314450"/>
                <a:gd name="connsiteX47" fmla="*/ 385762 w 1466850"/>
                <a:gd name="connsiteY47" fmla="*/ 104775 h 1314450"/>
                <a:gd name="connsiteX48" fmla="*/ 223837 w 1466850"/>
                <a:gd name="connsiteY48" fmla="*/ 114300 h 1314450"/>
                <a:gd name="connsiteX49" fmla="*/ 223837 w 1466850"/>
                <a:gd name="connsiteY49" fmla="*/ 71438 h 1314450"/>
                <a:gd name="connsiteX50" fmla="*/ 152400 w 1466850"/>
                <a:gd name="connsiteY50" fmla="*/ 71438 h 1314450"/>
                <a:gd name="connsiteX51" fmla="*/ 152400 w 1466850"/>
                <a:gd name="connsiteY51" fmla="*/ 38100 h 1314450"/>
                <a:gd name="connsiteX52" fmla="*/ 76200 w 1466850"/>
                <a:gd name="connsiteY52" fmla="*/ 33338 h 1314450"/>
                <a:gd name="connsiteX53" fmla="*/ 71437 w 1466850"/>
                <a:gd name="connsiteY53" fmla="*/ 0 h 1314450"/>
                <a:gd name="connsiteX54" fmla="*/ 0 w 1466850"/>
                <a:gd name="connsiteY54" fmla="*/ 4763 h 1314450"/>
                <a:gd name="connsiteX0" fmla="*/ 1466850 w 1466850"/>
                <a:gd name="connsiteY0" fmla="*/ 1314450 h 1314450"/>
                <a:gd name="connsiteX1" fmla="*/ 1462087 w 1466850"/>
                <a:gd name="connsiteY1" fmla="*/ 1262063 h 1314450"/>
                <a:gd name="connsiteX2" fmla="*/ 1423987 w 1466850"/>
                <a:gd name="connsiteY2" fmla="*/ 1262063 h 1314450"/>
                <a:gd name="connsiteX3" fmla="*/ 1423987 w 1466850"/>
                <a:gd name="connsiteY3" fmla="*/ 1228725 h 1314450"/>
                <a:gd name="connsiteX4" fmla="*/ 1366837 w 1466850"/>
                <a:gd name="connsiteY4" fmla="*/ 1228725 h 1314450"/>
                <a:gd name="connsiteX5" fmla="*/ 1366837 w 1466850"/>
                <a:gd name="connsiteY5" fmla="*/ 1190625 h 1314450"/>
                <a:gd name="connsiteX6" fmla="*/ 1338262 w 1466850"/>
                <a:gd name="connsiteY6" fmla="*/ 1190625 h 1314450"/>
                <a:gd name="connsiteX7" fmla="*/ 1338262 w 1466850"/>
                <a:gd name="connsiteY7" fmla="*/ 1143000 h 1314450"/>
                <a:gd name="connsiteX8" fmla="*/ 1338262 w 1466850"/>
                <a:gd name="connsiteY8" fmla="*/ 1143000 h 1314450"/>
                <a:gd name="connsiteX9" fmla="*/ 1304924 w 1466850"/>
                <a:gd name="connsiteY9" fmla="*/ 1138238 h 1314450"/>
                <a:gd name="connsiteX10" fmla="*/ 1300163 w 1466850"/>
                <a:gd name="connsiteY10" fmla="*/ 1100137 h 1314450"/>
                <a:gd name="connsiteX11" fmla="*/ 1271587 w 1466850"/>
                <a:gd name="connsiteY11" fmla="*/ 1066800 h 1314450"/>
                <a:gd name="connsiteX12" fmla="*/ 1238249 w 1466850"/>
                <a:gd name="connsiteY12" fmla="*/ 1062037 h 1314450"/>
                <a:gd name="connsiteX13" fmla="*/ 1233487 w 1466850"/>
                <a:gd name="connsiteY13" fmla="*/ 1014413 h 1314450"/>
                <a:gd name="connsiteX14" fmla="*/ 1214437 w 1466850"/>
                <a:gd name="connsiteY14" fmla="*/ 1014413 h 1314450"/>
                <a:gd name="connsiteX15" fmla="*/ 1209675 w 1466850"/>
                <a:gd name="connsiteY15" fmla="*/ 947738 h 1314450"/>
                <a:gd name="connsiteX16" fmla="*/ 1133475 w 1466850"/>
                <a:gd name="connsiteY16" fmla="*/ 952500 h 1314450"/>
                <a:gd name="connsiteX17" fmla="*/ 1133475 w 1466850"/>
                <a:gd name="connsiteY17" fmla="*/ 895350 h 1314450"/>
                <a:gd name="connsiteX18" fmla="*/ 1071562 w 1466850"/>
                <a:gd name="connsiteY18" fmla="*/ 900113 h 1314450"/>
                <a:gd name="connsiteX19" fmla="*/ 1071562 w 1466850"/>
                <a:gd name="connsiteY19" fmla="*/ 847725 h 1314450"/>
                <a:gd name="connsiteX20" fmla="*/ 1000125 w 1466850"/>
                <a:gd name="connsiteY20" fmla="*/ 857250 h 1314450"/>
                <a:gd name="connsiteX21" fmla="*/ 1004887 w 1466850"/>
                <a:gd name="connsiteY21" fmla="*/ 804863 h 1314450"/>
                <a:gd name="connsiteX22" fmla="*/ 966787 w 1466850"/>
                <a:gd name="connsiteY22" fmla="*/ 804863 h 1314450"/>
                <a:gd name="connsiteX23" fmla="*/ 966787 w 1466850"/>
                <a:gd name="connsiteY23" fmla="*/ 771525 h 1314450"/>
                <a:gd name="connsiteX24" fmla="*/ 904875 w 1466850"/>
                <a:gd name="connsiteY24" fmla="*/ 776288 h 1314450"/>
                <a:gd name="connsiteX25" fmla="*/ 904875 w 1466850"/>
                <a:gd name="connsiteY25" fmla="*/ 742950 h 1314450"/>
                <a:gd name="connsiteX26" fmla="*/ 862012 w 1466850"/>
                <a:gd name="connsiteY26" fmla="*/ 742950 h 1314450"/>
                <a:gd name="connsiteX27" fmla="*/ 866775 w 1466850"/>
                <a:gd name="connsiteY27" fmla="*/ 685800 h 1314450"/>
                <a:gd name="connsiteX28" fmla="*/ 814387 w 1466850"/>
                <a:gd name="connsiteY28" fmla="*/ 690563 h 1314450"/>
                <a:gd name="connsiteX29" fmla="*/ 814387 w 1466850"/>
                <a:gd name="connsiteY29" fmla="*/ 647700 h 1314450"/>
                <a:gd name="connsiteX30" fmla="*/ 776287 w 1466850"/>
                <a:gd name="connsiteY30" fmla="*/ 642937 h 1314450"/>
                <a:gd name="connsiteX31" fmla="*/ 781050 w 1466850"/>
                <a:gd name="connsiteY31" fmla="*/ 581025 h 1314450"/>
                <a:gd name="connsiteX32" fmla="*/ 723900 w 1466850"/>
                <a:gd name="connsiteY32" fmla="*/ 576263 h 1314450"/>
                <a:gd name="connsiteX33" fmla="*/ 719137 w 1466850"/>
                <a:gd name="connsiteY33" fmla="*/ 538163 h 1314450"/>
                <a:gd name="connsiteX34" fmla="*/ 695325 w 1466850"/>
                <a:gd name="connsiteY34" fmla="*/ 538163 h 1314450"/>
                <a:gd name="connsiteX35" fmla="*/ 695325 w 1466850"/>
                <a:gd name="connsiteY35" fmla="*/ 500063 h 1314450"/>
                <a:gd name="connsiteX36" fmla="*/ 652462 w 1466850"/>
                <a:gd name="connsiteY36" fmla="*/ 500063 h 1314450"/>
                <a:gd name="connsiteX37" fmla="*/ 657225 w 1466850"/>
                <a:gd name="connsiteY37" fmla="*/ 438150 h 1314450"/>
                <a:gd name="connsiteX38" fmla="*/ 595312 w 1466850"/>
                <a:gd name="connsiteY38" fmla="*/ 438150 h 1314450"/>
                <a:gd name="connsiteX39" fmla="*/ 590550 w 1466850"/>
                <a:gd name="connsiteY39" fmla="*/ 342900 h 1314450"/>
                <a:gd name="connsiteX40" fmla="*/ 542925 w 1466850"/>
                <a:gd name="connsiteY40" fmla="*/ 342900 h 1314450"/>
                <a:gd name="connsiteX41" fmla="*/ 542925 w 1466850"/>
                <a:gd name="connsiteY41" fmla="*/ 276225 h 1314450"/>
                <a:gd name="connsiteX42" fmla="*/ 466725 w 1466850"/>
                <a:gd name="connsiteY42" fmla="*/ 285750 h 1314450"/>
                <a:gd name="connsiteX43" fmla="*/ 471487 w 1466850"/>
                <a:gd name="connsiteY43" fmla="*/ 238125 h 1314450"/>
                <a:gd name="connsiteX44" fmla="*/ 428625 w 1466850"/>
                <a:gd name="connsiteY44" fmla="*/ 238125 h 1314450"/>
                <a:gd name="connsiteX45" fmla="*/ 442912 w 1466850"/>
                <a:gd name="connsiteY45" fmla="*/ 161925 h 1314450"/>
                <a:gd name="connsiteX46" fmla="*/ 385762 w 1466850"/>
                <a:gd name="connsiteY46" fmla="*/ 161925 h 1314450"/>
                <a:gd name="connsiteX47" fmla="*/ 385762 w 1466850"/>
                <a:gd name="connsiteY47" fmla="*/ 104775 h 1314450"/>
                <a:gd name="connsiteX48" fmla="*/ 223837 w 1466850"/>
                <a:gd name="connsiteY48" fmla="*/ 114300 h 1314450"/>
                <a:gd name="connsiteX49" fmla="*/ 223837 w 1466850"/>
                <a:gd name="connsiteY49" fmla="*/ 71438 h 1314450"/>
                <a:gd name="connsiteX50" fmla="*/ 152400 w 1466850"/>
                <a:gd name="connsiteY50" fmla="*/ 71438 h 1314450"/>
                <a:gd name="connsiteX51" fmla="*/ 152400 w 1466850"/>
                <a:gd name="connsiteY51" fmla="*/ 38100 h 1314450"/>
                <a:gd name="connsiteX52" fmla="*/ 76200 w 1466850"/>
                <a:gd name="connsiteY52" fmla="*/ 33338 h 1314450"/>
                <a:gd name="connsiteX53" fmla="*/ 71437 w 1466850"/>
                <a:gd name="connsiteY53" fmla="*/ 0 h 1314450"/>
                <a:gd name="connsiteX54" fmla="*/ 0 w 1466850"/>
                <a:gd name="connsiteY54" fmla="*/ 4763 h 1314450"/>
                <a:gd name="connsiteX0" fmla="*/ 1466850 w 1466850"/>
                <a:gd name="connsiteY0" fmla="*/ 1314450 h 1314450"/>
                <a:gd name="connsiteX1" fmla="*/ 1462087 w 1466850"/>
                <a:gd name="connsiteY1" fmla="*/ 1262063 h 1314450"/>
                <a:gd name="connsiteX2" fmla="*/ 1423987 w 1466850"/>
                <a:gd name="connsiteY2" fmla="*/ 1262063 h 1314450"/>
                <a:gd name="connsiteX3" fmla="*/ 1423987 w 1466850"/>
                <a:gd name="connsiteY3" fmla="*/ 1228725 h 1314450"/>
                <a:gd name="connsiteX4" fmla="*/ 1366837 w 1466850"/>
                <a:gd name="connsiteY4" fmla="*/ 1228725 h 1314450"/>
                <a:gd name="connsiteX5" fmla="*/ 1366837 w 1466850"/>
                <a:gd name="connsiteY5" fmla="*/ 1190625 h 1314450"/>
                <a:gd name="connsiteX6" fmla="*/ 1338262 w 1466850"/>
                <a:gd name="connsiteY6" fmla="*/ 1190625 h 1314450"/>
                <a:gd name="connsiteX7" fmla="*/ 1338262 w 1466850"/>
                <a:gd name="connsiteY7" fmla="*/ 1143000 h 1314450"/>
                <a:gd name="connsiteX8" fmla="*/ 1338262 w 1466850"/>
                <a:gd name="connsiteY8" fmla="*/ 1143000 h 1314450"/>
                <a:gd name="connsiteX9" fmla="*/ 1304924 w 1466850"/>
                <a:gd name="connsiteY9" fmla="*/ 1138238 h 1314450"/>
                <a:gd name="connsiteX10" fmla="*/ 1300163 w 1466850"/>
                <a:gd name="connsiteY10" fmla="*/ 1100137 h 1314450"/>
                <a:gd name="connsiteX11" fmla="*/ 1290637 w 1466850"/>
                <a:gd name="connsiteY11" fmla="*/ 1066800 h 1314450"/>
                <a:gd name="connsiteX12" fmla="*/ 1238249 w 1466850"/>
                <a:gd name="connsiteY12" fmla="*/ 1062037 h 1314450"/>
                <a:gd name="connsiteX13" fmla="*/ 1233487 w 1466850"/>
                <a:gd name="connsiteY13" fmla="*/ 1014413 h 1314450"/>
                <a:gd name="connsiteX14" fmla="*/ 1214437 w 1466850"/>
                <a:gd name="connsiteY14" fmla="*/ 1014413 h 1314450"/>
                <a:gd name="connsiteX15" fmla="*/ 1209675 w 1466850"/>
                <a:gd name="connsiteY15" fmla="*/ 947738 h 1314450"/>
                <a:gd name="connsiteX16" fmla="*/ 1133475 w 1466850"/>
                <a:gd name="connsiteY16" fmla="*/ 952500 h 1314450"/>
                <a:gd name="connsiteX17" fmla="*/ 1133475 w 1466850"/>
                <a:gd name="connsiteY17" fmla="*/ 895350 h 1314450"/>
                <a:gd name="connsiteX18" fmla="*/ 1071562 w 1466850"/>
                <a:gd name="connsiteY18" fmla="*/ 900113 h 1314450"/>
                <a:gd name="connsiteX19" fmla="*/ 1071562 w 1466850"/>
                <a:gd name="connsiteY19" fmla="*/ 847725 h 1314450"/>
                <a:gd name="connsiteX20" fmla="*/ 1000125 w 1466850"/>
                <a:gd name="connsiteY20" fmla="*/ 857250 h 1314450"/>
                <a:gd name="connsiteX21" fmla="*/ 1004887 w 1466850"/>
                <a:gd name="connsiteY21" fmla="*/ 804863 h 1314450"/>
                <a:gd name="connsiteX22" fmla="*/ 966787 w 1466850"/>
                <a:gd name="connsiteY22" fmla="*/ 804863 h 1314450"/>
                <a:gd name="connsiteX23" fmla="*/ 966787 w 1466850"/>
                <a:gd name="connsiteY23" fmla="*/ 771525 h 1314450"/>
                <a:gd name="connsiteX24" fmla="*/ 904875 w 1466850"/>
                <a:gd name="connsiteY24" fmla="*/ 776288 h 1314450"/>
                <a:gd name="connsiteX25" fmla="*/ 904875 w 1466850"/>
                <a:gd name="connsiteY25" fmla="*/ 742950 h 1314450"/>
                <a:gd name="connsiteX26" fmla="*/ 862012 w 1466850"/>
                <a:gd name="connsiteY26" fmla="*/ 742950 h 1314450"/>
                <a:gd name="connsiteX27" fmla="*/ 866775 w 1466850"/>
                <a:gd name="connsiteY27" fmla="*/ 685800 h 1314450"/>
                <a:gd name="connsiteX28" fmla="*/ 814387 w 1466850"/>
                <a:gd name="connsiteY28" fmla="*/ 690563 h 1314450"/>
                <a:gd name="connsiteX29" fmla="*/ 814387 w 1466850"/>
                <a:gd name="connsiteY29" fmla="*/ 647700 h 1314450"/>
                <a:gd name="connsiteX30" fmla="*/ 776287 w 1466850"/>
                <a:gd name="connsiteY30" fmla="*/ 642937 h 1314450"/>
                <a:gd name="connsiteX31" fmla="*/ 781050 w 1466850"/>
                <a:gd name="connsiteY31" fmla="*/ 581025 h 1314450"/>
                <a:gd name="connsiteX32" fmla="*/ 723900 w 1466850"/>
                <a:gd name="connsiteY32" fmla="*/ 576263 h 1314450"/>
                <a:gd name="connsiteX33" fmla="*/ 719137 w 1466850"/>
                <a:gd name="connsiteY33" fmla="*/ 538163 h 1314450"/>
                <a:gd name="connsiteX34" fmla="*/ 695325 w 1466850"/>
                <a:gd name="connsiteY34" fmla="*/ 538163 h 1314450"/>
                <a:gd name="connsiteX35" fmla="*/ 695325 w 1466850"/>
                <a:gd name="connsiteY35" fmla="*/ 500063 h 1314450"/>
                <a:gd name="connsiteX36" fmla="*/ 652462 w 1466850"/>
                <a:gd name="connsiteY36" fmla="*/ 500063 h 1314450"/>
                <a:gd name="connsiteX37" fmla="*/ 657225 w 1466850"/>
                <a:gd name="connsiteY37" fmla="*/ 438150 h 1314450"/>
                <a:gd name="connsiteX38" fmla="*/ 595312 w 1466850"/>
                <a:gd name="connsiteY38" fmla="*/ 438150 h 1314450"/>
                <a:gd name="connsiteX39" fmla="*/ 590550 w 1466850"/>
                <a:gd name="connsiteY39" fmla="*/ 342900 h 1314450"/>
                <a:gd name="connsiteX40" fmla="*/ 542925 w 1466850"/>
                <a:gd name="connsiteY40" fmla="*/ 342900 h 1314450"/>
                <a:gd name="connsiteX41" fmla="*/ 542925 w 1466850"/>
                <a:gd name="connsiteY41" fmla="*/ 276225 h 1314450"/>
                <a:gd name="connsiteX42" fmla="*/ 466725 w 1466850"/>
                <a:gd name="connsiteY42" fmla="*/ 285750 h 1314450"/>
                <a:gd name="connsiteX43" fmla="*/ 471487 w 1466850"/>
                <a:gd name="connsiteY43" fmla="*/ 238125 h 1314450"/>
                <a:gd name="connsiteX44" fmla="*/ 428625 w 1466850"/>
                <a:gd name="connsiteY44" fmla="*/ 238125 h 1314450"/>
                <a:gd name="connsiteX45" fmla="*/ 442912 w 1466850"/>
                <a:gd name="connsiteY45" fmla="*/ 161925 h 1314450"/>
                <a:gd name="connsiteX46" fmla="*/ 385762 w 1466850"/>
                <a:gd name="connsiteY46" fmla="*/ 161925 h 1314450"/>
                <a:gd name="connsiteX47" fmla="*/ 385762 w 1466850"/>
                <a:gd name="connsiteY47" fmla="*/ 104775 h 1314450"/>
                <a:gd name="connsiteX48" fmla="*/ 223837 w 1466850"/>
                <a:gd name="connsiteY48" fmla="*/ 114300 h 1314450"/>
                <a:gd name="connsiteX49" fmla="*/ 223837 w 1466850"/>
                <a:gd name="connsiteY49" fmla="*/ 71438 h 1314450"/>
                <a:gd name="connsiteX50" fmla="*/ 152400 w 1466850"/>
                <a:gd name="connsiteY50" fmla="*/ 71438 h 1314450"/>
                <a:gd name="connsiteX51" fmla="*/ 152400 w 1466850"/>
                <a:gd name="connsiteY51" fmla="*/ 38100 h 1314450"/>
                <a:gd name="connsiteX52" fmla="*/ 76200 w 1466850"/>
                <a:gd name="connsiteY52" fmla="*/ 33338 h 1314450"/>
                <a:gd name="connsiteX53" fmla="*/ 71437 w 1466850"/>
                <a:gd name="connsiteY53" fmla="*/ 0 h 1314450"/>
                <a:gd name="connsiteX54" fmla="*/ 0 w 1466850"/>
                <a:gd name="connsiteY54" fmla="*/ 4763 h 1314450"/>
                <a:gd name="connsiteX0" fmla="*/ 1466850 w 1466850"/>
                <a:gd name="connsiteY0" fmla="*/ 1314450 h 1314450"/>
                <a:gd name="connsiteX1" fmla="*/ 1462087 w 1466850"/>
                <a:gd name="connsiteY1" fmla="*/ 1262063 h 1314450"/>
                <a:gd name="connsiteX2" fmla="*/ 1423987 w 1466850"/>
                <a:gd name="connsiteY2" fmla="*/ 1262063 h 1314450"/>
                <a:gd name="connsiteX3" fmla="*/ 1423987 w 1466850"/>
                <a:gd name="connsiteY3" fmla="*/ 1228725 h 1314450"/>
                <a:gd name="connsiteX4" fmla="*/ 1366837 w 1466850"/>
                <a:gd name="connsiteY4" fmla="*/ 1228725 h 1314450"/>
                <a:gd name="connsiteX5" fmla="*/ 1366837 w 1466850"/>
                <a:gd name="connsiteY5" fmla="*/ 1190625 h 1314450"/>
                <a:gd name="connsiteX6" fmla="*/ 1338262 w 1466850"/>
                <a:gd name="connsiteY6" fmla="*/ 1190625 h 1314450"/>
                <a:gd name="connsiteX7" fmla="*/ 1338262 w 1466850"/>
                <a:gd name="connsiteY7" fmla="*/ 1143000 h 1314450"/>
                <a:gd name="connsiteX8" fmla="*/ 1338262 w 1466850"/>
                <a:gd name="connsiteY8" fmla="*/ 1143000 h 1314450"/>
                <a:gd name="connsiteX9" fmla="*/ 1304924 w 1466850"/>
                <a:gd name="connsiteY9" fmla="*/ 1138238 h 1314450"/>
                <a:gd name="connsiteX10" fmla="*/ 1300163 w 1466850"/>
                <a:gd name="connsiteY10" fmla="*/ 1100137 h 1314450"/>
                <a:gd name="connsiteX11" fmla="*/ 1290637 w 1466850"/>
                <a:gd name="connsiteY11" fmla="*/ 1066800 h 1314450"/>
                <a:gd name="connsiteX12" fmla="*/ 1238249 w 1466850"/>
                <a:gd name="connsiteY12" fmla="*/ 1062037 h 1314450"/>
                <a:gd name="connsiteX13" fmla="*/ 1233487 w 1466850"/>
                <a:gd name="connsiteY13" fmla="*/ 1014413 h 1314450"/>
                <a:gd name="connsiteX14" fmla="*/ 1214437 w 1466850"/>
                <a:gd name="connsiteY14" fmla="*/ 1014413 h 1314450"/>
                <a:gd name="connsiteX15" fmla="*/ 1209675 w 1466850"/>
                <a:gd name="connsiteY15" fmla="*/ 947738 h 1314450"/>
                <a:gd name="connsiteX16" fmla="*/ 1133475 w 1466850"/>
                <a:gd name="connsiteY16" fmla="*/ 952500 h 1314450"/>
                <a:gd name="connsiteX17" fmla="*/ 1133475 w 1466850"/>
                <a:gd name="connsiteY17" fmla="*/ 895350 h 1314450"/>
                <a:gd name="connsiteX18" fmla="*/ 1071562 w 1466850"/>
                <a:gd name="connsiteY18" fmla="*/ 900113 h 1314450"/>
                <a:gd name="connsiteX19" fmla="*/ 1071562 w 1466850"/>
                <a:gd name="connsiteY19" fmla="*/ 847725 h 1314450"/>
                <a:gd name="connsiteX20" fmla="*/ 1000125 w 1466850"/>
                <a:gd name="connsiteY20" fmla="*/ 857250 h 1314450"/>
                <a:gd name="connsiteX21" fmla="*/ 1004887 w 1466850"/>
                <a:gd name="connsiteY21" fmla="*/ 804863 h 1314450"/>
                <a:gd name="connsiteX22" fmla="*/ 966787 w 1466850"/>
                <a:gd name="connsiteY22" fmla="*/ 804863 h 1314450"/>
                <a:gd name="connsiteX23" fmla="*/ 966787 w 1466850"/>
                <a:gd name="connsiteY23" fmla="*/ 771525 h 1314450"/>
                <a:gd name="connsiteX24" fmla="*/ 904875 w 1466850"/>
                <a:gd name="connsiteY24" fmla="*/ 776288 h 1314450"/>
                <a:gd name="connsiteX25" fmla="*/ 904875 w 1466850"/>
                <a:gd name="connsiteY25" fmla="*/ 742950 h 1314450"/>
                <a:gd name="connsiteX26" fmla="*/ 862012 w 1466850"/>
                <a:gd name="connsiteY26" fmla="*/ 742950 h 1314450"/>
                <a:gd name="connsiteX27" fmla="*/ 866775 w 1466850"/>
                <a:gd name="connsiteY27" fmla="*/ 685800 h 1314450"/>
                <a:gd name="connsiteX28" fmla="*/ 814387 w 1466850"/>
                <a:gd name="connsiteY28" fmla="*/ 690563 h 1314450"/>
                <a:gd name="connsiteX29" fmla="*/ 814387 w 1466850"/>
                <a:gd name="connsiteY29" fmla="*/ 647700 h 1314450"/>
                <a:gd name="connsiteX30" fmla="*/ 776287 w 1466850"/>
                <a:gd name="connsiteY30" fmla="*/ 642937 h 1314450"/>
                <a:gd name="connsiteX31" fmla="*/ 781050 w 1466850"/>
                <a:gd name="connsiteY31" fmla="*/ 581025 h 1314450"/>
                <a:gd name="connsiteX32" fmla="*/ 723900 w 1466850"/>
                <a:gd name="connsiteY32" fmla="*/ 576263 h 1314450"/>
                <a:gd name="connsiteX33" fmla="*/ 719137 w 1466850"/>
                <a:gd name="connsiteY33" fmla="*/ 538163 h 1314450"/>
                <a:gd name="connsiteX34" fmla="*/ 695325 w 1466850"/>
                <a:gd name="connsiteY34" fmla="*/ 538163 h 1314450"/>
                <a:gd name="connsiteX35" fmla="*/ 695325 w 1466850"/>
                <a:gd name="connsiteY35" fmla="*/ 500063 h 1314450"/>
                <a:gd name="connsiteX36" fmla="*/ 652462 w 1466850"/>
                <a:gd name="connsiteY36" fmla="*/ 500063 h 1314450"/>
                <a:gd name="connsiteX37" fmla="*/ 657225 w 1466850"/>
                <a:gd name="connsiteY37" fmla="*/ 438150 h 1314450"/>
                <a:gd name="connsiteX38" fmla="*/ 595312 w 1466850"/>
                <a:gd name="connsiteY38" fmla="*/ 438150 h 1314450"/>
                <a:gd name="connsiteX39" fmla="*/ 590550 w 1466850"/>
                <a:gd name="connsiteY39" fmla="*/ 342900 h 1314450"/>
                <a:gd name="connsiteX40" fmla="*/ 542925 w 1466850"/>
                <a:gd name="connsiteY40" fmla="*/ 342900 h 1314450"/>
                <a:gd name="connsiteX41" fmla="*/ 542925 w 1466850"/>
                <a:gd name="connsiteY41" fmla="*/ 276225 h 1314450"/>
                <a:gd name="connsiteX42" fmla="*/ 466725 w 1466850"/>
                <a:gd name="connsiteY42" fmla="*/ 285750 h 1314450"/>
                <a:gd name="connsiteX43" fmla="*/ 471487 w 1466850"/>
                <a:gd name="connsiteY43" fmla="*/ 238125 h 1314450"/>
                <a:gd name="connsiteX44" fmla="*/ 428625 w 1466850"/>
                <a:gd name="connsiteY44" fmla="*/ 238125 h 1314450"/>
                <a:gd name="connsiteX45" fmla="*/ 428624 w 1466850"/>
                <a:gd name="connsiteY45" fmla="*/ 161925 h 1314450"/>
                <a:gd name="connsiteX46" fmla="*/ 385762 w 1466850"/>
                <a:gd name="connsiteY46" fmla="*/ 161925 h 1314450"/>
                <a:gd name="connsiteX47" fmla="*/ 385762 w 1466850"/>
                <a:gd name="connsiteY47" fmla="*/ 104775 h 1314450"/>
                <a:gd name="connsiteX48" fmla="*/ 223837 w 1466850"/>
                <a:gd name="connsiteY48" fmla="*/ 114300 h 1314450"/>
                <a:gd name="connsiteX49" fmla="*/ 223837 w 1466850"/>
                <a:gd name="connsiteY49" fmla="*/ 71438 h 1314450"/>
                <a:gd name="connsiteX50" fmla="*/ 152400 w 1466850"/>
                <a:gd name="connsiteY50" fmla="*/ 71438 h 1314450"/>
                <a:gd name="connsiteX51" fmla="*/ 152400 w 1466850"/>
                <a:gd name="connsiteY51" fmla="*/ 38100 h 1314450"/>
                <a:gd name="connsiteX52" fmla="*/ 76200 w 1466850"/>
                <a:gd name="connsiteY52" fmla="*/ 33338 h 1314450"/>
                <a:gd name="connsiteX53" fmla="*/ 71437 w 1466850"/>
                <a:gd name="connsiteY53" fmla="*/ 0 h 1314450"/>
                <a:gd name="connsiteX54" fmla="*/ 0 w 1466850"/>
                <a:gd name="connsiteY54" fmla="*/ 4763 h 1314450"/>
                <a:gd name="connsiteX0" fmla="*/ 1466850 w 1466850"/>
                <a:gd name="connsiteY0" fmla="*/ 1314450 h 1314450"/>
                <a:gd name="connsiteX1" fmla="*/ 1462087 w 1466850"/>
                <a:gd name="connsiteY1" fmla="*/ 1262063 h 1314450"/>
                <a:gd name="connsiteX2" fmla="*/ 1423987 w 1466850"/>
                <a:gd name="connsiteY2" fmla="*/ 1262063 h 1314450"/>
                <a:gd name="connsiteX3" fmla="*/ 1423987 w 1466850"/>
                <a:gd name="connsiteY3" fmla="*/ 1228725 h 1314450"/>
                <a:gd name="connsiteX4" fmla="*/ 1366837 w 1466850"/>
                <a:gd name="connsiteY4" fmla="*/ 1228725 h 1314450"/>
                <a:gd name="connsiteX5" fmla="*/ 1366837 w 1466850"/>
                <a:gd name="connsiteY5" fmla="*/ 1190625 h 1314450"/>
                <a:gd name="connsiteX6" fmla="*/ 1338262 w 1466850"/>
                <a:gd name="connsiteY6" fmla="*/ 1190625 h 1314450"/>
                <a:gd name="connsiteX7" fmla="*/ 1338262 w 1466850"/>
                <a:gd name="connsiteY7" fmla="*/ 1143000 h 1314450"/>
                <a:gd name="connsiteX8" fmla="*/ 1338262 w 1466850"/>
                <a:gd name="connsiteY8" fmla="*/ 1143000 h 1314450"/>
                <a:gd name="connsiteX9" fmla="*/ 1304924 w 1466850"/>
                <a:gd name="connsiteY9" fmla="*/ 1138238 h 1314450"/>
                <a:gd name="connsiteX10" fmla="*/ 1300163 w 1466850"/>
                <a:gd name="connsiteY10" fmla="*/ 1100137 h 1314450"/>
                <a:gd name="connsiteX11" fmla="*/ 1290637 w 1466850"/>
                <a:gd name="connsiteY11" fmla="*/ 1066800 h 1314450"/>
                <a:gd name="connsiteX12" fmla="*/ 1238249 w 1466850"/>
                <a:gd name="connsiteY12" fmla="*/ 1062037 h 1314450"/>
                <a:gd name="connsiteX13" fmla="*/ 1233487 w 1466850"/>
                <a:gd name="connsiteY13" fmla="*/ 1014413 h 1314450"/>
                <a:gd name="connsiteX14" fmla="*/ 1214437 w 1466850"/>
                <a:gd name="connsiteY14" fmla="*/ 1014413 h 1314450"/>
                <a:gd name="connsiteX15" fmla="*/ 1209675 w 1466850"/>
                <a:gd name="connsiteY15" fmla="*/ 947738 h 1314450"/>
                <a:gd name="connsiteX16" fmla="*/ 1133475 w 1466850"/>
                <a:gd name="connsiteY16" fmla="*/ 952500 h 1314450"/>
                <a:gd name="connsiteX17" fmla="*/ 1138213 w 1466850"/>
                <a:gd name="connsiteY17" fmla="*/ 904826 h 1314450"/>
                <a:gd name="connsiteX18" fmla="*/ 1071562 w 1466850"/>
                <a:gd name="connsiteY18" fmla="*/ 900113 h 1314450"/>
                <a:gd name="connsiteX19" fmla="*/ 1071562 w 1466850"/>
                <a:gd name="connsiteY19" fmla="*/ 847725 h 1314450"/>
                <a:gd name="connsiteX20" fmla="*/ 1000125 w 1466850"/>
                <a:gd name="connsiteY20" fmla="*/ 857250 h 1314450"/>
                <a:gd name="connsiteX21" fmla="*/ 1004887 w 1466850"/>
                <a:gd name="connsiteY21" fmla="*/ 804863 h 1314450"/>
                <a:gd name="connsiteX22" fmla="*/ 966787 w 1466850"/>
                <a:gd name="connsiteY22" fmla="*/ 804863 h 1314450"/>
                <a:gd name="connsiteX23" fmla="*/ 966787 w 1466850"/>
                <a:gd name="connsiteY23" fmla="*/ 771525 h 1314450"/>
                <a:gd name="connsiteX24" fmla="*/ 904875 w 1466850"/>
                <a:gd name="connsiteY24" fmla="*/ 776288 h 1314450"/>
                <a:gd name="connsiteX25" fmla="*/ 904875 w 1466850"/>
                <a:gd name="connsiteY25" fmla="*/ 742950 h 1314450"/>
                <a:gd name="connsiteX26" fmla="*/ 862012 w 1466850"/>
                <a:gd name="connsiteY26" fmla="*/ 742950 h 1314450"/>
                <a:gd name="connsiteX27" fmla="*/ 866775 w 1466850"/>
                <a:gd name="connsiteY27" fmla="*/ 685800 h 1314450"/>
                <a:gd name="connsiteX28" fmla="*/ 814387 w 1466850"/>
                <a:gd name="connsiteY28" fmla="*/ 690563 h 1314450"/>
                <a:gd name="connsiteX29" fmla="*/ 814387 w 1466850"/>
                <a:gd name="connsiteY29" fmla="*/ 647700 h 1314450"/>
                <a:gd name="connsiteX30" fmla="*/ 776287 w 1466850"/>
                <a:gd name="connsiteY30" fmla="*/ 642937 h 1314450"/>
                <a:gd name="connsiteX31" fmla="*/ 781050 w 1466850"/>
                <a:gd name="connsiteY31" fmla="*/ 581025 h 1314450"/>
                <a:gd name="connsiteX32" fmla="*/ 723900 w 1466850"/>
                <a:gd name="connsiteY32" fmla="*/ 576263 h 1314450"/>
                <a:gd name="connsiteX33" fmla="*/ 719137 w 1466850"/>
                <a:gd name="connsiteY33" fmla="*/ 538163 h 1314450"/>
                <a:gd name="connsiteX34" fmla="*/ 695325 w 1466850"/>
                <a:gd name="connsiteY34" fmla="*/ 538163 h 1314450"/>
                <a:gd name="connsiteX35" fmla="*/ 695325 w 1466850"/>
                <a:gd name="connsiteY35" fmla="*/ 500063 h 1314450"/>
                <a:gd name="connsiteX36" fmla="*/ 652462 w 1466850"/>
                <a:gd name="connsiteY36" fmla="*/ 500063 h 1314450"/>
                <a:gd name="connsiteX37" fmla="*/ 657225 w 1466850"/>
                <a:gd name="connsiteY37" fmla="*/ 438150 h 1314450"/>
                <a:gd name="connsiteX38" fmla="*/ 595312 w 1466850"/>
                <a:gd name="connsiteY38" fmla="*/ 438150 h 1314450"/>
                <a:gd name="connsiteX39" fmla="*/ 590550 w 1466850"/>
                <a:gd name="connsiteY39" fmla="*/ 342900 h 1314450"/>
                <a:gd name="connsiteX40" fmla="*/ 542925 w 1466850"/>
                <a:gd name="connsiteY40" fmla="*/ 342900 h 1314450"/>
                <a:gd name="connsiteX41" fmla="*/ 542925 w 1466850"/>
                <a:gd name="connsiteY41" fmla="*/ 276225 h 1314450"/>
                <a:gd name="connsiteX42" fmla="*/ 466725 w 1466850"/>
                <a:gd name="connsiteY42" fmla="*/ 285750 h 1314450"/>
                <a:gd name="connsiteX43" fmla="*/ 471487 w 1466850"/>
                <a:gd name="connsiteY43" fmla="*/ 238125 h 1314450"/>
                <a:gd name="connsiteX44" fmla="*/ 428625 w 1466850"/>
                <a:gd name="connsiteY44" fmla="*/ 238125 h 1314450"/>
                <a:gd name="connsiteX45" fmla="*/ 428624 w 1466850"/>
                <a:gd name="connsiteY45" fmla="*/ 161925 h 1314450"/>
                <a:gd name="connsiteX46" fmla="*/ 385762 w 1466850"/>
                <a:gd name="connsiteY46" fmla="*/ 161925 h 1314450"/>
                <a:gd name="connsiteX47" fmla="*/ 385762 w 1466850"/>
                <a:gd name="connsiteY47" fmla="*/ 104775 h 1314450"/>
                <a:gd name="connsiteX48" fmla="*/ 223837 w 1466850"/>
                <a:gd name="connsiteY48" fmla="*/ 114300 h 1314450"/>
                <a:gd name="connsiteX49" fmla="*/ 223837 w 1466850"/>
                <a:gd name="connsiteY49" fmla="*/ 71438 h 1314450"/>
                <a:gd name="connsiteX50" fmla="*/ 152400 w 1466850"/>
                <a:gd name="connsiteY50" fmla="*/ 71438 h 1314450"/>
                <a:gd name="connsiteX51" fmla="*/ 152400 w 1466850"/>
                <a:gd name="connsiteY51" fmla="*/ 38100 h 1314450"/>
                <a:gd name="connsiteX52" fmla="*/ 76200 w 1466850"/>
                <a:gd name="connsiteY52" fmla="*/ 33338 h 1314450"/>
                <a:gd name="connsiteX53" fmla="*/ 71437 w 1466850"/>
                <a:gd name="connsiteY53" fmla="*/ 0 h 1314450"/>
                <a:gd name="connsiteX54" fmla="*/ 0 w 1466850"/>
                <a:gd name="connsiteY54" fmla="*/ 4763 h 1314450"/>
                <a:gd name="connsiteX0" fmla="*/ 1466850 w 1466850"/>
                <a:gd name="connsiteY0" fmla="*/ 1314450 h 1314450"/>
                <a:gd name="connsiteX1" fmla="*/ 1462087 w 1466850"/>
                <a:gd name="connsiteY1" fmla="*/ 1262063 h 1314450"/>
                <a:gd name="connsiteX2" fmla="*/ 1423987 w 1466850"/>
                <a:gd name="connsiteY2" fmla="*/ 1262063 h 1314450"/>
                <a:gd name="connsiteX3" fmla="*/ 1423987 w 1466850"/>
                <a:gd name="connsiteY3" fmla="*/ 1228725 h 1314450"/>
                <a:gd name="connsiteX4" fmla="*/ 1366837 w 1466850"/>
                <a:gd name="connsiteY4" fmla="*/ 1228725 h 1314450"/>
                <a:gd name="connsiteX5" fmla="*/ 1366837 w 1466850"/>
                <a:gd name="connsiteY5" fmla="*/ 1190625 h 1314450"/>
                <a:gd name="connsiteX6" fmla="*/ 1338262 w 1466850"/>
                <a:gd name="connsiteY6" fmla="*/ 1190625 h 1314450"/>
                <a:gd name="connsiteX7" fmla="*/ 1338262 w 1466850"/>
                <a:gd name="connsiteY7" fmla="*/ 1143000 h 1314450"/>
                <a:gd name="connsiteX8" fmla="*/ 1338262 w 1466850"/>
                <a:gd name="connsiteY8" fmla="*/ 1143000 h 1314450"/>
                <a:gd name="connsiteX9" fmla="*/ 1304924 w 1466850"/>
                <a:gd name="connsiteY9" fmla="*/ 1138238 h 1314450"/>
                <a:gd name="connsiteX10" fmla="*/ 1300163 w 1466850"/>
                <a:gd name="connsiteY10" fmla="*/ 1100137 h 1314450"/>
                <a:gd name="connsiteX11" fmla="*/ 1290637 w 1466850"/>
                <a:gd name="connsiteY11" fmla="*/ 1066800 h 1314450"/>
                <a:gd name="connsiteX12" fmla="*/ 1238249 w 1466850"/>
                <a:gd name="connsiteY12" fmla="*/ 1062037 h 1314450"/>
                <a:gd name="connsiteX13" fmla="*/ 1233487 w 1466850"/>
                <a:gd name="connsiteY13" fmla="*/ 1014413 h 1314450"/>
                <a:gd name="connsiteX14" fmla="*/ 1214437 w 1466850"/>
                <a:gd name="connsiteY14" fmla="*/ 1014413 h 1314450"/>
                <a:gd name="connsiteX15" fmla="*/ 1209675 w 1466850"/>
                <a:gd name="connsiteY15" fmla="*/ 947738 h 1314450"/>
                <a:gd name="connsiteX16" fmla="*/ 1133475 w 1466850"/>
                <a:gd name="connsiteY16" fmla="*/ 952500 h 1314450"/>
                <a:gd name="connsiteX17" fmla="*/ 1138213 w 1466850"/>
                <a:gd name="connsiteY17" fmla="*/ 904826 h 1314450"/>
                <a:gd name="connsiteX18" fmla="*/ 1071562 w 1466850"/>
                <a:gd name="connsiteY18" fmla="*/ 900113 h 1314450"/>
                <a:gd name="connsiteX19" fmla="*/ 1071562 w 1466850"/>
                <a:gd name="connsiteY19" fmla="*/ 866676 h 1314450"/>
                <a:gd name="connsiteX20" fmla="*/ 1000125 w 1466850"/>
                <a:gd name="connsiteY20" fmla="*/ 857250 h 1314450"/>
                <a:gd name="connsiteX21" fmla="*/ 1004887 w 1466850"/>
                <a:gd name="connsiteY21" fmla="*/ 804863 h 1314450"/>
                <a:gd name="connsiteX22" fmla="*/ 966787 w 1466850"/>
                <a:gd name="connsiteY22" fmla="*/ 804863 h 1314450"/>
                <a:gd name="connsiteX23" fmla="*/ 966787 w 1466850"/>
                <a:gd name="connsiteY23" fmla="*/ 771525 h 1314450"/>
                <a:gd name="connsiteX24" fmla="*/ 904875 w 1466850"/>
                <a:gd name="connsiteY24" fmla="*/ 776288 h 1314450"/>
                <a:gd name="connsiteX25" fmla="*/ 904875 w 1466850"/>
                <a:gd name="connsiteY25" fmla="*/ 742950 h 1314450"/>
                <a:gd name="connsiteX26" fmla="*/ 862012 w 1466850"/>
                <a:gd name="connsiteY26" fmla="*/ 742950 h 1314450"/>
                <a:gd name="connsiteX27" fmla="*/ 866775 w 1466850"/>
                <a:gd name="connsiteY27" fmla="*/ 685800 h 1314450"/>
                <a:gd name="connsiteX28" fmla="*/ 814387 w 1466850"/>
                <a:gd name="connsiteY28" fmla="*/ 690563 h 1314450"/>
                <a:gd name="connsiteX29" fmla="*/ 814387 w 1466850"/>
                <a:gd name="connsiteY29" fmla="*/ 647700 h 1314450"/>
                <a:gd name="connsiteX30" fmla="*/ 776287 w 1466850"/>
                <a:gd name="connsiteY30" fmla="*/ 642937 h 1314450"/>
                <a:gd name="connsiteX31" fmla="*/ 781050 w 1466850"/>
                <a:gd name="connsiteY31" fmla="*/ 581025 h 1314450"/>
                <a:gd name="connsiteX32" fmla="*/ 723900 w 1466850"/>
                <a:gd name="connsiteY32" fmla="*/ 576263 h 1314450"/>
                <a:gd name="connsiteX33" fmla="*/ 719137 w 1466850"/>
                <a:gd name="connsiteY33" fmla="*/ 538163 h 1314450"/>
                <a:gd name="connsiteX34" fmla="*/ 695325 w 1466850"/>
                <a:gd name="connsiteY34" fmla="*/ 538163 h 1314450"/>
                <a:gd name="connsiteX35" fmla="*/ 695325 w 1466850"/>
                <a:gd name="connsiteY35" fmla="*/ 500063 h 1314450"/>
                <a:gd name="connsiteX36" fmla="*/ 652462 w 1466850"/>
                <a:gd name="connsiteY36" fmla="*/ 500063 h 1314450"/>
                <a:gd name="connsiteX37" fmla="*/ 657225 w 1466850"/>
                <a:gd name="connsiteY37" fmla="*/ 438150 h 1314450"/>
                <a:gd name="connsiteX38" fmla="*/ 595312 w 1466850"/>
                <a:gd name="connsiteY38" fmla="*/ 438150 h 1314450"/>
                <a:gd name="connsiteX39" fmla="*/ 590550 w 1466850"/>
                <a:gd name="connsiteY39" fmla="*/ 342900 h 1314450"/>
                <a:gd name="connsiteX40" fmla="*/ 542925 w 1466850"/>
                <a:gd name="connsiteY40" fmla="*/ 342900 h 1314450"/>
                <a:gd name="connsiteX41" fmla="*/ 542925 w 1466850"/>
                <a:gd name="connsiteY41" fmla="*/ 276225 h 1314450"/>
                <a:gd name="connsiteX42" fmla="*/ 466725 w 1466850"/>
                <a:gd name="connsiteY42" fmla="*/ 285750 h 1314450"/>
                <a:gd name="connsiteX43" fmla="*/ 471487 w 1466850"/>
                <a:gd name="connsiteY43" fmla="*/ 238125 h 1314450"/>
                <a:gd name="connsiteX44" fmla="*/ 428625 w 1466850"/>
                <a:gd name="connsiteY44" fmla="*/ 238125 h 1314450"/>
                <a:gd name="connsiteX45" fmla="*/ 428624 w 1466850"/>
                <a:gd name="connsiteY45" fmla="*/ 161925 h 1314450"/>
                <a:gd name="connsiteX46" fmla="*/ 385762 w 1466850"/>
                <a:gd name="connsiteY46" fmla="*/ 161925 h 1314450"/>
                <a:gd name="connsiteX47" fmla="*/ 385762 w 1466850"/>
                <a:gd name="connsiteY47" fmla="*/ 104775 h 1314450"/>
                <a:gd name="connsiteX48" fmla="*/ 223837 w 1466850"/>
                <a:gd name="connsiteY48" fmla="*/ 114300 h 1314450"/>
                <a:gd name="connsiteX49" fmla="*/ 223837 w 1466850"/>
                <a:gd name="connsiteY49" fmla="*/ 71438 h 1314450"/>
                <a:gd name="connsiteX50" fmla="*/ 152400 w 1466850"/>
                <a:gd name="connsiteY50" fmla="*/ 71438 h 1314450"/>
                <a:gd name="connsiteX51" fmla="*/ 152400 w 1466850"/>
                <a:gd name="connsiteY51" fmla="*/ 38100 h 1314450"/>
                <a:gd name="connsiteX52" fmla="*/ 76200 w 1466850"/>
                <a:gd name="connsiteY52" fmla="*/ 33338 h 1314450"/>
                <a:gd name="connsiteX53" fmla="*/ 71437 w 1466850"/>
                <a:gd name="connsiteY53" fmla="*/ 0 h 1314450"/>
                <a:gd name="connsiteX54" fmla="*/ 0 w 1466850"/>
                <a:gd name="connsiteY54" fmla="*/ 4763 h 1314450"/>
                <a:gd name="connsiteX0" fmla="*/ 1466850 w 1466850"/>
                <a:gd name="connsiteY0" fmla="*/ 1314450 h 1314450"/>
                <a:gd name="connsiteX1" fmla="*/ 1462087 w 1466850"/>
                <a:gd name="connsiteY1" fmla="*/ 1262063 h 1314450"/>
                <a:gd name="connsiteX2" fmla="*/ 1423987 w 1466850"/>
                <a:gd name="connsiteY2" fmla="*/ 1262063 h 1314450"/>
                <a:gd name="connsiteX3" fmla="*/ 1423987 w 1466850"/>
                <a:gd name="connsiteY3" fmla="*/ 1228725 h 1314450"/>
                <a:gd name="connsiteX4" fmla="*/ 1366837 w 1466850"/>
                <a:gd name="connsiteY4" fmla="*/ 1228725 h 1314450"/>
                <a:gd name="connsiteX5" fmla="*/ 1366837 w 1466850"/>
                <a:gd name="connsiteY5" fmla="*/ 1190625 h 1314450"/>
                <a:gd name="connsiteX6" fmla="*/ 1338262 w 1466850"/>
                <a:gd name="connsiteY6" fmla="*/ 1190625 h 1314450"/>
                <a:gd name="connsiteX7" fmla="*/ 1338262 w 1466850"/>
                <a:gd name="connsiteY7" fmla="*/ 1143000 h 1314450"/>
                <a:gd name="connsiteX8" fmla="*/ 1338262 w 1466850"/>
                <a:gd name="connsiteY8" fmla="*/ 1143000 h 1314450"/>
                <a:gd name="connsiteX9" fmla="*/ 1304924 w 1466850"/>
                <a:gd name="connsiteY9" fmla="*/ 1138238 h 1314450"/>
                <a:gd name="connsiteX10" fmla="*/ 1300163 w 1466850"/>
                <a:gd name="connsiteY10" fmla="*/ 1100137 h 1314450"/>
                <a:gd name="connsiteX11" fmla="*/ 1290637 w 1466850"/>
                <a:gd name="connsiteY11" fmla="*/ 1066800 h 1314450"/>
                <a:gd name="connsiteX12" fmla="*/ 1238249 w 1466850"/>
                <a:gd name="connsiteY12" fmla="*/ 1062037 h 1314450"/>
                <a:gd name="connsiteX13" fmla="*/ 1233487 w 1466850"/>
                <a:gd name="connsiteY13" fmla="*/ 1014413 h 1314450"/>
                <a:gd name="connsiteX14" fmla="*/ 1214437 w 1466850"/>
                <a:gd name="connsiteY14" fmla="*/ 1014413 h 1314450"/>
                <a:gd name="connsiteX15" fmla="*/ 1209675 w 1466850"/>
                <a:gd name="connsiteY15" fmla="*/ 947738 h 1314450"/>
                <a:gd name="connsiteX16" fmla="*/ 1133475 w 1466850"/>
                <a:gd name="connsiteY16" fmla="*/ 952500 h 1314450"/>
                <a:gd name="connsiteX17" fmla="*/ 1138213 w 1466850"/>
                <a:gd name="connsiteY17" fmla="*/ 904826 h 1314450"/>
                <a:gd name="connsiteX18" fmla="*/ 1071562 w 1466850"/>
                <a:gd name="connsiteY18" fmla="*/ 900113 h 1314450"/>
                <a:gd name="connsiteX19" fmla="*/ 1071562 w 1466850"/>
                <a:gd name="connsiteY19" fmla="*/ 866676 h 1314450"/>
                <a:gd name="connsiteX20" fmla="*/ 1000125 w 1466850"/>
                <a:gd name="connsiteY20" fmla="*/ 857250 h 1314450"/>
                <a:gd name="connsiteX21" fmla="*/ 1004887 w 1466850"/>
                <a:gd name="connsiteY21" fmla="*/ 804863 h 1314450"/>
                <a:gd name="connsiteX22" fmla="*/ 966787 w 1466850"/>
                <a:gd name="connsiteY22" fmla="*/ 804863 h 1314450"/>
                <a:gd name="connsiteX23" fmla="*/ 966787 w 1466850"/>
                <a:gd name="connsiteY23" fmla="*/ 771525 h 1314450"/>
                <a:gd name="connsiteX24" fmla="*/ 904875 w 1466850"/>
                <a:gd name="connsiteY24" fmla="*/ 776288 h 1314450"/>
                <a:gd name="connsiteX25" fmla="*/ 904875 w 1466850"/>
                <a:gd name="connsiteY25" fmla="*/ 742950 h 1314450"/>
                <a:gd name="connsiteX26" fmla="*/ 862012 w 1466850"/>
                <a:gd name="connsiteY26" fmla="*/ 742950 h 1314450"/>
                <a:gd name="connsiteX27" fmla="*/ 866775 w 1466850"/>
                <a:gd name="connsiteY27" fmla="*/ 685800 h 1314450"/>
                <a:gd name="connsiteX28" fmla="*/ 814387 w 1466850"/>
                <a:gd name="connsiteY28" fmla="*/ 690563 h 1314450"/>
                <a:gd name="connsiteX29" fmla="*/ 814387 w 1466850"/>
                <a:gd name="connsiteY29" fmla="*/ 647700 h 1314450"/>
                <a:gd name="connsiteX30" fmla="*/ 776287 w 1466850"/>
                <a:gd name="connsiteY30" fmla="*/ 642937 h 1314450"/>
                <a:gd name="connsiteX31" fmla="*/ 781050 w 1466850"/>
                <a:gd name="connsiteY31" fmla="*/ 581025 h 1314450"/>
                <a:gd name="connsiteX32" fmla="*/ 723900 w 1466850"/>
                <a:gd name="connsiteY32" fmla="*/ 576263 h 1314450"/>
                <a:gd name="connsiteX33" fmla="*/ 719137 w 1466850"/>
                <a:gd name="connsiteY33" fmla="*/ 538163 h 1314450"/>
                <a:gd name="connsiteX34" fmla="*/ 695325 w 1466850"/>
                <a:gd name="connsiteY34" fmla="*/ 538163 h 1314450"/>
                <a:gd name="connsiteX35" fmla="*/ 695325 w 1466850"/>
                <a:gd name="connsiteY35" fmla="*/ 500063 h 1314450"/>
                <a:gd name="connsiteX36" fmla="*/ 652462 w 1466850"/>
                <a:gd name="connsiteY36" fmla="*/ 500063 h 1314450"/>
                <a:gd name="connsiteX37" fmla="*/ 657225 w 1466850"/>
                <a:gd name="connsiteY37" fmla="*/ 438150 h 1314450"/>
                <a:gd name="connsiteX38" fmla="*/ 595312 w 1466850"/>
                <a:gd name="connsiteY38" fmla="*/ 438150 h 1314450"/>
                <a:gd name="connsiteX39" fmla="*/ 590550 w 1466850"/>
                <a:gd name="connsiteY39" fmla="*/ 342900 h 1314450"/>
                <a:gd name="connsiteX40" fmla="*/ 542925 w 1466850"/>
                <a:gd name="connsiteY40" fmla="*/ 342900 h 1314450"/>
                <a:gd name="connsiteX41" fmla="*/ 542925 w 1466850"/>
                <a:gd name="connsiteY41" fmla="*/ 276225 h 1314450"/>
                <a:gd name="connsiteX42" fmla="*/ 477205 w 1466850"/>
                <a:gd name="connsiteY42" fmla="*/ 288370 h 1314450"/>
                <a:gd name="connsiteX43" fmla="*/ 471487 w 1466850"/>
                <a:gd name="connsiteY43" fmla="*/ 238125 h 1314450"/>
                <a:gd name="connsiteX44" fmla="*/ 428625 w 1466850"/>
                <a:gd name="connsiteY44" fmla="*/ 238125 h 1314450"/>
                <a:gd name="connsiteX45" fmla="*/ 428624 w 1466850"/>
                <a:gd name="connsiteY45" fmla="*/ 161925 h 1314450"/>
                <a:gd name="connsiteX46" fmla="*/ 385762 w 1466850"/>
                <a:gd name="connsiteY46" fmla="*/ 161925 h 1314450"/>
                <a:gd name="connsiteX47" fmla="*/ 385762 w 1466850"/>
                <a:gd name="connsiteY47" fmla="*/ 104775 h 1314450"/>
                <a:gd name="connsiteX48" fmla="*/ 223837 w 1466850"/>
                <a:gd name="connsiteY48" fmla="*/ 114300 h 1314450"/>
                <a:gd name="connsiteX49" fmla="*/ 223837 w 1466850"/>
                <a:gd name="connsiteY49" fmla="*/ 71438 h 1314450"/>
                <a:gd name="connsiteX50" fmla="*/ 152400 w 1466850"/>
                <a:gd name="connsiteY50" fmla="*/ 71438 h 1314450"/>
                <a:gd name="connsiteX51" fmla="*/ 152400 w 1466850"/>
                <a:gd name="connsiteY51" fmla="*/ 38100 h 1314450"/>
                <a:gd name="connsiteX52" fmla="*/ 76200 w 1466850"/>
                <a:gd name="connsiteY52" fmla="*/ 33338 h 1314450"/>
                <a:gd name="connsiteX53" fmla="*/ 71437 w 1466850"/>
                <a:gd name="connsiteY53" fmla="*/ 0 h 1314450"/>
                <a:gd name="connsiteX54" fmla="*/ 0 w 1466850"/>
                <a:gd name="connsiteY54" fmla="*/ 4763 h 1314450"/>
                <a:gd name="connsiteX0" fmla="*/ 1466850 w 1466850"/>
                <a:gd name="connsiteY0" fmla="*/ 1314450 h 1314450"/>
                <a:gd name="connsiteX1" fmla="*/ 1462087 w 1466850"/>
                <a:gd name="connsiteY1" fmla="*/ 1262063 h 1314450"/>
                <a:gd name="connsiteX2" fmla="*/ 1423987 w 1466850"/>
                <a:gd name="connsiteY2" fmla="*/ 1262063 h 1314450"/>
                <a:gd name="connsiteX3" fmla="*/ 1423987 w 1466850"/>
                <a:gd name="connsiteY3" fmla="*/ 1228725 h 1314450"/>
                <a:gd name="connsiteX4" fmla="*/ 1366837 w 1466850"/>
                <a:gd name="connsiteY4" fmla="*/ 1228725 h 1314450"/>
                <a:gd name="connsiteX5" fmla="*/ 1366837 w 1466850"/>
                <a:gd name="connsiteY5" fmla="*/ 1190625 h 1314450"/>
                <a:gd name="connsiteX6" fmla="*/ 1338262 w 1466850"/>
                <a:gd name="connsiteY6" fmla="*/ 1190625 h 1314450"/>
                <a:gd name="connsiteX7" fmla="*/ 1338262 w 1466850"/>
                <a:gd name="connsiteY7" fmla="*/ 1143000 h 1314450"/>
                <a:gd name="connsiteX8" fmla="*/ 1338262 w 1466850"/>
                <a:gd name="connsiteY8" fmla="*/ 1143000 h 1314450"/>
                <a:gd name="connsiteX9" fmla="*/ 1304924 w 1466850"/>
                <a:gd name="connsiteY9" fmla="*/ 1138238 h 1314450"/>
                <a:gd name="connsiteX10" fmla="*/ 1300163 w 1466850"/>
                <a:gd name="connsiteY10" fmla="*/ 1100137 h 1314450"/>
                <a:gd name="connsiteX11" fmla="*/ 1290637 w 1466850"/>
                <a:gd name="connsiteY11" fmla="*/ 1066800 h 1314450"/>
                <a:gd name="connsiteX12" fmla="*/ 1238249 w 1466850"/>
                <a:gd name="connsiteY12" fmla="*/ 1062037 h 1314450"/>
                <a:gd name="connsiteX13" fmla="*/ 1233487 w 1466850"/>
                <a:gd name="connsiteY13" fmla="*/ 1014413 h 1314450"/>
                <a:gd name="connsiteX14" fmla="*/ 1214437 w 1466850"/>
                <a:gd name="connsiteY14" fmla="*/ 1014413 h 1314450"/>
                <a:gd name="connsiteX15" fmla="*/ 1209675 w 1466850"/>
                <a:gd name="connsiteY15" fmla="*/ 947738 h 1314450"/>
                <a:gd name="connsiteX16" fmla="*/ 1133475 w 1466850"/>
                <a:gd name="connsiteY16" fmla="*/ 952500 h 1314450"/>
                <a:gd name="connsiteX17" fmla="*/ 1138213 w 1466850"/>
                <a:gd name="connsiteY17" fmla="*/ 904826 h 1314450"/>
                <a:gd name="connsiteX18" fmla="*/ 1071562 w 1466850"/>
                <a:gd name="connsiteY18" fmla="*/ 900113 h 1314450"/>
                <a:gd name="connsiteX19" fmla="*/ 1071562 w 1466850"/>
                <a:gd name="connsiteY19" fmla="*/ 866676 h 1314450"/>
                <a:gd name="connsiteX20" fmla="*/ 1000125 w 1466850"/>
                <a:gd name="connsiteY20" fmla="*/ 857250 h 1314450"/>
                <a:gd name="connsiteX21" fmla="*/ 1004887 w 1466850"/>
                <a:gd name="connsiteY21" fmla="*/ 804863 h 1314450"/>
                <a:gd name="connsiteX22" fmla="*/ 966787 w 1466850"/>
                <a:gd name="connsiteY22" fmla="*/ 804863 h 1314450"/>
                <a:gd name="connsiteX23" fmla="*/ 966787 w 1466850"/>
                <a:gd name="connsiteY23" fmla="*/ 771525 h 1314450"/>
                <a:gd name="connsiteX24" fmla="*/ 904875 w 1466850"/>
                <a:gd name="connsiteY24" fmla="*/ 776288 h 1314450"/>
                <a:gd name="connsiteX25" fmla="*/ 904875 w 1466850"/>
                <a:gd name="connsiteY25" fmla="*/ 742950 h 1314450"/>
                <a:gd name="connsiteX26" fmla="*/ 862012 w 1466850"/>
                <a:gd name="connsiteY26" fmla="*/ 742950 h 1314450"/>
                <a:gd name="connsiteX27" fmla="*/ 866775 w 1466850"/>
                <a:gd name="connsiteY27" fmla="*/ 685800 h 1314450"/>
                <a:gd name="connsiteX28" fmla="*/ 814387 w 1466850"/>
                <a:gd name="connsiteY28" fmla="*/ 690563 h 1314450"/>
                <a:gd name="connsiteX29" fmla="*/ 814387 w 1466850"/>
                <a:gd name="connsiteY29" fmla="*/ 647700 h 1314450"/>
                <a:gd name="connsiteX30" fmla="*/ 776287 w 1466850"/>
                <a:gd name="connsiteY30" fmla="*/ 642937 h 1314450"/>
                <a:gd name="connsiteX31" fmla="*/ 781050 w 1466850"/>
                <a:gd name="connsiteY31" fmla="*/ 581025 h 1314450"/>
                <a:gd name="connsiteX32" fmla="*/ 723900 w 1466850"/>
                <a:gd name="connsiteY32" fmla="*/ 576263 h 1314450"/>
                <a:gd name="connsiteX33" fmla="*/ 719137 w 1466850"/>
                <a:gd name="connsiteY33" fmla="*/ 538163 h 1314450"/>
                <a:gd name="connsiteX34" fmla="*/ 695325 w 1466850"/>
                <a:gd name="connsiteY34" fmla="*/ 538163 h 1314450"/>
                <a:gd name="connsiteX35" fmla="*/ 695325 w 1466850"/>
                <a:gd name="connsiteY35" fmla="*/ 500063 h 1314450"/>
                <a:gd name="connsiteX36" fmla="*/ 652462 w 1466850"/>
                <a:gd name="connsiteY36" fmla="*/ 500063 h 1314450"/>
                <a:gd name="connsiteX37" fmla="*/ 657225 w 1466850"/>
                <a:gd name="connsiteY37" fmla="*/ 438150 h 1314450"/>
                <a:gd name="connsiteX38" fmla="*/ 595312 w 1466850"/>
                <a:gd name="connsiteY38" fmla="*/ 438150 h 1314450"/>
                <a:gd name="connsiteX39" fmla="*/ 590550 w 1466850"/>
                <a:gd name="connsiteY39" fmla="*/ 342900 h 1314450"/>
                <a:gd name="connsiteX40" fmla="*/ 542925 w 1466850"/>
                <a:gd name="connsiteY40" fmla="*/ 342900 h 1314450"/>
                <a:gd name="connsiteX41" fmla="*/ 545545 w 1466850"/>
                <a:gd name="connsiteY41" fmla="*/ 289325 h 1314450"/>
                <a:gd name="connsiteX42" fmla="*/ 477205 w 1466850"/>
                <a:gd name="connsiteY42" fmla="*/ 288370 h 1314450"/>
                <a:gd name="connsiteX43" fmla="*/ 471487 w 1466850"/>
                <a:gd name="connsiteY43" fmla="*/ 238125 h 1314450"/>
                <a:gd name="connsiteX44" fmla="*/ 428625 w 1466850"/>
                <a:gd name="connsiteY44" fmla="*/ 238125 h 1314450"/>
                <a:gd name="connsiteX45" fmla="*/ 428624 w 1466850"/>
                <a:gd name="connsiteY45" fmla="*/ 161925 h 1314450"/>
                <a:gd name="connsiteX46" fmla="*/ 385762 w 1466850"/>
                <a:gd name="connsiteY46" fmla="*/ 161925 h 1314450"/>
                <a:gd name="connsiteX47" fmla="*/ 385762 w 1466850"/>
                <a:gd name="connsiteY47" fmla="*/ 104775 h 1314450"/>
                <a:gd name="connsiteX48" fmla="*/ 223837 w 1466850"/>
                <a:gd name="connsiteY48" fmla="*/ 114300 h 1314450"/>
                <a:gd name="connsiteX49" fmla="*/ 223837 w 1466850"/>
                <a:gd name="connsiteY49" fmla="*/ 71438 h 1314450"/>
                <a:gd name="connsiteX50" fmla="*/ 152400 w 1466850"/>
                <a:gd name="connsiteY50" fmla="*/ 71438 h 1314450"/>
                <a:gd name="connsiteX51" fmla="*/ 152400 w 1466850"/>
                <a:gd name="connsiteY51" fmla="*/ 38100 h 1314450"/>
                <a:gd name="connsiteX52" fmla="*/ 76200 w 1466850"/>
                <a:gd name="connsiteY52" fmla="*/ 33338 h 1314450"/>
                <a:gd name="connsiteX53" fmla="*/ 71437 w 1466850"/>
                <a:gd name="connsiteY53" fmla="*/ 0 h 1314450"/>
                <a:gd name="connsiteX54" fmla="*/ 0 w 1466850"/>
                <a:gd name="connsiteY54" fmla="*/ 4763 h 1314450"/>
                <a:gd name="connsiteX0" fmla="*/ 1466850 w 1466850"/>
                <a:gd name="connsiteY0" fmla="*/ 1314450 h 1314450"/>
                <a:gd name="connsiteX1" fmla="*/ 1462087 w 1466850"/>
                <a:gd name="connsiteY1" fmla="*/ 1262063 h 1314450"/>
                <a:gd name="connsiteX2" fmla="*/ 1423987 w 1466850"/>
                <a:gd name="connsiteY2" fmla="*/ 1262063 h 1314450"/>
                <a:gd name="connsiteX3" fmla="*/ 1423987 w 1466850"/>
                <a:gd name="connsiteY3" fmla="*/ 1228725 h 1314450"/>
                <a:gd name="connsiteX4" fmla="*/ 1366837 w 1466850"/>
                <a:gd name="connsiteY4" fmla="*/ 1228725 h 1314450"/>
                <a:gd name="connsiteX5" fmla="*/ 1366837 w 1466850"/>
                <a:gd name="connsiteY5" fmla="*/ 1190625 h 1314450"/>
                <a:gd name="connsiteX6" fmla="*/ 1338262 w 1466850"/>
                <a:gd name="connsiteY6" fmla="*/ 1190625 h 1314450"/>
                <a:gd name="connsiteX7" fmla="*/ 1338262 w 1466850"/>
                <a:gd name="connsiteY7" fmla="*/ 1143000 h 1314450"/>
                <a:gd name="connsiteX8" fmla="*/ 1338262 w 1466850"/>
                <a:gd name="connsiteY8" fmla="*/ 1143000 h 1314450"/>
                <a:gd name="connsiteX9" fmla="*/ 1304924 w 1466850"/>
                <a:gd name="connsiteY9" fmla="*/ 1138238 h 1314450"/>
                <a:gd name="connsiteX10" fmla="*/ 1300163 w 1466850"/>
                <a:gd name="connsiteY10" fmla="*/ 1100137 h 1314450"/>
                <a:gd name="connsiteX11" fmla="*/ 1290637 w 1466850"/>
                <a:gd name="connsiteY11" fmla="*/ 1066800 h 1314450"/>
                <a:gd name="connsiteX12" fmla="*/ 1238249 w 1466850"/>
                <a:gd name="connsiteY12" fmla="*/ 1062037 h 1314450"/>
                <a:gd name="connsiteX13" fmla="*/ 1233487 w 1466850"/>
                <a:gd name="connsiteY13" fmla="*/ 1014413 h 1314450"/>
                <a:gd name="connsiteX14" fmla="*/ 1214437 w 1466850"/>
                <a:gd name="connsiteY14" fmla="*/ 1014413 h 1314450"/>
                <a:gd name="connsiteX15" fmla="*/ 1209675 w 1466850"/>
                <a:gd name="connsiteY15" fmla="*/ 947738 h 1314450"/>
                <a:gd name="connsiteX16" fmla="*/ 1133475 w 1466850"/>
                <a:gd name="connsiteY16" fmla="*/ 952500 h 1314450"/>
                <a:gd name="connsiteX17" fmla="*/ 1138213 w 1466850"/>
                <a:gd name="connsiteY17" fmla="*/ 904826 h 1314450"/>
                <a:gd name="connsiteX18" fmla="*/ 1071562 w 1466850"/>
                <a:gd name="connsiteY18" fmla="*/ 900113 h 1314450"/>
                <a:gd name="connsiteX19" fmla="*/ 1071562 w 1466850"/>
                <a:gd name="connsiteY19" fmla="*/ 866676 h 1314450"/>
                <a:gd name="connsiteX20" fmla="*/ 1000125 w 1466850"/>
                <a:gd name="connsiteY20" fmla="*/ 857250 h 1314450"/>
                <a:gd name="connsiteX21" fmla="*/ 1004887 w 1466850"/>
                <a:gd name="connsiteY21" fmla="*/ 804863 h 1314450"/>
                <a:gd name="connsiteX22" fmla="*/ 966787 w 1466850"/>
                <a:gd name="connsiteY22" fmla="*/ 804863 h 1314450"/>
                <a:gd name="connsiteX23" fmla="*/ 966787 w 1466850"/>
                <a:gd name="connsiteY23" fmla="*/ 771525 h 1314450"/>
                <a:gd name="connsiteX24" fmla="*/ 904875 w 1466850"/>
                <a:gd name="connsiteY24" fmla="*/ 776288 h 1314450"/>
                <a:gd name="connsiteX25" fmla="*/ 904875 w 1466850"/>
                <a:gd name="connsiteY25" fmla="*/ 742950 h 1314450"/>
                <a:gd name="connsiteX26" fmla="*/ 862012 w 1466850"/>
                <a:gd name="connsiteY26" fmla="*/ 742950 h 1314450"/>
                <a:gd name="connsiteX27" fmla="*/ 866775 w 1466850"/>
                <a:gd name="connsiteY27" fmla="*/ 685800 h 1314450"/>
                <a:gd name="connsiteX28" fmla="*/ 814387 w 1466850"/>
                <a:gd name="connsiteY28" fmla="*/ 690563 h 1314450"/>
                <a:gd name="connsiteX29" fmla="*/ 814387 w 1466850"/>
                <a:gd name="connsiteY29" fmla="*/ 647700 h 1314450"/>
                <a:gd name="connsiteX30" fmla="*/ 776287 w 1466850"/>
                <a:gd name="connsiteY30" fmla="*/ 642937 h 1314450"/>
                <a:gd name="connsiteX31" fmla="*/ 781050 w 1466850"/>
                <a:gd name="connsiteY31" fmla="*/ 581025 h 1314450"/>
                <a:gd name="connsiteX32" fmla="*/ 723900 w 1466850"/>
                <a:gd name="connsiteY32" fmla="*/ 576263 h 1314450"/>
                <a:gd name="connsiteX33" fmla="*/ 719137 w 1466850"/>
                <a:gd name="connsiteY33" fmla="*/ 538163 h 1314450"/>
                <a:gd name="connsiteX34" fmla="*/ 695325 w 1466850"/>
                <a:gd name="connsiteY34" fmla="*/ 538163 h 1314450"/>
                <a:gd name="connsiteX35" fmla="*/ 695325 w 1466850"/>
                <a:gd name="connsiteY35" fmla="*/ 500063 h 1314450"/>
                <a:gd name="connsiteX36" fmla="*/ 652462 w 1466850"/>
                <a:gd name="connsiteY36" fmla="*/ 500063 h 1314450"/>
                <a:gd name="connsiteX37" fmla="*/ 657225 w 1466850"/>
                <a:gd name="connsiteY37" fmla="*/ 438150 h 1314450"/>
                <a:gd name="connsiteX38" fmla="*/ 595312 w 1466850"/>
                <a:gd name="connsiteY38" fmla="*/ 438150 h 1314450"/>
                <a:gd name="connsiteX39" fmla="*/ 590550 w 1466850"/>
                <a:gd name="connsiteY39" fmla="*/ 342900 h 1314450"/>
                <a:gd name="connsiteX40" fmla="*/ 542925 w 1466850"/>
                <a:gd name="connsiteY40" fmla="*/ 342900 h 1314450"/>
                <a:gd name="connsiteX41" fmla="*/ 545545 w 1466850"/>
                <a:gd name="connsiteY41" fmla="*/ 289325 h 1314450"/>
                <a:gd name="connsiteX42" fmla="*/ 474585 w 1466850"/>
                <a:gd name="connsiteY42" fmla="*/ 288370 h 1314450"/>
                <a:gd name="connsiteX43" fmla="*/ 471487 w 1466850"/>
                <a:gd name="connsiteY43" fmla="*/ 238125 h 1314450"/>
                <a:gd name="connsiteX44" fmla="*/ 428625 w 1466850"/>
                <a:gd name="connsiteY44" fmla="*/ 238125 h 1314450"/>
                <a:gd name="connsiteX45" fmla="*/ 428624 w 1466850"/>
                <a:gd name="connsiteY45" fmla="*/ 161925 h 1314450"/>
                <a:gd name="connsiteX46" fmla="*/ 385762 w 1466850"/>
                <a:gd name="connsiteY46" fmla="*/ 161925 h 1314450"/>
                <a:gd name="connsiteX47" fmla="*/ 385762 w 1466850"/>
                <a:gd name="connsiteY47" fmla="*/ 104775 h 1314450"/>
                <a:gd name="connsiteX48" fmla="*/ 223837 w 1466850"/>
                <a:gd name="connsiteY48" fmla="*/ 114300 h 1314450"/>
                <a:gd name="connsiteX49" fmla="*/ 223837 w 1466850"/>
                <a:gd name="connsiteY49" fmla="*/ 71438 h 1314450"/>
                <a:gd name="connsiteX50" fmla="*/ 152400 w 1466850"/>
                <a:gd name="connsiteY50" fmla="*/ 71438 h 1314450"/>
                <a:gd name="connsiteX51" fmla="*/ 152400 w 1466850"/>
                <a:gd name="connsiteY51" fmla="*/ 38100 h 1314450"/>
                <a:gd name="connsiteX52" fmla="*/ 76200 w 1466850"/>
                <a:gd name="connsiteY52" fmla="*/ 33338 h 1314450"/>
                <a:gd name="connsiteX53" fmla="*/ 71437 w 1466850"/>
                <a:gd name="connsiteY53" fmla="*/ 0 h 1314450"/>
                <a:gd name="connsiteX54" fmla="*/ 0 w 1466850"/>
                <a:gd name="connsiteY54" fmla="*/ 4763 h 1314450"/>
                <a:gd name="connsiteX0" fmla="*/ 1466850 w 1466850"/>
                <a:gd name="connsiteY0" fmla="*/ 1314450 h 1314450"/>
                <a:gd name="connsiteX1" fmla="*/ 1462087 w 1466850"/>
                <a:gd name="connsiteY1" fmla="*/ 1262063 h 1314450"/>
                <a:gd name="connsiteX2" fmla="*/ 1423987 w 1466850"/>
                <a:gd name="connsiteY2" fmla="*/ 1262063 h 1314450"/>
                <a:gd name="connsiteX3" fmla="*/ 1423987 w 1466850"/>
                <a:gd name="connsiteY3" fmla="*/ 1228725 h 1314450"/>
                <a:gd name="connsiteX4" fmla="*/ 1366837 w 1466850"/>
                <a:gd name="connsiteY4" fmla="*/ 1228725 h 1314450"/>
                <a:gd name="connsiteX5" fmla="*/ 1366837 w 1466850"/>
                <a:gd name="connsiteY5" fmla="*/ 1190625 h 1314450"/>
                <a:gd name="connsiteX6" fmla="*/ 1338262 w 1466850"/>
                <a:gd name="connsiteY6" fmla="*/ 1190625 h 1314450"/>
                <a:gd name="connsiteX7" fmla="*/ 1338262 w 1466850"/>
                <a:gd name="connsiteY7" fmla="*/ 1143000 h 1314450"/>
                <a:gd name="connsiteX8" fmla="*/ 1338262 w 1466850"/>
                <a:gd name="connsiteY8" fmla="*/ 1143000 h 1314450"/>
                <a:gd name="connsiteX9" fmla="*/ 1304924 w 1466850"/>
                <a:gd name="connsiteY9" fmla="*/ 1138238 h 1314450"/>
                <a:gd name="connsiteX10" fmla="*/ 1300163 w 1466850"/>
                <a:gd name="connsiteY10" fmla="*/ 1100137 h 1314450"/>
                <a:gd name="connsiteX11" fmla="*/ 1290637 w 1466850"/>
                <a:gd name="connsiteY11" fmla="*/ 1066800 h 1314450"/>
                <a:gd name="connsiteX12" fmla="*/ 1238249 w 1466850"/>
                <a:gd name="connsiteY12" fmla="*/ 1062037 h 1314450"/>
                <a:gd name="connsiteX13" fmla="*/ 1233487 w 1466850"/>
                <a:gd name="connsiteY13" fmla="*/ 1014413 h 1314450"/>
                <a:gd name="connsiteX14" fmla="*/ 1214437 w 1466850"/>
                <a:gd name="connsiteY14" fmla="*/ 1014413 h 1314450"/>
                <a:gd name="connsiteX15" fmla="*/ 1209675 w 1466850"/>
                <a:gd name="connsiteY15" fmla="*/ 947738 h 1314450"/>
                <a:gd name="connsiteX16" fmla="*/ 1133475 w 1466850"/>
                <a:gd name="connsiteY16" fmla="*/ 952500 h 1314450"/>
                <a:gd name="connsiteX17" fmla="*/ 1138213 w 1466850"/>
                <a:gd name="connsiteY17" fmla="*/ 904826 h 1314450"/>
                <a:gd name="connsiteX18" fmla="*/ 1071562 w 1466850"/>
                <a:gd name="connsiteY18" fmla="*/ 900113 h 1314450"/>
                <a:gd name="connsiteX19" fmla="*/ 1071562 w 1466850"/>
                <a:gd name="connsiteY19" fmla="*/ 866676 h 1314450"/>
                <a:gd name="connsiteX20" fmla="*/ 1000125 w 1466850"/>
                <a:gd name="connsiteY20" fmla="*/ 857250 h 1314450"/>
                <a:gd name="connsiteX21" fmla="*/ 1004887 w 1466850"/>
                <a:gd name="connsiteY21" fmla="*/ 804863 h 1314450"/>
                <a:gd name="connsiteX22" fmla="*/ 966787 w 1466850"/>
                <a:gd name="connsiteY22" fmla="*/ 804863 h 1314450"/>
                <a:gd name="connsiteX23" fmla="*/ 966787 w 1466850"/>
                <a:gd name="connsiteY23" fmla="*/ 771525 h 1314450"/>
                <a:gd name="connsiteX24" fmla="*/ 904875 w 1466850"/>
                <a:gd name="connsiteY24" fmla="*/ 776288 h 1314450"/>
                <a:gd name="connsiteX25" fmla="*/ 904875 w 1466850"/>
                <a:gd name="connsiteY25" fmla="*/ 742950 h 1314450"/>
                <a:gd name="connsiteX26" fmla="*/ 862012 w 1466850"/>
                <a:gd name="connsiteY26" fmla="*/ 742950 h 1314450"/>
                <a:gd name="connsiteX27" fmla="*/ 866775 w 1466850"/>
                <a:gd name="connsiteY27" fmla="*/ 685800 h 1314450"/>
                <a:gd name="connsiteX28" fmla="*/ 814387 w 1466850"/>
                <a:gd name="connsiteY28" fmla="*/ 690563 h 1314450"/>
                <a:gd name="connsiteX29" fmla="*/ 814387 w 1466850"/>
                <a:gd name="connsiteY29" fmla="*/ 647700 h 1314450"/>
                <a:gd name="connsiteX30" fmla="*/ 776287 w 1466850"/>
                <a:gd name="connsiteY30" fmla="*/ 642937 h 1314450"/>
                <a:gd name="connsiteX31" fmla="*/ 781050 w 1466850"/>
                <a:gd name="connsiteY31" fmla="*/ 581025 h 1314450"/>
                <a:gd name="connsiteX32" fmla="*/ 723900 w 1466850"/>
                <a:gd name="connsiteY32" fmla="*/ 576263 h 1314450"/>
                <a:gd name="connsiteX33" fmla="*/ 719137 w 1466850"/>
                <a:gd name="connsiteY33" fmla="*/ 538163 h 1314450"/>
                <a:gd name="connsiteX34" fmla="*/ 695325 w 1466850"/>
                <a:gd name="connsiteY34" fmla="*/ 538163 h 1314450"/>
                <a:gd name="connsiteX35" fmla="*/ 695325 w 1466850"/>
                <a:gd name="connsiteY35" fmla="*/ 500063 h 1314450"/>
                <a:gd name="connsiteX36" fmla="*/ 662942 w 1466850"/>
                <a:gd name="connsiteY36" fmla="*/ 500063 h 1314450"/>
                <a:gd name="connsiteX37" fmla="*/ 657225 w 1466850"/>
                <a:gd name="connsiteY37" fmla="*/ 438150 h 1314450"/>
                <a:gd name="connsiteX38" fmla="*/ 595312 w 1466850"/>
                <a:gd name="connsiteY38" fmla="*/ 438150 h 1314450"/>
                <a:gd name="connsiteX39" fmla="*/ 590550 w 1466850"/>
                <a:gd name="connsiteY39" fmla="*/ 342900 h 1314450"/>
                <a:gd name="connsiteX40" fmla="*/ 542925 w 1466850"/>
                <a:gd name="connsiteY40" fmla="*/ 342900 h 1314450"/>
                <a:gd name="connsiteX41" fmla="*/ 545545 w 1466850"/>
                <a:gd name="connsiteY41" fmla="*/ 289325 h 1314450"/>
                <a:gd name="connsiteX42" fmla="*/ 474585 w 1466850"/>
                <a:gd name="connsiteY42" fmla="*/ 288370 h 1314450"/>
                <a:gd name="connsiteX43" fmla="*/ 471487 w 1466850"/>
                <a:gd name="connsiteY43" fmla="*/ 238125 h 1314450"/>
                <a:gd name="connsiteX44" fmla="*/ 428625 w 1466850"/>
                <a:gd name="connsiteY44" fmla="*/ 238125 h 1314450"/>
                <a:gd name="connsiteX45" fmla="*/ 428624 w 1466850"/>
                <a:gd name="connsiteY45" fmla="*/ 161925 h 1314450"/>
                <a:gd name="connsiteX46" fmla="*/ 385762 w 1466850"/>
                <a:gd name="connsiteY46" fmla="*/ 161925 h 1314450"/>
                <a:gd name="connsiteX47" fmla="*/ 385762 w 1466850"/>
                <a:gd name="connsiteY47" fmla="*/ 104775 h 1314450"/>
                <a:gd name="connsiteX48" fmla="*/ 223837 w 1466850"/>
                <a:gd name="connsiteY48" fmla="*/ 114300 h 1314450"/>
                <a:gd name="connsiteX49" fmla="*/ 223837 w 1466850"/>
                <a:gd name="connsiteY49" fmla="*/ 71438 h 1314450"/>
                <a:gd name="connsiteX50" fmla="*/ 152400 w 1466850"/>
                <a:gd name="connsiteY50" fmla="*/ 71438 h 1314450"/>
                <a:gd name="connsiteX51" fmla="*/ 152400 w 1466850"/>
                <a:gd name="connsiteY51" fmla="*/ 38100 h 1314450"/>
                <a:gd name="connsiteX52" fmla="*/ 76200 w 1466850"/>
                <a:gd name="connsiteY52" fmla="*/ 33338 h 1314450"/>
                <a:gd name="connsiteX53" fmla="*/ 71437 w 1466850"/>
                <a:gd name="connsiteY53" fmla="*/ 0 h 1314450"/>
                <a:gd name="connsiteX54" fmla="*/ 0 w 1466850"/>
                <a:gd name="connsiteY54" fmla="*/ 4763 h 1314450"/>
                <a:gd name="connsiteX0" fmla="*/ 1466850 w 1466850"/>
                <a:gd name="connsiteY0" fmla="*/ 1314450 h 1314450"/>
                <a:gd name="connsiteX1" fmla="*/ 1462087 w 1466850"/>
                <a:gd name="connsiteY1" fmla="*/ 1262063 h 1314450"/>
                <a:gd name="connsiteX2" fmla="*/ 1423987 w 1466850"/>
                <a:gd name="connsiteY2" fmla="*/ 1262063 h 1314450"/>
                <a:gd name="connsiteX3" fmla="*/ 1423987 w 1466850"/>
                <a:gd name="connsiteY3" fmla="*/ 1228725 h 1314450"/>
                <a:gd name="connsiteX4" fmla="*/ 1366837 w 1466850"/>
                <a:gd name="connsiteY4" fmla="*/ 1228725 h 1314450"/>
                <a:gd name="connsiteX5" fmla="*/ 1366837 w 1466850"/>
                <a:gd name="connsiteY5" fmla="*/ 1190625 h 1314450"/>
                <a:gd name="connsiteX6" fmla="*/ 1338262 w 1466850"/>
                <a:gd name="connsiteY6" fmla="*/ 1190625 h 1314450"/>
                <a:gd name="connsiteX7" fmla="*/ 1338262 w 1466850"/>
                <a:gd name="connsiteY7" fmla="*/ 1143000 h 1314450"/>
                <a:gd name="connsiteX8" fmla="*/ 1338262 w 1466850"/>
                <a:gd name="connsiteY8" fmla="*/ 1143000 h 1314450"/>
                <a:gd name="connsiteX9" fmla="*/ 1304924 w 1466850"/>
                <a:gd name="connsiteY9" fmla="*/ 1138238 h 1314450"/>
                <a:gd name="connsiteX10" fmla="*/ 1300163 w 1466850"/>
                <a:gd name="connsiteY10" fmla="*/ 1100137 h 1314450"/>
                <a:gd name="connsiteX11" fmla="*/ 1290637 w 1466850"/>
                <a:gd name="connsiteY11" fmla="*/ 1066800 h 1314450"/>
                <a:gd name="connsiteX12" fmla="*/ 1238249 w 1466850"/>
                <a:gd name="connsiteY12" fmla="*/ 1062037 h 1314450"/>
                <a:gd name="connsiteX13" fmla="*/ 1233487 w 1466850"/>
                <a:gd name="connsiteY13" fmla="*/ 1014413 h 1314450"/>
                <a:gd name="connsiteX14" fmla="*/ 1214437 w 1466850"/>
                <a:gd name="connsiteY14" fmla="*/ 1014413 h 1314450"/>
                <a:gd name="connsiteX15" fmla="*/ 1209675 w 1466850"/>
                <a:gd name="connsiteY15" fmla="*/ 947738 h 1314450"/>
                <a:gd name="connsiteX16" fmla="*/ 1133475 w 1466850"/>
                <a:gd name="connsiteY16" fmla="*/ 952500 h 1314450"/>
                <a:gd name="connsiteX17" fmla="*/ 1138213 w 1466850"/>
                <a:gd name="connsiteY17" fmla="*/ 904826 h 1314450"/>
                <a:gd name="connsiteX18" fmla="*/ 1071562 w 1466850"/>
                <a:gd name="connsiteY18" fmla="*/ 900113 h 1314450"/>
                <a:gd name="connsiteX19" fmla="*/ 1071562 w 1466850"/>
                <a:gd name="connsiteY19" fmla="*/ 866676 h 1314450"/>
                <a:gd name="connsiteX20" fmla="*/ 1000125 w 1466850"/>
                <a:gd name="connsiteY20" fmla="*/ 857250 h 1314450"/>
                <a:gd name="connsiteX21" fmla="*/ 1004887 w 1466850"/>
                <a:gd name="connsiteY21" fmla="*/ 804863 h 1314450"/>
                <a:gd name="connsiteX22" fmla="*/ 966787 w 1466850"/>
                <a:gd name="connsiteY22" fmla="*/ 804863 h 1314450"/>
                <a:gd name="connsiteX23" fmla="*/ 966787 w 1466850"/>
                <a:gd name="connsiteY23" fmla="*/ 771525 h 1314450"/>
                <a:gd name="connsiteX24" fmla="*/ 904875 w 1466850"/>
                <a:gd name="connsiteY24" fmla="*/ 776288 h 1314450"/>
                <a:gd name="connsiteX25" fmla="*/ 904875 w 1466850"/>
                <a:gd name="connsiteY25" fmla="*/ 742950 h 1314450"/>
                <a:gd name="connsiteX26" fmla="*/ 862012 w 1466850"/>
                <a:gd name="connsiteY26" fmla="*/ 742950 h 1314450"/>
                <a:gd name="connsiteX27" fmla="*/ 866775 w 1466850"/>
                <a:gd name="connsiteY27" fmla="*/ 685800 h 1314450"/>
                <a:gd name="connsiteX28" fmla="*/ 814387 w 1466850"/>
                <a:gd name="connsiteY28" fmla="*/ 690563 h 1314450"/>
                <a:gd name="connsiteX29" fmla="*/ 814387 w 1466850"/>
                <a:gd name="connsiteY29" fmla="*/ 647700 h 1314450"/>
                <a:gd name="connsiteX30" fmla="*/ 776287 w 1466850"/>
                <a:gd name="connsiteY30" fmla="*/ 642937 h 1314450"/>
                <a:gd name="connsiteX31" fmla="*/ 781050 w 1466850"/>
                <a:gd name="connsiteY31" fmla="*/ 581025 h 1314450"/>
                <a:gd name="connsiteX32" fmla="*/ 723900 w 1466850"/>
                <a:gd name="connsiteY32" fmla="*/ 576263 h 1314450"/>
                <a:gd name="connsiteX33" fmla="*/ 719137 w 1466850"/>
                <a:gd name="connsiteY33" fmla="*/ 538163 h 1314450"/>
                <a:gd name="connsiteX34" fmla="*/ 695325 w 1466850"/>
                <a:gd name="connsiteY34" fmla="*/ 538163 h 1314450"/>
                <a:gd name="connsiteX35" fmla="*/ 695325 w 1466850"/>
                <a:gd name="connsiteY35" fmla="*/ 500063 h 1314450"/>
                <a:gd name="connsiteX36" fmla="*/ 662942 w 1466850"/>
                <a:gd name="connsiteY36" fmla="*/ 500063 h 1314450"/>
                <a:gd name="connsiteX37" fmla="*/ 657225 w 1466850"/>
                <a:gd name="connsiteY37" fmla="*/ 438150 h 1314450"/>
                <a:gd name="connsiteX38" fmla="*/ 587451 w 1466850"/>
                <a:gd name="connsiteY38" fmla="*/ 438150 h 1314450"/>
                <a:gd name="connsiteX39" fmla="*/ 590550 w 1466850"/>
                <a:gd name="connsiteY39" fmla="*/ 342900 h 1314450"/>
                <a:gd name="connsiteX40" fmla="*/ 542925 w 1466850"/>
                <a:gd name="connsiteY40" fmla="*/ 342900 h 1314450"/>
                <a:gd name="connsiteX41" fmla="*/ 545545 w 1466850"/>
                <a:gd name="connsiteY41" fmla="*/ 289325 h 1314450"/>
                <a:gd name="connsiteX42" fmla="*/ 474585 w 1466850"/>
                <a:gd name="connsiteY42" fmla="*/ 288370 h 1314450"/>
                <a:gd name="connsiteX43" fmla="*/ 471487 w 1466850"/>
                <a:gd name="connsiteY43" fmla="*/ 238125 h 1314450"/>
                <a:gd name="connsiteX44" fmla="*/ 428625 w 1466850"/>
                <a:gd name="connsiteY44" fmla="*/ 238125 h 1314450"/>
                <a:gd name="connsiteX45" fmla="*/ 428624 w 1466850"/>
                <a:gd name="connsiteY45" fmla="*/ 161925 h 1314450"/>
                <a:gd name="connsiteX46" fmla="*/ 385762 w 1466850"/>
                <a:gd name="connsiteY46" fmla="*/ 161925 h 1314450"/>
                <a:gd name="connsiteX47" fmla="*/ 385762 w 1466850"/>
                <a:gd name="connsiteY47" fmla="*/ 104775 h 1314450"/>
                <a:gd name="connsiteX48" fmla="*/ 223837 w 1466850"/>
                <a:gd name="connsiteY48" fmla="*/ 114300 h 1314450"/>
                <a:gd name="connsiteX49" fmla="*/ 223837 w 1466850"/>
                <a:gd name="connsiteY49" fmla="*/ 71438 h 1314450"/>
                <a:gd name="connsiteX50" fmla="*/ 152400 w 1466850"/>
                <a:gd name="connsiteY50" fmla="*/ 71438 h 1314450"/>
                <a:gd name="connsiteX51" fmla="*/ 152400 w 1466850"/>
                <a:gd name="connsiteY51" fmla="*/ 38100 h 1314450"/>
                <a:gd name="connsiteX52" fmla="*/ 76200 w 1466850"/>
                <a:gd name="connsiteY52" fmla="*/ 33338 h 1314450"/>
                <a:gd name="connsiteX53" fmla="*/ 71437 w 1466850"/>
                <a:gd name="connsiteY53" fmla="*/ 0 h 1314450"/>
                <a:gd name="connsiteX54" fmla="*/ 0 w 1466850"/>
                <a:gd name="connsiteY54" fmla="*/ 4763 h 1314450"/>
                <a:gd name="connsiteX0" fmla="*/ 1466850 w 1466850"/>
                <a:gd name="connsiteY0" fmla="*/ 1314450 h 1314450"/>
                <a:gd name="connsiteX1" fmla="*/ 1462087 w 1466850"/>
                <a:gd name="connsiteY1" fmla="*/ 1262063 h 1314450"/>
                <a:gd name="connsiteX2" fmla="*/ 1423987 w 1466850"/>
                <a:gd name="connsiteY2" fmla="*/ 1262063 h 1314450"/>
                <a:gd name="connsiteX3" fmla="*/ 1423987 w 1466850"/>
                <a:gd name="connsiteY3" fmla="*/ 1228725 h 1314450"/>
                <a:gd name="connsiteX4" fmla="*/ 1366837 w 1466850"/>
                <a:gd name="connsiteY4" fmla="*/ 1228725 h 1314450"/>
                <a:gd name="connsiteX5" fmla="*/ 1366837 w 1466850"/>
                <a:gd name="connsiteY5" fmla="*/ 1190625 h 1314450"/>
                <a:gd name="connsiteX6" fmla="*/ 1338262 w 1466850"/>
                <a:gd name="connsiteY6" fmla="*/ 1190625 h 1314450"/>
                <a:gd name="connsiteX7" fmla="*/ 1338262 w 1466850"/>
                <a:gd name="connsiteY7" fmla="*/ 1143000 h 1314450"/>
                <a:gd name="connsiteX8" fmla="*/ 1338262 w 1466850"/>
                <a:gd name="connsiteY8" fmla="*/ 1143000 h 1314450"/>
                <a:gd name="connsiteX9" fmla="*/ 1304924 w 1466850"/>
                <a:gd name="connsiteY9" fmla="*/ 1138238 h 1314450"/>
                <a:gd name="connsiteX10" fmla="*/ 1300163 w 1466850"/>
                <a:gd name="connsiteY10" fmla="*/ 1100137 h 1314450"/>
                <a:gd name="connsiteX11" fmla="*/ 1290637 w 1466850"/>
                <a:gd name="connsiteY11" fmla="*/ 1066800 h 1314450"/>
                <a:gd name="connsiteX12" fmla="*/ 1238249 w 1466850"/>
                <a:gd name="connsiteY12" fmla="*/ 1062037 h 1314450"/>
                <a:gd name="connsiteX13" fmla="*/ 1233487 w 1466850"/>
                <a:gd name="connsiteY13" fmla="*/ 1014413 h 1314450"/>
                <a:gd name="connsiteX14" fmla="*/ 1214437 w 1466850"/>
                <a:gd name="connsiteY14" fmla="*/ 1014413 h 1314450"/>
                <a:gd name="connsiteX15" fmla="*/ 1209675 w 1466850"/>
                <a:gd name="connsiteY15" fmla="*/ 947738 h 1314450"/>
                <a:gd name="connsiteX16" fmla="*/ 1133475 w 1466850"/>
                <a:gd name="connsiteY16" fmla="*/ 952500 h 1314450"/>
                <a:gd name="connsiteX17" fmla="*/ 1138213 w 1466850"/>
                <a:gd name="connsiteY17" fmla="*/ 904826 h 1314450"/>
                <a:gd name="connsiteX18" fmla="*/ 1071562 w 1466850"/>
                <a:gd name="connsiteY18" fmla="*/ 900113 h 1314450"/>
                <a:gd name="connsiteX19" fmla="*/ 1071562 w 1466850"/>
                <a:gd name="connsiteY19" fmla="*/ 866676 h 1314450"/>
                <a:gd name="connsiteX20" fmla="*/ 1000125 w 1466850"/>
                <a:gd name="connsiteY20" fmla="*/ 857250 h 1314450"/>
                <a:gd name="connsiteX21" fmla="*/ 1004887 w 1466850"/>
                <a:gd name="connsiteY21" fmla="*/ 804863 h 1314450"/>
                <a:gd name="connsiteX22" fmla="*/ 966787 w 1466850"/>
                <a:gd name="connsiteY22" fmla="*/ 804863 h 1314450"/>
                <a:gd name="connsiteX23" fmla="*/ 966787 w 1466850"/>
                <a:gd name="connsiteY23" fmla="*/ 771525 h 1314450"/>
                <a:gd name="connsiteX24" fmla="*/ 904875 w 1466850"/>
                <a:gd name="connsiteY24" fmla="*/ 776288 h 1314450"/>
                <a:gd name="connsiteX25" fmla="*/ 904875 w 1466850"/>
                <a:gd name="connsiteY25" fmla="*/ 742950 h 1314450"/>
                <a:gd name="connsiteX26" fmla="*/ 862012 w 1466850"/>
                <a:gd name="connsiteY26" fmla="*/ 742950 h 1314450"/>
                <a:gd name="connsiteX27" fmla="*/ 866775 w 1466850"/>
                <a:gd name="connsiteY27" fmla="*/ 685800 h 1314450"/>
                <a:gd name="connsiteX28" fmla="*/ 814387 w 1466850"/>
                <a:gd name="connsiteY28" fmla="*/ 690563 h 1314450"/>
                <a:gd name="connsiteX29" fmla="*/ 814387 w 1466850"/>
                <a:gd name="connsiteY29" fmla="*/ 647700 h 1314450"/>
                <a:gd name="connsiteX30" fmla="*/ 776287 w 1466850"/>
                <a:gd name="connsiteY30" fmla="*/ 642937 h 1314450"/>
                <a:gd name="connsiteX31" fmla="*/ 781050 w 1466850"/>
                <a:gd name="connsiteY31" fmla="*/ 581025 h 1314450"/>
                <a:gd name="connsiteX32" fmla="*/ 726520 w 1466850"/>
                <a:gd name="connsiteY32" fmla="*/ 589363 h 1314450"/>
                <a:gd name="connsiteX33" fmla="*/ 719137 w 1466850"/>
                <a:gd name="connsiteY33" fmla="*/ 538163 h 1314450"/>
                <a:gd name="connsiteX34" fmla="*/ 695325 w 1466850"/>
                <a:gd name="connsiteY34" fmla="*/ 538163 h 1314450"/>
                <a:gd name="connsiteX35" fmla="*/ 695325 w 1466850"/>
                <a:gd name="connsiteY35" fmla="*/ 500063 h 1314450"/>
                <a:gd name="connsiteX36" fmla="*/ 662942 w 1466850"/>
                <a:gd name="connsiteY36" fmla="*/ 500063 h 1314450"/>
                <a:gd name="connsiteX37" fmla="*/ 657225 w 1466850"/>
                <a:gd name="connsiteY37" fmla="*/ 438150 h 1314450"/>
                <a:gd name="connsiteX38" fmla="*/ 587451 w 1466850"/>
                <a:gd name="connsiteY38" fmla="*/ 438150 h 1314450"/>
                <a:gd name="connsiteX39" fmla="*/ 590550 w 1466850"/>
                <a:gd name="connsiteY39" fmla="*/ 342900 h 1314450"/>
                <a:gd name="connsiteX40" fmla="*/ 542925 w 1466850"/>
                <a:gd name="connsiteY40" fmla="*/ 342900 h 1314450"/>
                <a:gd name="connsiteX41" fmla="*/ 545545 w 1466850"/>
                <a:gd name="connsiteY41" fmla="*/ 289325 h 1314450"/>
                <a:gd name="connsiteX42" fmla="*/ 474585 w 1466850"/>
                <a:gd name="connsiteY42" fmla="*/ 288370 h 1314450"/>
                <a:gd name="connsiteX43" fmla="*/ 471487 w 1466850"/>
                <a:gd name="connsiteY43" fmla="*/ 238125 h 1314450"/>
                <a:gd name="connsiteX44" fmla="*/ 428625 w 1466850"/>
                <a:gd name="connsiteY44" fmla="*/ 238125 h 1314450"/>
                <a:gd name="connsiteX45" fmla="*/ 428624 w 1466850"/>
                <a:gd name="connsiteY45" fmla="*/ 161925 h 1314450"/>
                <a:gd name="connsiteX46" fmla="*/ 385762 w 1466850"/>
                <a:gd name="connsiteY46" fmla="*/ 161925 h 1314450"/>
                <a:gd name="connsiteX47" fmla="*/ 385762 w 1466850"/>
                <a:gd name="connsiteY47" fmla="*/ 104775 h 1314450"/>
                <a:gd name="connsiteX48" fmla="*/ 223837 w 1466850"/>
                <a:gd name="connsiteY48" fmla="*/ 114300 h 1314450"/>
                <a:gd name="connsiteX49" fmla="*/ 223837 w 1466850"/>
                <a:gd name="connsiteY49" fmla="*/ 71438 h 1314450"/>
                <a:gd name="connsiteX50" fmla="*/ 152400 w 1466850"/>
                <a:gd name="connsiteY50" fmla="*/ 71438 h 1314450"/>
                <a:gd name="connsiteX51" fmla="*/ 152400 w 1466850"/>
                <a:gd name="connsiteY51" fmla="*/ 38100 h 1314450"/>
                <a:gd name="connsiteX52" fmla="*/ 76200 w 1466850"/>
                <a:gd name="connsiteY52" fmla="*/ 33338 h 1314450"/>
                <a:gd name="connsiteX53" fmla="*/ 71437 w 1466850"/>
                <a:gd name="connsiteY53" fmla="*/ 0 h 1314450"/>
                <a:gd name="connsiteX54" fmla="*/ 0 w 1466850"/>
                <a:gd name="connsiteY54" fmla="*/ 4763 h 1314450"/>
                <a:gd name="connsiteX0" fmla="*/ 1466850 w 1466850"/>
                <a:gd name="connsiteY0" fmla="*/ 1314450 h 1314450"/>
                <a:gd name="connsiteX1" fmla="*/ 1462087 w 1466850"/>
                <a:gd name="connsiteY1" fmla="*/ 1262063 h 1314450"/>
                <a:gd name="connsiteX2" fmla="*/ 1423987 w 1466850"/>
                <a:gd name="connsiteY2" fmla="*/ 1262063 h 1314450"/>
                <a:gd name="connsiteX3" fmla="*/ 1423987 w 1466850"/>
                <a:gd name="connsiteY3" fmla="*/ 1228725 h 1314450"/>
                <a:gd name="connsiteX4" fmla="*/ 1366837 w 1466850"/>
                <a:gd name="connsiteY4" fmla="*/ 1228725 h 1314450"/>
                <a:gd name="connsiteX5" fmla="*/ 1366837 w 1466850"/>
                <a:gd name="connsiteY5" fmla="*/ 1190625 h 1314450"/>
                <a:gd name="connsiteX6" fmla="*/ 1338262 w 1466850"/>
                <a:gd name="connsiteY6" fmla="*/ 1190625 h 1314450"/>
                <a:gd name="connsiteX7" fmla="*/ 1338262 w 1466850"/>
                <a:gd name="connsiteY7" fmla="*/ 1143000 h 1314450"/>
                <a:gd name="connsiteX8" fmla="*/ 1338262 w 1466850"/>
                <a:gd name="connsiteY8" fmla="*/ 1143000 h 1314450"/>
                <a:gd name="connsiteX9" fmla="*/ 1304924 w 1466850"/>
                <a:gd name="connsiteY9" fmla="*/ 1138238 h 1314450"/>
                <a:gd name="connsiteX10" fmla="*/ 1300163 w 1466850"/>
                <a:gd name="connsiteY10" fmla="*/ 1100137 h 1314450"/>
                <a:gd name="connsiteX11" fmla="*/ 1290637 w 1466850"/>
                <a:gd name="connsiteY11" fmla="*/ 1066800 h 1314450"/>
                <a:gd name="connsiteX12" fmla="*/ 1238249 w 1466850"/>
                <a:gd name="connsiteY12" fmla="*/ 1062037 h 1314450"/>
                <a:gd name="connsiteX13" fmla="*/ 1233487 w 1466850"/>
                <a:gd name="connsiteY13" fmla="*/ 1014413 h 1314450"/>
                <a:gd name="connsiteX14" fmla="*/ 1214437 w 1466850"/>
                <a:gd name="connsiteY14" fmla="*/ 1014413 h 1314450"/>
                <a:gd name="connsiteX15" fmla="*/ 1209675 w 1466850"/>
                <a:gd name="connsiteY15" fmla="*/ 947738 h 1314450"/>
                <a:gd name="connsiteX16" fmla="*/ 1133475 w 1466850"/>
                <a:gd name="connsiteY16" fmla="*/ 952500 h 1314450"/>
                <a:gd name="connsiteX17" fmla="*/ 1138213 w 1466850"/>
                <a:gd name="connsiteY17" fmla="*/ 904826 h 1314450"/>
                <a:gd name="connsiteX18" fmla="*/ 1071562 w 1466850"/>
                <a:gd name="connsiteY18" fmla="*/ 900113 h 1314450"/>
                <a:gd name="connsiteX19" fmla="*/ 1071562 w 1466850"/>
                <a:gd name="connsiteY19" fmla="*/ 866676 h 1314450"/>
                <a:gd name="connsiteX20" fmla="*/ 1000125 w 1466850"/>
                <a:gd name="connsiteY20" fmla="*/ 857250 h 1314450"/>
                <a:gd name="connsiteX21" fmla="*/ 1004887 w 1466850"/>
                <a:gd name="connsiteY21" fmla="*/ 804863 h 1314450"/>
                <a:gd name="connsiteX22" fmla="*/ 966787 w 1466850"/>
                <a:gd name="connsiteY22" fmla="*/ 804863 h 1314450"/>
                <a:gd name="connsiteX23" fmla="*/ 966787 w 1466850"/>
                <a:gd name="connsiteY23" fmla="*/ 771525 h 1314450"/>
                <a:gd name="connsiteX24" fmla="*/ 904875 w 1466850"/>
                <a:gd name="connsiteY24" fmla="*/ 776288 h 1314450"/>
                <a:gd name="connsiteX25" fmla="*/ 904875 w 1466850"/>
                <a:gd name="connsiteY25" fmla="*/ 742950 h 1314450"/>
                <a:gd name="connsiteX26" fmla="*/ 862012 w 1466850"/>
                <a:gd name="connsiteY26" fmla="*/ 742950 h 1314450"/>
                <a:gd name="connsiteX27" fmla="*/ 866775 w 1466850"/>
                <a:gd name="connsiteY27" fmla="*/ 685800 h 1314450"/>
                <a:gd name="connsiteX28" fmla="*/ 814387 w 1466850"/>
                <a:gd name="connsiteY28" fmla="*/ 690563 h 1314450"/>
                <a:gd name="connsiteX29" fmla="*/ 814387 w 1466850"/>
                <a:gd name="connsiteY29" fmla="*/ 647700 h 1314450"/>
                <a:gd name="connsiteX30" fmla="*/ 776287 w 1466850"/>
                <a:gd name="connsiteY30" fmla="*/ 642937 h 1314450"/>
                <a:gd name="connsiteX31" fmla="*/ 778430 w 1466850"/>
                <a:gd name="connsiteY31" fmla="*/ 586265 h 1314450"/>
                <a:gd name="connsiteX32" fmla="*/ 726520 w 1466850"/>
                <a:gd name="connsiteY32" fmla="*/ 589363 h 1314450"/>
                <a:gd name="connsiteX33" fmla="*/ 719137 w 1466850"/>
                <a:gd name="connsiteY33" fmla="*/ 538163 h 1314450"/>
                <a:gd name="connsiteX34" fmla="*/ 695325 w 1466850"/>
                <a:gd name="connsiteY34" fmla="*/ 538163 h 1314450"/>
                <a:gd name="connsiteX35" fmla="*/ 695325 w 1466850"/>
                <a:gd name="connsiteY35" fmla="*/ 500063 h 1314450"/>
                <a:gd name="connsiteX36" fmla="*/ 662942 w 1466850"/>
                <a:gd name="connsiteY36" fmla="*/ 500063 h 1314450"/>
                <a:gd name="connsiteX37" fmla="*/ 657225 w 1466850"/>
                <a:gd name="connsiteY37" fmla="*/ 438150 h 1314450"/>
                <a:gd name="connsiteX38" fmla="*/ 587451 w 1466850"/>
                <a:gd name="connsiteY38" fmla="*/ 438150 h 1314450"/>
                <a:gd name="connsiteX39" fmla="*/ 590550 w 1466850"/>
                <a:gd name="connsiteY39" fmla="*/ 342900 h 1314450"/>
                <a:gd name="connsiteX40" fmla="*/ 542925 w 1466850"/>
                <a:gd name="connsiteY40" fmla="*/ 342900 h 1314450"/>
                <a:gd name="connsiteX41" fmla="*/ 545545 w 1466850"/>
                <a:gd name="connsiteY41" fmla="*/ 289325 h 1314450"/>
                <a:gd name="connsiteX42" fmla="*/ 474585 w 1466850"/>
                <a:gd name="connsiteY42" fmla="*/ 288370 h 1314450"/>
                <a:gd name="connsiteX43" fmla="*/ 471487 w 1466850"/>
                <a:gd name="connsiteY43" fmla="*/ 238125 h 1314450"/>
                <a:gd name="connsiteX44" fmla="*/ 428625 w 1466850"/>
                <a:gd name="connsiteY44" fmla="*/ 238125 h 1314450"/>
                <a:gd name="connsiteX45" fmla="*/ 428624 w 1466850"/>
                <a:gd name="connsiteY45" fmla="*/ 161925 h 1314450"/>
                <a:gd name="connsiteX46" fmla="*/ 385762 w 1466850"/>
                <a:gd name="connsiteY46" fmla="*/ 161925 h 1314450"/>
                <a:gd name="connsiteX47" fmla="*/ 385762 w 1466850"/>
                <a:gd name="connsiteY47" fmla="*/ 104775 h 1314450"/>
                <a:gd name="connsiteX48" fmla="*/ 223837 w 1466850"/>
                <a:gd name="connsiteY48" fmla="*/ 114300 h 1314450"/>
                <a:gd name="connsiteX49" fmla="*/ 223837 w 1466850"/>
                <a:gd name="connsiteY49" fmla="*/ 71438 h 1314450"/>
                <a:gd name="connsiteX50" fmla="*/ 152400 w 1466850"/>
                <a:gd name="connsiteY50" fmla="*/ 71438 h 1314450"/>
                <a:gd name="connsiteX51" fmla="*/ 152400 w 1466850"/>
                <a:gd name="connsiteY51" fmla="*/ 38100 h 1314450"/>
                <a:gd name="connsiteX52" fmla="*/ 76200 w 1466850"/>
                <a:gd name="connsiteY52" fmla="*/ 33338 h 1314450"/>
                <a:gd name="connsiteX53" fmla="*/ 71437 w 1466850"/>
                <a:gd name="connsiteY53" fmla="*/ 0 h 1314450"/>
                <a:gd name="connsiteX54" fmla="*/ 0 w 1466850"/>
                <a:gd name="connsiteY54" fmla="*/ 4763 h 1314450"/>
                <a:gd name="connsiteX0" fmla="*/ 1466850 w 1466850"/>
                <a:gd name="connsiteY0" fmla="*/ 1314450 h 1314450"/>
                <a:gd name="connsiteX1" fmla="*/ 1462087 w 1466850"/>
                <a:gd name="connsiteY1" fmla="*/ 1262063 h 1314450"/>
                <a:gd name="connsiteX2" fmla="*/ 1423987 w 1466850"/>
                <a:gd name="connsiteY2" fmla="*/ 1262063 h 1314450"/>
                <a:gd name="connsiteX3" fmla="*/ 1423987 w 1466850"/>
                <a:gd name="connsiteY3" fmla="*/ 1228725 h 1314450"/>
                <a:gd name="connsiteX4" fmla="*/ 1366837 w 1466850"/>
                <a:gd name="connsiteY4" fmla="*/ 1228725 h 1314450"/>
                <a:gd name="connsiteX5" fmla="*/ 1366837 w 1466850"/>
                <a:gd name="connsiteY5" fmla="*/ 1190625 h 1314450"/>
                <a:gd name="connsiteX6" fmla="*/ 1338262 w 1466850"/>
                <a:gd name="connsiteY6" fmla="*/ 1190625 h 1314450"/>
                <a:gd name="connsiteX7" fmla="*/ 1338262 w 1466850"/>
                <a:gd name="connsiteY7" fmla="*/ 1143000 h 1314450"/>
                <a:gd name="connsiteX8" fmla="*/ 1338262 w 1466850"/>
                <a:gd name="connsiteY8" fmla="*/ 1143000 h 1314450"/>
                <a:gd name="connsiteX9" fmla="*/ 1304924 w 1466850"/>
                <a:gd name="connsiteY9" fmla="*/ 1138238 h 1314450"/>
                <a:gd name="connsiteX10" fmla="*/ 1300163 w 1466850"/>
                <a:gd name="connsiteY10" fmla="*/ 1100137 h 1314450"/>
                <a:gd name="connsiteX11" fmla="*/ 1290637 w 1466850"/>
                <a:gd name="connsiteY11" fmla="*/ 1066800 h 1314450"/>
                <a:gd name="connsiteX12" fmla="*/ 1238249 w 1466850"/>
                <a:gd name="connsiteY12" fmla="*/ 1062037 h 1314450"/>
                <a:gd name="connsiteX13" fmla="*/ 1233487 w 1466850"/>
                <a:gd name="connsiteY13" fmla="*/ 1014413 h 1314450"/>
                <a:gd name="connsiteX14" fmla="*/ 1214437 w 1466850"/>
                <a:gd name="connsiteY14" fmla="*/ 1014413 h 1314450"/>
                <a:gd name="connsiteX15" fmla="*/ 1209675 w 1466850"/>
                <a:gd name="connsiteY15" fmla="*/ 947738 h 1314450"/>
                <a:gd name="connsiteX16" fmla="*/ 1133475 w 1466850"/>
                <a:gd name="connsiteY16" fmla="*/ 952500 h 1314450"/>
                <a:gd name="connsiteX17" fmla="*/ 1138213 w 1466850"/>
                <a:gd name="connsiteY17" fmla="*/ 904826 h 1314450"/>
                <a:gd name="connsiteX18" fmla="*/ 1071562 w 1466850"/>
                <a:gd name="connsiteY18" fmla="*/ 900113 h 1314450"/>
                <a:gd name="connsiteX19" fmla="*/ 1071562 w 1466850"/>
                <a:gd name="connsiteY19" fmla="*/ 866676 h 1314450"/>
                <a:gd name="connsiteX20" fmla="*/ 1000125 w 1466850"/>
                <a:gd name="connsiteY20" fmla="*/ 857250 h 1314450"/>
                <a:gd name="connsiteX21" fmla="*/ 1004887 w 1466850"/>
                <a:gd name="connsiteY21" fmla="*/ 804863 h 1314450"/>
                <a:gd name="connsiteX22" fmla="*/ 966787 w 1466850"/>
                <a:gd name="connsiteY22" fmla="*/ 804863 h 1314450"/>
                <a:gd name="connsiteX23" fmla="*/ 966787 w 1466850"/>
                <a:gd name="connsiteY23" fmla="*/ 771525 h 1314450"/>
                <a:gd name="connsiteX24" fmla="*/ 904875 w 1466850"/>
                <a:gd name="connsiteY24" fmla="*/ 776288 h 1314450"/>
                <a:gd name="connsiteX25" fmla="*/ 904875 w 1466850"/>
                <a:gd name="connsiteY25" fmla="*/ 742950 h 1314450"/>
                <a:gd name="connsiteX26" fmla="*/ 862012 w 1466850"/>
                <a:gd name="connsiteY26" fmla="*/ 742950 h 1314450"/>
                <a:gd name="connsiteX27" fmla="*/ 866775 w 1466850"/>
                <a:gd name="connsiteY27" fmla="*/ 685800 h 1314450"/>
                <a:gd name="connsiteX28" fmla="*/ 814387 w 1466850"/>
                <a:gd name="connsiteY28" fmla="*/ 690563 h 1314450"/>
                <a:gd name="connsiteX29" fmla="*/ 814387 w 1466850"/>
                <a:gd name="connsiteY29" fmla="*/ 647700 h 1314450"/>
                <a:gd name="connsiteX30" fmla="*/ 776287 w 1466850"/>
                <a:gd name="connsiteY30" fmla="*/ 642937 h 1314450"/>
                <a:gd name="connsiteX31" fmla="*/ 775809 w 1466850"/>
                <a:gd name="connsiteY31" fmla="*/ 586265 h 1314450"/>
                <a:gd name="connsiteX32" fmla="*/ 726520 w 1466850"/>
                <a:gd name="connsiteY32" fmla="*/ 589363 h 1314450"/>
                <a:gd name="connsiteX33" fmla="*/ 719137 w 1466850"/>
                <a:gd name="connsiteY33" fmla="*/ 538163 h 1314450"/>
                <a:gd name="connsiteX34" fmla="*/ 695325 w 1466850"/>
                <a:gd name="connsiteY34" fmla="*/ 538163 h 1314450"/>
                <a:gd name="connsiteX35" fmla="*/ 695325 w 1466850"/>
                <a:gd name="connsiteY35" fmla="*/ 500063 h 1314450"/>
                <a:gd name="connsiteX36" fmla="*/ 662942 w 1466850"/>
                <a:gd name="connsiteY36" fmla="*/ 500063 h 1314450"/>
                <a:gd name="connsiteX37" fmla="*/ 657225 w 1466850"/>
                <a:gd name="connsiteY37" fmla="*/ 438150 h 1314450"/>
                <a:gd name="connsiteX38" fmla="*/ 587451 w 1466850"/>
                <a:gd name="connsiteY38" fmla="*/ 438150 h 1314450"/>
                <a:gd name="connsiteX39" fmla="*/ 590550 w 1466850"/>
                <a:gd name="connsiteY39" fmla="*/ 342900 h 1314450"/>
                <a:gd name="connsiteX40" fmla="*/ 542925 w 1466850"/>
                <a:gd name="connsiteY40" fmla="*/ 342900 h 1314450"/>
                <a:gd name="connsiteX41" fmla="*/ 545545 w 1466850"/>
                <a:gd name="connsiteY41" fmla="*/ 289325 h 1314450"/>
                <a:gd name="connsiteX42" fmla="*/ 474585 w 1466850"/>
                <a:gd name="connsiteY42" fmla="*/ 288370 h 1314450"/>
                <a:gd name="connsiteX43" fmla="*/ 471487 w 1466850"/>
                <a:gd name="connsiteY43" fmla="*/ 238125 h 1314450"/>
                <a:gd name="connsiteX44" fmla="*/ 428625 w 1466850"/>
                <a:gd name="connsiteY44" fmla="*/ 238125 h 1314450"/>
                <a:gd name="connsiteX45" fmla="*/ 428624 w 1466850"/>
                <a:gd name="connsiteY45" fmla="*/ 161925 h 1314450"/>
                <a:gd name="connsiteX46" fmla="*/ 385762 w 1466850"/>
                <a:gd name="connsiteY46" fmla="*/ 161925 h 1314450"/>
                <a:gd name="connsiteX47" fmla="*/ 385762 w 1466850"/>
                <a:gd name="connsiteY47" fmla="*/ 104775 h 1314450"/>
                <a:gd name="connsiteX48" fmla="*/ 223837 w 1466850"/>
                <a:gd name="connsiteY48" fmla="*/ 114300 h 1314450"/>
                <a:gd name="connsiteX49" fmla="*/ 223837 w 1466850"/>
                <a:gd name="connsiteY49" fmla="*/ 71438 h 1314450"/>
                <a:gd name="connsiteX50" fmla="*/ 152400 w 1466850"/>
                <a:gd name="connsiteY50" fmla="*/ 71438 h 1314450"/>
                <a:gd name="connsiteX51" fmla="*/ 152400 w 1466850"/>
                <a:gd name="connsiteY51" fmla="*/ 38100 h 1314450"/>
                <a:gd name="connsiteX52" fmla="*/ 76200 w 1466850"/>
                <a:gd name="connsiteY52" fmla="*/ 33338 h 1314450"/>
                <a:gd name="connsiteX53" fmla="*/ 71437 w 1466850"/>
                <a:gd name="connsiteY53" fmla="*/ 0 h 1314450"/>
                <a:gd name="connsiteX54" fmla="*/ 0 w 1466850"/>
                <a:gd name="connsiteY54" fmla="*/ 4763 h 1314450"/>
                <a:gd name="connsiteX0" fmla="*/ 1466850 w 1466850"/>
                <a:gd name="connsiteY0" fmla="*/ 1314450 h 1314450"/>
                <a:gd name="connsiteX1" fmla="*/ 1462087 w 1466850"/>
                <a:gd name="connsiteY1" fmla="*/ 1262063 h 1314450"/>
                <a:gd name="connsiteX2" fmla="*/ 1423987 w 1466850"/>
                <a:gd name="connsiteY2" fmla="*/ 1262063 h 1314450"/>
                <a:gd name="connsiteX3" fmla="*/ 1423987 w 1466850"/>
                <a:gd name="connsiteY3" fmla="*/ 1228725 h 1314450"/>
                <a:gd name="connsiteX4" fmla="*/ 1366837 w 1466850"/>
                <a:gd name="connsiteY4" fmla="*/ 1228725 h 1314450"/>
                <a:gd name="connsiteX5" fmla="*/ 1366837 w 1466850"/>
                <a:gd name="connsiteY5" fmla="*/ 1190625 h 1314450"/>
                <a:gd name="connsiteX6" fmla="*/ 1338262 w 1466850"/>
                <a:gd name="connsiteY6" fmla="*/ 1190625 h 1314450"/>
                <a:gd name="connsiteX7" fmla="*/ 1338262 w 1466850"/>
                <a:gd name="connsiteY7" fmla="*/ 1143000 h 1314450"/>
                <a:gd name="connsiteX8" fmla="*/ 1338262 w 1466850"/>
                <a:gd name="connsiteY8" fmla="*/ 1143000 h 1314450"/>
                <a:gd name="connsiteX9" fmla="*/ 1304924 w 1466850"/>
                <a:gd name="connsiteY9" fmla="*/ 1138238 h 1314450"/>
                <a:gd name="connsiteX10" fmla="*/ 1300163 w 1466850"/>
                <a:gd name="connsiteY10" fmla="*/ 1100137 h 1314450"/>
                <a:gd name="connsiteX11" fmla="*/ 1290637 w 1466850"/>
                <a:gd name="connsiteY11" fmla="*/ 1066800 h 1314450"/>
                <a:gd name="connsiteX12" fmla="*/ 1238249 w 1466850"/>
                <a:gd name="connsiteY12" fmla="*/ 1062037 h 1314450"/>
                <a:gd name="connsiteX13" fmla="*/ 1233487 w 1466850"/>
                <a:gd name="connsiteY13" fmla="*/ 1014413 h 1314450"/>
                <a:gd name="connsiteX14" fmla="*/ 1214437 w 1466850"/>
                <a:gd name="connsiteY14" fmla="*/ 1014413 h 1314450"/>
                <a:gd name="connsiteX15" fmla="*/ 1209675 w 1466850"/>
                <a:gd name="connsiteY15" fmla="*/ 947738 h 1314450"/>
                <a:gd name="connsiteX16" fmla="*/ 1133475 w 1466850"/>
                <a:gd name="connsiteY16" fmla="*/ 952500 h 1314450"/>
                <a:gd name="connsiteX17" fmla="*/ 1138213 w 1466850"/>
                <a:gd name="connsiteY17" fmla="*/ 904826 h 1314450"/>
                <a:gd name="connsiteX18" fmla="*/ 1071562 w 1466850"/>
                <a:gd name="connsiteY18" fmla="*/ 900113 h 1314450"/>
                <a:gd name="connsiteX19" fmla="*/ 1071562 w 1466850"/>
                <a:gd name="connsiteY19" fmla="*/ 866676 h 1314450"/>
                <a:gd name="connsiteX20" fmla="*/ 1000125 w 1466850"/>
                <a:gd name="connsiteY20" fmla="*/ 857250 h 1314450"/>
                <a:gd name="connsiteX21" fmla="*/ 1004887 w 1466850"/>
                <a:gd name="connsiteY21" fmla="*/ 804863 h 1314450"/>
                <a:gd name="connsiteX22" fmla="*/ 966787 w 1466850"/>
                <a:gd name="connsiteY22" fmla="*/ 804863 h 1314450"/>
                <a:gd name="connsiteX23" fmla="*/ 966787 w 1466850"/>
                <a:gd name="connsiteY23" fmla="*/ 771525 h 1314450"/>
                <a:gd name="connsiteX24" fmla="*/ 904875 w 1466850"/>
                <a:gd name="connsiteY24" fmla="*/ 776288 h 1314450"/>
                <a:gd name="connsiteX25" fmla="*/ 904875 w 1466850"/>
                <a:gd name="connsiteY25" fmla="*/ 742950 h 1314450"/>
                <a:gd name="connsiteX26" fmla="*/ 862012 w 1466850"/>
                <a:gd name="connsiteY26" fmla="*/ 742950 h 1314450"/>
                <a:gd name="connsiteX27" fmla="*/ 861535 w 1466850"/>
                <a:gd name="connsiteY27" fmla="*/ 693660 h 1314450"/>
                <a:gd name="connsiteX28" fmla="*/ 814387 w 1466850"/>
                <a:gd name="connsiteY28" fmla="*/ 690563 h 1314450"/>
                <a:gd name="connsiteX29" fmla="*/ 814387 w 1466850"/>
                <a:gd name="connsiteY29" fmla="*/ 647700 h 1314450"/>
                <a:gd name="connsiteX30" fmla="*/ 776287 w 1466850"/>
                <a:gd name="connsiteY30" fmla="*/ 642937 h 1314450"/>
                <a:gd name="connsiteX31" fmla="*/ 775809 w 1466850"/>
                <a:gd name="connsiteY31" fmla="*/ 586265 h 1314450"/>
                <a:gd name="connsiteX32" fmla="*/ 726520 w 1466850"/>
                <a:gd name="connsiteY32" fmla="*/ 589363 h 1314450"/>
                <a:gd name="connsiteX33" fmla="*/ 719137 w 1466850"/>
                <a:gd name="connsiteY33" fmla="*/ 538163 h 1314450"/>
                <a:gd name="connsiteX34" fmla="*/ 695325 w 1466850"/>
                <a:gd name="connsiteY34" fmla="*/ 538163 h 1314450"/>
                <a:gd name="connsiteX35" fmla="*/ 695325 w 1466850"/>
                <a:gd name="connsiteY35" fmla="*/ 500063 h 1314450"/>
                <a:gd name="connsiteX36" fmla="*/ 662942 w 1466850"/>
                <a:gd name="connsiteY36" fmla="*/ 500063 h 1314450"/>
                <a:gd name="connsiteX37" fmla="*/ 657225 w 1466850"/>
                <a:gd name="connsiteY37" fmla="*/ 438150 h 1314450"/>
                <a:gd name="connsiteX38" fmla="*/ 587451 w 1466850"/>
                <a:gd name="connsiteY38" fmla="*/ 438150 h 1314450"/>
                <a:gd name="connsiteX39" fmla="*/ 590550 w 1466850"/>
                <a:gd name="connsiteY39" fmla="*/ 342900 h 1314450"/>
                <a:gd name="connsiteX40" fmla="*/ 542925 w 1466850"/>
                <a:gd name="connsiteY40" fmla="*/ 342900 h 1314450"/>
                <a:gd name="connsiteX41" fmla="*/ 545545 w 1466850"/>
                <a:gd name="connsiteY41" fmla="*/ 289325 h 1314450"/>
                <a:gd name="connsiteX42" fmla="*/ 474585 w 1466850"/>
                <a:gd name="connsiteY42" fmla="*/ 288370 h 1314450"/>
                <a:gd name="connsiteX43" fmla="*/ 471487 w 1466850"/>
                <a:gd name="connsiteY43" fmla="*/ 238125 h 1314450"/>
                <a:gd name="connsiteX44" fmla="*/ 428625 w 1466850"/>
                <a:gd name="connsiteY44" fmla="*/ 238125 h 1314450"/>
                <a:gd name="connsiteX45" fmla="*/ 428624 w 1466850"/>
                <a:gd name="connsiteY45" fmla="*/ 161925 h 1314450"/>
                <a:gd name="connsiteX46" fmla="*/ 385762 w 1466850"/>
                <a:gd name="connsiteY46" fmla="*/ 161925 h 1314450"/>
                <a:gd name="connsiteX47" fmla="*/ 385762 w 1466850"/>
                <a:gd name="connsiteY47" fmla="*/ 104775 h 1314450"/>
                <a:gd name="connsiteX48" fmla="*/ 223837 w 1466850"/>
                <a:gd name="connsiteY48" fmla="*/ 114300 h 1314450"/>
                <a:gd name="connsiteX49" fmla="*/ 223837 w 1466850"/>
                <a:gd name="connsiteY49" fmla="*/ 71438 h 1314450"/>
                <a:gd name="connsiteX50" fmla="*/ 152400 w 1466850"/>
                <a:gd name="connsiteY50" fmla="*/ 71438 h 1314450"/>
                <a:gd name="connsiteX51" fmla="*/ 152400 w 1466850"/>
                <a:gd name="connsiteY51" fmla="*/ 38100 h 1314450"/>
                <a:gd name="connsiteX52" fmla="*/ 76200 w 1466850"/>
                <a:gd name="connsiteY52" fmla="*/ 33338 h 1314450"/>
                <a:gd name="connsiteX53" fmla="*/ 71437 w 1466850"/>
                <a:gd name="connsiteY53" fmla="*/ 0 h 1314450"/>
                <a:gd name="connsiteX54" fmla="*/ 0 w 1466850"/>
                <a:gd name="connsiteY54" fmla="*/ 4763 h 1314450"/>
                <a:gd name="connsiteX0" fmla="*/ 1466850 w 1466850"/>
                <a:gd name="connsiteY0" fmla="*/ 1314450 h 1314450"/>
                <a:gd name="connsiteX1" fmla="*/ 1462087 w 1466850"/>
                <a:gd name="connsiteY1" fmla="*/ 1262063 h 1314450"/>
                <a:gd name="connsiteX2" fmla="*/ 1423987 w 1466850"/>
                <a:gd name="connsiteY2" fmla="*/ 1262063 h 1314450"/>
                <a:gd name="connsiteX3" fmla="*/ 1423987 w 1466850"/>
                <a:gd name="connsiteY3" fmla="*/ 1228725 h 1314450"/>
                <a:gd name="connsiteX4" fmla="*/ 1366837 w 1466850"/>
                <a:gd name="connsiteY4" fmla="*/ 1228725 h 1314450"/>
                <a:gd name="connsiteX5" fmla="*/ 1366837 w 1466850"/>
                <a:gd name="connsiteY5" fmla="*/ 1190625 h 1314450"/>
                <a:gd name="connsiteX6" fmla="*/ 1338262 w 1466850"/>
                <a:gd name="connsiteY6" fmla="*/ 1190625 h 1314450"/>
                <a:gd name="connsiteX7" fmla="*/ 1338262 w 1466850"/>
                <a:gd name="connsiteY7" fmla="*/ 1143000 h 1314450"/>
                <a:gd name="connsiteX8" fmla="*/ 1338262 w 1466850"/>
                <a:gd name="connsiteY8" fmla="*/ 1143000 h 1314450"/>
                <a:gd name="connsiteX9" fmla="*/ 1304924 w 1466850"/>
                <a:gd name="connsiteY9" fmla="*/ 1138238 h 1314450"/>
                <a:gd name="connsiteX10" fmla="*/ 1300163 w 1466850"/>
                <a:gd name="connsiteY10" fmla="*/ 1100137 h 1314450"/>
                <a:gd name="connsiteX11" fmla="*/ 1290637 w 1466850"/>
                <a:gd name="connsiteY11" fmla="*/ 1066800 h 1314450"/>
                <a:gd name="connsiteX12" fmla="*/ 1238249 w 1466850"/>
                <a:gd name="connsiteY12" fmla="*/ 1062037 h 1314450"/>
                <a:gd name="connsiteX13" fmla="*/ 1233487 w 1466850"/>
                <a:gd name="connsiteY13" fmla="*/ 1014413 h 1314450"/>
                <a:gd name="connsiteX14" fmla="*/ 1214437 w 1466850"/>
                <a:gd name="connsiteY14" fmla="*/ 1014413 h 1314450"/>
                <a:gd name="connsiteX15" fmla="*/ 1209675 w 1466850"/>
                <a:gd name="connsiteY15" fmla="*/ 947738 h 1314450"/>
                <a:gd name="connsiteX16" fmla="*/ 1133475 w 1466850"/>
                <a:gd name="connsiteY16" fmla="*/ 952500 h 1314450"/>
                <a:gd name="connsiteX17" fmla="*/ 1138213 w 1466850"/>
                <a:gd name="connsiteY17" fmla="*/ 904826 h 1314450"/>
                <a:gd name="connsiteX18" fmla="*/ 1071562 w 1466850"/>
                <a:gd name="connsiteY18" fmla="*/ 900113 h 1314450"/>
                <a:gd name="connsiteX19" fmla="*/ 1071562 w 1466850"/>
                <a:gd name="connsiteY19" fmla="*/ 866676 h 1314450"/>
                <a:gd name="connsiteX20" fmla="*/ 1000125 w 1466850"/>
                <a:gd name="connsiteY20" fmla="*/ 857250 h 1314450"/>
                <a:gd name="connsiteX21" fmla="*/ 1004887 w 1466850"/>
                <a:gd name="connsiteY21" fmla="*/ 804863 h 1314450"/>
                <a:gd name="connsiteX22" fmla="*/ 966787 w 1466850"/>
                <a:gd name="connsiteY22" fmla="*/ 804863 h 1314450"/>
                <a:gd name="connsiteX23" fmla="*/ 966787 w 1466850"/>
                <a:gd name="connsiteY23" fmla="*/ 779386 h 1314450"/>
                <a:gd name="connsiteX24" fmla="*/ 904875 w 1466850"/>
                <a:gd name="connsiteY24" fmla="*/ 776288 h 1314450"/>
                <a:gd name="connsiteX25" fmla="*/ 904875 w 1466850"/>
                <a:gd name="connsiteY25" fmla="*/ 742950 h 1314450"/>
                <a:gd name="connsiteX26" fmla="*/ 862012 w 1466850"/>
                <a:gd name="connsiteY26" fmla="*/ 742950 h 1314450"/>
                <a:gd name="connsiteX27" fmla="*/ 861535 w 1466850"/>
                <a:gd name="connsiteY27" fmla="*/ 693660 h 1314450"/>
                <a:gd name="connsiteX28" fmla="*/ 814387 w 1466850"/>
                <a:gd name="connsiteY28" fmla="*/ 690563 h 1314450"/>
                <a:gd name="connsiteX29" fmla="*/ 814387 w 1466850"/>
                <a:gd name="connsiteY29" fmla="*/ 647700 h 1314450"/>
                <a:gd name="connsiteX30" fmla="*/ 776287 w 1466850"/>
                <a:gd name="connsiteY30" fmla="*/ 642937 h 1314450"/>
                <a:gd name="connsiteX31" fmla="*/ 775809 w 1466850"/>
                <a:gd name="connsiteY31" fmla="*/ 586265 h 1314450"/>
                <a:gd name="connsiteX32" fmla="*/ 726520 w 1466850"/>
                <a:gd name="connsiteY32" fmla="*/ 589363 h 1314450"/>
                <a:gd name="connsiteX33" fmla="*/ 719137 w 1466850"/>
                <a:gd name="connsiteY33" fmla="*/ 538163 h 1314450"/>
                <a:gd name="connsiteX34" fmla="*/ 695325 w 1466850"/>
                <a:gd name="connsiteY34" fmla="*/ 538163 h 1314450"/>
                <a:gd name="connsiteX35" fmla="*/ 695325 w 1466850"/>
                <a:gd name="connsiteY35" fmla="*/ 500063 h 1314450"/>
                <a:gd name="connsiteX36" fmla="*/ 662942 w 1466850"/>
                <a:gd name="connsiteY36" fmla="*/ 500063 h 1314450"/>
                <a:gd name="connsiteX37" fmla="*/ 657225 w 1466850"/>
                <a:gd name="connsiteY37" fmla="*/ 438150 h 1314450"/>
                <a:gd name="connsiteX38" fmla="*/ 587451 w 1466850"/>
                <a:gd name="connsiteY38" fmla="*/ 438150 h 1314450"/>
                <a:gd name="connsiteX39" fmla="*/ 590550 w 1466850"/>
                <a:gd name="connsiteY39" fmla="*/ 342900 h 1314450"/>
                <a:gd name="connsiteX40" fmla="*/ 542925 w 1466850"/>
                <a:gd name="connsiteY40" fmla="*/ 342900 h 1314450"/>
                <a:gd name="connsiteX41" fmla="*/ 545545 w 1466850"/>
                <a:gd name="connsiteY41" fmla="*/ 289325 h 1314450"/>
                <a:gd name="connsiteX42" fmla="*/ 474585 w 1466850"/>
                <a:gd name="connsiteY42" fmla="*/ 288370 h 1314450"/>
                <a:gd name="connsiteX43" fmla="*/ 471487 w 1466850"/>
                <a:gd name="connsiteY43" fmla="*/ 238125 h 1314450"/>
                <a:gd name="connsiteX44" fmla="*/ 428625 w 1466850"/>
                <a:gd name="connsiteY44" fmla="*/ 238125 h 1314450"/>
                <a:gd name="connsiteX45" fmla="*/ 428624 w 1466850"/>
                <a:gd name="connsiteY45" fmla="*/ 161925 h 1314450"/>
                <a:gd name="connsiteX46" fmla="*/ 385762 w 1466850"/>
                <a:gd name="connsiteY46" fmla="*/ 161925 h 1314450"/>
                <a:gd name="connsiteX47" fmla="*/ 385762 w 1466850"/>
                <a:gd name="connsiteY47" fmla="*/ 104775 h 1314450"/>
                <a:gd name="connsiteX48" fmla="*/ 223837 w 1466850"/>
                <a:gd name="connsiteY48" fmla="*/ 114300 h 1314450"/>
                <a:gd name="connsiteX49" fmla="*/ 223837 w 1466850"/>
                <a:gd name="connsiteY49" fmla="*/ 71438 h 1314450"/>
                <a:gd name="connsiteX50" fmla="*/ 152400 w 1466850"/>
                <a:gd name="connsiteY50" fmla="*/ 71438 h 1314450"/>
                <a:gd name="connsiteX51" fmla="*/ 152400 w 1466850"/>
                <a:gd name="connsiteY51" fmla="*/ 38100 h 1314450"/>
                <a:gd name="connsiteX52" fmla="*/ 76200 w 1466850"/>
                <a:gd name="connsiteY52" fmla="*/ 33338 h 1314450"/>
                <a:gd name="connsiteX53" fmla="*/ 71437 w 1466850"/>
                <a:gd name="connsiteY53" fmla="*/ 0 h 1314450"/>
                <a:gd name="connsiteX54" fmla="*/ 0 w 1466850"/>
                <a:gd name="connsiteY54" fmla="*/ 4763 h 1314450"/>
                <a:gd name="connsiteX0" fmla="*/ 1466850 w 1466850"/>
                <a:gd name="connsiteY0" fmla="*/ 1314450 h 1314450"/>
                <a:gd name="connsiteX1" fmla="*/ 1462087 w 1466850"/>
                <a:gd name="connsiteY1" fmla="*/ 1262063 h 1314450"/>
                <a:gd name="connsiteX2" fmla="*/ 1423987 w 1466850"/>
                <a:gd name="connsiteY2" fmla="*/ 1262063 h 1314450"/>
                <a:gd name="connsiteX3" fmla="*/ 1423987 w 1466850"/>
                <a:gd name="connsiteY3" fmla="*/ 1228725 h 1314450"/>
                <a:gd name="connsiteX4" fmla="*/ 1366837 w 1466850"/>
                <a:gd name="connsiteY4" fmla="*/ 1228725 h 1314450"/>
                <a:gd name="connsiteX5" fmla="*/ 1366837 w 1466850"/>
                <a:gd name="connsiteY5" fmla="*/ 1190625 h 1314450"/>
                <a:gd name="connsiteX6" fmla="*/ 1338262 w 1466850"/>
                <a:gd name="connsiteY6" fmla="*/ 1190625 h 1314450"/>
                <a:gd name="connsiteX7" fmla="*/ 1338262 w 1466850"/>
                <a:gd name="connsiteY7" fmla="*/ 1143000 h 1314450"/>
                <a:gd name="connsiteX8" fmla="*/ 1338262 w 1466850"/>
                <a:gd name="connsiteY8" fmla="*/ 1143000 h 1314450"/>
                <a:gd name="connsiteX9" fmla="*/ 1304924 w 1466850"/>
                <a:gd name="connsiteY9" fmla="*/ 1138238 h 1314450"/>
                <a:gd name="connsiteX10" fmla="*/ 1300163 w 1466850"/>
                <a:gd name="connsiteY10" fmla="*/ 1100137 h 1314450"/>
                <a:gd name="connsiteX11" fmla="*/ 1290637 w 1466850"/>
                <a:gd name="connsiteY11" fmla="*/ 1066800 h 1314450"/>
                <a:gd name="connsiteX12" fmla="*/ 1238249 w 1466850"/>
                <a:gd name="connsiteY12" fmla="*/ 1062037 h 1314450"/>
                <a:gd name="connsiteX13" fmla="*/ 1233487 w 1466850"/>
                <a:gd name="connsiteY13" fmla="*/ 1014413 h 1314450"/>
                <a:gd name="connsiteX14" fmla="*/ 1214437 w 1466850"/>
                <a:gd name="connsiteY14" fmla="*/ 1014413 h 1314450"/>
                <a:gd name="connsiteX15" fmla="*/ 1209675 w 1466850"/>
                <a:gd name="connsiteY15" fmla="*/ 947738 h 1314450"/>
                <a:gd name="connsiteX16" fmla="*/ 1133475 w 1466850"/>
                <a:gd name="connsiteY16" fmla="*/ 952500 h 1314450"/>
                <a:gd name="connsiteX17" fmla="*/ 1138213 w 1466850"/>
                <a:gd name="connsiteY17" fmla="*/ 904826 h 1314450"/>
                <a:gd name="connsiteX18" fmla="*/ 1071562 w 1466850"/>
                <a:gd name="connsiteY18" fmla="*/ 900113 h 1314450"/>
                <a:gd name="connsiteX19" fmla="*/ 1071562 w 1466850"/>
                <a:gd name="connsiteY19" fmla="*/ 866676 h 1314450"/>
                <a:gd name="connsiteX20" fmla="*/ 1000125 w 1466850"/>
                <a:gd name="connsiteY20" fmla="*/ 857250 h 1314450"/>
                <a:gd name="connsiteX21" fmla="*/ 999647 w 1466850"/>
                <a:gd name="connsiteY21" fmla="*/ 807483 h 1314450"/>
                <a:gd name="connsiteX22" fmla="*/ 966787 w 1466850"/>
                <a:gd name="connsiteY22" fmla="*/ 804863 h 1314450"/>
                <a:gd name="connsiteX23" fmla="*/ 966787 w 1466850"/>
                <a:gd name="connsiteY23" fmla="*/ 779386 h 1314450"/>
                <a:gd name="connsiteX24" fmla="*/ 904875 w 1466850"/>
                <a:gd name="connsiteY24" fmla="*/ 776288 h 1314450"/>
                <a:gd name="connsiteX25" fmla="*/ 904875 w 1466850"/>
                <a:gd name="connsiteY25" fmla="*/ 742950 h 1314450"/>
                <a:gd name="connsiteX26" fmla="*/ 862012 w 1466850"/>
                <a:gd name="connsiteY26" fmla="*/ 742950 h 1314450"/>
                <a:gd name="connsiteX27" fmla="*/ 861535 w 1466850"/>
                <a:gd name="connsiteY27" fmla="*/ 693660 h 1314450"/>
                <a:gd name="connsiteX28" fmla="*/ 814387 w 1466850"/>
                <a:gd name="connsiteY28" fmla="*/ 690563 h 1314450"/>
                <a:gd name="connsiteX29" fmla="*/ 814387 w 1466850"/>
                <a:gd name="connsiteY29" fmla="*/ 647700 h 1314450"/>
                <a:gd name="connsiteX30" fmla="*/ 776287 w 1466850"/>
                <a:gd name="connsiteY30" fmla="*/ 642937 h 1314450"/>
                <a:gd name="connsiteX31" fmla="*/ 775809 w 1466850"/>
                <a:gd name="connsiteY31" fmla="*/ 586265 h 1314450"/>
                <a:gd name="connsiteX32" fmla="*/ 726520 w 1466850"/>
                <a:gd name="connsiteY32" fmla="*/ 589363 h 1314450"/>
                <a:gd name="connsiteX33" fmla="*/ 719137 w 1466850"/>
                <a:gd name="connsiteY33" fmla="*/ 538163 h 1314450"/>
                <a:gd name="connsiteX34" fmla="*/ 695325 w 1466850"/>
                <a:gd name="connsiteY34" fmla="*/ 538163 h 1314450"/>
                <a:gd name="connsiteX35" fmla="*/ 695325 w 1466850"/>
                <a:gd name="connsiteY35" fmla="*/ 500063 h 1314450"/>
                <a:gd name="connsiteX36" fmla="*/ 662942 w 1466850"/>
                <a:gd name="connsiteY36" fmla="*/ 500063 h 1314450"/>
                <a:gd name="connsiteX37" fmla="*/ 657225 w 1466850"/>
                <a:gd name="connsiteY37" fmla="*/ 438150 h 1314450"/>
                <a:gd name="connsiteX38" fmla="*/ 587451 w 1466850"/>
                <a:gd name="connsiteY38" fmla="*/ 438150 h 1314450"/>
                <a:gd name="connsiteX39" fmla="*/ 590550 w 1466850"/>
                <a:gd name="connsiteY39" fmla="*/ 342900 h 1314450"/>
                <a:gd name="connsiteX40" fmla="*/ 542925 w 1466850"/>
                <a:gd name="connsiteY40" fmla="*/ 342900 h 1314450"/>
                <a:gd name="connsiteX41" fmla="*/ 545545 w 1466850"/>
                <a:gd name="connsiteY41" fmla="*/ 289325 h 1314450"/>
                <a:gd name="connsiteX42" fmla="*/ 474585 w 1466850"/>
                <a:gd name="connsiteY42" fmla="*/ 288370 h 1314450"/>
                <a:gd name="connsiteX43" fmla="*/ 471487 w 1466850"/>
                <a:gd name="connsiteY43" fmla="*/ 238125 h 1314450"/>
                <a:gd name="connsiteX44" fmla="*/ 428625 w 1466850"/>
                <a:gd name="connsiteY44" fmla="*/ 238125 h 1314450"/>
                <a:gd name="connsiteX45" fmla="*/ 428624 w 1466850"/>
                <a:gd name="connsiteY45" fmla="*/ 161925 h 1314450"/>
                <a:gd name="connsiteX46" fmla="*/ 385762 w 1466850"/>
                <a:gd name="connsiteY46" fmla="*/ 161925 h 1314450"/>
                <a:gd name="connsiteX47" fmla="*/ 385762 w 1466850"/>
                <a:gd name="connsiteY47" fmla="*/ 104775 h 1314450"/>
                <a:gd name="connsiteX48" fmla="*/ 223837 w 1466850"/>
                <a:gd name="connsiteY48" fmla="*/ 114300 h 1314450"/>
                <a:gd name="connsiteX49" fmla="*/ 223837 w 1466850"/>
                <a:gd name="connsiteY49" fmla="*/ 71438 h 1314450"/>
                <a:gd name="connsiteX50" fmla="*/ 152400 w 1466850"/>
                <a:gd name="connsiteY50" fmla="*/ 71438 h 1314450"/>
                <a:gd name="connsiteX51" fmla="*/ 152400 w 1466850"/>
                <a:gd name="connsiteY51" fmla="*/ 38100 h 1314450"/>
                <a:gd name="connsiteX52" fmla="*/ 76200 w 1466850"/>
                <a:gd name="connsiteY52" fmla="*/ 33338 h 1314450"/>
                <a:gd name="connsiteX53" fmla="*/ 71437 w 1466850"/>
                <a:gd name="connsiteY53" fmla="*/ 0 h 1314450"/>
                <a:gd name="connsiteX54" fmla="*/ 0 w 1466850"/>
                <a:gd name="connsiteY54" fmla="*/ 4763 h 1314450"/>
                <a:gd name="connsiteX0" fmla="*/ 1466850 w 1466850"/>
                <a:gd name="connsiteY0" fmla="*/ 1314450 h 1314450"/>
                <a:gd name="connsiteX1" fmla="*/ 1462087 w 1466850"/>
                <a:gd name="connsiteY1" fmla="*/ 1262063 h 1314450"/>
                <a:gd name="connsiteX2" fmla="*/ 1423987 w 1466850"/>
                <a:gd name="connsiteY2" fmla="*/ 1262063 h 1314450"/>
                <a:gd name="connsiteX3" fmla="*/ 1423987 w 1466850"/>
                <a:gd name="connsiteY3" fmla="*/ 1228725 h 1314450"/>
                <a:gd name="connsiteX4" fmla="*/ 1366837 w 1466850"/>
                <a:gd name="connsiteY4" fmla="*/ 1228725 h 1314450"/>
                <a:gd name="connsiteX5" fmla="*/ 1366837 w 1466850"/>
                <a:gd name="connsiteY5" fmla="*/ 1190625 h 1314450"/>
                <a:gd name="connsiteX6" fmla="*/ 1338262 w 1466850"/>
                <a:gd name="connsiteY6" fmla="*/ 1190625 h 1314450"/>
                <a:gd name="connsiteX7" fmla="*/ 1338262 w 1466850"/>
                <a:gd name="connsiteY7" fmla="*/ 1143000 h 1314450"/>
                <a:gd name="connsiteX8" fmla="*/ 1338262 w 1466850"/>
                <a:gd name="connsiteY8" fmla="*/ 1143000 h 1314450"/>
                <a:gd name="connsiteX9" fmla="*/ 1304924 w 1466850"/>
                <a:gd name="connsiteY9" fmla="*/ 1138238 h 1314450"/>
                <a:gd name="connsiteX10" fmla="*/ 1300163 w 1466850"/>
                <a:gd name="connsiteY10" fmla="*/ 1100137 h 1314450"/>
                <a:gd name="connsiteX11" fmla="*/ 1290637 w 1466850"/>
                <a:gd name="connsiteY11" fmla="*/ 1066800 h 1314450"/>
                <a:gd name="connsiteX12" fmla="*/ 1238249 w 1466850"/>
                <a:gd name="connsiteY12" fmla="*/ 1062037 h 1314450"/>
                <a:gd name="connsiteX13" fmla="*/ 1233487 w 1466850"/>
                <a:gd name="connsiteY13" fmla="*/ 1014413 h 1314450"/>
                <a:gd name="connsiteX14" fmla="*/ 1214437 w 1466850"/>
                <a:gd name="connsiteY14" fmla="*/ 1014413 h 1314450"/>
                <a:gd name="connsiteX15" fmla="*/ 1209675 w 1466850"/>
                <a:gd name="connsiteY15" fmla="*/ 947738 h 1314450"/>
                <a:gd name="connsiteX16" fmla="*/ 1133475 w 1466850"/>
                <a:gd name="connsiteY16" fmla="*/ 952500 h 1314450"/>
                <a:gd name="connsiteX17" fmla="*/ 1138213 w 1466850"/>
                <a:gd name="connsiteY17" fmla="*/ 904826 h 1314450"/>
                <a:gd name="connsiteX18" fmla="*/ 1071562 w 1466850"/>
                <a:gd name="connsiteY18" fmla="*/ 900113 h 1314450"/>
                <a:gd name="connsiteX19" fmla="*/ 1071562 w 1466850"/>
                <a:gd name="connsiteY19" fmla="*/ 866676 h 1314450"/>
                <a:gd name="connsiteX20" fmla="*/ 1002745 w 1466850"/>
                <a:gd name="connsiteY20" fmla="*/ 867731 h 1314450"/>
                <a:gd name="connsiteX21" fmla="*/ 999647 w 1466850"/>
                <a:gd name="connsiteY21" fmla="*/ 807483 h 1314450"/>
                <a:gd name="connsiteX22" fmla="*/ 966787 w 1466850"/>
                <a:gd name="connsiteY22" fmla="*/ 804863 h 1314450"/>
                <a:gd name="connsiteX23" fmla="*/ 966787 w 1466850"/>
                <a:gd name="connsiteY23" fmla="*/ 779386 h 1314450"/>
                <a:gd name="connsiteX24" fmla="*/ 904875 w 1466850"/>
                <a:gd name="connsiteY24" fmla="*/ 776288 h 1314450"/>
                <a:gd name="connsiteX25" fmla="*/ 904875 w 1466850"/>
                <a:gd name="connsiteY25" fmla="*/ 742950 h 1314450"/>
                <a:gd name="connsiteX26" fmla="*/ 862012 w 1466850"/>
                <a:gd name="connsiteY26" fmla="*/ 742950 h 1314450"/>
                <a:gd name="connsiteX27" fmla="*/ 861535 w 1466850"/>
                <a:gd name="connsiteY27" fmla="*/ 693660 h 1314450"/>
                <a:gd name="connsiteX28" fmla="*/ 814387 w 1466850"/>
                <a:gd name="connsiteY28" fmla="*/ 690563 h 1314450"/>
                <a:gd name="connsiteX29" fmla="*/ 814387 w 1466850"/>
                <a:gd name="connsiteY29" fmla="*/ 647700 h 1314450"/>
                <a:gd name="connsiteX30" fmla="*/ 776287 w 1466850"/>
                <a:gd name="connsiteY30" fmla="*/ 642937 h 1314450"/>
                <a:gd name="connsiteX31" fmla="*/ 775809 w 1466850"/>
                <a:gd name="connsiteY31" fmla="*/ 586265 h 1314450"/>
                <a:gd name="connsiteX32" fmla="*/ 726520 w 1466850"/>
                <a:gd name="connsiteY32" fmla="*/ 589363 h 1314450"/>
                <a:gd name="connsiteX33" fmla="*/ 719137 w 1466850"/>
                <a:gd name="connsiteY33" fmla="*/ 538163 h 1314450"/>
                <a:gd name="connsiteX34" fmla="*/ 695325 w 1466850"/>
                <a:gd name="connsiteY34" fmla="*/ 538163 h 1314450"/>
                <a:gd name="connsiteX35" fmla="*/ 695325 w 1466850"/>
                <a:gd name="connsiteY35" fmla="*/ 500063 h 1314450"/>
                <a:gd name="connsiteX36" fmla="*/ 662942 w 1466850"/>
                <a:gd name="connsiteY36" fmla="*/ 500063 h 1314450"/>
                <a:gd name="connsiteX37" fmla="*/ 657225 w 1466850"/>
                <a:gd name="connsiteY37" fmla="*/ 438150 h 1314450"/>
                <a:gd name="connsiteX38" fmla="*/ 587451 w 1466850"/>
                <a:gd name="connsiteY38" fmla="*/ 438150 h 1314450"/>
                <a:gd name="connsiteX39" fmla="*/ 590550 w 1466850"/>
                <a:gd name="connsiteY39" fmla="*/ 342900 h 1314450"/>
                <a:gd name="connsiteX40" fmla="*/ 542925 w 1466850"/>
                <a:gd name="connsiteY40" fmla="*/ 342900 h 1314450"/>
                <a:gd name="connsiteX41" fmla="*/ 545545 w 1466850"/>
                <a:gd name="connsiteY41" fmla="*/ 289325 h 1314450"/>
                <a:gd name="connsiteX42" fmla="*/ 474585 w 1466850"/>
                <a:gd name="connsiteY42" fmla="*/ 288370 h 1314450"/>
                <a:gd name="connsiteX43" fmla="*/ 471487 w 1466850"/>
                <a:gd name="connsiteY43" fmla="*/ 238125 h 1314450"/>
                <a:gd name="connsiteX44" fmla="*/ 428625 w 1466850"/>
                <a:gd name="connsiteY44" fmla="*/ 238125 h 1314450"/>
                <a:gd name="connsiteX45" fmla="*/ 428624 w 1466850"/>
                <a:gd name="connsiteY45" fmla="*/ 161925 h 1314450"/>
                <a:gd name="connsiteX46" fmla="*/ 385762 w 1466850"/>
                <a:gd name="connsiteY46" fmla="*/ 161925 h 1314450"/>
                <a:gd name="connsiteX47" fmla="*/ 385762 w 1466850"/>
                <a:gd name="connsiteY47" fmla="*/ 104775 h 1314450"/>
                <a:gd name="connsiteX48" fmla="*/ 223837 w 1466850"/>
                <a:gd name="connsiteY48" fmla="*/ 114300 h 1314450"/>
                <a:gd name="connsiteX49" fmla="*/ 223837 w 1466850"/>
                <a:gd name="connsiteY49" fmla="*/ 71438 h 1314450"/>
                <a:gd name="connsiteX50" fmla="*/ 152400 w 1466850"/>
                <a:gd name="connsiteY50" fmla="*/ 71438 h 1314450"/>
                <a:gd name="connsiteX51" fmla="*/ 152400 w 1466850"/>
                <a:gd name="connsiteY51" fmla="*/ 38100 h 1314450"/>
                <a:gd name="connsiteX52" fmla="*/ 76200 w 1466850"/>
                <a:gd name="connsiteY52" fmla="*/ 33338 h 1314450"/>
                <a:gd name="connsiteX53" fmla="*/ 71437 w 1466850"/>
                <a:gd name="connsiteY53" fmla="*/ 0 h 1314450"/>
                <a:gd name="connsiteX54" fmla="*/ 0 w 1466850"/>
                <a:gd name="connsiteY54" fmla="*/ 4763 h 1314450"/>
                <a:gd name="connsiteX0" fmla="*/ 1466850 w 1466850"/>
                <a:gd name="connsiteY0" fmla="*/ 1314450 h 1314450"/>
                <a:gd name="connsiteX1" fmla="*/ 1462087 w 1466850"/>
                <a:gd name="connsiteY1" fmla="*/ 1262063 h 1314450"/>
                <a:gd name="connsiteX2" fmla="*/ 1423987 w 1466850"/>
                <a:gd name="connsiteY2" fmla="*/ 1262063 h 1314450"/>
                <a:gd name="connsiteX3" fmla="*/ 1423987 w 1466850"/>
                <a:gd name="connsiteY3" fmla="*/ 1228725 h 1314450"/>
                <a:gd name="connsiteX4" fmla="*/ 1366837 w 1466850"/>
                <a:gd name="connsiteY4" fmla="*/ 1228725 h 1314450"/>
                <a:gd name="connsiteX5" fmla="*/ 1366837 w 1466850"/>
                <a:gd name="connsiteY5" fmla="*/ 1190625 h 1314450"/>
                <a:gd name="connsiteX6" fmla="*/ 1338262 w 1466850"/>
                <a:gd name="connsiteY6" fmla="*/ 1190625 h 1314450"/>
                <a:gd name="connsiteX7" fmla="*/ 1338262 w 1466850"/>
                <a:gd name="connsiteY7" fmla="*/ 1143000 h 1314450"/>
                <a:gd name="connsiteX8" fmla="*/ 1338262 w 1466850"/>
                <a:gd name="connsiteY8" fmla="*/ 1143000 h 1314450"/>
                <a:gd name="connsiteX9" fmla="*/ 1304924 w 1466850"/>
                <a:gd name="connsiteY9" fmla="*/ 1138238 h 1314450"/>
                <a:gd name="connsiteX10" fmla="*/ 1300163 w 1466850"/>
                <a:gd name="connsiteY10" fmla="*/ 1100137 h 1314450"/>
                <a:gd name="connsiteX11" fmla="*/ 1290637 w 1466850"/>
                <a:gd name="connsiteY11" fmla="*/ 1066800 h 1314450"/>
                <a:gd name="connsiteX12" fmla="*/ 1238249 w 1466850"/>
                <a:gd name="connsiteY12" fmla="*/ 1062037 h 1314450"/>
                <a:gd name="connsiteX13" fmla="*/ 1233487 w 1466850"/>
                <a:gd name="connsiteY13" fmla="*/ 1014413 h 1314450"/>
                <a:gd name="connsiteX14" fmla="*/ 1214437 w 1466850"/>
                <a:gd name="connsiteY14" fmla="*/ 1014413 h 1314450"/>
                <a:gd name="connsiteX15" fmla="*/ 1209675 w 1466850"/>
                <a:gd name="connsiteY15" fmla="*/ 947738 h 1314450"/>
                <a:gd name="connsiteX16" fmla="*/ 1133475 w 1466850"/>
                <a:gd name="connsiteY16" fmla="*/ 952500 h 1314450"/>
                <a:gd name="connsiteX17" fmla="*/ 1125113 w 1466850"/>
                <a:gd name="connsiteY17" fmla="*/ 899586 h 1314450"/>
                <a:gd name="connsiteX18" fmla="*/ 1071562 w 1466850"/>
                <a:gd name="connsiteY18" fmla="*/ 900113 h 1314450"/>
                <a:gd name="connsiteX19" fmla="*/ 1071562 w 1466850"/>
                <a:gd name="connsiteY19" fmla="*/ 866676 h 1314450"/>
                <a:gd name="connsiteX20" fmla="*/ 1002745 w 1466850"/>
                <a:gd name="connsiteY20" fmla="*/ 867731 h 1314450"/>
                <a:gd name="connsiteX21" fmla="*/ 999647 w 1466850"/>
                <a:gd name="connsiteY21" fmla="*/ 807483 h 1314450"/>
                <a:gd name="connsiteX22" fmla="*/ 966787 w 1466850"/>
                <a:gd name="connsiteY22" fmla="*/ 804863 h 1314450"/>
                <a:gd name="connsiteX23" fmla="*/ 966787 w 1466850"/>
                <a:gd name="connsiteY23" fmla="*/ 779386 h 1314450"/>
                <a:gd name="connsiteX24" fmla="*/ 904875 w 1466850"/>
                <a:gd name="connsiteY24" fmla="*/ 776288 h 1314450"/>
                <a:gd name="connsiteX25" fmla="*/ 904875 w 1466850"/>
                <a:gd name="connsiteY25" fmla="*/ 742950 h 1314450"/>
                <a:gd name="connsiteX26" fmla="*/ 862012 w 1466850"/>
                <a:gd name="connsiteY26" fmla="*/ 742950 h 1314450"/>
                <a:gd name="connsiteX27" fmla="*/ 861535 w 1466850"/>
                <a:gd name="connsiteY27" fmla="*/ 693660 h 1314450"/>
                <a:gd name="connsiteX28" fmla="*/ 814387 w 1466850"/>
                <a:gd name="connsiteY28" fmla="*/ 690563 h 1314450"/>
                <a:gd name="connsiteX29" fmla="*/ 814387 w 1466850"/>
                <a:gd name="connsiteY29" fmla="*/ 647700 h 1314450"/>
                <a:gd name="connsiteX30" fmla="*/ 776287 w 1466850"/>
                <a:gd name="connsiteY30" fmla="*/ 642937 h 1314450"/>
                <a:gd name="connsiteX31" fmla="*/ 775809 w 1466850"/>
                <a:gd name="connsiteY31" fmla="*/ 586265 h 1314450"/>
                <a:gd name="connsiteX32" fmla="*/ 726520 w 1466850"/>
                <a:gd name="connsiteY32" fmla="*/ 589363 h 1314450"/>
                <a:gd name="connsiteX33" fmla="*/ 719137 w 1466850"/>
                <a:gd name="connsiteY33" fmla="*/ 538163 h 1314450"/>
                <a:gd name="connsiteX34" fmla="*/ 695325 w 1466850"/>
                <a:gd name="connsiteY34" fmla="*/ 538163 h 1314450"/>
                <a:gd name="connsiteX35" fmla="*/ 695325 w 1466850"/>
                <a:gd name="connsiteY35" fmla="*/ 500063 h 1314450"/>
                <a:gd name="connsiteX36" fmla="*/ 662942 w 1466850"/>
                <a:gd name="connsiteY36" fmla="*/ 500063 h 1314450"/>
                <a:gd name="connsiteX37" fmla="*/ 657225 w 1466850"/>
                <a:gd name="connsiteY37" fmla="*/ 438150 h 1314450"/>
                <a:gd name="connsiteX38" fmla="*/ 587451 w 1466850"/>
                <a:gd name="connsiteY38" fmla="*/ 438150 h 1314450"/>
                <a:gd name="connsiteX39" fmla="*/ 590550 w 1466850"/>
                <a:gd name="connsiteY39" fmla="*/ 342900 h 1314450"/>
                <a:gd name="connsiteX40" fmla="*/ 542925 w 1466850"/>
                <a:gd name="connsiteY40" fmla="*/ 342900 h 1314450"/>
                <a:gd name="connsiteX41" fmla="*/ 545545 w 1466850"/>
                <a:gd name="connsiteY41" fmla="*/ 289325 h 1314450"/>
                <a:gd name="connsiteX42" fmla="*/ 474585 w 1466850"/>
                <a:gd name="connsiteY42" fmla="*/ 288370 h 1314450"/>
                <a:gd name="connsiteX43" fmla="*/ 471487 w 1466850"/>
                <a:gd name="connsiteY43" fmla="*/ 238125 h 1314450"/>
                <a:gd name="connsiteX44" fmla="*/ 428625 w 1466850"/>
                <a:gd name="connsiteY44" fmla="*/ 238125 h 1314450"/>
                <a:gd name="connsiteX45" fmla="*/ 428624 w 1466850"/>
                <a:gd name="connsiteY45" fmla="*/ 161925 h 1314450"/>
                <a:gd name="connsiteX46" fmla="*/ 385762 w 1466850"/>
                <a:gd name="connsiteY46" fmla="*/ 161925 h 1314450"/>
                <a:gd name="connsiteX47" fmla="*/ 385762 w 1466850"/>
                <a:gd name="connsiteY47" fmla="*/ 104775 h 1314450"/>
                <a:gd name="connsiteX48" fmla="*/ 223837 w 1466850"/>
                <a:gd name="connsiteY48" fmla="*/ 114300 h 1314450"/>
                <a:gd name="connsiteX49" fmla="*/ 223837 w 1466850"/>
                <a:gd name="connsiteY49" fmla="*/ 71438 h 1314450"/>
                <a:gd name="connsiteX50" fmla="*/ 152400 w 1466850"/>
                <a:gd name="connsiteY50" fmla="*/ 71438 h 1314450"/>
                <a:gd name="connsiteX51" fmla="*/ 152400 w 1466850"/>
                <a:gd name="connsiteY51" fmla="*/ 38100 h 1314450"/>
                <a:gd name="connsiteX52" fmla="*/ 76200 w 1466850"/>
                <a:gd name="connsiteY52" fmla="*/ 33338 h 1314450"/>
                <a:gd name="connsiteX53" fmla="*/ 71437 w 1466850"/>
                <a:gd name="connsiteY53" fmla="*/ 0 h 1314450"/>
                <a:gd name="connsiteX54" fmla="*/ 0 w 1466850"/>
                <a:gd name="connsiteY54" fmla="*/ 4763 h 1314450"/>
                <a:gd name="connsiteX0" fmla="*/ 1466850 w 1466850"/>
                <a:gd name="connsiteY0" fmla="*/ 1314450 h 1314450"/>
                <a:gd name="connsiteX1" fmla="*/ 1462087 w 1466850"/>
                <a:gd name="connsiteY1" fmla="*/ 1262063 h 1314450"/>
                <a:gd name="connsiteX2" fmla="*/ 1423987 w 1466850"/>
                <a:gd name="connsiteY2" fmla="*/ 1262063 h 1314450"/>
                <a:gd name="connsiteX3" fmla="*/ 1423987 w 1466850"/>
                <a:gd name="connsiteY3" fmla="*/ 1228725 h 1314450"/>
                <a:gd name="connsiteX4" fmla="*/ 1366837 w 1466850"/>
                <a:gd name="connsiteY4" fmla="*/ 1228725 h 1314450"/>
                <a:gd name="connsiteX5" fmla="*/ 1366837 w 1466850"/>
                <a:gd name="connsiteY5" fmla="*/ 1190625 h 1314450"/>
                <a:gd name="connsiteX6" fmla="*/ 1338262 w 1466850"/>
                <a:gd name="connsiteY6" fmla="*/ 1190625 h 1314450"/>
                <a:gd name="connsiteX7" fmla="*/ 1338262 w 1466850"/>
                <a:gd name="connsiteY7" fmla="*/ 1143000 h 1314450"/>
                <a:gd name="connsiteX8" fmla="*/ 1338262 w 1466850"/>
                <a:gd name="connsiteY8" fmla="*/ 1143000 h 1314450"/>
                <a:gd name="connsiteX9" fmla="*/ 1304924 w 1466850"/>
                <a:gd name="connsiteY9" fmla="*/ 1138238 h 1314450"/>
                <a:gd name="connsiteX10" fmla="*/ 1300163 w 1466850"/>
                <a:gd name="connsiteY10" fmla="*/ 1100137 h 1314450"/>
                <a:gd name="connsiteX11" fmla="*/ 1290637 w 1466850"/>
                <a:gd name="connsiteY11" fmla="*/ 1066800 h 1314450"/>
                <a:gd name="connsiteX12" fmla="*/ 1238249 w 1466850"/>
                <a:gd name="connsiteY12" fmla="*/ 1062037 h 1314450"/>
                <a:gd name="connsiteX13" fmla="*/ 1233487 w 1466850"/>
                <a:gd name="connsiteY13" fmla="*/ 1014413 h 1314450"/>
                <a:gd name="connsiteX14" fmla="*/ 1214437 w 1466850"/>
                <a:gd name="connsiteY14" fmla="*/ 1014413 h 1314450"/>
                <a:gd name="connsiteX15" fmla="*/ 1209675 w 1466850"/>
                <a:gd name="connsiteY15" fmla="*/ 947738 h 1314450"/>
                <a:gd name="connsiteX16" fmla="*/ 1133475 w 1466850"/>
                <a:gd name="connsiteY16" fmla="*/ 952500 h 1314450"/>
                <a:gd name="connsiteX17" fmla="*/ 1135593 w 1466850"/>
                <a:gd name="connsiteY17" fmla="*/ 907446 h 1314450"/>
                <a:gd name="connsiteX18" fmla="*/ 1071562 w 1466850"/>
                <a:gd name="connsiteY18" fmla="*/ 900113 h 1314450"/>
                <a:gd name="connsiteX19" fmla="*/ 1071562 w 1466850"/>
                <a:gd name="connsiteY19" fmla="*/ 866676 h 1314450"/>
                <a:gd name="connsiteX20" fmla="*/ 1002745 w 1466850"/>
                <a:gd name="connsiteY20" fmla="*/ 867731 h 1314450"/>
                <a:gd name="connsiteX21" fmla="*/ 999647 w 1466850"/>
                <a:gd name="connsiteY21" fmla="*/ 807483 h 1314450"/>
                <a:gd name="connsiteX22" fmla="*/ 966787 w 1466850"/>
                <a:gd name="connsiteY22" fmla="*/ 804863 h 1314450"/>
                <a:gd name="connsiteX23" fmla="*/ 966787 w 1466850"/>
                <a:gd name="connsiteY23" fmla="*/ 779386 h 1314450"/>
                <a:gd name="connsiteX24" fmla="*/ 904875 w 1466850"/>
                <a:gd name="connsiteY24" fmla="*/ 776288 h 1314450"/>
                <a:gd name="connsiteX25" fmla="*/ 904875 w 1466850"/>
                <a:gd name="connsiteY25" fmla="*/ 742950 h 1314450"/>
                <a:gd name="connsiteX26" fmla="*/ 862012 w 1466850"/>
                <a:gd name="connsiteY26" fmla="*/ 742950 h 1314450"/>
                <a:gd name="connsiteX27" fmla="*/ 861535 w 1466850"/>
                <a:gd name="connsiteY27" fmla="*/ 693660 h 1314450"/>
                <a:gd name="connsiteX28" fmla="*/ 814387 w 1466850"/>
                <a:gd name="connsiteY28" fmla="*/ 690563 h 1314450"/>
                <a:gd name="connsiteX29" fmla="*/ 814387 w 1466850"/>
                <a:gd name="connsiteY29" fmla="*/ 647700 h 1314450"/>
                <a:gd name="connsiteX30" fmla="*/ 776287 w 1466850"/>
                <a:gd name="connsiteY30" fmla="*/ 642937 h 1314450"/>
                <a:gd name="connsiteX31" fmla="*/ 775809 w 1466850"/>
                <a:gd name="connsiteY31" fmla="*/ 586265 h 1314450"/>
                <a:gd name="connsiteX32" fmla="*/ 726520 w 1466850"/>
                <a:gd name="connsiteY32" fmla="*/ 589363 h 1314450"/>
                <a:gd name="connsiteX33" fmla="*/ 719137 w 1466850"/>
                <a:gd name="connsiteY33" fmla="*/ 538163 h 1314450"/>
                <a:gd name="connsiteX34" fmla="*/ 695325 w 1466850"/>
                <a:gd name="connsiteY34" fmla="*/ 538163 h 1314450"/>
                <a:gd name="connsiteX35" fmla="*/ 695325 w 1466850"/>
                <a:gd name="connsiteY35" fmla="*/ 500063 h 1314450"/>
                <a:gd name="connsiteX36" fmla="*/ 662942 w 1466850"/>
                <a:gd name="connsiteY36" fmla="*/ 500063 h 1314450"/>
                <a:gd name="connsiteX37" fmla="*/ 657225 w 1466850"/>
                <a:gd name="connsiteY37" fmla="*/ 438150 h 1314450"/>
                <a:gd name="connsiteX38" fmla="*/ 587451 w 1466850"/>
                <a:gd name="connsiteY38" fmla="*/ 438150 h 1314450"/>
                <a:gd name="connsiteX39" fmla="*/ 590550 w 1466850"/>
                <a:gd name="connsiteY39" fmla="*/ 342900 h 1314450"/>
                <a:gd name="connsiteX40" fmla="*/ 542925 w 1466850"/>
                <a:gd name="connsiteY40" fmla="*/ 342900 h 1314450"/>
                <a:gd name="connsiteX41" fmla="*/ 545545 w 1466850"/>
                <a:gd name="connsiteY41" fmla="*/ 289325 h 1314450"/>
                <a:gd name="connsiteX42" fmla="*/ 474585 w 1466850"/>
                <a:gd name="connsiteY42" fmla="*/ 288370 h 1314450"/>
                <a:gd name="connsiteX43" fmla="*/ 471487 w 1466850"/>
                <a:gd name="connsiteY43" fmla="*/ 238125 h 1314450"/>
                <a:gd name="connsiteX44" fmla="*/ 428625 w 1466850"/>
                <a:gd name="connsiteY44" fmla="*/ 238125 h 1314450"/>
                <a:gd name="connsiteX45" fmla="*/ 428624 w 1466850"/>
                <a:gd name="connsiteY45" fmla="*/ 161925 h 1314450"/>
                <a:gd name="connsiteX46" fmla="*/ 385762 w 1466850"/>
                <a:gd name="connsiteY46" fmla="*/ 161925 h 1314450"/>
                <a:gd name="connsiteX47" fmla="*/ 385762 w 1466850"/>
                <a:gd name="connsiteY47" fmla="*/ 104775 h 1314450"/>
                <a:gd name="connsiteX48" fmla="*/ 223837 w 1466850"/>
                <a:gd name="connsiteY48" fmla="*/ 114300 h 1314450"/>
                <a:gd name="connsiteX49" fmla="*/ 223837 w 1466850"/>
                <a:gd name="connsiteY49" fmla="*/ 71438 h 1314450"/>
                <a:gd name="connsiteX50" fmla="*/ 152400 w 1466850"/>
                <a:gd name="connsiteY50" fmla="*/ 71438 h 1314450"/>
                <a:gd name="connsiteX51" fmla="*/ 152400 w 1466850"/>
                <a:gd name="connsiteY51" fmla="*/ 38100 h 1314450"/>
                <a:gd name="connsiteX52" fmla="*/ 76200 w 1466850"/>
                <a:gd name="connsiteY52" fmla="*/ 33338 h 1314450"/>
                <a:gd name="connsiteX53" fmla="*/ 71437 w 1466850"/>
                <a:gd name="connsiteY53" fmla="*/ 0 h 1314450"/>
                <a:gd name="connsiteX54" fmla="*/ 0 w 1466850"/>
                <a:gd name="connsiteY54" fmla="*/ 4763 h 1314450"/>
                <a:gd name="connsiteX0" fmla="*/ 1466850 w 1466850"/>
                <a:gd name="connsiteY0" fmla="*/ 1314450 h 1314450"/>
                <a:gd name="connsiteX1" fmla="*/ 1462087 w 1466850"/>
                <a:gd name="connsiteY1" fmla="*/ 1262063 h 1314450"/>
                <a:gd name="connsiteX2" fmla="*/ 1423987 w 1466850"/>
                <a:gd name="connsiteY2" fmla="*/ 1262063 h 1314450"/>
                <a:gd name="connsiteX3" fmla="*/ 1423987 w 1466850"/>
                <a:gd name="connsiteY3" fmla="*/ 1228725 h 1314450"/>
                <a:gd name="connsiteX4" fmla="*/ 1366837 w 1466850"/>
                <a:gd name="connsiteY4" fmla="*/ 1228725 h 1314450"/>
                <a:gd name="connsiteX5" fmla="*/ 1366837 w 1466850"/>
                <a:gd name="connsiteY5" fmla="*/ 1190625 h 1314450"/>
                <a:gd name="connsiteX6" fmla="*/ 1338262 w 1466850"/>
                <a:gd name="connsiteY6" fmla="*/ 1190625 h 1314450"/>
                <a:gd name="connsiteX7" fmla="*/ 1338262 w 1466850"/>
                <a:gd name="connsiteY7" fmla="*/ 1143000 h 1314450"/>
                <a:gd name="connsiteX8" fmla="*/ 1338262 w 1466850"/>
                <a:gd name="connsiteY8" fmla="*/ 1143000 h 1314450"/>
                <a:gd name="connsiteX9" fmla="*/ 1304924 w 1466850"/>
                <a:gd name="connsiteY9" fmla="*/ 1138238 h 1314450"/>
                <a:gd name="connsiteX10" fmla="*/ 1300163 w 1466850"/>
                <a:gd name="connsiteY10" fmla="*/ 1100137 h 1314450"/>
                <a:gd name="connsiteX11" fmla="*/ 1290637 w 1466850"/>
                <a:gd name="connsiteY11" fmla="*/ 1066800 h 1314450"/>
                <a:gd name="connsiteX12" fmla="*/ 1238249 w 1466850"/>
                <a:gd name="connsiteY12" fmla="*/ 1062037 h 1314450"/>
                <a:gd name="connsiteX13" fmla="*/ 1233487 w 1466850"/>
                <a:gd name="connsiteY13" fmla="*/ 1014413 h 1314450"/>
                <a:gd name="connsiteX14" fmla="*/ 1214437 w 1466850"/>
                <a:gd name="connsiteY14" fmla="*/ 1014413 h 1314450"/>
                <a:gd name="connsiteX15" fmla="*/ 1209675 w 1466850"/>
                <a:gd name="connsiteY15" fmla="*/ 947738 h 1314450"/>
                <a:gd name="connsiteX16" fmla="*/ 1133475 w 1466850"/>
                <a:gd name="connsiteY16" fmla="*/ 952500 h 1314450"/>
                <a:gd name="connsiteX17" fmla="*/ 1130353 w 1466850"/>
                <a:gd name="connsiteY17" fmla="*/ 904826 h 1314450"/>
                <a:gd name="connsiteX18" fmla="*/ 1071562 w 1466850"/>
                <a:gd name="connsiteY18" fmla="*/ 900113 h 1314450"/>
                <a:gd name="connsiteX19" fmla="*/ 1071562 w 1466850"/>
                <a:gd name="connsiteY19" fmla="*/ 866676 h 1314450"/>
                <a:gd name="connsiteX20" fmla="*/ 1002745 w 1466850"/>
                <a:gd name="connsiteY20" fmla="*/ 867731 h 1314450"/>
                <a:gd name="connsiteX21" fmla="*/ 999647 w 1466850"/>
                <a:gd name="connsiteY21" fmla="*/ 807483 h 1314450"/>
                <a:gd name="connsiteX22" fmla="*/ 966787 w 1466850"/>
                <a:gd name="connsiteY22" fmla="*/ 804863 h 1314450"/>
                <a:gd name="connsiteX23" fmla="*/ 966787 w 1466850"/>
                <a:gd name="connsiteY23" fmla="*/ 779386 h 1314450"/>
                <a:gd name="connsiteX24" fmla="*/ 904875 w 1466850"/>
                <a:gd name="connsiteY24" fmla="*/ 776288 h 1314450"/>
                <a:gd name="connsiteX25" fmla="*/ 904875 w 1466850"/>
                <a:gd name="connsiteY25" fmla="*/ 742950 h 1314450"/>
                <a:gd name="connsiteX26" fmla="*/ 862012 w 1466850"/>
                <a:gd name="connsiteY26" fmla="*/ 742950 h 1314450"/>
                <a:gd name="connsiteX27" fmla="*/ 861535 w 1466850"/>
                <a:gd name="connsiteY27" fmla="*/ 693660 h 1314450"/>
                <a:gd name="connsiteX28" fmla="*/ 814387 w 1466850"/>
                <a:gd name="connsiteY28" fmla="*/ 690563 h 1314450"/>
                <a:gd name="connsiteX29" fmla="*/ 814387 w 1466850"/>
                <a:gd name="connsiteY29" fmla="*/ 647700 h 1314450"/>
                <a:gd name="connsiteX30" fmla="*/ 776287 w 1466850"/>
                <a:gd name="connsiteY30" fmla="*/ 642937 h 1314450"/>
                <a:gd name="connsiteX31" fmla="*/ 775809 w 1466850"/>
                <a:gd name="connsiteY31" fmla="*/ 586265 h 1314450"/>
                <a:gd name="connsiteX32" fmla="*/ 726520 w 1466850"/>
                <a:gd name="connsiteY32" fmla="*/ 589363 h 1314450"/>
                <a:gd name="connsiteX33" fmla="*/ 719137 w 1466850"/>
                <a:gd name="connsiteY33" fmla="*/ 538163 h 1314450"/>
                <a:gd name="connsiteX34" fmla="*/ 695325 w 1466850"/>
                <a:gd name="connsiteY34" fmla="*/ 538163 h 1314450"/>
                <a:gd name="connsiteX35" fmla="*/ 695325 w 1466850"/>
                <a:gd name="connsiteY35" fmla="*/ 500063 h 1314450"/>
                <a:gd name="connsiteX36" fmla="*/ 662942 w 1466850"/>
                <a:gd name="connsiteY36" fmla="*/ 500063 h 1314450"/>
                <a:gd name="connsiteX37" fmla="*/ 657225 w 1466850"/>
                <a:gd name="connsiteY37" fmla="*/ 438150 h 1314450"/>
                <a:gd name="connsiteX38" fmla="*/ 587451 w 1466850"/>
                <a:gd name="connsiteY38" fmla="*/ 438150 h 1314450"/>
                <a:gd name="connsiteX39" fmla="*/ 590550 w 1466850"/>
                <a:gd name="connsiteY39" fmla="*/ 342900 h 1314450"/>
                <a:gd name="connsiteX40" fmla="*/ 542925 w 1466850"/>
                <a:gd name="connsiteY40" fmla="*/ 342900 h 1314450"/>
                <a:gd name="connsiteX41" fmla="*/ 545545 w 1466850"/>
                <a:gd name="connsiteY41" fmla="*/ 289325 h 1314450"/>
                <a:gd name="connsiteX42" fmla="*/ 474585 w 1466850"/>
                <a:gd name="connsiteY42" fmla="*/ 288370 h 1314450"/>
                <a:gd name="connsiteX43" fmla="*/ 471487 w 1466850"/>
                <a:gd name="connsiteY43" fmla="*/ 238125 h 1314450"/>
                <a:gd name="connsiteX44" fmla="*/ 428625 w 1466850"/>
                <a:gd name="connsiteY44" fmla="*/ 238125 h 1314450"/>
                <a:gd name="connsiteX45" fmla="*/ 428624 w 1466850"/>
                <a:gd name="connsiteY45" fmla="*/ 161925 h 1314450"/>
                <a:gd name="connsiteX46" fmla="*/ 385762 w 1466850"/>
                <a:gd name="connsiteY46" fmla="*/ 161925 h 1314450"/>
                <a:gd name="connsiteX47" fmla="*/ 385762 w 1466850"/>
                <a:gd name="connsiteY47" fmla="*/ 104775 h 1314450"/>
                <a:gd name="connsiteX48" fmla="*/ 223837 w 1466850"/>
                <a:gd name="connsiteY48" fmla="*/ 114300 h 1314450"/>
                <a:gd name="connsiteX49" fmla="*/ 223837 w 1466850"/>
                <a:gd name="connsiteY49" fmla="*/ 71438 h 1314450"/>
                <a:gd name="connsiteX50" fmla="*/ 152400 w 1466850"/>
                <a:gd name="connsiteY50" fmla="*/ 71438 h 1314450"/>
                <a:gd name="connsiteX51" fmla="*/ 152400 w 1466850"/>
                <a:gd name="connsiteY51" fmla="*/ 38100 h 1314450"/>
                <a:gd name="connsiteX52" fmla="*/ 76200 w 1466850"/>
                <a:gd name="connsiteY52" fmla="*/ 33338 h 1314450"/>
                <a:gd name="connsiteX53" fmla="*/ 71437 w 1466850"/>
                <a:gd name="connsiteY53" fmla="*/ 0 h 1314450"/>
                <a:gd name="connsiteX54" fmla="*/ 0 w 1466850"/>
                <a:gd name="connsiteY54" fmla="*/ 4763 h 1314450"/>
                <a:gd name="connsiteX0" fmla="*/ 1466850 w 1466850"/>
                <a:gd name="connsiteY0" fmla="*/ 1314450 h 1314450"/>
                <a:gd name="connsiteX1" fmla="*/ 1462087 w 1466850"/>
                <a:gd name="connsiteY1" fmla="*/ 1262063 h 1314450"/>
                <a:gd name="connsiteX2" fmla="*/ 1423987 w 1466850"/>
                <a:gd name="connsiteY2" fmla="*/ 1262063 h 1314450"/>
                <a:gd name="connsiteX3" fmla="*/ 1423987 w 1466850"/>
                <a:gd name="connsiteY3" fmla="*/ 1228725 h 1314450"/>
                <a:gd name="connsiteX4" fmla="*/ 1366837 w 1466850"/>
                <a:gd name="connsiteY4" fmla="*/ 1228725 h 1314450"/>
                <a:gd name="connsiteX5" fmla="*/ 1366837 w 1466850"/>
                <a:gd name="connsiteY5" fmla="*/ 1190625 h 1314450"/>
                <a:gd name="connsiteX6" fmla="*/ 1338262 w 1466850"/>
                <a:gd name="connsiteY6" fmla="*/ 1190625 h 1314450"/>
                <a:gd name="connsiteX7" fmla="*/ 1338262 w 1466850"/>
                <a:gd name="connsiteY7" fmla="*/ 1143000 h 1314450"/>
                <a:gd name="connsiteX8" fmla="*/ 1338262 w 1466850"/>
                <a:gd name="connsiteY8" fmla="*/ 1143000 h 1314450"/>
                <a:gd name="connsiteX9" fmla="*/ 1304924 w 1466850"/>
                <a:gd name="connsiteY9" fmla="*/ 1138238 h 1314450"/>
                <a:gd name="connsiteX10" fmla="*/ 1300163 w 1466850"/>
                <a:gd name="connsiteY10" fmla="*/ 1100137 h 1314450"/>
                <a:gd name="connsiteX11" fmla="*/ 1290637 w 1466850"/>
                <a:gd name="connsiteY11" fmla="*/ 1066800 h 1314450"/>
                <a:gd name="connsiteX12" fmla="*/ 1238249 w 1466850"/>
                <a:gd name="connsiteY12" fmla="*/ 1062037 h 1314450"/>
                <a:gd name="connsiteX13" fmla="*/ 1233487 w 1466850"/>
                <a:gd name="connsiteY13" fmla="*/ 1014413 h 1314450"/>
                <a:gd name="connsiteX14" fmla="*/ 1214437 w 1466850"/>
                <a:gd name="connsiteY14" fmla="*/ 1014413 h 1314450"/>
                <a:gd name="connsiteX15" fmla="*/ 1207055 w 1466850"/>
                <a:gd name="connsiteY15" fmla="*/ 955598 h 1314450"/>
                <a:gd name="connsiteX16" fmla="*/ 1133475 w 1466850"/>
                <a:gd name="connsiteY16" fmla="*/ 952500 h 1314450"/>
                <a:gd name="connsiteX17" fmla="*/ 1130353 w 1466850"/>
                <a:gd name="connsiteY17" fmla="*/ 904826 h 1314450"/>
                <a:gd name="connsiteX18" fmla="*/ 1071562 w 1466850"/>
                <a:gd name="connsiteY18" fmla="*/ 900113 h 1314450"/>
                <a:gd name="connsiteX19" fmla="*/ 1071562 w 1466850"/>
                <a:gd name="connsiteY19" fmla="*/ 866676 h 1314450"/>
                <a:gd name="connsiteX20" fmla="*/ 1002745 w 1466850"/>
                <a:gd name="connsiteY20" fmla="*/ 867731 h 1314450"/>
                <a:gd name="connsiteX21" fmla="*/ 999647 w 1466850"/>
                <a:gd name="connsiteY21" fmla="*/ 807483 h 1314450"/>
                <a:gd name="connsiteX22" fmla="*/ 966787 w 1466850"/>
                <a:gd name="connsiteY22" fmla="*/ 804863 h 1314450"/>
                <a:gd name="connsiteX23" fmla="*/ 966787 w 1466850"/>
                <a:gd name="connsiteY23" fmla="*/ 779386 h 1314450"/>
                <a:gd name="connsiteX24" fmla="*/ 904875 w 1466850"/>
                <a:gd name="connsiteY24" fmla="*/ 776288 h 1314450"/>
                <a:gd name="connsiteX25" fmla="*/ 904875 w 1466850"/>
                <a:gd name="connsiteY25" fmla="*/ 742950 h 1314450"/>
                <a:gd name="connsiteX26" fmla="*/ 862012 w 1466850"/>
                <a:gd name="connsiteY26" fmla="*/ 742950 h 1314450"/>
                <a:gd name="connsiteX27" fmla="*/ 861535 w 1466850"/>
                <a:gd name="connsiteY27" fmla="*/ 693660 h 1314450"/>
                <a:gd name="connsiteX28" fmla="*/ 814387 w 1466850"/>
                <a:gd name="connsiteY28" fmla="*/ 690563 h 1314450"/>
                <a:gd name="connsiteX29" fmla="*/ 814387 w 1466850"/>
                <a:gd name="connsiteY29" fmla="*/ 647700 h 1314450"/>
                <a:gd name="connsiteX30" fmla="*/ 776287 w 1466850"/>
                <a:gd name="connsiteY30" fmla="*/ 642937 h 1314450"/>
                <a:gd name="connsiteX31" fmla="*/ 775809 w 1466850"/>
                <a:gd name="connsiteY31" fmla="*/ 586265 h 1314450"/>
                <a:gd name="connsiteX32" fmla="*/ 726520 w 1466850"/>
                <a:gd name="connsiteY32" fmla="*/ 589363 h 1314450"/>
                <a:gd name="connsiteX33" fmla="*/ 719137 w 1466850"/>
                <a:gd name="connsiteY33" fmla="*/ 538163 h 1314450"/>
                <a:gd name="connsiteX34" fmla="*/ 695325 w 1466850"/>
                <a:gd name="connsiteY34" fmla="*/ 538163 h 1314450"/>
                <a:gd name="connsiteX35" fmla="*/ 695325 w 1466850"/>
                <a:gd name="connsiteY35" fmla="*/ 500063 h 1314450"/>
                <a:gd name="connsiteX36" fmla="*/ 662942 w 1466850"/>
                <a:gd name="connsiteY36" fmla="*/ 500063 h 1314450"/>
                <a:gd name="connsiteX37" fmla="*/ 657225 w 1466850"/>
                <a:gd name="connsiteY37" fmla="*/ 438150 h 1314450"/>
                <a:gd name="connsiteX38" fmla="*/ 587451 w 1466850"/>
                <a:gd name="connsiteY38" fmla="*/ 438150 h 1314450"/>
                <a:gd name="connsiteX39" fmla="*/ 590550 w 1466850"/>
                <a:gd name="connsiteY39" fmla="*/ 342900 h 1314450"/>
                <a:gd name="connsiteX40" fmla="*/ 542925 w 1466850"/>
                <a:gd name="connsiteY40" fmla="*/ 342900 h 1314450"/>
                <a:gd name="connsiteX41" fmla="*/ 545545 w 1466850"/>
                <a:gd name="connsiteY41" fmla="*/ 289325 h 1314450"/>
                <a:gd name="connsiteX42" fmla="*/ 474585 w 1466850"/>
                <a:gd name="connsiteY42" fmla="*/ 288370 h 1314450"/>
                <a:gd name="connsiteX43" fmla="*/ 471487 w 1466850"/>
                <a:gd name="connsiteY43" fmla="*/ 238125 h 1314450"/>
                <a:gd name="connsiteX44" fmla="*/ 428625 w 1466850"/>
                <a:gd name="connsiteY44" fmla="*/ 238125 h 1314450"/>
                <a:gd name="connsiteX45" fmla="*/ 428624 w 1466850"/>
                <a:gd name="connsiteY45" fmla="*/ 161925 h 1314450"/>
                <a:gd name="connsiteX46" fmla="*/ 385762 w 1466850"/>
                <a:gd name="connsiteY46" fmla="*/ 161925 h 1314450"/>
                <a:gd name="connsiteX47" fmla="*/ 385762 w 1466850"/>
                <a:gd name="connsiteY47" fmla="*/ 104775 h 1314450"/>
                <a:gd name="connsiteX48" fmla="*/ 223837 w 1466850"/>
                <a:gd name="connsiteY48" fmla="*/ 114300 h 1314450"/>
                <a:gd name="connsiteX49" fmla="*/ 223837 w 1466850"/>
                <a:gd name="connsiteY49" fmla="*/ 71438 h 1314450"/>
                <a:gd name="connsiteX50" fmla="*/ 152400 w 1466850"/>
                <a:gd name="connsiteY50" fmla="*/ 71438 h 1314450"/>
                <a:gd name="connsiteX51" fmla="*/ 152400 w 1466850"/>
                <a:gd name="connsiteY51" fmla="*/ 38100 h 1314450"/>
                <a:gd name="connsiteX52" fmla="*/ 76200 w 1466850"/>
                <a:gd name="connsiteY52" fmla="*/ 33338 h 1314450"/>
                <a:gd name="connsiteX53" fmla="*/ 71437 w 1466850"/>
                <a:gd name="connsiteY53" fmla="*/ 0 h 1314450"/>
                <a:gd name="connsiteX54" fmla="*/ 0 w 1466850"/>
                <a:gd name="connsiteY54" fmla="*/ 4763 h 1314450"/>
                <a:gd name="connsiteX0" fmla="*/ 1466850 w 1466850"/>
                <a:gd name="connsiteY0" fmla="*/ 1314450 h 1314450"/>
                <a:gd name="connsiteX1" fmla="*/ 1462087 w 1466850"/>
                <a:gd name="connsiteY1" fmla="*/ 1262063 h 1314450"/>
                <a:gd name="connsiteX2" fmla="*/ 1423987 w 1466850"/>
                <a:gd name="connsiteY2" fmla="*/ 1262063 h 1314450"/>
                <a:gd name="connsiteX3" fmla="*/ 1423987 w 1466850"/>
                <a:gd name="connsiteY3" fmla="*/ 1228725 h 1314450"/>
                <a:gd name="connsiteX4" fmla="*/ 1366837 w 1466850"/>
                <a:gd name="connsiteY4" fmla="*/ 1228725 h 1314450"/>
                <a:gd name="connsiteX5" fmla="*/ 1366837 w 1466850"/>
                <a:gd name="connsiteY5" fmla="*/ 1190625 h 1314450"/>
                <a:gd name="connsiteX6" fmla="*/ 1338262 w 1466850"/>
                <a:gd name="connsiteY6" fmla="*/ 1190625 h 1314450"/>
                <a:gd name="connsiteX7" fmla="*/ 1338262 w 1466850"/>
                <a:gd name="connsiteY7" fmla="*/ 1143000 h 1314450"/>
                <a:gd name="connsiteX8" fmla="*/ 1338262 w 1466850"/>
                <a:gd name="connsiteY8" fmla="*/ 1143000 h 1314450"/>
                <a:gd name="connsiteX9" fmla="*/ 1304924 w 1466850"/>
                <a:gd name="connsiteY9" fmla="*/ 1138238 h 1314450"/>
                <a:gd name="connsiteX10" fmla="*/ 1300163 w 1466850"/>
                <a:gd name="connsiteY10" fmla="*/ 1100137 h 1314450"/>
                <a:gd name="connsiteX11" fmla="*/ 1290637 w 1466850"/>
                <a:gd name="connsiteY11" fmla="*/ 1066800 h 1314450"/>
                <a:gd name="connsiteX12" fmla="*/ 1238249 w 1466850"/>
                <a:gd name="connsiteY12" fmla="*/ 1062037 h 1314450"/>
                <a:gd name="connsiteX13" fmla="*/ 1241348 w 1466850"/>
                <a:gd name="connsiteY13" fmla="*/ 1014413 h 1314450"/>
                <a:gd name="connsiteX14" fmla="*/ 1214437 w 1466850"/>
                <a:gd name="connsiteY14" fmla="*/ 1014413 h 1314450"/>
                <a:gd name="connsiteX15" fmla="*/ 1207055 w 1466850"/>
                <a:gd name="connsiteY15" fmla="*/ 955598 h 1314450"/>
                <a:gd name="connsiteX16" fmla="*/ 1133475 w 1466850"/>
                <a:gd name="connsiteY16" fmla="*/ 952500 h 1314450"/>
                <a:gd name="connsiteX17" fmla="*/ 1130353 w 1466850"/>
                <a:gd name="connsiteY17" fmla="*/ 904826 h 1314450"/>
                <a:gd name="connsiteX18" fmla="*/ 1071562 w 1466850"/>
                <a:gd name="connsiteY18" fmla="*/ 900113 h 1314450"/>
                <a:gd name="connsiteX19" fmla="*/ 1071562 w 1466850"/>
                <a:gd name="connsiteY19" fmla="*/ 866676 h 1314450"/>
                <a:gd name="connsiteX20" fmla="*/ 1002745 w 1466850"/>
                <a:gd name="connsiteY20" fmla="*/ 867731 h 1314450"/>
                <a:gd name="connsiteX21" fmla="*/ 999647 w 1466850"/>
                <a:gd name="connsiteY21" fmla="*/ 807483 h 1314450"/>
                <a:gd name="connsiteX22" fmla="*/ 966787 w 1466850"/>
                <a:gd name="connsiteY22" fmla="*/ 804863 h 1314450"/>
                <a:gd name="connsiteX23" fmla="*/ 966787 w 1466850"/>
                <a:gd name="connsiteY23" fmla="*/ 779386 h 1314450"/>
                <a:gd name="connsiteX24" fmla="*/ 904875 w 1466850"/>
                <a:gd name="connsiteY24" fmla="*/ 776288 h 1314450"/>
                <a:gd name="connsiteX25" fmla="*/ 904875 w 1466850"/>
                <a:gd name="connsiteY25" fmla="*/ 742950 h 1314450"/>
                <a:gd name="connsiteX26" fmla="*/ 862012 w 1466850"/>
                <a:gd name="connsiteY26" fmla="*/ 742950 h 1314450"/>
                <a:gd name="connsiteX27" fmla="*/ 861535 w 1466850"/>
                <a:gd name="connsiteY27" fmla="*/ 693660 h 1314450"/>
                <a:gd name="connsiteX28" fmla="*/ 814387 w 1466850"/>
                <a:gd name="connsiteY28" fmla="*/ 690563 h 1314450"/>
                <a:gd name="connsiteX29" fmla="*/ 814387 w 1466850"/>
                <a:gd name="connsiteY29" fmla="*/ 647700 h 1314450"/>
                <a:gd name="connsiteX30" fmla="*/ 776287 w 1466850"/>
                <a:gd name="connsiteY30" fmla="*/ 642937 h 1314450"/>
                <a:gd name="connsiteX31" fmla="*/ 775809 w 1466850"/>
                <a:gd name="connsiteY31" fmla="*/ 586265 h 1314450"/>
                <a:gd name="connsiteX32" fmla="*/ 726520 w 1466850"/>
                <a:gd name="connsiteY32" fmla="*/ 589363 h 1314450"/>
                <a:gd name="connsiteX33" fmla="*/ 719137 w 1466850"/>
                <a:gd name="connsiteY33" fmla="*/ 538163 h 1314450"/>
                <a:gd name="connsiteX34" fmla="*/ 695325 w 1466850"/>
                <a:gd name="connsiteY34" fmla="*/ 538163 h 1314450"/>
                <a:gd name="connsiteX35" fmla="*/ 695325 w 1466850"/>
                <a:gd name="connsiteY35" fmla="*/ 500063 h 1314450"/>
                <a:gd name="connsiteX36" fmla="*/ 662942 w 1466850"/>
                <a:gd name="connsiteY36" fmla="*/ 500063 h 1314450"/>
                <a:gd name="connsiteX37" fmla="*/ 657225 w 1466850"/>
                <a:gd name="connsiteY37" fmla="*/ 438150 h 1314450"/>
                <a:gd name="connsiteX38" fmla="*/ 587451 w 1466850"/>
                <a:gd name="connsiteY38" fmla="*/ 438150 h 1314450"/>
                <a:gd name="connsiteX39" fmla="*/ 590550 w 1466850"/>
                <a:gd name="connsiteY39" fmla="*/ 342900 h 1314450"/>
                <a:gd name="connsiteX40" fmla="*/ 542925 w 1466850"/>
                <a:gd name="connsiteY40" fmla="*/ 342900 h 1314450"/>
                <a:gd name="connsiteX41" fmla="*/ 545545 w 1466850"/>
                <a:gd name="connsiteY41" fmla="*/ 289325 h 1314450"/>
                <a:gd name="connsiteX42" fmla="*/ 474585 w 1466850"/>
                <a:gd name="connsiteY42" fmla="*/ 288370 h 1314450"/>
                <a:gd name="connsiteX43" fmla="*/ 471487 w 1466850"/>
                <a:gd name="connsiteY43" fmla="*/ 238125 h 1314450"/>
                <a:gd name="connsiteX44" fmla="*/ 428625 w 1466850"/>
                <a:gd name="connsiteY44" fmla="*/ 238125 h 1314450"/>
                <a:gd name="connsiteX45" fmla="*/ 428624 w 1466850"/>
                <a:gd name="connsiteY45" fmla="*/ 161925 h 1314450"/>
                <a:gd name="connsiteX46" fmla="*/ 385762 w 1466850"/>
                <a:gd name="connsiteY46" fmla="*/ 161925 h 1314450"/>
                <a:gd name="connsiteX47" fmla="*/ 385762 w 1466850"/>
                <a:gd name="connsiteY47" fmla="*/ 104775 h 1314450"/>
                <a:gd name="connsiteX48" fmla="*/ 223837 w 1466850"/>
                <a:gd name="connsiteY48" fmla="*/ 114300 h 1314450"/>
                <a:gd name="connsiteX49" fmla="*/ 223837 w 1466850"/>
                <a:gd name="connsiteY49" fmla="*/ 71438 h 1314450"/>
                <a:gd name="connsiteX50" fmla="*/ 152400 w 1466850"/>
                <a:gd name="connsiteY50" fmla="*/ 71438 h 1314450"/>
                <a:gd name="connsiteX51" fmla="*/ 152400 w 1466850"/>
                <a:gd name="connsiteY51" fmla="*/ 38100 h 1314450"/>
                <a:gd name="connsiteX52" fmla="*/ 76200 w 1466850"/>
                <a:gd name="connsiteY52" fmla="*/ 33338 h 1314450"/>
                <a:gd name="connsiteX53" fmla="*/ 71437 w 1466850"/>
                <a:gd name="connsiteY53" fmla="*/ 0 h 1314450"/>
                <a:gd name="connsiteX54" fmla="*/ 0 w 1466850"/>
                <a:gd name="connsiteY54" fmla="*/ 4763 h 1314450"/>
                <a:gd name="connsiteX0" fmla="*/ 1466850 w 1466850"/>
                <a:gd name="connsiteY0" fmla="*/ 1314450 h 1314450"/>
                <a:gd name="connsiteX1" fmla="*/ 1462087 w 1466850"/>
                <a:gd name="connsiteY1" fmla="*/ 1262063 h 1314450"/>
                <a:gd name="connsiteX2" fmla="*/ 1423987 w 1466850"/>
                <a:gd name="connsiteY2" fmla="*/ 1262063 h 1314450"/>
                <a:gd name="connsiteX3" fmla="*/ 1423987 w 1466850"/>
                <a:gd name="connsiteY3" fmla="*/ 1228725 h 1314450"/>
                <a:gd name="connsiteX4" fmla="*/ 1366837 w 1466850"/>
                <a:gd name="connsiteY4" fmla="*/ 1228725 h 1314450"/>
                <a:gd name="connsiteX5" fmla="*/ 1366837 w 1466850"/>
                <a:gd name="connsiteY5" fmla="*/ 1190625 h 1314450"/>
                <a:gd name="connsiteX6" fmla="*/ 1338262 w 1466850"/>
                <a:gd name="connsiteY6" fmla="*/ 1190625 h 1314450"/>
                <a:gd name="connsiteX7" fmla="*/ 1338262 w 1466850"/>
                <a:gd name="connsiteY7" fmla="*/ 1143000 h 1314450"/>
                <a:gd name="connsiteX8" fmla="*/ 1338262 w 1466850"/>
                <a:gd name="connsiteY8" fmla="*/ 1143000 h 1314450"/>
                <a:gd name="connsiteX9" fmla="*/ 1304924 w 1466850"/>
                <a:gd name="connsiteY9" fmla="*/ 1138238 h 1314450"/>
                <a:gd name="connsiteX10" fmla="*/ 1300163 w 1466850"/>
                <a:gd name="connsiteY10" fmla="*/ 1100137 h 1314450"/>
                <a:gd name="connsiteX11" fmla="*/ 1290637 w 1466850"/>
                <a:gd name="connsiteY11" fmla="*/ 1066800 h 1314450"/>
                <a:gd name="connsiteX12" fmla="*/ 1238249 w 1466850"/>
                <a:gd name="connsiteY12" fmla="*/ 1062037 h 1314450"/>
                <a:gd name="connsiteX13" fmla="*/ 1238728 w 1466850"/>
                <a:gd name="connsiteY13" fmla="*/ 1014413 h 1314450"/>
                <a:gd name="connsiteX14" fmla="*/ 1214437 w 1466850"/>
                <a:gd name="connsiteY14" fmla="*/ 1014413 h 1314450"/>
                <a:gd name="connsiteX15" fmla="*/ 1207055 w 1466850"/>
                <a:gd name="connsiteY15" fmla="*/ 955598 h 1314450"/>
                <a:gd name="connsiteX16" fmla="*/ 1133475 w 1466850"/>
                <a:gd name="connsiteY16" fmla="*/ 952500 h 1314450"/>
                <a:gd name="connsiteX17" fmla="*/ 1130353 w 1466850"/>
                <a:gd name="connsiteY17" fmla="*/ 904826 h 1314450"/>
                <a:gd name="connsiteX18" fmla="*/ 1071562 w 1466850"/>
                <a:gd name="connsiteY18" fmla="*/ 900113 h 1314450"/>
                <a:gd name="connsiteX19" fmla="*/ 1071562 w 1466850"/>
                <a:gd name="connsiteY19" fmla="*/ 866676 h 1314450"/>
                <a:gd name="connsiteX20" fmla="*/ 1002745 w 1466850"/>
                <a:gd name="connsiteY20" fmla="*/ 867731 h 1314450"/>
                <a:gd name="connsiteX21" fmla="*/ 999647 w 1466850"/>
                <a:gd name="connsiteY21" fmla="*/ 807483 h 1314450"/>
                <a:gd name="connsiteX22" fmla="*/ 966787 w 1466850"/>
                <a:gd name="connsiteY22" fmla="*/ 804863 h 1314450"/>
                <a:gd name="connsiteX23" fmla="*/ 966787 w 1466850"/>
                <a:gd name="connsiteY23" fmla="*/ 779386 h 1314450"/>
                <a:gd name="connsiteX24" fmla="*/ 904875 w 1466850"/>
                <a:gd name="connsiteY24" fmla="*/ 776288 h 1314450"/>
                <a:gd name="connsiteX25" fmla="*/ 904875 w 1466850"/>
                <a:gd name="connsiteY25" fmla="*/ 742950 h 1314450"/>
                <a:gd name="connsiteX26" fmla="*/ 862012 w 1466850"/>
                <a:gd name="connsiteY26" fmla="*/ 742950 h 1314450"/>
                <a:gd name="connsiteX27" fmla="*/ 861535 w 1466850"/>
                <a:gd name="connsiteY27" fmla="*/ 693660 h 1314450"/>
                <a:gd name="connsiteX28" fmla="*/ 814387 w 1466850"/>
                <a:gd name="connsiteY28" fmla="*/ 690563 h 1314450"/>
                <a:gd name="connsiteX29" fmla="*/ 814387 w 1466850"/>
                <a:gd name="connsiteY29" fmla="*/ 647700 h 1314450"/>
                <a:gd name="connsiteX30" fmla="*/ 776287 w 1466850"/>
                <a:gd name="connsiteY30" fmla="*/ 642937 h 1314450"/>
                <a:gd name="connsiteX31" fmla="*/ 775809 w 1466850"/>
                <a:gd name="connsiteY31" fmla="*/ 586265 h 1314450"/>
                <a:gd name="connsiteX32" fmla="*/ 726520 w 1466850"/>
                <a:gd name="connsiteY32" fmla="*/ 589363 h 1314450"/>
                <a:gd name="connsiteX33" fmla="*/ 719137 w 1466850"/>
                <a:gd name="connsiteY33" fmla="*/ 538163 h 1314450"/>
                <a:gd name="connsiteX34" fmla="*/ 695325 w 1466850"/>
                <a:gd name="connsiteY34" fmla="*/ 538163 h 1314450"/>
                <a:gd name="connsiteX35" fmla="*/ 695325 w 1466850"/>
                <a:gd name="connsiteY35" fmla="*/ 500063 h 1314450"/>
                <a:gd name="connsiteX36" fmla="*/ 662942 w 1466850"/>
                <a:gd name="connsiteY36" fmla="*/ 500063 h 1314450"/>
                <a:gd name="connsiteX37" fmla="*/ 657225 w 1466850"/>
                <a:gd name="connsiteY37" fmla="*/ 438150 h 1314450"/>
                <a:gd name="connsiteX38" fmla="*/ 587451 w 1466850"/>
                <a:gd name="connsiteY38" fmla="*/ 438150 h 1314450"/>
                <a:gd name="connsiteX39" fmla="*/ 590550 w 1466850"/>
                <a:gd name="connsiteY39" fmla="*/ 342900 h 1314450"/>
                <a:gd name="connsiteX40" fmla="*/ 542925 w 1466850"/>
                <a:gd name="connsiteY40" fmla="*/ 342900 h 1314450"/>
                <a:gd name="connsiteX41" fmla="*/ 545545 w 1466850"/>
                <a:gd name="connsiteY41" fmla="*/ 289325 h 1314450"/>
                <a:gd name="connsiteX42" fmla="*/ 474585 w 1466850"/>
                <a:gd name="connsiteY42" fmla="*/ 288370 h 1314450"/>
                <a:gd name="connsiteX43" fmla="*/ 471487 w 1466850"/>
                <a:gd name="connsiteY43" fmla="*/ 238125 h 1314450"/>
                <a:gd name="connsiteX44" fmla="*/ 428625 w 1466850"/>
                <a:gd name="connsiteY44" fmla="*/ 238125 h 1314450"/>
                <a:gd name="connsiteX45" fmla="*/ 428624 w 1466850"/>
                <a:gd name="connsiteY45" fmla="*/ 161925 h 1314450"/>
                <a:gd name="connsiteX46" fmla="*/ 385762 w 1466850"/>
                <a:gd name="connsiteY46" fmla="*/ 161925 h 1314450"/>
                <a:gd name="connsiteX47" fmla="*/ 385762 w 1466850"/>
                <a:gd name="connsiteY47" fmla="*/ 104775 h 1314450"/>
                <a:gd name="connsiteX48" fmla="*/ 223837 w 1466850"/>
                <a:gd name="connsiteY48" fmla="*/ 114300 h 1314450"/>
                <a:gd name="connsiteX49" fmla="*/ 223837 w 1466850"/>
                <a:gd name="connsiteY49" fmla="*/ 71438 h 1314450"/>
                <a:gd name="connsiteX50" fmla="*/ 152400 w 1466850"/>
                <a:gd name="connsiteY50" fmla="*/ 71438 h 1314450"/>
                <a:gd name="connsiteX51" fmla="*/ 152400 w 1466850"/>
                <a:gd name="connsiteY51" fmla="*/ 38100 h 1314450"/>
                <a:gd name="connsiteX52" fmla="*/ 76200 w 1466850"/>
                <a:gd name="connsiteY52" fmla="*/ 33338 h 1314450"/>
                <a:gd name="connsiteX53" fmla="*/ 71437 w 1466850"/>
                <a:gd name="connsiteY53" fmla="*/ 0 h 1314450"/>
                <a:gd name="connsiteX54" fmla="*/ 0 w 1466850"/>
                <a:gd name="connsiteY54" fmla="*/ 4763 h 1314450"/>
                <a:gd name="connsiteX0" fmla="*/ 1466850 w 1466850"/>
                <a:gd name="connsiteY0" fmla="*/ 1314450 h 1314450"/>
                <a:gd name="connsiteX1" fmla="*/ 1462087 w 1466850"/>
                <a:gd name="connsiteY1" fmla="*/ 1262063 h 1314450"/>
                <a:gd name="connsiteX2" fmla="*/ 1423987 w 1466850"/>
                <a:gd name="connsiteY2" fmla="*/ 1262063 h 1314450"/>
                <a:gd name="connsiteX3" fmla="*/ 1423987 w 1466850"/>
                <a:gd name="connsiteY3" fmla="*/ 1228725 h 1314450"/>
                <a:gd name="connsiteX4" fmla="*/ 1366837 w 1466850"/>
                <a:gd name="connsiteY4" fmla="*/ 1228725 h 1314450"/>
                <a:gd name="connsiteX5" fmla="*/ 1366837 w 1466850"/>
                <a:gd name="connsiteY5" fmla="*/ 1190625 h 1314450"/>
                <a:gd name="connsiteX6" fmla="*/ 1338262 w 1466850"/>
                <a:gd name="connsiteY6" fmla="*/ 1190625 h 1314450"/>
                <a:gd name="connsiteX7" fmla="*/ 1338262 w 1466850"/>
                <a:gd name="connsiteY7" fmla="*/ 1143000 h 1314450"/>
                <a:gd name="connsiteX8" fmla="*/ 1338262 w 1466850"/>
                <a:gd name="connsiteY8" fmla="*/ 1143000 h 1314450"/>
                <a:gd name="connsiteX9" fmla="*/ 1304924 w 1466850"/>
                <a:gd name="connsiteY9" fmla="*/ 1138238 h 1314450"/>
                <a:gd name="connsiteX10" fmla="*/ 1300163 w 1466850"/>
                <a:gd name="connsiteY10" fmla="*/ 1100137 h 1314450"/>
                <a:gd name="connsiteX11" fmla="*/ 1290637 w 1466850"/>
                <a:gd name="connsiteY11" fmla="*/ 1066800 h 1314450"/>
                <a:gd name="connsiteX12" fmla="*/ 1238249 w 1466850"/>
                <a:gd name="connsiteY12" fmla="*/ 1062037 h 1314450"/>
                <a:gd name="connsiteX13" fmla="*/ 1238728 w 1466850"/>
                <a:gd name="connsiteY13" fmla="*/ 1014413 h 1314450"/>
                <a:gd name="connsiteX14" fmla="*/ 1214437 w 1466850"/>
                <a:gd name="connsiteY14" fmla="*/ 1014413 h 1314450"/>
                <a:gd name="connsiteX15" fmla="*/ 1220155 w 1466850"/>
                <a:gd name="connsiteY15" fmla="*/ 952978 h 1314450"/>
                <a:gd name="connsiteX16" fmla="*/ 1133475 w 1466850"/>
                <a:gd name="connsiteY16" fmla="*/ 952500 h 1314450"/>
                <a:gd name="connsiteX17" fmla="*/ 1130353 w 1466850"/>
                <a:gd name="connsiteY17" fmla="*/ 904826 h 1314450"/>
                <a:gd name="connsiteX18" fmla="*/ 1071562 w 1466850"/>
                <a:gd name="connsiteY18" fmla="*/ 900113 h 1314450"/>
                <a:gd name="connsiteX19" fmla="*/ 1071562 w 1466850"/>
                <a:gd name="connsiteY19" fmla="*/ 866676 h 1314450"/>
                <a:gd name="connsiteX20" fmla="*/ 1002745 w 1466850"/>
                <a:gd name="connsiteY20" fmla="*/ 867731 h 1314450"/>
                <a:gd name="connsiteX21" fmla="*/ 999647 w 1466850"/>
                <a:gd name="connsiteY21" fmla="*/ 807483 h 1314450"/>
                <a:gd name="connsiteX22" fmla="*/ 966787 w 1466850"/>
                <a:gd name="connsiteY22" fmla="*/ 804863 h 1314450"/>
                <a:gd name="connsiteX23" fmla="*/ 966787 w 1466850"/>
                <a:gd name="connsiteY23" fmla="*/ 779386 h 1314450"/>
                <a:gd name="connsiteX24" fmla="*/ 904875 w 1466850"/>
                <a:gd name="connsiteY24" fmla="*/ 776288 h 1314450"/>
                <a:gd name="connsiteX25" fmla="*/ 904875 w 1466850"/>
                <a:gd name="connsiteY25" fmla="*/ 742950 h 1314450"/>
                <a:gd name="connsiteX26" fmla="*/ 862012 w 1466850"/>
                <a:gd name="connsiteY26" fmla="*/ 742950 h 1314450"/>
                <a:gd name="connsiteX27" fmla="*/ 861535 w 1466850"/>
                <a:gd name="connsiteY27" fmla="*/ 693660 h 1314450"/>
                <a:gd name="connsiteX28" fmla="*/ 814387 w 1466850"/>
                <a:gd name="connsiteY28" fmla="*/ 690563 h 1314450"/>
                <a:gd name="connsiteX29" fmla="*/ 814387 w 1466850"/>
                <a:gd name="connsiteY29" fmla="*/ 647700 h 1314450"/>
                <a:gd name="connsiteX30" fmla="*/ 776287 w 1466850"/>
                <a:gd name="connsiteY30" fmla="*/ 642937 h 1314450"/>
                <a:gd name="connsiteX31" fmla="*/ 775809 w 1466850"/>
                <a:gd name="connsiteY31" fmla="*/ 586265 h 1314450"/>
                <a:gd name="connsiteX32" fmla="*/ 726520 w 1466850"/>
                <a:gd name="connsiteY32" fmla="*/ 589363 h 1314450"/>
                <a:gd name="connsiteX33" fmla="*/ 719137 w 1466850"/>
                <a:gd name="connsiteY33" fmla="*/ 538163 h 1314450"/>
                <a:gd name="connsiteX34" fmla="*/ 695325 w 1466850"/>
                <a:gd name="connsiteY34" fmla="*/ 538163 h 1314450"/>
                <a:gd name="connsiteX35" fmla="*/ 695325 w 1466850"/>
                <a:gd name="connsiteY35" fmla="*/ 500063 h 1314450"/>
                <a:gd name="connsiteX36" fmla="*/ 662942 w 1466850"/>
                <a:gd name="connsiteY36" fmla="*/ 500063 h 1314450"/>
                <a:gd name="connsiteX37" fmla="*/ 657225 w 1466850"/>
                <a:gd name="connsiteY37" fmla="*/ 438150 h 1314450"/>
                <a:gd name="connsiteX38" fmla="*/ 587451 w 1466850"/>
                <a:gd name="connsiteY38" fmla="*/ 438150 h 1314450"/>
                <a:gd name="connsiteX39" fmla="*/ 590550 w 1466850"/>
                <a:gd name="connsiteY39" fmla="*/ 342900 h 1314450"/>
                <a:gd name="connsiteX40" fmla="*/ 542925 w 1466850"/>
                <a:gd name="connsiteY40" fmla="*/ 342900 h 1314450"/>
                <a:gd name="connsiteX41" fmla="*/ 545545 w 1466850"/>
                <a:gd name="connsiteY41" fmla="*/ 289325 h 1314450"/>
                <a:gd name="connsiteX42" fmla="*/ 474585 w 1466850"/>
                <a:gd name="connsiteY42" fmla="*/ 288370 h 1314450"/>
                <a:gd name="connsiteX43" fmla="*/ 471487 w 1466850"/>
                <a:gd name="connsiteY43" fmla="*/ 238125 h 1314450"/>
                <a:gd name="connsiteX44" fmla="*/ 428625 w 1466850"/>
                <a:gd name="connsiteY44" fmla="*/ 238125 h 1314450"/>
                <a:gd name="connsiteX45" fmla="*/ 428624 w 1466850"/>
                <a:gd name="connsiteY45" fmla="*/ 161925 h 1314450"/>
                <a:gd name="connsiteX46" fmla="*/ 385762 w 1466850"/>
                <a:gd name="connsiteY46" fmla="*/ 161925 h 1314450"/>
                <a:gd name="connsiteX47" fmla="*/ 385762 w 1466850"/>
                <a:gd name="connsiteY47" fmla="*/ 104775 h 1314450"/>
                <a:gd name="connsiteX48" fmla="*/ 223837 w 1466850"/>
                <a:gd name="connsiteY48" fmla="*/ 114300 h 1314450"/>
                <a:gd name="connsiteX49" fmla="*/ 223837 w 1466850"/>
                <a:gd name="connsiteY49" fmla="*/ 71438 h 1314450"/>
                <a:gd name="connsiteX50" fmla="*/ 152400 w 1466850"/>
                <a:gd name="connsiteY50" fmla="*/ 71438 h 1314450"/>
                <a:gd name="connsiteX51" fmla="*/ 152400 w 1466850"/>
                <a:gd name="connsiteY51" fmla="*/ 38100 h 1314450"/>
                <a:gd name="connsiteX52" fmla="*/ 76200 w 1466850"/>
                <a:gd name="connsiteY52" fmla="*/ 33338 h 1314450"/>
                <a:gd name="connsiteX53" fmla="*/ 71437 w 1466850"/>
                <a:gd name="connsiteY53" fmla="*/ 0 h 1314450"/>
                <a:gd name="connsiteX54" fmla="*/ 0 w 1466850"/>
                <a:gd name="connsiteY54" fmla="*/ 4763 h 1314450"/>
                <a:gd name="connsiteX0" fmla="*/ 1466850 w 1466850"/>
                <a:gd name="connsiteY0" fmla="*/ 1314450 h 1314450"/>
                <a:gd name="connsiteX1" fmla="*/ 1462087 w 1466850"/>
                <a:gd name="connsiteY1" fmla="*/ 1262063 h 1314450"/>
                <a:gd name="connsiteX2" fmla="*/ 1423987 w 1466850"/>
                <a:gd name="connsiteY2" fmla="*/ 1262063 h 1314450"/>
                <a:gd name="connsiteX3" fmla="*/ 1423987 w 1466850"/>
                <a:gd name="connsiteY3" fmla="*/ 1228725 h 1314450"/>
                <a:gd name="connsiteX4" fmla="*/ 1366837 w 1466850"/>
                <a:gd name="connsiteY4" fmla="*/ 1228725 h 1314450"/>
                <a:gd name="connsiteX5" fmla="*/ 1366837 w 1466850"/>
                <a:gd name="connsiteY5" fmla="*/ 1190625 h 1314450"/>
                <a:gd name="connsiteX6" fmla="*/ 1338262 w 1466850"/>
                <a:gd name="connsiteY6" fmla="*/ 1190625 h 1314450"/>
                <a:gd name="connsiteX7" fmla="*/ 1338262 w 1466850"/>
                <a:gd name="connsiteY7" fmla="*/ 1143000 h 1314450"/>
                <a:gd name="connsiteX8" fmla="*/ 1338262 w 1466850"/>
                <a:gd name="connsiteY8" fmla="*/ 1143000 h 1314450"/>
                <a:gd name="connsiteX9" fmla="*/ 1304924 w 1466850"/>
                <a:gd name="connsiteY9" fmla="*/ 1138238 h 1314450"/>
                <a:gd name="connsiteX10" fmla="*/ 1300163 w 1466850"/>
                <a:gd name="connsiteY10" fmla="*/ 1100137 h 1314450"/>
                <a:gd name="connsiteX11" fmla="*/ 1290637 w 1466850"/>
                <a:gd name="connsiteY11" fmla="*/ 1066800 h 1314450"/>
                <a:gd name="connsiteX12" fmla="*/ 1238249 w 1466850"/>
                <a:gd name="connsiteY12" fmla="*/ 1062037 h 1314450"/>
                <a:gd name="connsiteX13" fmla="*/ 1238728 w 1466850"/>
                <a:gd name="connsiteY13" fmla="*/ 1014413 h 1314450"/>
                <a:gd name="connsiteX14" fmla="*/ 1214437 w 1466850"/>
                <a:gd name="connsiteY14" fmla="*/ 1014413 h 1314450"/>
                <a:gd name="connsiteX15" fmla="*/ 1217535 w 1466850"/>
                <a:gd name="connsiteY15" fmla="*/ 952978 h 1314450"/>
                <a:gd name="connsiteX16" fmla="*/ 1133475 w 1466850"/>
                <a:gd name="connsiteY16" fmla="*/ 952500 h 1314450"/>
                <a:gd name="connsiteX17" fmla="*/ 1130353 w 1466850"/>
                <a:gd name="connsiteY17" fmla="*/ 904826 h 1314450"/>
                <a:gd name="connsiteX18" fmla="*/ 1071562 w 1466850"/>
                <a:gd name="connsiteY18" fmla="*/ 900113 h 1314450"/>
                <a:gd name="connsiteX19" fmla="*/ 1071562 w 1466850"/>
                <a:gd name="connsiteY19" fmla="*/ 866676 h 1314450"/>
                <a:gd name="connsiteX20" fmla="*/ 1002745 w 1466850"/>
                <a:gd name="connsiteY20" fmla="*/ 867731 h 1314450"/>
                <a:gd name="connsiteX21" fmla="*/ 999647 w 1466850"/>
                <a:gd name="connsiteY21" fmla="*/ 807483 h 1314450"/>
                <a:gd name="connsiteX22" fmla="*/ 966787 w 1466850"/>
                <a:gd name="connsiteY22" fmla="*/ 804863 h 1314450"/>
                <a:gd name="connsiteX23" fmla="*/ 966787 w 1466850"/>
                <a:gd name="connsiteY23" fmla="*/ 779386 h 1314450"/>
                <a:gd name="connsiteX24" fmla="*/ 904875 w 1466850"/>
                <a:gd name="connsiteY24" fmla="*/ 776288 h 1314450"/>
                <a:gd name="connsiteX25" fmla="*/ 904875 w 1466850"/>
                <a:gd name="connsiteY25" fmla="*/ 742950 h 1314450"/>
                <a:gd name="connsiteX26" fmla="*/ 862012 w 1466850"/>
                <a:gd name="connsiteY26" fmla="*/ 742950 h 1314450"/>
                <a:gd name="connsiteX27" fmla="*/ 861535 w 1466850"/>
                <a:gd name="connsiteY27" fmla="*/ 693660 h 1314450"/>
                <a:gd name="connsiteX28" fmla="*/ 814387 w 1466850"/>
                <a:gd name="connsiteY28" fmla="*/ 690563 h 1314450"/>
                <a:gd name="connsiteX29" fmla="*/ 814387 w 1466850"/>
                <a:gd name="connsiteY29" fmla="*/ 647700 h 1314450"/>
                <a:gd name="connsiteX30" fmla="*/ 776287 w 1466850"/>
                <a:gd name="connsiteY30" fmla="*/ 642937 h 1314450"/>
                <a:gd name="connsiteX31" fmla="*/ 775809 w 1466850"/>
                <a:gd name="connsiteY31" fmla="*/ 586265 h 1314450"/>
                <a:gd name="connsiteX32" fmla="*/ 726520 w 1466850"/>
                <a:gd name="connsiteY32" fmla="*/ 589363 h 1314450"/>
                <a:gd name="connsiteX33" fmla="*/ 719137 w 1466850"/>
                <a:gd name="connsiteY33" fmla="*/ 538163 h 1314450"/>
                <a:gd name="connsiteX34" fmla="*/ 695325 w 1466850"/>
                <a:gd name="connsiteY34" fmla="*/ 538163 h 1314450"/>
                <a:gd name="connsiteX35" fmla="*/ 695325 w 1466850"/>
                <a:gd name="connsiteY35" fmla="*/ 500063 h 1314450"/>
                <a:gd name="connsiteX36" fmla="*/ 662942 w 1466850"/>
                <a:gd name="connsiteY36" fmla="*/ 500063 h 1314450"/>
                <a:gd name="connsiteX37" fmla="*/ 657225 w 1466850"/>
                <a:gd name="connsiteY37" fmla="*/ 438150 h 1314450"/>
                <a:gd name="connsiteX38" fmla="*/ 587451 w 1466850"/>
                <a:gd name="connsiteY38" fmla="*/ 438150 h 1314450"/>
                <a:gd name="connsiteX39" fmla="*/ 590550 w 1466850"/>
                <a:gd name="connsiteY39" fmla="*/ 342900 h 1314450"/>
                <a:gd name="connsiteX40" fmla="*/ 542925 w 1466850"/>
                <a:gd name="connsiteY40" fmla="*/ 342900 h 1314450"/>
                <a:gd name="connsiteX41" fmla="*/ 545545 w 1466850"/>
                <a:gd name="connsiteY41" fmla="*/ 289325 h 1314450"/>
                <a:gd name="connsiteX42" fmla="*/ 474585 w 1466850"/>
                <a:gd name="connsiteY42" fmla="*/ 288370 h 1314450"/>
                <a:gd name="connsiteX43" fmla="*/ 471487 w 1466850"/>
                <a:gd name="connsiteY43" fmla="*/ 238125 h 1314450"/>
                <a:gd name="connsiteX44" fmla="*/ 428625 w 1466850"/>
                <a:gd name="connsiteY44" fmla="*/ 238125 h 1314450"/>
                <a:gd name="connsiteX45" fmla="*/ 428624 w 1466850"/>
                <a:gd name="connsiteY45" fmla="*/ 161925 h 1314450"/>
                <a:gd name="connsiteX46" fmla="*/ 385762 w 1466850"/>
                <a:gd name="connsiteY46" fmla="*/ 161925 h 1314450"/>
                <a:gd name="connsiteX47" fmla="*/ 385762 w 1466850"/>
                <a:gd name="connsiteY47" fmla="*/ 104775 h 1314450"/>
                <a:gd name="connsiteX48" fmla="*/ 223837 w 1466850"/>
                <a:gd name="connsiteY48" fmla="*/ 114300 h 1314450"/>
                <a:gd name="connsiteX49" fmla="*/ 223837 w 1466850"/>
                <a:gd name="connsiteY49" fmla="*/ 71438 h 1314450"/>
                <a:gd name="connsiteX50" fmla="*/ 152400 w 1466850"/>
                <a:gd name="connsiteY50" fmla="*/ 71438 h 1314450"/>
                <a:gd name="connsiteX51" fmla="*/ 152400 w 1466850"/>
                <a:gd name="connsiteY51" fmla="*/ 38100 h 1314450"/>
                <a:gd name="connsiteX52" fmla="*/ 76200 w 1466850"/>
                <a:gd name="connsiteY52" fmla="*/ 33338 h 1314450"/>
                <a:gd name="connsiteX53" fmla="*/ 71437 w 1466850"/>
                <a:gd name="connsiteY53" fmla="*/ 0 h 1314450"/>
                <a:gd name="connsiteX54" fmla="*/ 0 w 1466850"/>
                <a:gd name="connsiteY54" fmla="*/ 4763 h 1314450"/>
                <a:gd name="connsiteX0" fmla="*/ 1466850 w 1466850"/>
                <a:gd name="connsiteY0" fmla="*/ 1314450 h 1314450"/>
                <a:gd name="connsiteX1" fmla="*/ 1462087 w 1466850"/>
                <a:gd name="connsiteY1" fmla="*/ 1262063 h 1314450"/>
                <a:gd name="connsiteX2" fmla="*/ 1423987 w 1466850"/>
                <a:gd name="connsiteY2" fmla="*/ 1262063 h 1314450"/>
                <a:gd name="connsiteX3" fmla="*/ 1423987 w 1466850"/>
                <a:gd name="connsiteY3" fmla="*/ 1228725 h 1314450"/>
                <a:gd name="connsiteX4" fmla="*/ 1366837 w 1466850"/>
                <a:gd name="connsiteY4" fmla="*/ 1228725 h 1314450"/>
                <a:gd name="connsiteX5" fmla="*/ 1366837 w 1466850"/>
                <a:gd name="connsiteY5" fmla="*/ 1190625 h 1314450"/>
                <a:gd name="connsiteX6" fmla="*/ 1338262 w 1466850"/>
                <a:gd name="connsiteY6" fmla="*/ 1190625 h 1314450"/>
                <a:gd name="connsiteX7" fmla="*/ 1338262 w 1466850"/>
                <a:gd name="connsiteY7" fmla="*/ 1143000 h 1314450"/>
                <a:gd name="connsiteX8" fmla="*/ 1338262 w 1466850"/>
                <a:gd name="connsiteY8" fmla="*/ 1143000 h 1314450"/>
                <a:gd name="connsiteX9" fmla="*/ 1304924 w 1466850"/>
                <a:gd name="connsiteY9" fmla="*/ 1138238 h 1314450"/>
                <a:gd name="connsiteX10" fmla="*/ 1300163 w 1466850"/>
                <a:gd name="connsiteY10" fmla="*/ 1100137 h 1314450"/>
                <a:gd name="connsiteX11" fmla="*/ 1290637 w 1466850"/>
                <a:gd name="connsiteY11" fmla="*/ 1066800 h 1314450"/>
                <a:gd name="connsiteX12" fmla="*/ 1240869 w 1466850"/>
                <a:gd name="connsiteY12" fmla="*/ 1085617 h 1314450"/>
                <a:gd name="connsiteX13" fmla="*/ 1238728 w 1466850"/>
                <a:gd name="connsiteY13" fmla="*/ 1014413 h 1314450"/>
                <a:gd name="connsiteX14" fmla="*/ 1214437 w 1466850"/>
                <a:gd name="connsiteY14" fmla="*/ 1014413 h 1314450"/>
                <a:gd name="connsiteX15" fmla="*/ 1217535 w 1466850"/>
                <a:gd name="connsiteY15" fmla="*/ 952978 h 1314450"/>
                <a:gd name="connsiteX16" fmla="*/ 1133475 w 1466850"/>
                <a:gd name="connsiteY16" fmla="*/ 952500 h 1314450"/>
                <a:gd name="connsiteX17" fmla="*/ 1130353 w 1466850"/>
                <a:gd name="connsiteY17" fmla="*/ 904826 h 1314450"/>
                <a:gd name="connsiteX18" fmla="*/ 1071562 w 1466850"/>
                <a:gd name="connsiteY18" fmla="*/ 900113 h 1314450"/>
                <a:gd name="connsiteX19" fmla="*/ 1071562 w 1466850"/>
                <a:gd name="connsiteY19" fmla="*/ 866676 h 1314450"/>
                <a:gd name="connsiteX20" fmla="*/ 1002745 w 1466850"/>
                <a:gd name="connsiteY20" fmla="*/ 867731 h 1314450"/>
                <a:gd name="connsiteX21" fmla="*/ 999647 w 1466850"/>
                <a:gd name="connsiteY21" fmla="*/ 807483 h 1314450"/>
                <a:gd name="connsiteX22" fmla="*/ 966787 w 1466850"/>
                <a:gd name="connsiteY22" fmla="*/ 804863 h 1314450"/>
                <a:gd name="connsiteX23" fmla="*/ 966787 w 1466850"/>
                <a:gd name="connsiteY23" fmla="*/ 779386 h 1314450"/>
                <a:gd name="connsiteX24" fmla="*/ 904875 w 1466850"/>
                <a:gd name="connsiteY24" fmla="*/ 776288 h 1314450"/>
                <a:gd name="connsiteX25" fmla="*/ 904875 w 1466850"/>
                <a:gd name="connsiteY25" fmla="*/ 742950 h 1314450"/>
                <a:gd name="connsiteX26" fmla="*/ 862012 w 1466850"/>
                <a:gd name="connsiteY26" fmla="*/ 742950 h 1314450"/>
                <a:gd name="connsiteX27" fmla="*/ 861535 w 1466850"/>
                <a:gd name="connsiteY27" fmla="*/ 693660 h 1314450"/>
                <a:gd name="connsiteX28" fmla="*/ 814387 w 1466850"/>
                <a:gd name="connsiteY28" fmla="*/ 690563 h 1314450"/>
                <a:gd name="connsiteX29" fmla="*/ 814387 w 1466850"/>
                <a:gd name="connsiteY29" fmla="*/ 647700 h 1314450"/>
                <a:gd name="connsiteX30" fmla="*/ 776287 w 1466850"/>
                <a:gd name="connsiteY30" fmla="*/ 642937 h 1314450"/>
                <a:gd name="connsiteX31" fmla="*/ 775809 w 1466850"/>
                <a:gd name="connsiteY31" fmla="*/ 586265 h 1314450"/>
                <a:gd name="connsiteX32" fmla="*/ 726520 w 1466850"/>
                <a:gd name="connsiteY32" fmla="*/ 589363 h 1314450"/>
                <a:gd name="connsiteX33" fmla="*/ 719137 w 1466850"/>
                <a:gd name="connsiteY33" fmla="*/ 538163 h 1314450"/>
                <a:gd name="connsiteX34" fmla="*/ 695325 w 1466850"/>
                <a:gd name="connsiteY34" fmla="*/ 538163 h 1314450"/>
                <a:gd name="connsiteX35" fmla="*/ 695325 w 1466850"/>
                <a:gd name="connsiteY35" fmla="*/ 500063 h 1314450"/>
                <a:gd name="connsiteX36" fmla="*/ 662942 w 1466850"/>
                <a:gd name="connsiteY36" fmla="*/ 500063 h 1314450"/>
                <a:gd name="connsiteX37" fmla="*/ 657225 w 1466850"/>
                <a:gd name="connsiteY37" fmla="*/ 438150 h 1314450"/>
                <a:gd name="connsiteX38" fmla="*/ 587451 w 1466850"/>
                <a:gd name="connsiteY38" fmla="*/ 438150 h 1314450"/>
                <a:gd name="connsiteX39" fmla="*/ 590550 w 1466850"/>
                <a:gd name="connsiteY39" fmla="*/ 342900 h 1314450"/>
                <a:gd name="connsiteX40" fmla="*/ 542925 w 1466850"/>
                <a:gd name="connsiteY40" fmla="*/ 342900 h 1314450"/>
                <a:gd name="connsiteX41" fmla="*/ 545545 w 1466850"/>
                <a:gd name="connsiteY41" fmla="*/ 289325 h 1314450"/>
                <a:gd name="connsiteX42" fmla="*/ 474585 w 1466850"/>
                <a:gd name="connsiteY42" fmla="*/ 288370 h 1314450"/>
                <a:gd name="connsiteX43" fmla="*/ 471487 w 1466850"/>
                <a:gd name="connsiteY43" fmla="*/ 238125 h 1314450"/>
                <a:gd name="connsiteX44" fmla="*/ 428625 w 1466850"/>
                <a:gd name="connsiteY44" fmla="*/ 238125 h 1314450"/>
                <a:gd name="connsiteX45" fmla="*/ 428624 w 1466850"/>
                <a:gd name="connsiteY45" fmla="*/ 161925 h 1314450"/>
                <a:gd name="connsiteX46" fmla="*/ 385762 w 1466850"/>
                <a:gd name="connsiteY46" fmla="*/ 161925 h 1314450"/>
                <a:gd name="connsiteX47" fmla="*/ 385762 w 1466850"/>
                <a:gd name="connsiteY47" fmla="*/ 104775 h 1314450"/>
                <a:gd name="connsiteX48" fmla="*/ 223837 w 1466850"/>
                <a:gd name="connsiteY48" fmla="*/ 114300 h 1314450"/>
                <a:gd name="connsiteX49" fmla="*/ 223837 w 1466850"/>
                <a:gd name="connsiteY49" fmla="*/ 71438 h 1314450"/>
                <a:gd name="connsiteX50" fmla="*/ 152400 w 1466850"/>
                <a:gd name="connsiteY50" fmla="*/ 71438 h 1314450"/>
                <a:gd name="connsiteX51" fmla="*/ 152400 w 1466850"/>
                <a:gd name="connsiteY51" fmla="*/ 38100 h 1314450"/>
                <a:gd name="connsiteX52" fmla="*/ 76200 w 1466850"/>
                <a:gd name="connsiteY52" fmla="*/ 33338 h 1314450"/>
                <a:gd name="connsiteX53" fmla="*/ 71437 w 1466850"/>
                <a:gd name="connsiteY53" fmla="*/ 0 h 1314450"/>
                <a:gd name="connsiteX54" fmla="*/ 0 w 1466850"/>
                <a:gd name="connsiteY54" fmla="*/ 4763 h 1314450"/>
                <a:gd name="connsiteX0" fmla="*/ 1466850 w 1466850"/>
                <a:gd name="connsiteY0" fmla="*/ 1314450 h 1314450"/>
                <a:gd name="connsiteX1" fmla="*/ 1462087 w 1466850"/>
                <a:gd name="connsiteY1" fmla="*/ 1262063 h 1314450"/>
                <a:gd name="connsiteX2" fmla="*/ 1423987 w 1466850"/>
                <a:gd name="connsiteY2" fmla="*/ 1262063 h 1314450"/>
                <a:gd name="connsiteX3" fmla="*/ 1423987 w 1466850"/>
                <a:gd name="connsiteY3" fmla="*/ 1228725 h 1314450"/>
                <a:gd name="connsiteX4" fmla="*/ 1366837 w 1466850"/>
                <a:gd name="connsiteY4" fmla="*/ 1228725 h 1314450"/>
                <a:gd name="connsiteX5" fmla="*/ 1366837 w 1466850"/>
                <a:gd name="connsiteY5" fmla="*/ 1190625 h 1314450"/>
                <a:gd name="connsiteX6" fmla="*/ 1338262 w 1466850"/>
                <a:gd name="connsiteY6" fmla="*/ 1190625 h 1314450"/>
                <a:gd name="connsiteX7" fmla="*/ 1338262 w 1466850"/>
                <a:gd name="connsiteY7" fmla="*/ 1143000 h 1314450"/>
                <a:gd name="connsiteX8" fmla="*/ 1338262 w 1466850"/>
                <a:gd name="connsiteY8" fmla="*/ 1143000 h 1314450"/>
                <a:gd name="connsiteX9" fmla="*/ 1304924 w 1466850"/>
                <a:gd name="connsiteY9" fmla="*/ 1138238 h 1314450"/>
                <a:gd name="connsiteX10" fmla="*/ 1300163 w 1466850"/>
                <a:gd name="connsiteY10" fmla="*/ 1100137 h 1314450"/>
                <a:gd name="connsiteX11" fmla="*/ 1274917 w 1466850"/>
                <a:gd name="connsiteY11" fmla="*/ 1079900 h 1314450"/>
                <a:gd name="connsiteX12" fmla="*/ 1240869 w 1466850"/>
                <a:gd name="connsiteY12" fmla="*/ 1085617 h 1314450"/>
                <a:gd name="connsiteX13" fmla="*/ 1238728 w 1466850"/>
                <a:gd name="connsiteY13" fmla="*/ 1014413 h 1314450"/>
                <a:gd name="connsiteX14" fmla="*/ 1214437 w 1466850"/>
                <a:gd name="connsiteY14" fmla="*/ 1014413 h 1314450"/>
                <a:gd name="connsiteX15" fmla="*/ 1217535 w 1466850"/>
                <a:gd name="connsiteY15" fmla="*/ 952978 h 1314450"/>
                <a:gd name="connsiteX16" fmla="*/ 1133475 w 1466850"/>
                <a:gd name="connsiteY16" fmla="*/ 952500 h 1314450"/>
                <a:gd name="connsiteX17" fmla="*/ 1130353 w 1466850"/>
                <a:gd name="connsiteY17" fmla="*/ 904826 h 1314450"/>
                <a:gd name="connsiteX18" fmla="*/ 1071562 w 1466850"/>
                <a:gd name="connsiteY18" fmla="*/ 900113 h 1314450"/>
                <a:gd name="connsiteX19" fmla="*/ 1071562 w 1466850"/>
                <a:gd name="connsiteY19" fmla="*/ 866676 h 1314450"/>
                <a:gd name="connsiteX20" fmla="*/ 1002745 w 1466850"/>
                <a:gd name="connsiteY20" fmla="*/ 867731 h 1314450"/>
                <a:gd name="connsiteX21" fmla="*/ 999647 w 1466850"/>
                <a:gd name="connsiteY21" fmla="*/ 807483 h 1314450"/>
                <a:gd name="connsiteX22" fmla="*/ 966787 w 1466850"/>
                <a:gd name="connsiteY22" fmla="*/ 804863 h 1314450"/>
                <a:gd name="connsiteX23" fmla="*/ 966787 w 1466850"/>
                <a:gd name="connsiteY23" fmla="*/ 779386 h 1314450"/>
                <a:gd name="connsiteX24" fmla="*/ 904875 w 1466850"/>
                <a:gd name="connsiteY24" fmla="*/ 776288 h 1314450"/>
                <a:gd name="connsiteX25" fmla="*/ 904875 w 1466850"/>
                <a:gd name="connsiteY25" fmla="*/ 742950 h 1314450"/>
                <a:gd name="connsiteX26" fmla="*/ 862012 w 1466850"/>
                <a:gd name="connsiteY26" fmla="*/ 742950 h 1314450"/>
                <a:gd name="connsiteX27" fmla="*/ 861535 w 1466850"/>
                <a:gd name="connsiteY27" fmla="*/ 693660 h 1314450"/>
                <a:gd name="connsiteX28" fmla="*/ 814387 w 1466850"/>
                <a:gd name="connsiteY28" fmla="*/ 690563 h 1314450"/>
                <a:gd name="connsiteX29" fmla="*/ 814387 w 1466850"/>
                <a:gd name="connsiteY29" fmla="*/ 647700 h 1314450"/>
                <a:gd name="connsiteX30" fmla="*/ 776287 w 1466850"/>
                <a:gd name="connsiteY30" fmla="*/ 642937 h 1314450"/>
                <a:gd name="connsiteX31" fmla="*/ 775809 w 1466850"/>
                <a:gd name="connsiteY31" fmla="*/ 586265 h 1314450"/>
                <a:gd name="connsiteX32" fmla="*/ 726520 w 1466850"/>
                <a:gd name="connsiteY32" fmla="*/ 589363 h 1314450"/>
                <a:gd name="connsiteX33" fmla="*/ 719137 w 1466850"/>
                <a:gd name="connsiteY33" fmla="*/ 538163 h 1314450"/>
                <a:gd name="connsiteX34" fmla="*/ 695325 w 1466850"/>
                <a:gd name="connsiteY34" fmla="*/ 538163 h 1314450"/>
                <a:gd name="connsiteX35" fmla="*/ 695325 w 1466850"/>
                <a:gd name="connsiteY35" fmla="*/ 500063 h 1314450"/>
                <a:gd name="connsiteX36" fmla="*/ 662942 w 1466850"/>
                <a:gd name="connsiteY36" fmla="*/ 500063 h 1314450"/>
                <a:gd name="connsiteX37" fmla="*/ 657225 w 1466850"/>
                <a:gd name="connsiteY37" fmla="*/ 438150 h 1314450"/>
                <a:gd name="connsiteX38" fmla="*/ 587451 w 1466850"/>
                <a:gd name="connsiteY38" fmla="*/ 438150 h 1314450"/>
                <a:gd name="connsiteX39" fmla="*/ 590550 w 1466850"/>
                <a:gd name="connsiteY39" fmla="*/ 342900 h 1314450"/>
                <a:gd name="connsiteX40" fmla="*/ 542925 w 1466850"/>
                <a:gd name="connsiteY40" fmla="*/ 342900 h 1314450"/>
                <a:gd name="connsiteX41" fmla="*/ 545545 w 1466850"/>
                <a:gd name="connsiteY41" fmla="*/ 289325 h 1314450"/>
                <a:gd name="connsiteX42" fmla="*/ 474585 w 1466850"/>
                <a:gd name="connsiteY42" fmla="*/ 288370 h 1314450"/>
                <a:gd name="connsiteX43" fmla="*/ 471487 w 1466850"/>
                <a:gd name="connsiteY43" fmla="*/ 238125 h 1314450"/>
                <a:gd name="connsiteX44" fmla="*/ 428625 w 1466850"/>
                <a:gd name="connsiteY44" fmla="*/ 238125 h 1314450"/>
                <a:gd name="connsiteX45" fmla="*/ 428624 w 1466850"/>
                <a:gd name="connsiteY45" fmla="*/ 161925 h 1314450"/>
                <a:gd name="connsiteX46" fmla="*/ 385762 w 1466850"/>
                <a:gd name="connsiteY46" fmla="*/ 161925 h 1314450"/>
                <a:gd name="connsiteX47" fmla="*/ 385762 w 1466850"/>
                <a:gd name="connsiteY47" fmla="*/ 104775 h 1314450"/>
                <a:gd name="connsiteX48" fmla="*/ 223837 w 1466850"/>
                <a:gd name="connsiteY48" fmla="*/ 114300 h 1314450"/>
                <a:gd name="connsiteX49" fmla="*/ 223837 w 1466850"/>
                <a:gd name="connsiteY49" fmla="*/ 71438 h 1314450"/>
                <a:gd name="connsiteX50" fmla="*/ 152400 w 1466850"/>
                <a:gd name="connsiteY50" fmla="*/ 71438 h 1314450"/>
                <a:gd name="connsiteX51" fmla="*/ 152400 w 1466850"/>
                <a:gd name="connsiteY51" fmla="*/ 38100 h 1314450"/>
                <a:gd name="connsiteX52" fmla="*/ 76200 w 1466850"/>
                <a:gd name="connsiteY52" fmla="*/ 33338 h 1314450"/>
                <a:gd name="connsiteX53" fmla="*/ 71437 w 1466850"/>
                <a:gd name="connsiteY53" fmla="*/ 0 h 1314450"/>
                <a:gd name="connsiteX54" fmla="*/ 0 w 1466850"/>
                <a:gd name="connsiteY54" fmla="*/ 4763 h 1314450"/>
                <a:gd name="connsiteX0" fmla="*/ 1466850 w 1466850"/>
                <a:gd name="connsiteY0" fmla="*/ 1314450 h 1314450"/>
                <a:gd name="connsiteX1" fmla="*/ 1462087 w 1466850"/>
                <a:gd name="connsiteY1" fmla="*/ 1262063 h 1314450"/>
                <a:gd name="connsiteX2" fmla="*/ 1423987 w 1466850"/>
                <a:gd name="connsiteY2" fmla="*/ 1262063 h 1314450"/>
                <a:gd name="connsiteX3" fmla="*/ 1423987 w 1466850"/>
                <a:gd name="connsiteY3" fmla="*/ 1228725 h 1314450"/>
                <a:gd name="connsiteX4" fmla="*/ 1366837 w 1466850"/>
                <a:gd name="connsiteY4" fmla="*/ 1228725 h 1314450"/>
                <a:gd name="connsiteX5" fmla="*/ 1366837 w 1466850"/>
                <a:gd name="connsiteY5" fmla="*/ 1190625 h 1314450"/>
                <a:gd name="connsiteX6" fmla="*/ 1338262 w 1466850"/>
                <a:gd name="connsiteY6" fmla="*/ 1190625 h 1314450"/>
                <a:gd name="connsiteX7" fmla="*/ 1338262 w 1466850"/>
                <a:gd name="connsiteY7" fmla="*/ 1143000 h 1314450"/>
                <a:gd name="connsiteX8" fmla="*/ 1338262 w 1466850"/>
                <a:gd name="connsiteY8" fmla="*/ 1143000 h 1314450"/>
                <a:gd name="connsiteX9" fmla="*/ 1304924 w 1466850"/>
                <a:gd name="connsiteY9" fmla="*/ 1138238 h 1314450"/>
                <a:gd name="connsiteX10" fmla="*/ 1300163 w 1466850"/>
                <a:gd name="connsiteY10" fmla="*/ 1100137 h 1314450"/>
                <a:gd name="connsiteX11" fmla="*/ 1288018 w 1466850"/>
                <a:gd name="connsiteY11" fmla="*/ 1087760 h 1314450"/>
                <a:gd name="connsiteX12" fmla="*/ 1240869 w 1466850"/>
                <a:gd name="connsiteY12" fmla="*/ 1085617 h 1314450"/>
                <a:gd name="connsiteX13" fmla="*/ 1238728 w 1466850"/>
                <a:gd name="connsiteY13" fmla="*/ 1014413 h 1314450"/>
                <a:gd name="connsiteX14" fmla="*/ 1214437 w 1466850"/>
                <a:gd name="connsiteY14" fmla="*/ 1014413 h 1314450"/>
                <a:gd name="connsiteX15" fmla="*/ 1217535 w 1466850"/>
                <a:gd name="connsiteY15" fmla="*/ 952978 h 1314450"/>
                <a:gd name="connsiteX16" fmla="*/ 1133475 w 1466850"/>
                <a:gd name="connsiteY16" fmla="*/ 952500 h 1314450"/>
                <a:gd name="connsiteX17" fmla="*/ 1130353 w 1466850"/>
                <a:gd name="connsiteY17" fmla="*/ 904826 h 1314450"/>
                <a:gd name="connsiteX18" fmla="*/ 1071562 w 1466850"/>
                <a:gd name="connsiteY18" fmla="*/ 900113 h 1314450"/>
                <a:gd name="connsiteX19" fmla="*/ 1071562 w 1466850"/>
                <a:gd name="connsiteY19" fmla="*/ 866676 h 1314450"/>
                <a:gd name="connsiteX20" fmla="*/ 1002745 w 1466850"/>
                <a:gd name="connsiteY20" fmla="*/ 867731 h 1314450"/>
                <a:gd name="connsiteX21" fmla="*/ 999647 w 1466850"/>
                <a:gd name="connsiteY21" fmla="*/ 807483 h 1314450"/>
                <a:gd name="connsiteX22" fmla="*/ 966787 w 1466850"/>
                <a:gd name="connsiteY22" fmla="*/ 804863 h 1314450"/>
                <a:gd name="connsiteX23" fmla="*/ 966787 w 1466850"/>
                <a:gd name="connsiteY23" fmla="*/ 779386 h 1314450"/>
                <a:gd name="connsiteX24" fmla="*/ 904875 w 1466850"/>
                <a:gd name="connsiteY24" fmla="*/ 776288 h 1314450"/>
                <a:gd name="connsiteX25" fmla="*/ 904875 w 1466850"/>
                <a:gd name="connsiteY25" fmla="*/ 742950 h 1314450"/>
                <a:gd name="connsiteX26" fmla="*/ 862012 w 1466850"/>
                <a:gd name="connsiteY26" fmla="*/ 742950 h 1314450"/>
                <a:gd name="connsiteX27" fmla="*/ 861535 w 1466850"/>
                <a:gd name="connsiteY27" fmla="*/ 693660 h 1314450"/>
                <a:gd name="connsiteX28" fmla="*/ 814387 w 1466850"/>
                <a:gd name="connsiteY28" fmla="*/ 690563 h 1314450"/>
                <a:gd name="connsiteX29" fmla="*/ 814387 w 1466850"/>
                <a:gd name="connsiteY29" fmla="*/ 647700 h 1314450"/>
                <a:gd name="connsiteX30" fmla="*/ 776287 w 1466850"/>
                <a:gd name="connsiteY30" fmla="*/ 642937 h 1314450"/>
                <a:gd name="connsiteX31" fmla="*/ 775809 w 1466850"/>
                <a:gd name="connsiteY31" fmla="*/ 586265 h 1314450"/>
                <a:gd name="connsiteX32" fmla="*/ 726520 w 1466850"/>
                <a:gd name="connsiteY32" fmla="*/ 589363 h 1314450"/>
                <a:gd name="connsiteX33" fmla="*/ 719137 w 1466850"/>
                <a:gd name="connsiteY33" fmla="*/ 538163 h 1314450"/>
                <a:gd name="connsiteX34" fmla="*/ 695325 w 1466850"/>
                <a:gd name="connsiteY34" fmla="*/ 538163 h 1314450"/>
                <a:gd name="connsiteX35" fmla="*/ 695325 w 1466850"/>
                <a:gd name="connsiteY35" fmla="*/ 500063 h 1314450"/>
                <a:gd name="connsiteX36" fmla="*/ 662942 w 1466850"/>
                <a:gd name="connsiteY36" fmla="*/ 500063 h 1314450"/>
                <a:gd name="connsiteX37" fmla="*/ 657225 w 1466850"/>
                <a:gd name="connsiteY37" fmla="*/ 438150 h 1314450"/>
                <a:gd name="connsiteX38" fmla="*/ 587451 w 1466850"/>
                <a:gd name="connsiteY38" fmla="*/ 438150 h 1314450"/>
                <a:gd name="connsiteX39" fmla="*/ 590550 w 1466850"/>
                <a:gd name="connsiteY39" fmla="*/ 342900 h 1314450"/>
                <a:gd name="connsiteX40" fmla="*/ 542925 w 1466850"/>
                <a:gd name="connsiteY40" fmla="*/ 342900 h 1314450"/>
                <a:gd name="connsiteX41" fmla="*/ 545545 w 1466850"/>
                <a:gd name="connsiteY41" fmla="*/ 289325 h 1314450"/>
                <a:gd name="connsiteX42" fmla="*/ 474585 w 1466850"/>
                <a:gd name="connsiteY42" fmla="*/ 288370 h 1314450"/>
                <a:gd name="connsiteX43" fmla="*/ 471487 w 1466850"/>
                <a:gd name="connsiteY43" fmla="*/ 238125 h 1314450"/>
                <a:gd name="connsiteX44" fmla="*/ 428625 w 1466850"/>
                <a:gd name="connsiteY44" fmla="*/ 238125 h 1314450"/>
                <a:gd name="connsiteX45" fmla="*/ 428624 w 1466850"/>
                <a:gd name="connsiteY45" fmla="*/ 161925 h 1314450"/>
                <a:gd name="connsiteX46" fmla="*/ 385762 w 1466850"/>
                <a:gd name="connsiteY46" fmla="*/ 161925 h 1314450"/>
                <a:gd name="connsiteX47" fmla="*/ 385762 w 1466850"/>
                <a:gd name="connsiteY47" fmla="*/ 104775 h 1314450"/>
                <a:gd name="connsiteX48" fmla="*/ 223837 w 1466850"/>
                <a:gd name="connsiteY48" fmla="*/ 114300 h 1314450"/>
                <a:gd name="connsiteX49" fmla="*/ 223837 w 1466850"/>
                <a:gd name="connsiteY49" fmla="*/ 71438 h 1314450"/>
                <a:gd name="connsiteX50" fmla="*/ 152400 w 1466850"/>
                <a:gd name="connsiteY50" fmla="*/ 71438 h 1314450"/>
                <a:gd name="connsiteX51" fmla="*/ 152400 w 1466850"/>
                <a:gd name="connsiteY51" fmla="*/ 38100 h 1314450"/>
                <a:gd name="connsiteX52" fmla="*/ 76200 w 1466850"/>
                <a:gd name="connsiteY52" fmla="*/ 33338 h 1314450"/>
                <a:gd name="connsiteX53" fmla="*/ 71437 w 1466850"/>
                <a:gd name="connsiteY53" fmla="*/ 0 h 1314450"/>
                <a:gd name="connsiteX54" fmla="*/ 0 w 1466850"/>
                <a:gd name="connsiteY54" fmla="*/ 4763 h 1314450"/>
                <a:gd name="connsiteX0" fmla="*/ 1466850 w 1466850"/>
                <a:gd name="connsiteY0" fmla="*/ 1314450 h 1314450"/>
                <a:gd name="connsiteX1" fmla="*/ 1462087 w 1466850"/>
                <a:gd name="connsiteY1" fmla="*/ 1262063 h 1314450"/>
                <a:gd name="connsiteX2" fmla="*/ 1423987 w 1466850"/>
                <a:gd name="connsiteY2" fmla="*/ 1262063 h 1314450"/>
                <a:gd name="connsiteX3" fmla="*/ 1423987 w 1466850"/>
                <a:gd name="connsiteY3" fmla="*/ 1228725 h 1314450"/>
                <a:gd name="connsiteX4" fmla="*/ 1366837 w 1466850"/>
                <a:gd name="connsiteY4" fmla="*/ 1228725 h 1314450"/>
                <a:gd name="connsiteX5" fmla="*/ 1366837 w 1466850"/>
                <a:gd name="connsiteY5" fmla="*/ 1190625 h 1314450"/>
                <a:gd name="connsiteX6" fmla="*/ 1338262 w 1466850"/>
                <a:gd name="connsiteY6" fmla="*/ 1190625 h 1314450"/>
                <a:gd name="connsiteX7" fmla="*/ 1338262 w 1466850"/>
                <a:gd name="connsiteY7" fmla="*/ 1143000 h 1314450"/>
                <a:gd name="connsiteX8" fmla="*/ 1338262 w 1466850"/>
                <a:gd name="connsiteY8" fmla="*/ 1143000 h 1314450"/>
                <a:gd name="connsiteX9" fmla="*/ 1304924 w 1466850"/>
                <a:gd name="connsiteY9" fmla="*/ 1138238 h 1314450"/>
                <a:gd name="connsiteX10" fmla="*/ 1300163 w 1466850"/>
                <a:gd name="connsiteY10" fmla="*/ 1100137 h 1314450"/>
                <a:gd name="connsiteX11" fmla="*/ 1288018 w 1466850"/>
                <a:gd name="connsiteY11" fmla="*/ 1087760 h 1314450"/>
                <a:gd name="connsiteX12" fmla="*/ 1240869 w 1466850"/>
                <a:gd name="connsiteY12" fmla="*/ 1085617 h 1314450"/>
                <a:gd name="connsiteX13" fmla="*/ 1238728 w 1466850"/>
                <a:gd name="connsiteY13" fmla="*/ 1014413 h 1314450"/>
                <a:gd name="connsiteX14" fmla="*/ 1214437 w 1466850"/>
                <a:gd name="connsiteY14" fmla="*/ 1014413 h 1314450"/>
                <a:gd name="connsiteX15" fmla="*/ 1217535 w 1466850"/>
                <a:gd name="connsiteY15" fmla="*/ 952978 h 1314450"/>
                <a:gd name="connsiteX16" fmla="*/ 1133475 w 1466850"/>
                <a:gd name="connsiteY16" fmla="*/ 952500 h 1314450"/>
                <a:gd name="connsiteX17" fmla="*/ 1130353 w 1466850"/>
                <a:gd name="connsiteY17" fmla="*/ 904826 h 1314450"/>
                <a:gd name="connsiteX18" fmla="*/ 1071562 w 1466850"/>
                <a:gd name="connsiteY18" fmla="*/ 900113 h 1314450"/>
                <a:gd name="connsiteX19" fmla="*/ 1071562 w 1466850"/>
                <a:gd name="connsiteY19" fmla="*/ 866676 h 1314450"/>
                <a:gd name="connsiteX20" fmla="*/ 1002745 w 1466850"/>
                <a:gd name="connsiteY20" fmla="*/ 867731 h 1314450"/>
                <a:gd name="connsiteX21" fmla="*/ 999647 w 1466850"/>
                <a:gd name="connsiteY21" fmla="*/ 807483 h 1314450"/>
                <a:gd name="connsiteX22" fmla="*/ 966787 w 1466850"/>
                <a:gd name="connsiteY22" fmla="*/ 804863 h 1314450"/>
                <a:gd name="connsiteX23" fmla="*/ 966787 w 1466850"/>
                <a:gd name="connsiteY23" fmla="*/ 779386 h 1314450"/>
                <a:gd name="connsiteX24" fmla="*/ 904875 w 1466850"/>
                <a:gd name="connsiteY24" fmla="*/ 776288 h 1314450"/>
                <a:gd name="connsiteX25" fmla="*/ 904875 w 1466850"/>
                <a:gd name="connsiteY25" fmla="*/ 742950 h 1314450"/>
                <a:gd name="connsiteX26" fmla="*/ 862012 w 1466850"/>
                <a:gd name="connsiteY26" fmla="*/ 742950 h 1314450"/>
                <a:gd name="connsiteX27" fmla="*/ 861535 w 1466850"/>
                <a:gd name="connsiteY27" fmla="*/ 693660 h 1314450"/>
                <a:gd name="connsiteX28" fmla="*/ 814387 w 1466850"/>
                <a:gd name="connsiteY28" fmla="*/ 690563 h 1314450"/>
                <a:gd name="connsiteX29" fmla="*/ 814387 w 1466850"/>
                <a:gd name="connsiteY29" fmla="*/ 647700 h 1314450"/>
                <a:gd name="connsiteX30" fmla="*/ 776287 w 1466850"/>
                <a:gd name="connsiteY30" fmla="*/ 642937 h 1314450"/>
                <a:gd name="connsiteX31" fmla="*/ 775809 w 1466850"/>
                <a:gd name="connsiteY31" fmla="*/ 586265 h 1314450"/>
                <a:gd name="connsiteX32" fmla="*/ 726520 w 1466850"/>
                <a:gd name="connsiteY32" fmla="*/ 589363 h 1314450"/>
                <a:gd name="connsiteX33" fmla="*/ 719137 w 1466850"/>
                <a:gd name="connsiteY33" fmla="*/ 538163 h 1314450"/>
                <a:gd name="connsiteX34" fmla="*/ 695325 w 1466850"/>
                <a:gd name="connsiteY34" fmla="*/ 538163 h 1314450"/>
                <a:gd name="connsiteX35" fmla="*/ 695325 w 1466850"/>
                <a:gd name="connsiteY35" fmla="*/ 500063 h 1314450"/>
                <a:gd name="connsiteX36" fmla="*/ 662942 w 1466850"/>
                <a:gd name="connsiteY36" fmla="*/ 500063 h 1314450"/>
                <a:gd name="connsiteX37" fmla="*/ 657225 w 1466850"/>
                <a:gd name="connsiteY37" fmla="*/ 438150 h 1314450"/>
                <a:gd name="connsiteX38" fmla="*/ 587451 w 1466850"/>
                <a:gd name="connsiteY38" fmla="*/ 438150 h 1314450"/>
                <a:gd name="connsiteX39" fmla="*/ 590550 w 1466850"/>
                <a:gd name="connsiteY39" fmla="*/ 342900 h 1314450"/>
                <a:gd name="connsiteX40" fmla="*/ 542925 w 1466850"/>
                <a:gd name="connsiteY40" fmla="*/ 342900 h 1314450"/>
                <a:gd name="connsiteX41" fmla="*/ 545545 w 1466850"/>
                <a:gd name="connsiteY41" fmla="*/ 289325 h 1314450"/>
                <a:gd name="connsiteX42" fmla="*/ 474585 w 1466850"/>
                <a:gd name="connsiteY42" fmla="*/ 288370 h 1314450"/>
                <a:gd name="connsiteX43" fmla="*/ 471487 w 1466850"/>
                <a:gd name="connsiteY43" fmla="*/ 238125 h 1314450"/>
                <a:gd name="connsiteX44" fmla="*/ 428625 w 1466850"/>
                <a:gd name="connsiteY44" fmla="*/ 238125 h 1314450"/>
                <a:gd name="connsiteX45" fmla="*/ 428624 w 1466850"/>
                <a:gd name="connsiteY45" fmla="*/ 161925 h 1314450"/>
                <a:gd name="connsiteX46" fmla="*/ 385762 w 1466850"/>
                <a:gd name="connsiteY46" fmla="*/ 161925 h 1314450"/>
                <a:gd name="connsiteX47" fmla="*/ 385762 w 1466850"/>
                <a:gd name="connsiteY47" fmla="*/ 104775 h 1314450"/>
                <a:gd name="connsiteX48" fmla="*/ 223837 w 1466850"/>
                <a:gd name="connsiteY48" fmla="*/ 114300 h 1314450"/>
                <a:gd name="connsiteX49" fmla="*/ 223837 w 1466850"/>
                <a:gd name="connsiteY49" fmla="*/ 71438 h 1314450"/>
                <a:gd name="connsiteX50" fmla="*/ 152400 w 1466850"/>
                <a:gd name="connsiteY50" fmla="*/ 71438 h 1314450"/>
                <a:gd name="connsiteX51" fmla="*/ 152400 w 1466850"/>
                <a:gd name="connsiteY51" fmla="*/ 38100 h 1314450"/>
                <a:gd name="connsiteX52" fmla="*/ 76200 w 1466850"/>
                <a:gd name="connsiteY52" fmla="*/ 33338 h 1314450"/>
                <a:gd name="connsiteX53" fmla="*/ 71437 w 1466850"/>
                <a:gd name="connsiteY53" fmla="*/ 0 h 1314450"/>
                <a:gd name="connsiteX54" fmla="*/ 0 w 1466850"/>
                <a:gd name="connsiteY54" fmla="*/ 4763 h 1314450"/>
                <a:gd name="connsiteX0" fmla="*/ 1466850 w 1466850"/>
                <a:gd name="connsiteY0" fmla="*/ 1314450 h 1314450"/>
                <a:gd name="connsiteX1" fmla="*/ 1462087 w 1466850"/>
                <a:gd name="connsiteY1" fmla="*/ 1262063 h 1314450"/>
                <a:gd name="connsiteX2" fmla="*/ 1423987 w 1466850"/>
                <a:gd name="connsiteY2" fmla="*/ 1262063 h 1314450"/>
                <a:gd name="connsiteX3" fmla="*/ 1423987 w 1466850"/>
                <a:gd name="connsiteY3" fmla="*/ 1228725 h 1314450"/>
                <a:gd name="connsiteX4" fmla="*/ 1366837 w 1466850"/>
                <a:gd name="connsiteY4" fmla="*/ 1228725 h 1314450"/>
                <a:gd name="connsiteX5" fmla="*/ 1366837 w 1466850"/>
                <a:gd name="connsiteY5" fmla="*/ 1190625 h 1314450"/>
                <a:gd name="connsiteX6" fmla="*/ 1338262 w 1466850"/>
                <a:gd name="connsiteY6" fmla="*/ 1190625 h 1314450"/>
                <a:gd name="connsiteX7" fmla="*/ 1338262 w 1466850"/>
                <a:gd name="connsiteY7" fmla="*/ 1143000 h 1314450"/>
                <a:gd name="connsiteX8" fmla="*/ 1338262 w 1466850"/>
                <a:gd name="connsiteY8" fmla="*/ 1143000 h 1314450"/>
                <a:gd name="connsiteX9" fmla="*/ 1304924 w 1466850"/>
                <a:gd name="connsiteY9" fmla="*/ 1138238 h 1314450"/>
                <a:gd name="connsiteX10" fmla="*/ 1284443 w 1466850"/>
                <a:gd name="connsiteY10" fmla="*/ 1102757 h 1314450"/>
                <a:gd name="connsiteX11" fmla="*/ 1288018 w 1466850"/>
                <a:gd name="connsiteY11" fmla="*/ 1087760 h 1314450"/>
                <a:gd name="connsiteX12" fmla="*/ 1240869 w 1466850"/>
                <a:gd name="connsiteY12" fmla="*/ 1085617 h 1314450"/>
                <a:gd name="connsiteX13" fmla="*/ 1238728 w 1466850"/>
                <a:gd name="connsiteY13" fmla="*/ 1014413 h 1314450"/>
                <a:gd name="connsiteX14" fmla="*/ 1214437 w 1466850"/>
                <a:gd name="connsiteY14" fmla="*/ 1014413 h 1314450"/>
                <a:gd name="connsiteX15" fmla="*/ 1217535 w 1466850"/>
                <a:gd name="connsiteY15" fmla="*/ 952978 h 1314450"/>
                <a:gd name="connsiteX16" fmla="*/ 1133475 w 1466850"/>
                <a:gd name="connsiteY16" fmla="*/ 952500 h 1314450"/>
                <a:gd name="connsiteX17" fmla="*/ 1130353 w 1466850"/>
                <a:gd name="connsiteY17" fmla="*/ 904826 h 1314450"/>
                <a:gd name="connsiteX18" fmla="*/ 1071562 w 1466850"/>
                <a:gd name="connsiteY18" fmla="*/ 900113 h 1314450"/>
                <a:gd name="connsiteX19" fmla="*/ 1071562 w 1466850"/>
                <a:gd name="connsiteY19" fmla="*/ 866676 h 1314450"/>
                <a:gd name="connsiteX20" fmla="*/ 1002745 w 1466850"/>
                <a:gd name="connsiteY20" fmla="*/ 867731 h 1314450"/>
                <a:gd name="connsiteX21" fmla="*/ 999647 w 1466850"/>
                <a:gd name="connsiteY21" fmla="*/ 807483 h 1314450"/>
                <a:gd name="connsiteX22" fmla="*/ 966787 w 1466850"/>
                <a:gd name="connsiteY22" fmla="*/ 804863 h 1314450"/>
                <a:gd name="connsiteX23" fmla="*/ 966787 w 1466850"/>
                <a:gd name="connsiteY23" fmla="*/ 779386 h 1314450"/>
                <a:gd name="connsiteX24" fmla="*/ 904875 w 1466850"/>
                <a:gd name="connsiteY24" fmla="*/ 776288 h 1314450"/>
                <a:gd name="connsiteX25" fmla="*/ 904875 w 1466850"/>
                <a:gd name="connsiteY25" fmla="*/ 742950 h 1314450"/>
                <a:gd name="connsiteX26" fmla="*/ 862012 w 1466850"/>
                <a:gd name="connsiteY26" fmla="*/ 742950 h 1314450"/>
                <a:gd name="connsiteX27" fmla="*/ 861535 w 1466850"/>
                <a:gd name="connsiteY27" fmla="*/ 693660 h 1314450"/>
                <a:gd name="connsiteX28" fmla="*/ 814387 w 1466850"/>
                <a:gd name="connsiteY28" fmla="*/ 690563 h 1314450"/>
                <a:gd name="connsiteX29" fmla="*/ 814387 w 1466850"/>
                <a:gd name="connsiteY29" fmla="*/ 647700 h 1314450"/>
                <a:gd name="connsiteX30" fmla="*/ 776287 w 1466850"/>
                <a:gd name="connsiteY30" fmla="*/ 642937 h 1314450"/>
                <a:gd name="connsiteX31" fmla="*/ 775809 w 1466850"/>
                <a:gd name="connsiteY31" fmla="*/ 586265 h 1314450"/>
                <a:gd name="connsiteX32" fmla="*/ 726520 w 1466850"/>
                <a:gd name="connsiteY32" fmla="*/ 589363 h 1314450"/>
                <a:gd name="connsiteX33" fmla="*/ 719137 w 1466850"/>
                <a:gd name="connsiteY33" fmla="*/ 538163 h 1314450"/>
                <a:gd name="connsiteX34" fmla="*/ 695325 w 1466850"/>
                <a:gd name="connsiteY34" fmla="*/ 538163 h 1314450"/>
                <a:gd name="connsiteX35" fmla="*/ 695325 w 1466850"/>
                <a:gd name="connsiteY35" fmla="*/ 500063 h 1314450"/>
                <a:gd name="connsiteX36" fmla="*/ 662942 w 1466850"/>
                <a:gd name="connsiteY36" fmla="*/ 500063 h 1314450"/>
                <a:gd name="connsiteX37" fmla="*/ 657225 w 1466850"/>
                <a:gd name="connsiteY37" fmla="*/ 438150 h 1314450"/>
                <a:gd name="connsiteX38" fmla="*/ 587451 w 1466850"/>
                <a:gd name="connsiteY38" fmla="*/ 438150 h 1314450"/>
                <a:gd name="connsiteX39" fmla="*/ 590550 w 1466850"/>
                <a:gd name="connsiteY39" fmla="*/ 342900 h 1314450"/>
                <a:gd name="connsiteX40" fmla="*/ 542925 w 1466850"/>
                <a:gd name="connsiteY40" fmla="*/ 342900 h 1314450"/>
                <a:gd name="connsiteX41" fmla="*/ 545545 w 1466850"/>
                <a:gd name="connsiteY41" fmla="*/ 289325 h 1314450"/>
                <a:gd name="connsiteX42" fmla="*/ 474585 w 1466850"/>
                <a:gd name="connsiteY42" fmla="*/ 288370 h 1314450"/>
                <a:gd name="connsiteX43" fmla="*/ 471487 w 1466850"/>
                <a:gd name="connsiteY43" fmla="*/ 238125 h 1314450"/>
                <a:gd name="connsiteX44" fmla="*/ 428625 w 1466850"/>
                <a:gd name="connsiteY44" fmla="*/ 238125 h 1314450"/>
                <a:gd name="connsiteX45" fmla="*/ 428624 w 1466850"/>
                <a:gd name="connsiteY45" fmla="*/ 161925 h 1314450"/>
                <a:gd name="connsiteX46" fmla="*/ 385762 w 1466850"/>
                <a:gd name="connsiteY46" fmla="*/ 161925 h 1314450"/>
                <a:gd name="connsiteX47" fmla="*/ 385762 w 1466850"/>
                <a:gd name="connsiteY47" fmla="*/ 104775 h 1314450"/>
                <a:gd name="connsiteX48" fmla="*/ 223837 w 1466850"/>
                <a:gd name="connsiteY48" fmla="*/ 114300 h 1314450"/>
                <a:gd name="connsiteX49" fmla="*/ 223837 w 1466850"/>
                <a:gd name="connsiteY49" fmla="*/ 71438 h 1314450"/>
                <a:gd name="connsiteX50" fmla="*/ 152400 w 1466850"/>
                <a:gd name="connsiteY50" fmla="*/ 71438 h 1314450"/>
                <a:gd name="connsiteX51" fmla="*/ 152400 w 1466850"/>
                <a:gd name="connsiteY51" fmla="*/ 38100 h 1314450"/>
                <a:gd name="connsiteX52" fmla="*/ 76200 w 1466850"/>
                <a:gd name="connsiteY52" fmla="*/ 33338 h 1314450"/>
                <a:gd name="connsiteX53" fmla="*/ 71437 w 1466850"/>
                <a:gd name="connsiteY53" fmla="*/ 0 h 1314450"/>
                <a:gd name="connsiteX54" fmla="*/ 0 w 1466850"/>
                <a:gd name="connsiteY54" fmla="*/ 4763 h 1314450"/>
                <a:gd name="connsiteX0" fmla="*/ 1466850 w 1466850"/>
                <a:gd name="connsiteY0" fmla="*/ 1314450 h 1314450"/>
                <a:gd name="connsiteX1" fmla="*/ 1462087 w 1466850"/>
                <a:gd name="connsiteY1" fmla="*/ 1262063 h 1314450"/>
                <a:gd name="connsiteX2" fmla="*/ 1423987 w 1466850"/>
                <a:gd name="connsiteY2" fmla="*/ 1262063 h 1314450"/>
                <a:gd name="connsiteX3" fmla="*/ 1423987 w 1466850"/>
                <a:gd name="connsiteY3" fmla="*/ 1228725 h 1314450"/>
                <a:gd name="connsiteX4" fmla="*/ 1366837 w 1466850"/>
                <a:gd name="connsiteY4" fmla="*/ 1228725 h 1314450"/>
                <a:gd name="connsiteX5" fmla="*/ 1366837 w 1466850"/>
                <a:gd name="connsiteY5" fmla="*/ 1190625 h 1314450"/>
                <a:gd name="connsiteX6" fmla="*/ 1338262 w 1466850"/>
                <a:gd name="connsiteY6" fmla="*/ 1190625 h 1314450"/>
                <a:gd name="connsiteX7" fmla="*/ 1338262 w 1466850"/>
                <a:gd name="connsiteY7" fmla="*/ 1143000 h 1314450"/>
                <a:gd name="connsiteX8" fmla="*/ 1338262 w 1466850"/>
                <a:gd name="connsiteY8" fmla="*/ 1143000 h 1314450"/>
                <a:gd name="connsiteX9" fmla="*/ 1304924 w 1466850"/>
                <a:gd name="connsiteY9" fmla="*/ 1138238 h 1314450"/>
                <a:gd name="connsiteX10" fmla="*/ 1292304 w 1466850"/>
                <a:gd name="connsiteY10" fmla="*/ 1107997 h 1314450"/>
                <a:gd name="connsiteX11" fmla="*/ 1288018 w 1466850"/>
                <a:gd name="connsiteY11" fmla="*/ 1087760 h 1314450"/>
                <a:gd name="connsiteX12" fmla="*/ 1240869 w 1466850"/>
                <a:gd name="connsiteY12" fmla="*/ 1085617 h 1314450"/>
                <a:gd name="connsiteX13" fmla="*/ 1238728 w 1466850"/>
                <a:gd name="connsiteY13" fmla="*/ 1014413 h 1314450"/>
                <a:gd name="connsiteX14" fmla="*/ 1214437 w 1466850"/>
                <a:gd name="connsiteY14" fmla="*/ 1014413 h 1314450"/>
                <a:gd name="connsiteX15" fmla="*/ 1217535 w 1466850"/>
                <a:gd name="connsiteY15" fmla="*/ 952978 h 1314450"/>
                <a:gd name="connsiteX16" fmla="*/ 1133475 w 1466850"/>
                <a:gd name="connsiteY16" fmla="*/ 952500 h 1314450"/>
                <a:gd name="connsiteX17" fmla="*/ 1130353 w 1466850"/>
                <a:gd name="connsiteY17" fmla="*/ 904826 h 1314450"/>
                <a:gd name="connsiteX18" fmla="*/ 1071562 w 1466850"/>
                <a:gd name="connsiteY18" fmla="*/ 900113 h 1314450"/>
                <a:gd name="connsiteX19" fmla="*/ 1071562 w 1466850"/>
                <a:gd name="connsiteY19" fmla="*/ 866676 h 1314450"/>
                <a:gd name="connsiteX20" fmla="*/ 1002745 w 1466850"/>
                <a:gd name="connsiteY20" fmla="*/ 867731 h 1314450"/>
                <a:gd name="connsiteX21" fmla="*/ 999647 w 1466850"/>
                <a:gd name="connsiteY21" fmla="*/ 807483 h 1314450"/>
                <a:gd name="connsiteX22" fmla="*/ 966787 w 1466850"/>
                <a:gd name="connsiteY22" fmla="*/ 804863 h 1314450"/>
                <a:gd name="connsiteX23" fmla="*/ 966787 w 1466850"/>
                <a:gd name="connsiteY23" fmla="*/ 779386 h 1314450"/>
                <a:gd name="connsiteX24" fmla="*/ 904875 w 1466850"/>
                <a:gd name="connsiteY24" fmla="*/ 776288 h 1314450"/>
                <a:gd name="connsiteX25" fmla="*/ 904875 w 1466850"/>
                <a:gd name="connsiteY25" fmla="*/ 742950 h 1314450"/>
                <a:gd name="connsiteX26" fmla="*/ 862012 w 1466850"/>
                <a:gd name="connsiteY26" fmla="*/ 742950 h 1314450"/>
                <a:gd name="connsiteX27" fmla="*/ 861535 w 1466850"/>
                <a:gd name="connsiteY27" fmla="*/ 693660 h 1314450"/>
                <a:gd name="connsiteX28" fmla="*/ 814387 w 1466850"/>
                <a:gd name="connsiteY28" fmla="*/ 690563 h 1314450"/>
                <a:gd name="connsiteX29" fmla="*/ 814387 w 1466850"/>
                <a:gd name="connsiteY29" fmla="*/ 647700 h 1314450"/>
                <a:gd name="connsiteX30" fmla="*/ 776287 w 1466850"/>
                <a:gd name="connsiteY30" fmla="*/ 642937 h 1314450"/>
                <a:gd name="connsiteX31" fmla="*/ 775809 w 1466850"/>
                <a:gd name="connsiteY31" fmla="*/ 586265 h 1314450"/>
                <a:gd name="connsiteX32" fmla="*/ 726520 w 1466850"/>
                <a:gd name="connsiteY32" fmla="*/ 589363 h 1314450"/>
                <a:gd name="connsiteX33" fmla="*/ 719137 w 1466850"/>
                <a:gd name="connsiteY33" fmla="*/ 538163 h 1314450"/>
                <a:gd name="connsiteX34" fmla="*/ 695325 w 1466850"/>
                <a:gd name="connsiteY34" fmla="*/ 538163 h 1314450"/>
                <a:gd name="connsiteX35" fmla="*/ 695325 w 1466850"/>
                <a:gd name="connsiteY35" fmla="*/ 500063 h 1314450"/>
                <a:gd name="connsiteX36" fmla="*/ 662942 w 1466850"/>
                <a:gd name="connsiteY36" fmla="*/ 500063 h 1314450"/>
                <a:gd name="connsiteX37" fmla="*/ 657225 w 1466850"/>
                <a:gd name="connsiteY37" fmla="*/ 438150 h 1314450"/>
                <a:gd name="connsiteX38" fmla="*/ 587451 w 1466850"/>
                <a:gd name="connsiteY38" fmla="*/ 438150 h 1314450"/>
                <a:gd name="connsiteX39" fmla="*/ 590550 w 1466850"/>
                <a:gd name="connsiteY39" fmla="*/ 342900 h 1314450"/>
                <a:gd name="connsiteX40" fmla="*/ 542925 w 1466850"/>
                <a:gd name="connsiteY40" fmla="*/ 342900 h 1314450"/>
                <a:gd name="connsiteX41" fmla="*/ 545545 w 1466850"/>
                <a:gd name="connsiteY41" fmla="*/ 289325 h 1314450"/>
                <a:gd name="connsiteX42" fmla="*/ 474585 w 1466850"/>
                <a:gd name="connsiteY42" fmla="*/ 288370 h 1314450"/>
                <a:gd name="connsiteX43" fmla="*/ 471487 w 1466850"/>
                <a:gd name="connsiteY43" fmla="*/ 238125 h 1314450"/>
                <a:gd name="connsiteX44" fmla="*/ 428625 w 1466850"/>
                <a:gd name="connsiteY44" fmla="*/ 238125 h 1314450"/>
                <a:gd name="connsiteX45" fmla="*/ 428624 w 1466850"/>
                <a:gd name="connsiteY45" fmla="*/ 161925 h 1314450"/>
                <a:gd name="connsiteX46" fmla="*/ 385762 w 1466850"/>
                <a:gd name="connsiteY46" fmla="*/ 161925 h 1314450"/>
                <a:gd name="connsiteX47" fmla="*/ 385762 w 1466850"/>
                <a:gd name="connsiteY47" fmla="*/ 104775 h 1314450"/>
                <a:gd name="connsiteX48" fmla="*/ 223837 w 1466850"/>
                <a:gd name="connsiteY48" fmla="*/ 114300 h 1314450"/>
                <a:gd name="connsiteX49" fmla="*/ 223837 w 1466850"/>
                <a:gd name="connsiteY49" fmla="*/ 71438 h 1314450"/>
                <a:gd name="connsiteX50" fmla="*/ 152400 w 1466850"/>
                <a:gd name="connsiteY50" fmla="*/ 71438 h 1314450"/>
                <a:gd name="connsiteX51" fmla="*/ 152400 w 1466850"/>
                <a:gd name="connsiteY51" fmla="*/ 38100 h 1314450"/>
                <a:gd name="connsiteX52" fmla="*/ 76200 w 1466850"/>
                <a:gd name="connsiteY52" fmla="*/ 33338 h 1314450"/>
                <a:gd name="connsiteX53" fmla="*/ 71437 w 1466850"/>
                <a:gd name="connsiteY53" fmla="*/ 0 h 1314450"/>
                <a:gd name="connsiteX54" fmla="*/ 0 w 1466850"/>
                <a:gd name="connsiteY54" fmla="*/ 4763 h 1314450"/>
                <a:gd name="connsiteX0" fmla="*/ 1466850 w 1466850"/>
                <a:gd name="connsiteY0" fmla="*/ 1314450 h 1314450"/>
                <a:gd name="connsiteX1" fmla="*/ 1462087 w 1466850"/>
                <a:gd name="connsiteY1" fmla="*/ 1262063 h 1314450"/>
                <a:gd name="connsiteX2" fmla="*/ 1423987 w 1466850"/>
                <a:gd name="connsiteY2" fmla="*/ 1262063 h 1314450"/>
                <a:gd name="connsiteX3" fmla="*/ 1423987 w 1466850"/>
                <a:gd name="connsiteY3" fmla="*/ 1228725 h 1314450"/>
                <a:gd name="connsiteX4" fmla="*/ 1366837 w 1466850"/>
                <a:gd name="connsiteY4" fmla="*/ 1228725 h 1314450"/>
                <a:gd name="connsiteX5" fmla="*/ 1366837 w 1466850"/>
                <a:gd name="connsiteY5" fmla="*/ 1190625 h 1314450"/>
                <a:gd name="connsiteX6" fmla="*/ 1338262 w 1466850"/>
                <a:gd name="connsiteY6" fmla="*/ 1190625 h 1314450"/>
                <a:gd name="connsiteX7" fmla="*/ 1338262 w 1466850"/>
                <a:gd name="connsiteY7" fmla="*/ 1143000 h 1314450"/>
                <a:gd name="connsiteX8" fmla="*/ 1338262 w 1466850"/>
                <a:gd name="connsiteY8" fmla="*/ 1143000 h 1314450"/>
                <a:gd name="connsiteX9" fmla="*/ 1315404 w 1466850"/>
                <a:gd name="connsiteY9" fmla="*/ 1125138 h 1314450"/>
                <a:gd name="connsiteX10" fmla="*/ 1292304 w 1466850"/>
                <a:gd name="connsiteY10" fmla="*/ 1107997 h 1314450"/>
                <a:gd name="connsiteX11" fmla="*/ 1288018 w 1466850"/>
                <a:gd name="connsiteY11" fmla="*/ 1087760 h 1314450"/>
                <a:gd name="connsiteX12" fmla="*/ 1240869 w 1466850"/>
                <a:gd name="connsiteY12" fmla="*/ 1085617 h 1314450"/>
                <a:gd name="connsiteX13" fmla="*/ 1238728 w 1466850"/>
                <a:gd name="connsiteY13" fmla="*/ 1014413 h 1314450"/>
                <a:gd name="connsiteX14" fmla="*/ 1214437 w 1466850"/>
                <a:gd name="connsiteY14" fmla="*/ 1014413 h 1314450"/>
                <a:gd name="connsiteX15" fmla="*/ 1217535 w 1466850"/>
                <a:gd name="connsiteY15" fmla="*/ 952978 h 1314450"/>
                <a:gd name="connsiteX16" fmla="*/ 1133475 w 1466850"/>
                <a:gd name="connsiteY16" fmla="*/ 952500 h 1314450"/>
                <a:gd name="connsiteX17" fmla="*/ 1130353 w 1466850"/>
                <a:gd name="connsiteY17" fmla="*/ 904826 h 1314450"/>
                <a:gd name="connsiteX18" fmla="*/ 1071562 w 1466850"/>
                <a:gd name="connsiteY18" fmla="*/ 900113 h 1314450"/>
                <a:gd name="connsiteX19" fmla="*/ 1071562 w 1466850"/>
                <a:gd name="connsiteY19" fmla="*/ 866676 h 1314450"/>
                <a:gd name="connsiteX20" fmla="*/ 1002745 w 1466850"/>
                <a:gd name="connsiteY20" fmla="*/ 867731 h 1314450"/>
                <a:gd name="connsiteX21" fmla="*/ 999647 w 1466850"/>
                <a:gd name="connsiteY21" fmla="*/ 807483 h 1314450"/>
                <a:gd name="connsiteX22" fmla="*/ 966787 w 1466850"/>
                <a:gd name="connsiteY22" fmla="*/ 804863 h 1314450"/>
                <a:gd name="connsiteX23" fmla="*/ 966787 w 1466850"/>
                <a:gd name="connsiteY23" fmla="*/ 779386 h 1314450"/>
                <a:gd name="connsiteX24" fmla="*/ 904875 w 1466850"/>
                <a:gd name="connsiteY24" fmla="*/ 776288 h 1314450"/>
                <a:gd name="connsiteX25" fmla="*/ 904875 w 1466850"/>
                <a:gd name="connsiteY25" fmla="*/ 742950 h 1314450"/>
                <a:gd name="connsiteX26" fmla="*/ 862012 w 1466850"/>
                <a:gd name="connsiteY26" fmla="*/ 742950 h 1314450"/>
                <a:gd name="connsiteX27" fmla="*/ 861535 w 1466850"/>
                <a:gd name="connsiteY27" fmla="*/ 693660 h 1314450"/>
                <a:gd name="connsiteX28" fmla="*/ 814387 w 1466850"/>
                <a:gd name="connsiteY28" fmla="*/ 690563 h 1314450"/>
                <a:gd name="connsiteX29" fmla="*/ 814387 w 1466850"/>
                <a:gd name="connsiteY29" fmla="*/ 647700 h 1314450"/>
                <a:gd name="connsiteX30" fmla="*/ 776287 w 1466850"/>
                <a:gd name="connsiteY30" fmla="*/ 642937 h 1314450"/>
                <a:gd name="connsiteX31" fmla="*/ 775809 w 1466850"/>
                <a:gd name="connsiteY31" fmla="*/ 586265 h 1314450"/>
                <a:gd name="connsiteX32" fmla="*/ 726520 w 1466850"/>
                <a:gd name="connsiteY32" fmla="*/ 589363 h 1314450"/>
                <a:gd name="connsiteX33" fmla="*/ 719137 w 1466850"/>
                <a:gd name="connsiteY33" fmla="*/ 538163 h 1314450"/>
                <a:gd name="connsiteX34" fmla="*/ 695325 w 1466850"/>
                <a:gd name="connsiteY34" fmla="*/ 538163 h 1314450"/>
                <a:gd name="connsiteX35" fmla="*/ 695325 w 1466850"/>
                <a:gd name="connsiteY35" fmla="*/ 500063 h 1314450"/>
                <a:gd name="connsiteX36" fmla="*/ 662942 w 1466850"/>
                <a:gd name="connsiteY36" fmla="*/ 500063 h 1314450"/>
                <a:gd name="connsiteX37" fmla="*/ 657225 w 1466850"/>
                <a:gd name="connsiteY37" fmla="*/ 438150 h 1314450"/>
                <a:gd name="connsiteX38" fmla="*/ 587451 w 1466850"/>
                <a:gd name="connsiteY38" fmla="*/ 438150 h 1314450"/>
                <a:gd name="connsiteX39" fmla="*/ 590550 w 1466850"/>
                <a:gd name="connsiteY39" fmla="*/ 342900 h 1314450"/>
                <a:gd name="connsiteX40" fmla="*/ 542925 w 1466850"/>
                <a:gd name="connsiteY40" fmla="*/ 342900 h 1314450"/>
                <a:gd name="connsiteX41" fmla="*/ 545545 w 1466850"/>
                <a:gd name="connsiteY41" fmla="*/ 289325 h 1314450"/>
                <a:gd name="connsiteX42" fmla="*/ 474585 w 1466850"/>
                <a:gd name="connsiteY42" fmla="*/ 288370 h 1314450"/>
                <a:gd name="connsiteX43" fmla="*/ 471487 w 1466850"/>
                <a:gd name="connsiteY43" fmla="*/ 238125 h 1314450"/>
                <a:gd name="connsiteX44" fmla="*/ 428625 w 1466850"/>
                <a:gd name="connsiteY44" fmla="*/ 238125 h 1314450"/>
                <a:gd name="connsiteX45" fmla="*/ 428624 w 1466850"/>
                <a:gd name="connsiteY45" fmla="*/ 161925 h 1314450"/>
                <a:gd name="connsiteX46" fmla="*/ 385762 w 1466850"/>
                <a:gd name="connsiteY46" fmla="*/ 161925 h 1314450"/>
                <a:gd name="connsiteX47" fmla="*/ 385762 w 1466850"/>
                <a:gd name="connsiteY47" fmla="*/ 104775 h 1314450"/>
                <a:gd name="connsiteX48" fmla="*/ 223837 w 1466850"/>
                <a:gd name="connsiteY48" fmla="*/ 114300 h 1314450"/>
                <a:gd name="connsiteX49" fmla="*/ 223837 w 1466850"/>
                <a:gd name="connsiteY49" fmla="*/ 71438 h 1314450"/>
                <a:gd name="connsiteX50" fmla="*/ 152400 w 1466850"/>
                <a:gd name="connsiteY50" fmla="*/ 71438 h 1314450"/>
                <a:gd name="connsiteX51" fmla="*/ 152400 w 1466850"/>
                <a:gd name="connsiteY51" fmla="*/ 38100 h 1314450"/>
                <a:gd name="connsiteX52" fmla="*/ 76200 w 1466850"/>
                <a:gd name="connsiteY52" fmla="*/ 33338 h 1314450"/>
                <a:gd name="connsiteX53" fmla="*/ 71437 w 1466850"/>
                <a:gd name="connsiteY53" fmla="*/ 0 h 1314450"/>
                <a:gd name="connsiteX54" fmla="*/ 0 w 1466850"/>
                <a:gd name="connsiteY54" fmla="*/ 4763 h 1314450"/>
                <a:gd name="connsiteX0" fmla="*/ 1466850 w 1466850"/>
                <a:gd name="connsiteY0" fmla="*/ 1314450 h 1314450"/>
                <a:gd name="connsiteX1" fmla="*/ 1462087 w 1466850"/>
                <a:gd name="connsiteY1" fmla="*/ 1262063 h 1314450"/>
                <a:gd name="connsiteX2" fmla="*/ 1423987 w 1466850"/>
                <a:gd name="connsiteY2" fmla="*/ 1262063 h 1314450"/>
                <a:gd name="connsiteX3" fmla="*/ 1423987 w 1466850"/>
                <a:gd name="connsiteY3" fmla="*/ 1228725 h 1314450"/>
                <a:gd name="connsiteX4" fmla="*/ 1366837 w 1466850"/>
                <a:gd name="connsiteY4" fmla="*/ 1228725 h 1314450"/>
                <a:gd name="connsiteX5" fmla="*/ 1366837 w 1466850"/>
                <a:gd name="connsiteY5" fmla="*/ 1190625 h 1314450"/>
                <a:gd name="connsiteX6" fmla="*/ 1338262 w 1466850"/>
                <a:gd name="connsiteY6" fmla="*/ 1190625 h 1314450"/>
                <a:gd name="connsiteX7" fmla="*/ 1338262 w 1466850"/>
                <a:gd name="connsiteY7" fmla="*/ 1143000 h 1314450"/>
                <a:gd name="connsiteX8" fmla="*/ 1338262 w 1466850"/>
                <a:gd name="connsiteY8" fmla="*/ 1143000 h 1314450"/>
                <a:gd name="connsiteX9" fmla="*/ 1307544 w 1466850"/>
                <a:gd name="connsiteY9" fmla="*/ 1156579 h 1314450"/>
                <a:gd name="connsiteX10" fmla="*/ 1292304 w 1466850"/>
                <a:gd name="connsiteY10" fmla="*/ 1107997 h 1314450"/>
                <a:gd name="connsiteX11" fmla="*/ 1288018 w 1466850"/>
                <a:gd name="connsiteY11" fmla="*/ 1087760 h 1314450"/>
                <a:gd name="connsiteX12" fmla="*/ 1240869 w 1466850"/>
                <a:gd name="connsiteY12" fmla="*/ 1085617 h 1314450"/>
                <a:gd name="connsiteX13" fmla="*/ 1238728 w 1466850"/>
                <a:gd name="connsiteY13" fmla="*/ 1014413 h 1314450"/>
                <a:gd name="connsiteX14" fmla="*/ 1214437 w 1466850"/>
                <a:gd name="connsiteY14" fmla="*/ 1014413 h 1314450"/>
                <a:gd name="connsiteX15" fmla="*/ 1217535 w 1466850"/>
                <a:gd name="connsiteY15" fmla="*/ 952978 h 1314450"/>
                <a:gd name="connsiteX16" fmla="*/ 1133475 w 1466850"/>
                <a:gd name="connsiteY16" fmla="*/ 952500 h 1314450"/>
                <a:gd name="connsiteX17" fmla="*/ 1130353 w 1466850"/>
                <a:gd name="connsiteY17" fmla="*/ 904826 h 1314450"/>
                <a:gd name="connsiteX18" fmla="*/ 1071562 w 1466850"/>
                <a:gd name="connsiteY18" fmla="*/ 900113 h 1314450"/>
                <a:gd name="connsiteX19" fmla="*/ 1071562 w 1466850"/>
                <a:gd name="connsiteY19" fmla="*/ 866676 h 1314450"/>
                <a:gd name="connsiteX20" fmla="*/ 1002745 w 1466850"/>
                <a:gd name="connsiteY20" fmla="*/ 867731 h 1314450"/>
                <a:gd name="connsiteX21" fmla="*/ 999647 w 1466850"/>
                <a:gd name="connsiteY21" fmla="*/ 807483 h 1314450"/>
                <a:gd name="connsiteX22" fmla="*/ 966787 w 1466850"/>
                <a:gd name="connsiteY22" fmla="*/ 804863 h 1314450"/>
                <a:gd name="connsiteX23" fmla="*/ 966787 w 1466850"/>
                <a:gd name="connsiteY23" fmla="*/ 779386 h 1314450"/>
                <a:gd name="connsiteX24" fmla="*/ 904875 w 1466850"/>
                <a:gd name="connsiteY24" fmla="*/ 776288 h 1314450"/>
                <a:gd name="connsiteX25" fmla="*/ 904875 w 1466850"/>
                <a:gd name="connsiteY25" fmla="*/ 742950 h 1314450"/>
                <a:gd name="connsiteX26" fmla="*/ 862012 w 1466850"/>
                <a:gd name="connsiteY26" fmla="*/ 742950 h 1314450"/>
                <a:gd name="connsiteX27" fmla="*/ 861535 w 1466850"/>
                <a:gd name="connsiteY27" fmla="*/ 693660 h 1314450"/>
                <a:gd name="connsiteX28" fmla="*/ 814387 w 1466850"/>
                <a:gd name="connsiteY28" fmla="*/ 690563 h 1314450"/>
                <a:gd name="connsiteX29" fmla="*/ 814387 w 1466850"/>
                <a:gd name="connsiteY29" fmla="*/ 647700 h 1314450"/>
                <a:gd name="connsiteX30" fmla="*/ 776287 w 1466850"/>
                <a:gd name="connsiteY30" fmla="*/ 642937 h 1314450"/>
                <a:gd name="connsiteX31" fmla="*/ 775809 w 1466850"/>
                <a:gd name="connsiteY31" fmla="*/ 586265 h 1314450"/>
                <a:gd name="connsiteX32" fmla="*/ 726520 w 1466850"/>
                <a:gd name="connsiteY32" fmla="*/ 589363 h 1314450"/>
                <a:gd name="connsiteX33" fmla="*/ 719137 w 1466850"/>
                <a:gd name="connsiteY33" fmla="*/ 538163 h 1314450"/>
                <a:gd name="connsiteX34" fmla="*/ 695325 w 1466850"/>
                <a:gd name="connsiteY34" fmla="*/ 538163 h 1314450"/>
                <a:gd name="connsiteX35" fmla="*/ 695325 w 1466850"/>
                <a:gd name="connsiteY35" fmla="*/ 500063 h 1314450"/>
                <a:gd name="connsiteX36" fmla="*/ 662942 w 1466850"/>
                <a:gd name="connsiteY36" fmla="*/ 500063 h 1314450"/>
                <a:gd name="connsiteX37" fmla="*/ 657225 w 1466850"/>
                <a:gd name="connsiteY37" fmla="*/ 438150 h 1314450"/>
                <a:gd name="connsiteX38" fmla="*/ 587451 w 1466850"/>
                <a:gd name="connsiteY38" fmla="*/ 438150 h 1314450"/>
                <a:gd name="connsiteX39" fmla="*/ 590550 w 1466850"/>
                <a:gd name="connsiteY39" fmla="*/ 342900 h 1314450"/>
                <a:gd name="connsiteX40" fmla="*/ 542925 w 1466850"/>
                <a:gd name="connsiteY40" fmla="*/ 342900 h 1314450"/>
                <a:gd name="connsiteX41" fmla="*/ 545545 w 1466850"/>
                <a:gd name="connsiteY41" fmla="*/ 289325 h 1314450"/>
                <a:gd name="connsiteX42" fmla="*/ 474585 w 1466850"/>
                <a:gd name="connsiteY42" fmla="*/ 288370 h 1314450"/>
                <a:gd name="connsiteX43" fmla="*/ 471487 w 1466850"/>
                <a:gd name="connsiteY43" fmla="*/ 238125 h 1314450"/>
                <a:gd name="connsiteX44" fmla="*/ 428625 w 1466850"/>
                <a:gd name="connsiteY44" fmla="*/ 238125 h 1314450"/>
                <a:gd name="connsiteX45" fmla="*/ 428624 w 1466850"/>
                <a:gd name="connsiteY45" fmla="*/ 161925 h 1314450"/>
                <a:gd name="connsiteX46" fmla="*/ 385762 w 1466850"/>
                <a:gd name="connsiteY46" fmla="*/ 161925 h 1314450"/>
                <a:gd name="connsiteX47" fmla="*/ 385762 w 1466850"/>
                <a:gd name="connsiteY47" fmla="*/ 104775 h 1314450"/>
                <a:gd name="connsiteX48" fmla="*/ 223837 w 1466850"/>
                <a:gd name="connsiteY48" fmla="*/ 114300 h 1314450"/>
                <a:gd name="connsiteX49" fmla="*/ 223837 w 1466850"/>
                <a:gd name="connsiteY49" fmla="*/ 71438 h 1314450"/>
                <a:gd name="connsiteX50" fmla="*/ 152400 w 1466850"/>
                <a:gd name="connsiteY50" fmla="*/ 71438 h 1314450"/>
                <a:gd name="connsiteX51" fmla="*/ 152400 w 1466850"/>
                <a:gd name="connsiteY51" fmla="*/ 38100 h 1314450"/>
                <a:gd name="connsiteX52" fmla="*/ 76200 w 1466850"/>
                <a:gd name="connsiteY52" fmla="*/ 33338 h 1314450"/>
                <a:gd name="connsiteX53" fmla="*/ 71437 w 1466850"/>
                <a:gd name="connsiteY53" fmla="*/ 0 h 1314450"/>
                <a:gd name="connsiteX54" fmla="*/ 0 w 1466850"/>
                <a:gd name="connsiteY54" fmla="*/ 4763 h 1314450"/>
                <a:gd name="connsiteX0" fmla="*/ 1466850 w 1466850"/>
                <a:gd name="connsiteY0" fmla="*/ 1314450 h 1314450"/>
                <a:gd name="connsiteX1" fmla="*/ 1462087 w 1466850"/>
                <a:gd name="connsiteY1" fmla="*/ 1262063 h 1314450"/>
                <a:gd name="connsiteX2" fmla="*/ 1423987 w 1466850"/>
                <a:gd name="connsiteY2" fmla="*/ 1262063 h 1314450"/>
                <a:gd name="connsiteX3" fmla="*/ 1423987 w 1466850"/>
                <a:gd name="connsiteY3" fmla="*/ 1228725 h 1314450"/>
                <a:gd name="connsiteX4" fmla="*/ 1366837 w 1466850"/>
                <a:gd name="connsiteY4" fmla="*/ 1228725 h 1314450"/>
                <a:gd name="connsiteX5" fmla="*/ 1366837 w 1466850"/>
                <a:gd name="connsiteY5" fmla="*/ 1190625 h 1314450"/>
                <a:gd name="connsiteX6" fmla="*/ 1338262 w 1466850"/>
                <a:gd name="connsiteY6" fmla="*/ 1190625 h 1314450"/>
                <a:gd name="connsiteX7" fmla="*/ 1338262 w 1466850"/>
                <a:gd name="connsiteY7" fmla="*/ 1143000 h 1314450"/>
                <a:gd name="connsiteX8" fmla="*/ 1338262 w 1466850"/>
                <a:gd name="connsiteY8" fmla="*/ 1143000 h 1314450"/>
                <a:gd name="connsiteX9" fmla="*/ 1307544 w 1466850"/>
                <a:gd name="connsiteY9" fmla="*/ 1156579 h 1314450"/>
                <a:gd name="connsiteX10" fmla="*/ 1292304 w 1466850"/>
                <a:gd name="connsiteY10" fmla="*/ 1110617 h 1314450"/>
                <a:gd name="connsiteX11" fmla="*/ 1288018 w 1466850"/>
                <a:gd name="connsiteY11" fmla="*/ 1087760 h 1314450"/>
                <a:gd name="connsiteX12" fmla="*/ 1240869 w 1466850"/>
                <a:gd name="connsiteY12" fmla="*/ 1085617 h 1314450"/>
                <a:gd name="connsiteX13" fmla="*/ 1238728 w 1466850"/>
                <a:gd name="connsiteY13" fmla="*/ 1014413 h 1314450"/>
                <a:gd name="connsiteX14" fmla="*/ 1214437 w 1466850"/>
                <a:gd name="connsiteY14" fmla="*/ 1014413 h 1314450"/>
                <a:gd name="connsiteX15" fmla="*/ 1217535 w 1466850"/>
                <a:gd name="connsiteY15" fmla="*/ 952978 h 1314450"/>
                <a:gd name="connsiteX16" fmla="*/ 1133475 w 1466850"/>
                <a:gd name="connsiteY16" fmla="*/ 952500 h 1314450"/>
                <a:gd name="connsiteX17" fmla="*/ 1130353 w 1466850"/>
                <a:gd name="connsiteY17" fmla="*/ 904826 h 1314450"/>
                <a:gd name="connsiteX18" fmla="*/ 1071562 w 1466850"/>
                <a:gd name="connsiteY18" fmla="*/ 900113 h 1314450"/>
                <a:gd name="connsiteX19" fmla="*/ 1071562 w 1466850"/>
                <a:gd name="connsiteY19" fmla="*/ 866676 h 1314450"/>
                <a:gd name="connsiteX20" fmla="*/ 1002745 w 1466850"/>
                <a:gd name="connsiteY20" fmla="*/ 867731 h 1314450"/>
                <a:gd name="connsiteX21" fmla="*/ 999647 w 1466850"/>
                <a:gd name="connsiteY21" fmla="*/ 807483 h 1314450"/>
                <a:gd name="connsiteX22" fmla="*/ 966787 w 1466850"/>
                <a:gd name="connsiteY22" fmla="*/ 804863 h 1314450"/>
                <a:gd name="connsiteX23" fmla="*/ 966787 w 1466850"/>
                <a:gd name="connsiteY23" fmla="*/ 779386 h 1314450"/>
                <a:gd name="connsiteX24" fmla="*/ 904875 w 1466850"/>
                <a:gd name="connsiteY24" fmla="*/ 776288 h 1314450"/>
                <a:gd name="connsiteX25" fmla="*/ 904875 w 1466850"/>
                <a:gd name="connsiteY25" fmla="*/ 742950 h 1314450"/>
                <a:gd name="connsiteX26" fmla="*/ 862012 w 1466850"/>
                <a:gd name="connsiteY26" fmla="*/ 742950 h 1314450"/>
                <a:gd name="connsiteX27" fmla="*/ 861535 w 1466850"/>
                <a:gd name="connsiteY27" fmla="*/ 693660 h 1314450"/>
                <a:gd name="connsiteX28" fmla="*/ 814387 w 1466850"/>
                <a:gd name="connsiteY28" fmla="*/ 690563 h 1314450"/>
                <a:gd name="connsiteX29" fmla="*/ 814387 w 1466850"/>
                <a:gd name="connsiteY29" fmla="*/ 647700 h 1314450"/>
                <a:gd name="connsiteX30" fmla="*/ 776287 w 1466850"/>
                <a:gd name="connsiteY30" fmla="*/ 642937 h 1314450"/>
                <a:gd name="connsiteX31" fmla="*/ 775809 w 1466850"/>
                <a:gd name="connsiteY31" fmla="*/ 586265 h 1314450"/>
                <a:gd name="connsiteX32" fmla="*/ 726520 w 1466850"/>
                <a:gd name="connsiteY32" fmla="*/ 589363 h 1314450"/>
                <a:gd name="connsiteX33" fmla="*/ 719137 w 1466850"/>
                <a:gd name="connsiteY33" fmla="*/ 538163 h 1314450"/>
                <a:gd name="connsiteX34" fmla="*/ 695325 w 1466850"/>
                <a:gd name="connsiteY34" fmla="*/ 538163 h 1314450"/>
                <a:gd name="connsiteX35" fmla="*/ 695325 w 1466850"/>
                <a:gd name="connsiteY35" fmla="*/ 500063 h 1314450"/>
                <a:gd name="connsiteX36" fmla="*/ 662942 w 1466850"/>
                <a:gd name="connsiteY36" fmla="*/ 500063 h 1314450"/>
                <a:gd name="connsiteX37" fmla="*/ 657225 w 1466850"/>
                <a:gd name="connsiteY37" fmla="*/ 438150 h 1314450"/>
                <a:gd name="connsiteX38" fmla="*/ 587451 w 1466850"/>
                <a:gd name="connsiteY38" fmla="*/ 438150 h 1314450"/>
                <a:gd name="connsiteX39" fmla="*/ 590550 w 1466850"/>
                <a:gd name="connsiteY39" fmla="*/ 342900 h 1314450"/>
                <a:gd name="connsiteX40" fmla="*/ 542925 w 1466850"/>
                <a:gd name="connsiteY40" fmla="*/ 342900 h 1314450"/>
                <a:gd name="connsiteX41" fmla="*/ 545545 w 1466850"/>
                <a:gd name="connsiteY41" fmla="*/ 289325 h 1314450"/>
                <a:gd name="connsiteX42" fmla="*/ 474585 w 1466850"/>
                <a:gd name="connsiteY42" fmla="*/ 288370 h 1314450"/>
                <a:gd name="connsiteX43" fmla="*/ 471487 w 1466850"/>
                <a:gd name="connsiteY43" fmla="*/ 238125 h 1314450"/>
                <a:gd name="connsiteX44" fmla="*/ 428625 w 1466850"/>
                <a:gd name="connsiteY44" fmla="*/ 238125 h 1314450"/>
                <a:gd name="connsiteX45" fmla="*/ 428624 w 1466850"/>
                <a:gd name="connsiteY45" fmla="*/ 161925 h 1314450"/>
                <a:gd name="connsiteX46" fmla="*/ 385762 w 1466850"/>
                <a:gd name="connsiteY46" fmla="*/ 161925 h 1314450"/>
                <a:gd name="connsiteX47" fmla="*/ 385762 w 1466850"/>
                <a:gd name="connsiteY47" fmla="*/ 104775 h 1314450"/>
                <a:gd name="connsiteX48" fmla="*/ 223837 w 1466850"/>
                <a:gd name="connsiteY48" fmla="*/ 114300 h 1314450"/>
                <a:gd name="connsiteX49" fmla="*/ 223837 w 1466850"/>
                <a:gd name="connsiteY49" fmla="*/ 71438 h 1314450"/>
                <a:gd name="connsiteX50" fmla="*/ 152400 w 1466850"/>
                <a:gd name="connsiteY50" fmla="*/ 71438 h 1314450"/>
                <a:gd name="connsiteX51" fmla="*/ 152400 w 1466850"/>
                <a:gd name="connsiteY51" fmla="*/ 38100 h 1314450"/>
                <a:gd name="connsiteX52" fmla="*/ 76200 w 1466850"/>
                <a:gd name="connsiteY52" fmla="*/ 33338 h 1314450"/>
                <a:gd name="connsiteX53" fmla="*/ 71437 w 1466850"/>
                <a:gd name="connsiteY53" fmla="*/ 0 h 1314450"/>
                <a:gd name="connsiteX54" fmla="*/ 0 w 1466850"/>
                <a:gd name="connsiteY54" fmla="*/ 4763 h 1314450"/>
                <a:gd name="connsiteX0" fmla="*/ 1466850 w 1466850"/>
                <a:gd name="connsiteY0" fmla="*/ 1314450 h 1314450"/>
                <a:gd name="connsiteX1" fmla="*/ 1462087 w 1466850"/>
                <a:gd name="connsiteY1" fmla="*/ 1262063 h 1314450"/>
                <a:gd name="connsiteX2" fmla="*/ 1423987 w 1466850"/>
                <a:gd name="connsiteY2" fmla="*/ 1262063 h 1314450"/>
                <a:gd name="connsiteX3" fmla="*/ 1423987 w 1466850"/>
                <a:gd name="connsiteY3" fmla="*/ 1228725 h 1314450"/>
                <a:gd name="connsiteX4" fmla="*/ 1366837 w 1466850"/>
                <a:gd name="connsiteY4" fmla="*/ 1228725 h 1314450"/>
                <a:gd name="connsiteX5" fmla="*/ 1366837 w 1466850"/>
                <a:gd name="connsiteY5" fmla="*/ 1190625 h 1314450"/>
                <a:gd name="connsiteX6" fmla="*/ 1338262 w 1466850"/>
                <a:gd name="connsiteY6" fmla="*/ 1190625 h 1314450"/>
                <a:gd name="connsiteX7" fmla="*/ 1338262 w 1466850"/>
                <a:gd name="connsiteY7" fmla="*/ 1143000 h 1314450"/>
                <a:gd name="connsiteX8" fmla="*/ 1338262 w 1466850"/>
                <a:gd name="connsiteY8" fmla="*/ 1143000 h 1314450"/>
                <a:gd name="connsiteX9" fmla="*/ 1307544 w 1466850"/>
                <a:gd name="connsiteY9" fmla="*/ 1156579 h 1314450"/>
                <a:gd name="connsiteX10" fmla="*/ 1292304 w 1466850"/>
                <a:gd name="connsiteY10" fmla="*/ 1110617 h 1314450"/>
                <a:gd name="connsiteX11" fmla="*/ 1288018 w 1466850"/>
                <a:gd name="connsiteY11" fmla="*/ 1087760 h 1314450"/>
                <a:gd name="connsiteX12" fmla="*/ 1240869 w 1466850"/>
                <a:gd name="connsiteY12" fmla="*/ 1085617 h 1314450"/>
                <a:gd name="connsiteX13" fmla="*/ 1238728 w 1466850"/>
                <a:gd name="connsiteY13" fmla="*/ 1014413 h 1314450"/>
                <a:gd name="connsiteX14" fmla="*/ 1214437 w 1466850"/>
                <a:gd name="connsiteY14" fmla="*/ 1014413 h 1314450"/>
                <a:gd name="connsiteX15" fmla="*/ 1217535 w 1466850"/>
                <a:gd name="connsiteY15" fmla="*/ 952978 h 1314450"/>
                <a:gd name="connsiteX16" fmla="*/ 1133475 w 1466850"/>
                <a:gd name="connsiteY16" fmla="*/ 952500 h 1314450"/>
                <a:gd name="connsiteX17" fmla="*/ 1130353 w 1466850"/>
                <a:gd name="connsiteY17" fmla="*/ 904826 h 1314450"/>
                <a:gd name="connsiteX18" fmla="*/ 1071562 w 1466850"/>
                <a:gd name="connsiteY18" fmla="*/ 900113 h 1314450"/>
                <a:gd name="connsiteX19" fmla="*/ 1071562 w 1466850"/>
                <a:gd name="connsiteY19" fmla="*/ 866676 h 1314450"/>
                <a:gd name="connsiteX20" fmla="*/ 1002745 w 1466850"/>
                <a:gd name="connsiteY20" fmla="*/ 867731 h 1314450"/>
                <a:gd name="connsiteX21" fmla="*/ 999647 w 1466850"/>
                <a:gd name="connsiteY21" fmla="*/ 807483 h 1314450"/>
                <a:gd name="connsiteX22" fmla="*/ 966787 w 1466850"/>
                <a:gd name="connsiteY22" fmla="*/ 804863 h 1314450"/>
                <a:gd name="connsiteX23" fmla="*/ 966787 w 1466850"/>
                <a:gd name="connsiteY23" fmla="*/ 779386 h 1314450"/>
                <a:gd name="connsiteX24" fmla="*/ 904875 w 1466850"/>
                <a:gd name="connsiteY24" fmla="*/ 776288 h 1314450"/>
                <a:gd name="connsiteX25" fmla="*/ 904875 w 1466850"/>
                <a:gd name="connsiteY25" fmla="*/ 742950 h 1314450"/>
                <a:gd name="connsiteX26" fmla="*/ 862012 w 1466850"/>
                <a:gd name="connsiteY26" fmla="*/ 742950 h 1314450"/>
                <a:gd name="connsiteX27" fmla="*/ 861535 w 1466850"/>
                <a:gd name="connsiteY27" fmla="*/ 693660 h 1314450"/>
                <a:gd name="connsiteX28" fmla="*/ 814387 w 1466850"/>
                <a:gd name="connsiteY28" fmla="*/ 690563 h 1314450"/>
                <a:gd name="connsiteX29" fmla="*/ 814387 w 1466850"/>
                <a:gd name="connsiteY29" fmla="*/ 647700 h 1314450"/>
                <a:gd name="connsiteX30" fmla="*/ 776287 w 1466850"/>
                <a:gd name="connsiteY30" fmla="*/ 642937 h 1314450"/>
                <a:gd name="connsiteX31" fmla="*/ 775809 w 1466850"/>
                <a:gd name="connsiteY31" fmla="*/ 586265 h 1314450"/>
                <a:gd name="connsiteX32" fmla="*/ 726520 w 1466850"/>
                <a:gd name="connsiteY32" fmla="*/ 589363 h 1314450"/>
                <a:gd name="connsiteX33" fmla="*/ 719137 w 1466850"/>
                <a:gd name="connsiteY33" fmla="*/ 538163 h 1314450"/>
                <a:gd name="connsiteX34" fmla="*/ 695325 w 1466850"/>
                <a:gd name="connsiteY34" fmla="*/ 538163 h 1314450"/>
                <a:gd name="connsiteX35" fmla="*/ 695325 w 1466850"/>
                <a:gd name="connsiteY35" fmla="*/ 500063 h 1314450"/>
                <a:gd name="connsiteX36" fmla="*/ 662942 w 1466850"/>
                <a:gd name="connsiteY36" fmla="*/ 500063 h 1314450"/>
                <a:gd name="connsiteX37" fmla="*/ 657225 w 1466850"/>
                <a:gd name="connsiteY37" fmla="*/ 438150 h 1314450"/>
                <a:gd name="connsiteX38" fmla="*/ 587451 w 1466850"/>
                <a:gd name="connsiteY38" fmla="*/ 438150 h 1314450"/>
                <a:gd name="connsiteX39" fmla="*/ 590550 w 1466850"/>
                <a:gd name="connsiteY39" fmla="*/ 342900 h 1314450"/>
                <a:gd name="connsiteX40" fmla="*/ 542925 w 1466850"/>
                <a:gd name="connsiteY40" fmla="*/ 342900 h 1314450"/>
                <a:gd name="connsiteX41" fmla="*/ 545545 w 1466850"/>
                <a:gd name="connsiteY41" fmla="*/ 289325 h 1314450"/>
                <a:gd name="connsiteX42" fmla="*/ 474585 w 1466850"/>
                <a:gd name="connsiteY42" fmla="*/ 288370 h 1314450"/>
                <a:gd name="connsiteX43" fmla="*/ 471487 w 1466850"/>
                <a:gd name="connsiteY43" fmla="*/ 238125 h 1314450"/>
                <a:gd name="connsiteX44" fmla="*/ 428625 w 1466850"/>
                <a:gd name="connsiteY44" fmla="*/ 238125 h 1314450"/>
                <a:gd name="connsiteX45" fmla="*/ 428624 w 1466850"/>
                <a:gd name="connsiteY45" fmla="*/ 161925 h 1314450"/>
                <a:gd name="connsiteX46" fmla="*/ 385762 w 1466850"/>
                <a:gd name="connsiteY46" fmla="*/ 161925 h 1314450"/>
                <a:gd name="connsiteX47" fmla="*/ 385762 w 1466850"/>
                <a:gd name="connsiteY47" fmla="*/ 104775 h 1314450"/>
                <a:gd name="connsiteX48" fmla="*/ 223837 w 1466850"/>
                <a:gd name="connsiteY48" fmla="*/ 114300 h 1314450"/>
                <a:gd name="connsiteX49" fmla="*/ 223837 w 1466850"/>
                <a:gd name="connsiteY49" fmla="*/ 71438 h 1314450"/>
                <a:gd name="connsiteX50" fmla="*/ 152400 w 1466850"/>
                <a:gd name="connsiteY50" fmla="*/ 71438 h 1314450"/>
                <a:gd name="connsiteX51" fmla="*/ 152400 w 1466850"/>
                <a:gd name="connsiteY51" fmla="*/ 38100 h 1314450"/>
                <a:gd name="connsiteX52" fmla="*/ 76200 w 1466850"/>
                <a:gd name="connsiteY52" fmla="*/ 33338 h 1314450"/>
                <a:gd name="connsiteX53" fmla="*/ 71437 w 1466850"/>
                <a:gd name="connsiteY53" fmla="*/ 0 h 1314450"/>
                <a:gd name="connsiteX54" fmla="*/ 0 w 1466850"/>
                <a:gd name="connsiteY54" fmla="*/ 4763 h 1314450"/>
                <a:gd name="connsiteX0" fmla="*/ 1466850 w 1466850"/>
                <a:gd name="connsiteY0" fmla="*/ 1314450 h 1314450"/>
                <a:gd name="connsiteX1" fmla="*/ 1462087 w 1466850"/>
                <a:gd name="connsiteY1" fmla="*/ 1262063 h 1314450"/>
                <a:gd name="connsiteX2" fmla="*/ 1423987 w 1466850"/>
                <a:gd name="connsiteY2" fmla="*/ 1262063 h 1314450"/>
                <a:gd name="connsiteX3" fmla="*/ 1423987 w 1466850"/>
                <a:gd name="connsiteY3" fmla="*/ 1228725 h 1314450"/>
                <a:gd name="connsiteX4" fmla="*/ 1366837 w 1466850"/>
                <a:gd name="connsiteY4" fmla="*/ 1228725 h 1314450"/>
                <a:gd name="connsiteX5" fmla="*/ 1366837 w 1466850"/>
                <a:gd name="connsiteY5" fmla="*/ 1190625 h 1314450"/>
                <a:gd name="connsiteX6" fmla="*/ 1338262 w 1466850"/>
                <a:gd name="connsiteY6" fmla="*/ 1190625 h 1314450"/>
                <a:gd name="connsiteX7" fmla="*/ 1338262 w 1466850"/>
                <a:gd name="connsiteY7" fmla="*/ 1143000 h 1314450"/>
                <a:gd name="connsiteX8" fmla="*/ 1338262 w 1466850"/>
                <a:gd name="connsiteY8" fmla="*/ 1143000 h 1314450"/>
                <a:gd name="connsiteX9" fmla="*/ 1307544 w 1466850"/>
                <a:gd name="connsiteY9" fmla="*/ 1156579 h 1314450"/>
                <a:gd name="connsiteX10" fmla="*/ 1292304 w 1466850"/>
                <a:gd name="connsiteY10" fmla="*/ 1110617 h 1314450"/>
                <a:gd name="connsiteX11" fmla="*/ 1288018 w 1466850"/>
                <a:gd name="connsiteY11" fmla="*/ 1087760 h 1314450"/>
                <a:gd name="connsiteX12" fmla="*/ 1240869 w 1466850"/>
                <a:gd name="connsiteY12" fmla="*/ 1085617 h 1314450"/>
                <a:gd name="connsiteX13" fmla="*/ 1238728 w 1466850"/>
                <a:gd name="connsiteY13" fmla="*/ 1014413 h 1314450"/>
                <a:gd name="connsiteX14" fmla="*/ 1214437 w 1466850"/>
                <a:gd name="connsiteY14" fmla="*/ 1014413 h 1314450"/>
                <a:gd name="connsiteX15" fmla="*/ 1217535 w 1466850"/>
                <a:gd name="connsiteY15" fmla="*/ 952978 h 1314450"/>
                <a:gd name="connsiteX16" fmla="*/ 1133475 w 1466850"/>
                <a:gd name="connsiteY16" fmla="*/ 952500 h 1314450"/>
                <a:gd name="connsiteX17" fmla="*/ 1130353 w 1466850"/>
                <a:gd name="connsiteY17" fmla="*/ 904826 h 1314450"/>
                <a:gd name="connsiteX18" fmla="*/ 1071562 w 1466850"/>
                <a:gd name="connsiteY18" fmla="*/ 900113 h 1314450"/>
                <a:gd name="connsiteX19" fmla="*/ 1071562 w 1466850"/>
                <a:gd name="connsiteY19" fmla="*/ 866676 h 1314450"/>
                <a:gd name="connsiteX20" fmla="*/ 1002745 w 1466850"/>
                <a:gd name="connsiteY20" fmla="*/ 867731 h 1314450"/>
                <a:gd name="connsiteX21" fmla="*/ 999647 w 1466850"/>
                <a:gd name="connsiteY21" fmla="*/ 807483 h 1314450"/>
                <a:gd name="connsiteX22" fmla="*/ 966787 w 1466850"/>
                <a:gd name="connsiteY22" fmla="*/ 804863 h 1314450"/>
                <a:gd name="connsiteX23" fmla="*/ 966787 w 1466850"/>
                <a:gd name="connsiteY23" fmla="*/ 779386 h 1314450"/>
                <a:gd name="connsiteX24" fmla="*/ 904875 w 1466850"/>
                <a:gd name="connsiteY24" fmla="*/ 776288 h 1314450"/>
                <a:gd name="connsiteX25" fmla="*/ 904875 w 1466850"/>
                <a:gd name="connsiteY25" fmla="*/ 742950 h 1314450"/>
                <a:gd name="connsiteX26" fmla="*/ 862012 w 1466850"/>
                <a:gd name="connsiteY26" fmla="*/ 742950 h 1314450"/>
                <a:gd name="connsiteX27" fmla="*/ 861535 w 1466850"/>
                <a:gd name="connsiteY27" fmla="*/ 693660 h 1314450"/>
                <a:gd name="connsiteX28" fmla="*/ 814387 w 1466850"/>
                <a:gd name="connsiteY28" fmla="*/ 690563 h 1314450"/>
                <a:gd name="connsiteX29" fmla="*/ 814387 w 1466850"/>
                <a:gd name="connsiteY29" fmla="*/ 647700 h 1314450"/>
                <a:gd name="connsiteX30" fmla="*/ 776287 w 1466850"/>
                <a:gd name="connsiteY30" fmla="*/ 642937 h 1314450"/>
                <a:gd name="connsiteX31" fmla="*/ 775809 w 1466850"/>
                <a:gd name="connsiteY31" fmla="*/ 586265 h 1314450"/>
                <a:gd name="connsiteX32" fmla="*/ 726520 w 1466850"/>
                <a:gd name="connsiteY32" fmla="*/ 589363 h 1314450"/>
                <a:gd name="connsiteX33" fmla="*/ 719137 w 1466850"/>
                <a:gd name="connsiteY33" fmla="*/ 538163 h 1314450"/>
                <a:gd name="connsiteX34" fmla="*/ 695325 w 1466850"/>
                <a:gd name="connsiteY34" fmla="*/ 538163 h 1314450"/>
                <a:gd name="connsiteX35" fmla="*/ 695325 w 1466850"/>
                <a:gd name="connsiteY35" fmla="*/ 500063 h 1314450"/>
                <a:gd name="connsiteX36" fmla="*/ 662942 w 1466850"/>
                <a:gd name="connsiteY36" fmla="*/ 500063 h 1314450"/>
                <a:gd name="connsiteX37" fmla="*/ 657225 w 1466850"/>
                <a:gd name="connsiteY37" fmla="*/ 438150 h 1314450"/>
                <a:gd name="connsiteX38" fmla="*/ 587451 w 1466850"/>
                <a:gd name="connsiteY38" fmla="*/ 438150 h 1314450"/>
                <a:gd name="connsiteX39" fmla="*/ 590550 w 1466850"/>
                <a:gd name="connsiteY39" fmla="*/ 342900 h 1314450"/>
                <a:gd name="connsiteX40" fmla="*/ 542925 w 1466850"/>
                <a:gd name="connsiteY40" fmla="*/ 342900 h 1314450"/>
                <a:gd name="connsiteX41" fmla="*/ 545545 w 1466850"/>
                <a:gd name="connsiteY41" fmla="*/ 289325 h 1314450"/>
                <a:gd name="connsiteX42" fmla="*/ 474585 w 1466850"/>
                <a:gd name="connsiteY42" fmla="*/ 288370 h 1314450"/>
                <a:gd name="connsiteX43" fmla="*/ 471487 w 1466850"/>
                <a:gd name="connsiteY43" fmla="*/ 238125 h 1314450"/>
                <a:gd name="connsiteX44" fmla="*/ 428625 w 1466850"/>
                <a:gd name="connsiteY44" fmla="*/ 238125 h 1314450"/>
                <a:gd name="connsiteX45" fmla="*/ 428624 w 1466850"/>
                <a:gd name="connsiteY45" fmla="*/ 161925 h 1314450"/>
                <a:gd name="connsiteX46" fmla="*/ 385762 w 1466850"/>
                <a:gd name="connsiteY46" fmla="*/ 161925 h 1314450"/>
                <a:gd name="connsiteX47" fmla="*/ 385762 w 1466850"/>
                <a:gd name="connsiteY47" fmla="*/ 104775 h 1314450"/>
                <a:gd name="connsiteX48" fmla="*/ 223837 w 1466850"/>
                <a:gd name="connsiteY48" fmla="*/ 114300 h 1314450"/>
                <a:gd name="connsiteX49" fmla="*/ 223837 w 1466850"/>
                <a:gd name="connsiteY49" fmla="*/ 71438 h 1314450"/>
                <a:gd name="connsiteX50" fmla="*/ 152400 w 1466850"/>
                <a:gd name="connsiteY50" fmla="*/ 71438 h 1314450"/>
                <a:gd name="connsiteX51" fmla="*/ 152400 w 1466850"/>
                <a:gd name="connsiteY51" fmla="*/ 38100 h 1314450"/>
                <a:gd name="connsiteX52" fmla="*/ 76200 w 1466850"/>
                <a:gd name="connsiteY52" fmla="*/ 33338 h 1314450"/>
                <a:gd name="connsiteX53" fmla="*/ 71437 w 1466850"/>
                <a:gd name="connsiteY53" fmla="*/ 0 h 1314450"/>
                <a:gd name="connsiteX54" fmla="*/ 0 w 1466850"/>
                <a:gd name="connsiteY54" fmla="*/ 4763 h 1314450"/>
                <a:gd name="connsiteX0" fmla="*/ 1466850 w 1466850"/>
                <a:gd name="connsiteY0" fmla="*/ 1314450 h 1314450"/>
                <a:gd name="connsiteX1" fmla="*/ 1462087 w 1466850"/>
                <a:gd name="connsiteY1" fmla="*/ 1262063 h 1314450"/>
                <a:gd name="connsiteX2" fmla="*/ 1423987 w 1466850"/>
                <a:gd name="connsiteY2" fmla="*/ 1262063 h 1314450"/>
                <a:gd name="connsiteX3" fmla="*/ 1423987 w 1466850"/>
                <a:gd name="connsiteY3" fmla="*/ 1228725 h 1314450"/>
                <a:gd name="connsiteX4" fmla="*/ 1366837 w 1466850"/>
                <a:gd name="connsiteY4" fmla="*/ 1228725 h 1314450"/>
                <a:gd name="connsiteX5" fmla="*/ 1366837 w 1466850"/>
                <a:gd name="connsiteY5" fmla="*/ 1190625 h 1314450"/>
                <a:gd name="connsiteX6" fmla="*/ 1338262 w 1466850"/>
                <a:gd name="connsiteY6" fmla="*/ 1190625 h 1314450"/>
                <a:gd name="connsiteX7" fmla="*/ 1338262 w 1466850"/>
                <a:gd name="connsiteY7" fmla="*/ 1143000 h 1314450"/>
                <a:gd name="connsiteX8" fmla="*/ 1338262 w 1466850"/>
                <a:gd name="connsiteY8" fmla="*/ 1143000 h 1314450"/>
                <a:gd name="connsiteX9" fmla="*/ 1307544 w 1466850"/>
                <a:gd name="connsiteY9" fmla="*/ 1156579 h 1314450"/>
                <a:gd name="connsiteX10" fmla="*/ 1288018 w 1466850"/>
                <a:gd name="connsiteY10" fmla="*/ 1087760 h 1314450"/>
                <a:gd name="connsiteX11" fmla="*/ 1240869 w 1466850"/>
                <a:gd name="connsiteY11" fmla="*/ 1085617 h 1314450"/>
                <a:gd name="connsiteX12" fmla="*/ 1238728 w 1466850"/>
                <a:gd name="connsiteY12" fmla="*/ 1014413 h 1314450"/>
                <a:gd name="connsiteX13" fmla="*/ 1214437 w 1466850"/>
                <a:gd name="connsiteY13" fmla="*/ 1014413 h 1314450"/>
                <a:gd name="connsiteX14" fmla="*/ 1217535 w 1466850"/>
                <a:gd name="connsiteY14" fmla="*/ 952978 h 1314450"/>
                <a:gd name="connsiteX15" fmla="*/ 1133475 w 1466850"/>
                <a:gd name="connsiteY15" fmla="*/ 952500 h 1314450"/>
                <a:gd name="connsiteX16" fmla="*/ 1130353 w 1466850"/>
                <a:gd name="connsiteY16" fmla="*/ 904826 h 1314450"/>
                <a:gd name="connsiteX17" fmla="*/ 1071562 w 1466850"/>
                <a:gd name="connsiteY17" fmla="*/ 900113 h 1314450"/>
                <a:gd name="connsiteX18" fmla="*/ 1071562 w 1466850"/>
                <a:gd name="connsiteY18" fmla="*/ 866676 h 1314450"/>
                <a:gd name="connsiteX19" fmla="*/ 1002745 w 1466850"/>
                <a:gd name="connsiteY19" fmla="*/ 867731 h 1314450"/>
                <a:gd name="connsiteX20" fmla="*/ 999647 w 1466850"/>
                <a:gd name="connsiteY20" fmla="*/ 807483 h 1314450"/>
                <a:gd name="connsiteX21" fmla="*/ 966787 w 1466850"/>
                <a:gd name="connsiteY21" fmla="*/ 804863 h 1314450"/>
                <a:gd name="connsiteX22" fmla="*/ 966787 w 1466850"/>
                <a:gd name="connsiteY22" fmla="*/ 779386 h 1314450"/>
                <a:gd name="connsiteX23" fmla="*/ 904875 w 1466850"/>
                <a:gd name="connsiteY23" fmla="*/ 776288 h 1314450"/>
                <a:gd name="connsiteX24" fmla="*/ 904875 w 1466850"/>
                <a:gd name="connsiteY24" fmla="*/ 742950 h 1314450"/>
                <a:gd name="connsiteX25" fmla="*/ 862012 w 1466850"/>
                <a:gd name="connsiteY25" fmla="*/ 742950 h 1314450"/>
                <a:gd name="connsiteX26" fmla="*/ 861535 w 1466850"/>
                <a:gd name="connsiteY26" fmla="*/ 693660 h 1314450"/>
                <a:gd name="connsiteX27" fmla="*/ 814387 w 1466850"/>
                <a:gd name="connsiteY27" fmla="*/ 690563 h 1314450"/>
                <a:gd name="connsiteX28" fmla="*/ 814387 w 1466850"/>
                <a:gd name="connsiteY28" fmla="*/ 647700 h 1314450"/>
                <a:gd name="connsiteX29" fmla="*/ 776287 w 1466850"/>
                <a:gd name="connsiteY29" fmla="*/ 642937 h 1314450"/>
                <a:gd name="connsiteX30" fmla="*/ 775809 w 1466850"/>
                <a:gd name="connsiteY30" fmla="*/ 586265 h 1314450"/>
                <a:gd name="connsiteX31" fmla="*/ 726520 w 1466850"/>
                <a:gd name="connsiteY31" fmla="*/ 589363 h 1314450"/>
                <a:gd name="connsiteX32" fmla="*/ 719137 w 1466850"/>
                <a:gd name="connsiteY32" fmla="*/ 538163 h 1314450"/>
                <a:gd name="connsiteX33" fmla="*/ 695325 w 1466850"/>
                <a:gd name="connsiteY33" fmla="*/ 538163 h 1314450"/>
                <a:gd name="connsiteX34" fmla="*/ 695325 w 1466850"/>
                <a:gd name="connsiteY34" fmla="*/ 500063 h 1314450"/>
                <a:gd name="connsiteX35" fmla="*/ 662942 w 1466850"/>
                <a:gd name="connsiteY35" fmla="*/ 500063 h 1314450"/>
                <a:gd name="connsiteX36" fmla="*/ 657225 w 1466850"/>
                <a:gd name="connsiteY36" fmla="*/ 438150 h 1314450"/>
                <a:gd name="connsiteX37" fmla="*/ 587451 w 1466850"/>
                <a:gd name="connsiteY37" fmla="*/ 438150 h 1314450"/>
                <a:gd name="connsiteX38" fmla="*/ 590550 w 1466850"/>
                <a:gd name="connsiteY38" fmla="*/ 342900 h 1314450"/>
                <a:gd name="connsiteX39" fmla="*/ 542925 w 1466850"/>
                <a:gd name="connsiteY39" fmla="*/ 342900 h 1314450"/>
                <a:gd name="connsiteX40" fmla="*/ 545545 w 1466850"/>
                <a:gd name="connsiteY40" fmla="*/ 289325 h 1314450"/>
                <a:gd name="connsiteX41" fmla="*/ 474585 w 1466850"/>
                <a:gd name="connsiteY41" fmla="*/ 288370 h 1314450"/>
                <a:gd name="connsiteX42" fmla="*/ 471487 w 1466850"/>
                <a:gd name="connsiteY42" fmla="*/ 238125 h 1314450"/>
                <a:gd name="connsiteX43" fmla="*/ 428625 w 1466850"/>
                <a:gd name="connsiteY43" fmla="*/ 238125 h 1314450"/>
                <a:gd name="connsiteX44" fmla="*/ 428624 w 1466850"/>
                <a:gd name="connsiteY44" fmla="*/ 161925 h 1314450"/>
                <a:gd name="connsiteX45" fmla="*/ 385762 w 1466850"/>
                <a:gd name="connsiteY45" fmla="*/ 161925 h 1314450"/>
                <a:gd name="connsiteX46" fmla="*/ 385762 w 1466850"/>
                <a:gd name="connsiteY46" fmla="*/ 104775 h 1314450"/>
                <a:gd name="connsiteX47" fmla="*/ 223837 w 1466850"/>
                <a:gd name="connsiteY47" fmla="*/ 114300 h 1314450"/>
                <a:gd name="connsiteX48" fmla="*/ 223837 w 1466850"/>
                <a:gd name="connsiteY48" fmla="*/ 71438 h 1314450"/>
                <a:gd name="connsiteX49" fmla="*/ 152400 w 1466850"/>
                <a:gd name="connsiteY49" fmla="*/ 71438 h 1314450"/>
                <a:gd name="connsiteX50" fmla="*/ 152400 w 1466850"/>
                <a:gd name="connsiteY50" fmla="*/ 38100 h 1314450"/>
                <a:gd name="connsiteX51" fmla="*/ 76200 w 1466850"/>
                <a:gd name="connsiteY51" fmla="*/ 33338 h 1314450"/>
                <a:gd name="connsiteX52" fmla="*/ 71437 w 1466850"/>
                <a:gd name="connsiteY52" fmla="*/ 0 h 1314450"/>
                <a:gd name="connsiteX53" fmla="*/ 0 w 1466850"/>
                <a:gd name="connsiteY53" fmla="*/ 4763 h 1314450"/>
                <a:gd name="connsiteX0" fmla="*/ 1466850 w 1466850"/>
                <a:gd name="connsiteY0" fmla="*/ 1314450 h 1314450"/>
                <a:gd name="connsiteX1" fmla="*/ 1462087 w 1466850"/>
                <a:gd name="connsiteY1" fmla="*/ 1262063 h 1314450"/>
                <a:gd name="connsiteX2" fmla="*/ 1423987 w 1466850"/>
                <a:gd name="connsiteY2" fmla="*/ 1262063 h 1314450"/>
                <a:gd name="connsiteX3" fmla="*/ 1423987 w 1466850"/>
                <a:gd name="connsiteY3" fmla="*/ 1228725 h 1314450"/>
                <a:gd name="connsiteX4" fmla="*/ 1366837 w 1466850"/>
                <a:gd name="connsiteY4" fmla="*/ 1228725 h 1314450"/>
                <a:gd name="connsiteX5" fmla="*/ 1366837 w 1466850"/>
                <a:gd name="connsiteY5" fmla="*/ 1190625 h 1314450"/>
                <a:gd name="connsiteX6" fmla="*/ 1338262 w 1466850"/>
                <a:gd name="connsiteY6" fmla="*/ 1190625 h 1314450"/>
                <a:gd name="connsiteX7" fmla="*/ 1338262 w 1466850"/>
                <a:gd name="connsiteY7" fmla="*/ 1143000 h 1314450"/>
                <a:gd name="connsiteX8" fmla="*/ 1338262 w 1466850"/>
                <a:gd name="connsiteY8" fmla="*/ 1143000 h 1314450"/>
                <a:gd name="connsiteX9" fmla="*/ 1307544 w 1466850"/>
                <a:gd name="connsiteY9" fmla="*/ 1156579 h 1314450"/>
                <a:gd name="connsiteX10" fmla="*/ 1301118 w 1466850"/>
                <a:gd name="connsiteY10" fmla="*/ 1085140 h 1314450"/>
                <a:gd name="connsiteX11" fmla="*/ 1240869 w 1466850"/>
                <a:gd name="connsiteY11" fmla="*/ 1085617 h 1314450"/>
                <a:gd name="connsiteX12" fmla="*/ 1238728 w 1466850"/>
                <a:gd name="connsiteY12" fmla="*/ 1014413 h 1314450"/>
                <a:gd name="connsiteX13" fmla="*/ 1214437 w 1466850"/>
                <a:gd name="connsiteY13" fmla="*/ 1014413 h 1314450"/>
                <a:gd name="connsiteX14" fmla="*/ 1217535 w 1466850"/>
                <a:gd name="connsiteY14" fmla="*/ 952978 h 1314450"/>
                <a:gd name="connsiteX15" fmla="*/ 1133475 w 1466850"/>
                <a:gd name="connsiteY15" fmla="*/ 952500 h 1314450"/>
                <a:gd name="connsiteX16" fmla="*/ 1130353 w 1466850"/>
                <a:gd name="connsiteY16" fmla="*/ 904826 h 1314450"/>
                <a:gd name="connsiteX17" fmla="*/ 1071562 w 1466850"/>
                <a:gd name="connsiteY17" fmla="*/ 900113 h 1314450"/>
                <a:gd name="connsiteX18" fmla="*/ 1071562 w 1466850"/>
                <a:gd name="connsiteY18" fmla="*/ 866676 h 1314450"/>
                <a:gd name="connsiteX19" fmla="*/ 1002745 w 1466850"/>
                <a:gd name="connsiteY19" fmla="*/ 867731 h 1314450"/>
                <a:gd name="connsiteX20" fmla="*/ 999647 w 1466850"/>
                <a:gd name="connsiteY20" fmla="*/ 807483 h 1314450"/>
                <a:gd name="connsiteX21" fmla="*/ 966787 w 1466850"/>
                <a:gd name="connsiteY21" fmla="*/ 804863 h 1314450"/>
                <a:gd name="connsiteX22" fmla="*/ 966787 w 1466850"/>
                <a:gd name="connsiteY22" fmla="*/ 779386 h 1314450"/>
                <a:gd name="connsiteX23" fmla="*/ 904875 w 1466850"/>
                <a:gd name="connsiteY23" fmla="*/ 776288 h 1314450"/>
                <a:gd name="connsiteX24" fmla="*/ 904875 w 1466850"/>
                <a:gd name="connsiteY24" fmla="*/ 742950 h 1314450"/>
                <a:gd name="connsiteX25" fmla="*/ 862012 w 1466850"/>
                <a:gd name="connsiteY25" fmla="*/ 742950 h 1314450"/>
                <a:gd name="connsiteX26" fmla="*/ 861535 w 1466850"/>
                <a:gd name="connsiteY26" fmla="*/ 693660 h 1314450"/>
                <a:gd name="connsiteX27" fmla="*/ 814387 w 1466850"/>
                <a:gd name="connsiteY27" fmla="*/ 690563 h 1314450"/>
                <a:gd name="connsiteX28" fmla="*/ 814387 w 1466850"/>
                <a:gd name="connsiteY28" fmla="*/ 647700 h 1314450"/>
                <a:gd name="connsiteX29" fmla="*/ 776287 w 1466850"/>
                <a:gd name="connsiteY29" fmla="*/ 642937 h 1314450"/>
                <a:gd name="connsiteX30" fmla="*/ 775809 w 1466850"/>
                <a:gd name="connsiteY30" fmla="*/ 586265 h 1314450"/>
                <a:gd name="connsiteX31" fmla="*/ 726520 w 1466850"/>
                <a:gd name="connsiteY31" fmla="*/ 589363 h 1314450"/>
                <a:gd name="connsiteX32" fmla="*/ 719137 w 1466850"/>
                <a:gd name="connsiteY32" fmla="*/ 538163 h 1314450"/>
                <a:gd name="connsiteX33" fmla="*/ 695325 w 1466850"/>
                <a:gd name="connsiteY33" fmla="*/ 538163 h 1314450"/>
                <a:gd name="connsiteX34" fmla="*/ 695325 w 1466850"/>
                <a:gd name="connsiteY34" fmla="*/ 500063 h 1314450"/>
                <a:gd name="connsiteX35" fmla="*/ 662942 w 1466850"/>
                <a:gd name="connsiteY35" fmla="*/ 500063 h 1314450"/>
                <a:gd name="connsiteX36" fmla="*/ 657225 w 1466850"/>
                <a:gd name="connsiteY36" fmla="*/ 438150 h 1314450"/>
                <a:gd name="connsiteX37" fmla="*/ 587451 w 1466850"/>
                <a:gd name="connsiteY37" fmla="*/ 438150 h 1314450"/>
                <a:gd name="connsiteX38" fmla="*/ 590550 w 1466850"/>
                <a:gd name="connsiteY38" fmla="*/ 342900 h 1314450"/>
                <a:gd name="connsiteX39" fmla="*/ 542925 w 1466850"/>
                <a:gd name="connsiteY39" fmla="*/ 342900 h 1314450"/>
                <a:gd name="connsiteX40" fmla="*/ 545545 w 1466850"/>
                <a:gd name="connsiteY40" fmla="*/ 289325 h 1314450"/>
                <a:gd name="connsiteX41" fmla="*/ 474585 w 1466850"/>
                <a:gd name="connsiteY41" fmla="*/ 288370 h 1314450"/>
                <a:gd name="connsiteX42" fmla="*/ 471487 w 1466850"/>
                <a:gd name="connsiteY42" fmla="*/ 238125 h 1314450"/>
                <a:gd name="connsiteX43" fmla="*/ 428625 w 1466850"/>
                <a:gd name="connsiteY43" fmla="*/ 238125 h 1314450"/>
                <a:gd name="connsiteX44" fmla="*/ 428624 w 1466850"/>
                <a:gd name="connsiteY44" fmla="*/ 161925 h 1314450"/>
                <a:gd name="connsiteX45" fmla="*/ 385762 w 1466850"/>
                <a:gd name="connsiteY45" fmla="*/ 161925 h 1314450"/>
                <a:gd name="connsiteX46" fmla="*/ 385762 w 1466850"/>
                <a:gd name="connsiteY46" fmla="*/ 104775 h 1314450"/>
                <a:gd name="connsiteX47" fmla="*/ 223837 w 1466850"/>
                <a:gd name="connsiteY47" fmla="*/ 114300 h 1314450"/>
                <a:gd name="connsiteX48" fmla="*/ 223837 w 1466850"/>
                <a:gd name="connsiteY48" fmla="*/ 71438 h 1314450"/>
                <a:gd name="connsiteX49" fmla="*/ 152400 w 1466850"/>
                <a:gd name="connsiteY49" fmla="*/ 71438 h 1314450"/>
                <a:gd name="connsiteX50" fmla="*/ 152400 w 1466850"/>
                <a:gd name="connsiteY50" fmla="*/ 38100 h 1314450"/>
                <a:gd name="connsiteX51" fmla="*/ 76200 w 1466850"/>
                <a:gd name="connsiteY51" fmla="*/ 33338 h 1314450"/>
                <a:gd name="connsiteX52" fmla="*/ 71437 w 1466850"/>
                <a:gd name="connsiteY52" fmla="*/ 0 h 1314450"/>
                <a:gd name="connsiteX53" fmla="*/ 0 w 1466850"/>
                <a:gd name="connsiteY53" fmla="*/ 4763 h 1314450"/>
                <a:gd name="connsiteX0" fmla="*/ 1466850 w 1466850"/>
                <a:gd name="connsiteY0" fmla="*/ 1314450 h 1314450"/>
                <a:gd name="connsiteX1" fmla="*/ 1462087 w 1466850"/>
                <a:gd name="connsiteY1" fmla="*/ 1262063 h 1314450"/>
                <a:gd name="connsiteX2" fmla="*/ 1423987 w 1466850"/>
                <a:gd name="connsiteY2" fmla="*/ 1262063 h 1314450"/>
                <a:gd name="connsiteX3" fmla="*/ 1423987 w 1466850"/>
                <a:gd name="connsiteY3" fmla="*/ 1228725 h 1314450"/>
                <a:gd name="connsiteX4" fmla="*/ 1366837 w 1466850"/>
                <a:gd name="connsiteY4" fmla="*/ 1228725 h 1314450"/>
                <a:gd name="connsiteX5" fmla="*/ 1366837 w 1466850"/>
                <a:gd name="connsiteY5" fmla="*/ 1190625 h 1314450"/>
                <a:gd name="connsiteX6" fmla="*/ 1338262 w 1466850"/>
                <a:gd name="connsiteY6" fmla="*/ 1190625 h 1314450"/>
                <a:gd name="connsiteX7" fmla="*/ 1338262 w 1466850"/>
                <a:gd name="connsiteY7" fmla="*/ 1143000 h 1314450"/>
                <a:gd name="connsiteX8" fmla="*/ 1338262 w 1466850"/>
                <a:gd name="connsiteY8" fmla="*/ 1143000 h 1314450"/>
                <a:gd name="connsiteX9" fmla="*/ 1297064 w 1466850"/>
                <a:gd name="connsiteY9" fmla="*/ 1151339 h 1314450"/>
                <a:gd name="connsiteX10" fmla="*/ 1301118 w 1466850"/>
                <a:gd name="connsiteY10" fmla="*/ 1085140 h 1314450"/>
                <a:gd name="connsiteX11" fmla="*/ 1240869 w 1466850"/>
                <a:gd name="connsiteY11" fmla="*/ 1085617 h 1314450"/>
                <a:gd name="connsiteX12" fmla="*/ 1238728 w 1466850"/>
                <a:gd name="connsiteY12" fmla="*/ 1014413 h 1314450"/>
                <a:gd name="connsiteX13" fmla="*/ 1214437 w 1466850"/>
                <a:gd name="connsiteY13" fmla="*/ 1014413 h 1314450"/>
                <a:gd name="connsiteX14" fmla="*/ 1217535 w 1466850"/>
                <a:gd name="connsiteY14" fmla="*/ 952978 h 1314450"/>
                <a:gd name="connsiteX15" fmla="*/ 1133475 w 1466850"/>
                <a:gd name="connsiteY15" fmla="*/ 952500 h 1314450"/>
                <a:gd name="connsiteX16" fmla="*/ 1130353 w 1466850"/>
                <a:gd name="connsiteY16" fmla="*/ 904826 h 1314450"/>
                <a:gd name="connsiteX17" fmla="*/ 1071562 w 1466850"/>
                <a:gd name="connsiteY17" fmla="*/ 900113 h 1314450"/>
                <a:gd name="connsiteX18" fmla="*/ 1071562 w 1466850"/>
                <a:gd name="connsiteY18" fmla="*/ 866676 h 1314450"/>
                <a:gd name="connsiteX19" fmla="*/ 1002745 w 1466850"/>
                <a:gd name="connsiteY19" fmla="*/ 867731 h 1314450"/>
                <a:gd name="connsiteX20" fmla="*/ 999647 w 1466850"/>
                <a:gd name="connsiteY20" fmla="*/ 807483 h 1314450"/>
                <a:gd name="connsiteX21" fmla="*/ 966787 w 1466850"/>
                <a:gd name="connsiteY21" fmla="*/ 804863 h 1314450"/>
                <a:gd name="connsiteX22" fmla="*/ 966787 w 1466850"/>
                <a:gd name="connsiteY22" fmla="*/ 779386 h 1314450"/>
                <a:gd name="connsiteX23" fmla="*/ 904875 w 1466850"/>
                <a:gd name="connsiteY23" fmla="*/ 776288 h 1314450"/>
                <a:gd name="connsiteX24" fmla="*/ 904875 w 1466850"/>
                <a:gd name="connsiteY24" fmla="*/ 742950 h 1314450"/>
                <a:gd name="connsiteX25" fmla="*/ 862012 w 1466850"/>
                <a:gd name="connsiteY25" fmla="*/ 742950 h 1314450"/>
                <a:gd name="connsiteX26" fmla="*/ 861535 w 1466850"/>
                <a:gd name="connsiteY26" fmla="*/ 693660 h 1314450"/>
                <a:gd name="connsiteX27" fmla="*/ 814387 w 1466850"/>
                <a:gd name="connsiteY27" fmla="*/ 690563 h 1314450"/>
                <a:gd name="connsiteX28" fmla="*/ 814387 w 1466850"/>
                <a:gd name="connsiteY28" fmla="*/ 647700 h 1314450"/>
                <a:gd name="connsiteX29" fmla="*/ 776287 w 1466850"/>
                <a:gd name="connsiteY29" fmla="*/ 642937 h 1314450"/>
                <a:gd name="connsiteX30" fmla="*/ 775809 w 1466850"/>
                <a:gd name="connsiteY30" fmla="*/ 586265 h 1314450"/>
                <a:gd name="connsiteX31" fmla="*/ 726520 w 1466850"/>
                <a:gd name="connsiteY31" fmla="*/ 589363 h 1314450"/>
                <a:gd name="connsiteX32" fmla="*/ 719137 w 1466850"/>
                <a:gd name="connsiteY32" fmla="*/ 538163 h 1314450"/>
                <a:gd name="connsiteX33" fmla="*/ 695325 w 1466850"/>
                <a:gd name="connsiteY33" fmla="*/ 538163 h 1314450"/>
                <a:gd name="connsiteX34" fmla="*/ 695325 w 1466850"/>
                <a:gd name="connsiteY34" fmla="*/ 500063 h 1314450"/>
                <a:gd name="connsiteX35" fmla="*/ 662942 w 1466850"/>
                <a:gd name="connsiteY35" fmla="*/ 500063 h 1314450"/>
                <a:gd name="connsiteX36" fmla="*/ 657225 w 1466850"/>
                <a:gd name="connsiteY36" fmla="*/ 438150 h 1314450"/>
                <a:gd name="connsiteX37" fmla="*/ 587451 w 1466850"/>
                <a:gd name="connsiteY37" fmla="*/ 438150 h 1314450"/>
                <a:gd name="connsiteX38" fmla="*/ 590550 w 1466850"/>
                <a:gd name="connsiteY38" fmla="*/ 342900 h 1314450"/>
                <a:gd name="connsiteX39" fmla="*/ 542925 w 1466850"/>
                <a:gd name="connsiteY39" fmla="*/ 342900 h 1314450"/>
                <a:gd name="connsiteX40" fmla="*/ 545545 w 1466850"/>
                <a:gd name="connsiteY40" fmla="*/ 289325 h 1314450"/>
                <a:gd name="connsiteX41" fmla="*/ 474585 w 1466850"/>
                <a:gd name="connsiteY41" fmla="*/ 288370 h 1314450"/>
                <a:gd name="connsiteX42" fmla="*/ 471487 w 1466850"/>
                <a:gd name="connsiteY42" fmla="*/ 238125 h 1314450"/>
                <a:gd name="connsiteX43" fmla="*/ 428625 w 1466850"/>
                <a:gd name="connsiteY43" fmla="*/ 238125 h 1314450"/>
                <a:gd name="connsiteX44" fmla="*/ 428624 w 1466850"/>
                <a:gd name="connsiteY44" fmla="*/ 161925 h 1314450"/>
                <a:gd name="connsiteX45" fmla="*/ 385762 w 1466850"/>
                <a:gd name="connsiteY45" fmla="*/ 161925 h 1314450"/>
                <a:gd name="connsiteX46" fmla="*/ 385762 w 1466850"/>
                <a:gd name="connsiteY46" fmla="*/ 104775 h 1314450"/>
                <a:gd name="connsiteX47" fmla="*/ 223837 w 1466850"/>
                <a:gd name="connsiteY47" fmla="*/ 114300 h 1314450"/>
                <a:gd name="connsiteX48" fmla="*/ 223837 w 1466850"/>
                <a:gd name="connsiteY48" fmla="*/ 71438 h 1314450"/>
                <a:gd name="connsiteX49" fmla="*/ 152400 w 1466850"/>
                <a:gd name="connsiteY49" fmla="*/ 71438 h 1314450"/>
                <a:gd name="connsiteX50" fmla="*/ 152400 w 1466850"/>
                <a:gd name="connsiteY50" fmla="*/ 38100 h 1314450"/>
                <a:gd name="connsiteX51" fmla="*/ 76200 w 1466850"/>
                <a:gd name="connsiteY51" fmla="*/ 33338 h 1314450"/>
                <a:gd name="connsiteX52" fmla="*/ 71437 w 1466850"/>
                <a:gd name="connsiteY52" fmla="*/ 0 h 1314450"/>
                <a:gd name="connsiteX53" fmla="*/ 0 w 1466850"/>
                <a:gd name="connsiteY53" fmla="*/ 4763 h 1314450"/>
                <a:gd name="connsiteX0" fmla="*/ 1466850 w 1466850"/>
                <a:gd name="connsiteY0" fmla="*/ 1314450 h 1314450"/>
                <a:gd name="connsiteX1" fmla="*/ 1462087 w 1466850"/>
                <a:gd name="connsiteY1" fmla="*/ 1262063 h 1314450"/>
                <a:gd name="connsiteX2" fmla="*/ 1423987 w 1466850"/>
                <a:gd name="connsiteY2" fmla="*/ 1262063 h 1314450"/>
                <a:gd name="connsiteX3" fmla="*/ 1423987 w 1466850"/>
                <a:gd name="connsiteY3" fmla="*/ 1228725 h 1314450"/>
                <a:gd name="connsiteX4" fmla="*/ 1366837 w 1466850"/>
                <a:gd name="connsiteY4" fmla="*/ 1228725 h 1314450"/>
                <a:gd name="connsiteX5" fmla="*/ 1366837 w 1466850"/>
                <a:gd name="connsiteY5" fmla="*/ 1190625 h 1314450"/>
                <a:gd name="connsiteX6" fmla="*/ 1338262 w 1466850"/>
                <a:gd name="connsiteY6" fmla="*/ 1190625 h 1314450"/>
                <a:gd name="connsiteX7" fmla="*/ 1338262 w 1466850"/>
                <a:gd name="connsiteY7" fmla="*/ 1143000 h 1314450"/>
                <a:gd name="connsiteX8" fmla="*/ 1338262 w 1466850"/>
                <a:gd name="connsiteY8" fmla="*/ 1150860 h 1314450"/>
                <a:gd name="connsiteX9" fmla="*/ 1297064 w 1466850"/>
                <a:gd name="connsiteY9" fmla="*/ 1151339 h 1314450"/>
                <a:gd name="connsiteX10" fmla="*/ 1301118 w 1466850"/>
                <a:gd name="connsiteY10" fmla="*/ 1085140 h 1314450"/>
                <a:gd name="connsiteX11" fmla="*/ 1240869 w 1466850"/>
                <a:gd name="connsiteY11" fmla="*/ 1085617 h 1314450"/>
                <a:gd name="connsiteX12" fmla="*/ 1238728 w 1466850"/>
                <a:gd name="connsiteY12" fmla="*/ 1014413 h 1314450"/>
                <a:gd name="connsiteX13" fmla="*/ 1214437 w 1466850"/>
                <a:gd name="connsiteY13" fmla="*/ 1014413 h 1314450"/>
                <a:gd name="connsiteX14" fmla="*/ 1217535 w 1466850"/>
                <a:gd name="connsiteY14" fmla="*/ 952978 h 1314450"/>
                <a:gd name="connsiteX15" fmla="*/ 1133475 w 1466850"/>
                <a:gd name="connsiteY15" fmla="*/ 952500 h 1314450"/>
                <a:gd name="connsiteX16" fmla="*/ 1130353 w 1466850"/>
                <a:gd name="connsiteY16" fmla="*/ 904826 h 1314450"/>
                <a:gd name="connsiteX17" fmla="*/ 1071562 w 1466850"/>
                <a:gd name="connsiteY17" fmla="*/ 900113 h 1314450"/>
                <a:gd name="connsiteX18" fmla="*/ 1071562 w 1466850"/>
                <a:gd name="connsiteY18" fmla="*/ 866676 h 1314450"/>
                <a:gd name="connsiteX19" fmla="*/ 1002745 w 1466850"/>
                <a:gd name="connsiteY19" fmla="*/ 867731 h 1314450"/>
                <a:gd name="connsiteX20" fmla="*/ 999647 w 1466850"/>
                <a:gd name="connsiteY20" fmla="*/ 807483 h 1314450"/>
                <a:gd name="connsiteX21" fmla="*/ 966787 w 1466850"/>
                <a:gd name="connsiteY21" fmla="*/ 804863 h 1314450"/>
                <a:gd name="connsiteX22" fmla="*/ 966787 w 1466850"/>
                <a:gd name="connsiteY22" fmla="*/ 779386 h 1314450"/>
                <a:gd name="connsiteX23" fmla="*/ 904875 w 1466850"/>
                <a:gd name="connsiteY23" fmla="*/ 776288 h 1314450"/>
                <a:gd name="connsiteX24" fmla="*/ 904875 w 1466850"/>
                <a:gd name="connsiteY24" fmla="*/ 742950 h 1314450"/>
                <a:gd name="connsiteX25" fmla="*/ 862012 w 1466850"/>
                <a:gd name="connsiteY25" fmla="*/ 742950 h 1314450"/>
                <a:gd name="connsiteX26" fmla="*/ 861535 w 1466850"/>
                <a:gd name="connsiteY26" fmla="*/ 693660 h 1314450"/>
                <a:gd name="connsiteX27" fmla="*/ 814387 w 1466850"/>
                <a:gd name="connsiteY27" fmla="*/ 690563 h 1314450"/>
                <a:gd name="connsiteX28" fmla="*/ 814387 w 1466850"/>
                <a:gd name="connsiteY28" fmla="*/ 647700 h 1314450"/>
                <a:gd name="connsiteX29" fmla="*/ 776287 w 1466850"/>
                <a:gd name="connsiteY29" fmla="*/ 642937 h 1314450"/>
                <a:gd name="connsiteX30" fmla="*/ 775809 w 1466850"/>
                <a:gd name="connsiteY30" fmla="*/ 586265 h 1314450"/>
                <a:gd name="connsiteX31" fmla="*/ 726520 w 1466850"/>
                <a:gd name="connsiteY31" fmla="*/ 589363 h 1314450"/>
                <a:gd name="connsiteX32" fmla="*/ 719137 w 1466850"/>
                <a:gd name="connsiteY32" fmla="*/ 538163 h 1314450"/>
                <a:gd name="connsiteX33" fmla="*/ 695325 w 1466850"/>
                <a:gd name="connsiteY33" fmla="*/ 538163 h 1314450"/>
                <a:gd name="connsiteX34" fmla="*/ 695325 w 1466850"/>
                <a:gd name="connsiteY34" fmla="*/ 500063 h 1314450"/>
                <a:gd name="connsiteX35" fmla="*/ 662942 w 1466850"/>
                <a:gd name="connsiteY35" fmla="*/ 500063 h 1314450"/>
                <a:gd name="connsiteX36" fmla="*/ 657225 w 1466850"/>
                <a:gd name="connsiteY36" fmla="*/ 438150 h 1314450"/>
                <a:gd name="connsiteX37" fmla="*/ 587451 w 1466850"/>
                <a:gd name="connsiteY37" fmla="*/ 438150 h 1314450"/>
                <a:gd name="connsiteX38" fmla="*/ 590550 w 1466850"/>
                <a:gd name="connsiteY38" fmla="*/ 342900 h 1314450"/>
                <a:gd name="connsiteX39" fmla="*/ 542925 w 1466850"/>
                <a:gd name="connsiteY39" fmla="*/ 342900 h 1314450"/>
                <a:gd name="connsiteX40" fmla="*/ 545545 w 1466850"/>
                <a:gd name="connsiteY40" fmla="*/ 289325 h 1314450"/>
                <a:gd name="connsiteX41" fmla="*/ 474585 w 1466850"/>
                <a:gd name="connsiteY41" fmla="*/ 288370 h 1314450"/>
                <a:gd name="connsiteX42" fmla="*/ 471487 w 1466850"/>
                <a:gd name="connsiteY42" fmla="*/ 238125 h 1314450"/>
                <a:gd name="connsiteX43" fmla="*/ 428625 w 1466850"/>
                <a:gd name="connsiteY43" fmla="*/ 238125 h 1314450"/>
                <a:gd name="connsiteX44" fmla="*/ 428624 w 1466850"/>
                <a:gd name="connsiteY44" fmla="*/ 161925 h 1314450"/>
                <a:gd name="connsiteX45" fmla="*/ 385762 w 1466850"/>
                <a:gd name="connsiteY45" fmla="*/ 161925 h 1314450"/>
                <a:gd name="connsiteX46" fmla="*/ 385762 w 1466850"/>
                <a:gd name="connsiteY46" fmla="*/ 104775 h 1314450"/>
                <a:gd name="connsiteX47" fmla="*/ 223837 w 1466850"/>
                <a:gd name="connsiteY47" fmla="*/ 114300 h 1314450"/>
                <a:gd name="connsiteX48" fmla="*/ 223837 w 1466850"/>
                <a:gd name="connsiteY48" fmla="*/ 71438 h 1314450"/>
                <a:gd name="connsiteX49" fmla="*/ 152400 w 1466850"/>
                <a:gd name="connsiteY49" fmla="*/ 71438 h 1314450"/>
                <a:gd name="connsiteX50" fmla="*/ 152400 w 1466850"/>
                <a:gd name="connsiteY50" fmla="*/ 38100 h 1314450"/>
                <a:gd name="connsiteX51" fmla="*/ 76200 w 1466850"/>
                <a:gd name="connsiteY51" fmla="*/ 33338 h 1314450"/>
                <a:gd name="connsiteX52" fmla="*/ 71437 w 1466850"/>
                <a:gd name="connsiteY52" fmla="*/ 0 h 1314450"/>
                <a:gd name="connsiteX53" fmla="*/ 0 w 1466850"/>
                <a:gd name="connsiteY53" fmla="*/ 4763 h 1314450"/>
                <a:gd name="connsiteX0" fmla="*/ 1466850 w 1466850"/>
                <a:gd name="connsiteY0" fmla="*/ 1314450 h 1314450"/>
                <a:gd name="connsiteX1" fmla="*/ 1462087 w 1466850"/>
                <a:gd name="connsiteY1" fmla="*/ 1262063 h 1314450"/>
                <a:gd name="connsiteX2" fmla="*/ 1423987 w 1466850"/>
                <a:gd name="connsiteY2" fmla="*/ 1262063 h 1314450"/>
                <a:gd name="connsiteX3" fmla="*/ 1423987 w 1466850"/>
                <a:gd name="connsiteY3" fmla="*/ 1228725 h 1314450"/>
                <a:gd name="connsiteX4" fmla="*/ 1366837 w 1466850"/>
                <a:gd name="connsiteY4" fmla="*/ 1228725 h 1314450"/>
                <a:gd name="connsiteX5" fmla="*/ 1366837 w 1466850"/>
                <a:gd name="connsiteY5" fmla="*/ 1190625 h 1314450"/>
                <a:gd name="connsiteX6" fmla="*/ 1338262 w 1466850"/>
                <a:gd name="connsiteY6" fmla="*/ 1190625 h 1314450"/>
                <a:gd name="connsiteX7" fmla="*/ 1338262 w 1466850"/>
                <a:gd name="connsiteY7" fmla="*/ 1143000 h 1314450"/>
                <a:gd name="connsiteX8" fmla="*/ 1297064 w 1466850"/>
                <a:gd name="connsiteY8" fmla="*/ 1151339 h 1314450"/>
                <a:gd name="connsiteX9" fmla="*/ 1301118 w 1466850"/>
                <a:gd name="connsiteY9" fmla="*/ 1085140 h 1314450"/>
                <a:gd name="connsiteX10" fmla="*/ 1240869 w 1466850"/>
                <a:gd name="connsiteY10" fmla="*/ 1085617 h 1314450"/>
                <a:gd name="connsiteX11" fmla="*/ 1238728 w 1466850"/>
                <a:gd name="connsiteY11" fmla="*/ 1014413 h 1314450"/>
                <a:gd name="connsiteX12" fmla="*/ 1214437 w 1466850"/>
                <a:gd name="connsiteY12" fmla="*/ 1014413 h 1314450"/>
                <a:gd name="connsiteX13" fmla="*/ 1217535 w 1466850"/>
                <a:gd name="connsiteY13" fmla="*/ 952978 h 1314450"/>
                <a:gd name="connsiteX14" fmla="*/ 1133475 w 1466850"/>
                <a:gd name="connsiteY14" fmla="*/ 952500 h 1314450"/>
                <a:gd name="connsiteX15" fmla="*/ 1130353 w 1466850"/>
                <a:gd name="connsiteY15" fmla="*/ 904826 h 1314450"/>
                <a:gd name="connsiteX16" fmla="*/ 1071562 w 1466850"/>
                <a:gd name="connsiteY16" fmla="*/ 900113 h 1314450"/>
                <a:gd name="connsiteX17" fmla="*/ 1071562 w 1466850"/>
                <a:gd name="connsiteY17" fmla="*/ 866676 h 1314450"/>
                <a:gd name="connsiteX18" fmla="*/ 1002745 w 1466850"/>
                <a:gd name="connsiteY18" fmla="*/ 867731 h 1314450"/>
                <a:gd name="connsiteX19" fmla="*/ 999647 w 1466850"/>
                <a:gd name="connsiteY19" fmla="*/ 807483 h 1314450"/>
                <a:gd name="connsiteX20" fmla="*/ 966787 w 1466850"/>
                <a:gd name="connsiteY20" fmla="*/ 804863 h 1314450"/>
                <a:gd name="connsiteX21" fmla="*/ 966787 w 1466850"/>
                <a:gd name="connsiteY21" fmla="*/ 779386 h 1314450"/>
                <a:gd name="connsiteX22" fmla="*/ 904875 w 1466850"/>
                <a:gd name="connsiteY22" fmla="*/ 776288 h 1314450"/>
                <a:gd name="connsiteX23" fmla="*/ 904875 w 1466850"/>
                <a:gd name="connsiteY23" fmla="*/ 742950 h 1314450"/>
                <a:gd name="connsiteX24" fmla="*/ 862012 w 1466850"/>
                <a:gd name="connsiteY24" fmla="*/ 742950 h 1314450"/>
                <a:gd name="connsiteX25" fmla="*/ 861535 w 1466850"/>
                <a:gd name="connsiteY25" fmla="*/ 693660 h 1314450"/>
                <a:gd name="connsiteX26" fmla="*/ 814387 w 1466850"/>
                <a:gd name="connsiteY26" fmla="*/ 690563 h 1314450"/>
                <a:gd name="connsiteX27" fmla="*/ 814387 w 1466850"/>
                <a:gd name="connsiteY27" fmla="*/ 647700 h 1314450"/>
                <a:gd name="connsiteX28" fmla="*/ 776287 w 1466850"/>
                <a:gd name="connsiteY28" fmla="*/ 642937 h 1314450"/>
                <a:gd name="connsiteX29" fmla="*/ 775809 w 1466850"/>
                <a:gd name="connsiteY29" fmla="*/ 586265 h 1314450"/>
                <a:gd name="connsiteX30" fmla="*/ 726520 w 1466850"/>
                <a:gd name="connsiteY30" fmla="*/ 589363 h 1314450"/>
                <a:gd name="connsiteX31" fmla="*/ 719137 w 1466850"/>
                <a:gd name="connsiteY31" fmla="*/ 538163 h 1314450"/>
                <a:gd name="connsiteX32" fmla="*/ 695325 w 1466850"/>
                <a:gd name="connsiteY32" fmla="*/ 538163 h 1314450"/>
                <a:gd name="connsiteX33" fmla="*/ 695325 w 1466850"/>
                <a:gd name="connsiteY33" fmla="*/ 500063 h 1314450"/>
                <a:gd name="connsiteX34" fmla="*/ 662942 w 1466850"/>
                <a:gd name="connsiteY34" fmla="*/ 500063 h 1314450"/>
                <a:gd name="connsiteX35" fmla="*/ 657225 w 1466850"/>
                <a:gd name="connsiteY35" fmla="*/ 438150 h 1314450"/>
                <a:gd name="connsiteX36" fmla="*/ 587451 w 1466850"/>
                <a:gd name="connsiteY36" fmla="*/ 438150 h 1314450"/>
                <a:gd name="connsiteX37" fmla="*/ 590550 w 1466850"/>
                <a:gd name="connsiteY37" fmla="*/ 342900 h 1314450"/>
                <a:gd name="connsiteX38" fmla="*/ 542925 w 1466850"/>
                <a:gd name="connsiteY38" fmla="*/ 342900 h 1314450"/>
                <a:gd name="connsiteX39" fmla="*/ 545545 w 1466850"/>
                <a:gd name="connsiteY39" fmla="*/ 289325 h 1314450"/>
                <a:gd name="connsiteX40" fmla="*/ 474585 w 1466850"/>
                <a:gd name="connsiteY40" fmla="*/ 288370 h 1314450"/>
                <a:gd name="connsiteX41" fmla="*/ 471487 w 1466850"/>
                <a:gd name="connsiteY41" fmla="*/ 238125 h 1314450"/>
                <a:gd name="connsiteX42" fmla="*/ 428625 w 1466850"/>
                <a:gd name="connsiteY42" fmla="*/ 238125 h 1314450"/>
                <a:gd name="connsiteX43" fmla="*/ 428624 w 1466850"/>
                <a:gd name="connsiteY43" fmla="*/ 161925 h 1314450"/>
                <a:gd name="connsiteX44" fmla="*/ 385762 w 1466850"/>
                <a:gd name="connsiteY44" fmla="*/ 161925 h 1314450"/>
                <a:gd name="connsiteX45" fmla="*/ 385762 w 1466850"/>
                <a:gd name="connsiteY45" fmla="*/ 104775 h 1314450"/>
                <a:gd name="connsiteX46" fmla="*/ 223837 w 1466850"/>
                <a:gd name="connsiteY46" fmla="*/ 114300 h 1314450"/>
                <a:gd name="connsiteX47" fmla="*/ 223837 w 1466850"/>
                <a:gd name="connsiteY47" fmla="*/ 71438 h 1314450"/>
                <a:gd name="connsiteX48" fmla="*/ 152400 w 1466850"/>
                <a:gd name="connsiteY48" fmla="*/ 71438 h 1314450"/>
                <a:gd name="connsiteX49" fmla="*/ 152400 w 1466850"/>
                <a:gd name="connsiteY49" fmla="*/ 38100 h 1314450"/>
                <a:gd name="connsiteX50" fmla="*/ 76200 w 1466850"/>
                <a:gd name="connsiteY50" fmla="*/ 33338 h 1314450"/>
                <a:gd name="connsiteX51" fmla="*/ 71437 w 1466850"/>
                <a:gd name="connsiteY51" fmla="*/ 0 h 1314450"/>
                <a:gd name="connsiteX52" fmla="*/ 0 w 1466850"/>
                <a:gd name="connsiteY52" fmla="*/ 4763 h 1314450"/>
                <a:gd name="connsiteX0" fmla="*/ 1466850 w 1466850"/>
                <a:gd name="connsiteY0" fmla="*/ 1314450 h 1314450"/>
                <a:gd name="connsiteX1" fmla="*/ 1462087 w 1466850"/>
                <a:gd name="connsiteY1" fmla="*/ 1262063 h 1314450"/>
                <a:gd name="connsiteX2" fmla="*/ 1423987 w 1466850"/>
                <a:gd name="connsiteY2" fmla="*/ 1262063 h 1314450"/>
                <a:gd name="connsiteX3" fmla="*/ 1423987 w 1466850"/>
                <a:gd name="connsiteY3" fmla="*/ 1228725 h 1314450"/>
                <a:gd name="connsiteX4" fmla="*/ 1366837 w 1466850"/>
                <a:gd name="connsiteY4" fmla="*/ 1228725 h 1314450"/>
                <a:gd name="connsiteX5" fmla="*/ 1366837 w 1466850"/>
                <a:gd name="connsiteY5" fmla="*/ 1190625 h 1314450"/>
                <a:gd name="connsiteX6" fmla="*/ 1338262 w 1466850"/>
                <a:gd name="connsiteY6" fmla="*/ 1190625 h 1314450"/>
                <a:gd name="connsiteX7" fmla="*/ 1343502 w 1466850"/>
                <a:gd name="connsiteY7" fmla="*/ 1158720 h 1314450"/>
                <a:gd name="connsiteX8" fmla="*/ 1297064 w 1466850"/>
                <a:gd name="connsiteY8" fmla="*/ 1151339 h 1314450"/>
                <a:gd name="connsiteX9" fmla="*/ 1301118 w 1466850"/>
                <a:gd name="connsiteY9" fmla="*/ 1085140 h 1314450"/>
                <a:gd name="connsiteX10" fmla="*/ 1240869 w 1466850"/>
                <a:gd name="connsiteY10" fmla="*/ 1085617 h 1314450"/>
                <a:gd name="connsiteX11" fmla="*/ 1238728 w 1466850"/>
                <a:gd name="connsiteY11" fmla="*/ 1014413 h 1314450"/>
                <a:gd name="connsiteX12" fmla="*/ 1214437 w 1466850"/>
                <a:gd name="connsiteY12" fmla="*/ 1014413 h 1314450"/>
                <a:gd name="connsiteX13" fmla="*/ 1217535 w 1466850"/>
                <a:gd name="connsiteY13" fmla="*/ 952978 h 1314450"/>
                <a:gd name="connsiteX14" fmla="*/ 1133475 w 1466850"/>
                <a:gd name="connsiteY14" fmla="*/ 952500 h 1314450"/>
                <a:gd name="connsiteX15" fmla="*/ 1130353 w 1466850"/>
                <a:gd name="connsiteY15" fmla="*/ 904826 h 1314450"/>
                <a:gd name="connsiteX16" fmla="*/ 1071562 w 1466850"/>
                <a:gd name="connsiteY16" fmla="*/ 900113 h 1314450"/>
                <a:gd name="connsiteX17" fmla="*/ 1071562 w 1466850"/>
                <a:gd name="connsiteY17" fmla="*/ 866676 h 1314450"/>
                <a:gd name="connsiteX18" fmla="*/ 1002745 w 1466850"/>
                <a:gd name="connsiteY18" fmla="*/ 867731 h 1314450"/>
                <a:gd name="connsiteX19" fmla="*/ 999647 w 1466850"/>
                <a:gd name="connsiteY19" fmla="*/ 807483 h 1314450"/>
                <a:gd name="connsiteX20" fmla="*/ 966787 w 1466850"/>
                <a:gd name="connsiteY20" fmla="*/ 804863 h 1314450"/>
                <a:gd name="connsiteX21" fmla="*/ 966787 w 1466850"/>
                <a:gd name="connsiteY21" fmla="*/ 779386 h 1314450"/>
                <a:gd name="connsiteX22" fmla="*/ 904875 w 1466850"/>
                <a:gd name="connsiteY22" fmla="*/ 776288 h 1314450"/>
                <a:gd name="connsiteX23" fmla="*/ 904875 w 1466850"/>
                <a:gd name="connsiteY23" fmla="*/ 742950 h 1314450"/>
                <a:gd name="connsiteX24" fmla="*/ 862012 w 1466850"/>
                <a:gd name="connsiteY24" fmla="*/ 742950 h 1314450"/>
                <a:gd name="connsiteX25" fmla="*/ 861535 w 1466850"/>
                <a:gd name="connsiteY25" fmla="*/ 693660 h 1314450"/>
                <a:gd name="connsiteX26" fmla="*/ 814387 w 1466850"/>
                <a:gd name="connsiteY26" fmla="*/ 690563 h 1314450"/>
                <a:gd name="connsiteX27" fmla="*/ 814387 w 1466850"/>
                <a:gd name="connsiteY27" fmla="*/ 647700 h 1314450"/>
                <a:gd name="connsiteX28" fmla="*/ 776287 w 1466850"/>
                <a:gd name="connsiteY28" fmla="*/ 642937 h 1314450"/>
                <a:gd name="connsiteX29" fmla="*/ 775809 w 1466850"/>
                <a:gd name="connsiteY29" fmla="*/ 586265 h 1314450"/>
                <a:gd name="connsiteX30" fmla="*/ 726520 w 1466850"/>
                <a:gd name="connsiteY30" fmla="*/ 589363 h 1314450"/>
                <a:gd name="connsiteX31" fmla="*/ 719137 w 1466850"/>
                <a:gd name="connsiteY31" fmla="*/ 538163 h 1314450"/>
                <a:gd name="connsiteX32" fmla="*/ 695325 w 1466850"/>
                <a:gd name="connsiteY32" fmla="*/ 538163 h 1314450"/>
                <a:gd name="connsiteX33" fmla="*/ 695325 w 1466850"/>
                <a:gd name="connsiteY33" fmla="*/ 500063 h 1314450"/>
                <a:gd name="connsiteX34" fmla="*/ 662942 w 1466850"/>
                <a:gd name="connsiteY34" fmla="*/ 500063 h 1314450"/>
                <a:gd name="connsiteX35" fmla="*/ 657225 w 1466850"/>
                <a:gd name="connsiteY35" fmla="*/ 438150 h 1314450"/>
                <a:gd name="connsiteX36" fmla="*/ 587451 w 1466850"/>
                <a:gd name="connsiteY36" fmla="*/ 438150 h 1314450"/>
                <a:gd name="connsiteX37" fmla="*/ 590550 w 1466850"/>
                <a:gd name="connsiteY37" fmla="*/ 342900 h 1314450"/>
                <a:gd name="connsiteX38" fmla="*/ 542925 w 1466850"/>
                <a:gd name="connsiteY38" fmla="*/ 342900 h 1314450"/>
                <a:gd name="connsiteX39" fmla="*/ 545545 w 1466850"/>
                <a:gd name="connsiteY39" fmla="*/ 289325 h 1314450"/>
                <a:gd name="connsiteX40" fmla="*/ 474585 w 1466850"/>
                <a:gd name="connsiteY40" fmla="*/ 288370 h 1314450"/>
                <a:gd name="connsiteX41" fmla="*/ 471487 w 1466850"/>
                <a:gd name="connsiteY41" fmla="*/ 238125 h 1314450"/>
                <a:gd name="connsiteX42" fmla="*/ 428625 w 1466850"/>
                <a:gd name="connsiteY42" fmla="*/ 238125 h 1314450"/>
                <a:gd name="connsiteX43" fmla="*/ 428624 w 1466850"/>
                <a:gd name="connsiteY43" fmla="*/ 161925 h 1314450"/>
                <a:gd name="connsiteX44" fmla="*/ 385762 w 1466850"/>
                <a:gd name="connsiteY44" fmla="*/ 161925 h 1314450"/>
                <a:gd name="connsiteX45" fmla="*/ 385762 w 1466850"/>
                <a:gd name="connsiteY45" fmla="*/ 104775 h 1314450"/>
                <a:gd name="connsiteX46" fmla="*/ 223837 w 1466850"/>
                <a:gd name="connsiteY46" fmla="*/ 114300 h 1314450"/>
                <a:gd name="connsiteX47" fmla="*/ 223837 w 1466850"/>
                <a:gd name="connsiteY47" fmla="*/ 71438 h 1314450"/>
                <a:gd name="connsiteX48" fmla="*/ 152400 w 1466850"/>
                <a:gd name="connsiteY48" fmla="*/ 71438 h 1314450"/>
                <a:gd name="connsiteX49" fmla="*/ 152400 w 1466850"/>
                <a:gd name="connsiteY49" fmla="*/ 38100 h 1314450"/>
                <a:gd name="connsiteX50" fmla="*/ 76200 w 1466850"/>
                <a:gd name="connsiteY50" fmla="*/ 33338 h 1314450"/>
                <a:gd name="connsiteX51" fmla="*/ 71437 w 1466850"/>
                <a:gd name="connsiteY51" fmla="*/ 0 h 1314450"/>
                <a:gd name="connsiteX52" fmla="*/ 0 w 1466850"/>
                <a:gd name="connsiteY52" fmla="*/ 4763 h 1314450"/>
                <a:gd name="connsiteX0" fmla="*/ 1466850 w 1466850"/>
                <a:gd name="connsiteY0" fmla="*/ 1314450 h 1314450"/>
                <a:gd name="connsiteX1" fmla="*/ 1462087 w 1466850"/>
                <a:gd name="connsiteY1" fmla="*/ 1262063 h 1314450"/>
                <a:gd name="connsiteX2" fmla="*/ 1423987 w 1466850"/>
                <a:gd name="connsiteY2" fmla="*/ 1262063 h 1314450"/>
                <a:gd name="connsiteX3" fmla="*/ 1423987 w 1466850"/>
                <a:gd name="connsiteY3" fmla="*/ 1228725 h 1314450"/>
                <a:gd name="connsiteX4" fmla="*/ 1366837 w 1466850"/>
                <a:gd name="connsiteY4" fmla="*/ 1228725 h 1314450"/>
                <a:gd name="connsiteX5" fmla="*/ 1366837 w 1466850"/>
                <a:gd name="connsiteY5" fmla="*/ 1190625 h 1314450"/>
                <a:gd name="connsiteX6" fmla="*/ 1338262 w 1466850"/>
                <a:gd name="connsiteY6" fmla="*/ 1190625 h 1314450"/>
                <a:gd name="connsiteX7" fmla="*/ 1335642 w 1466850"/>
                <a:gd name="connsiteY7" fmla="*/ 1153480 h 1314450"/>
                <a:gd name="connsiteX8" fmla="*/ 1297064 w 1466850"/>
                <a:gd name="connsiteY8" fmla="*/ 1151339 h 1314450"/>
                <a:gd name="connsiteX9" fmla="*/ 1301118 w 1466850"/>
                <a:gd name="connsiteY9" fmla="*/ 1085140 h 1314450"/>
                <a:gd name="connsiteX10" fmla="*/ 1240869 w 1466850"/>
                <a:gd name="connsiteY10" fmla="*/ 1085617 h 1314450"/>
                <a:gd name="connsiteX11" fmla="*/ 1238728 w 1466850"/>
                <a:gd name="connsiteY11" fmla="*/ 1014413 h 1314450"/>
                <a:gd name="connsiteX12" fmla="*/ 1214437 w 1466850"/>
                <a:gd name="connsiteY12" fmla="*/ 1014413 h 1314450"/>
                <a:gd name="connsiteX13" fmla="*/ 1217535 w 1466850"/>
                <a:gd name="connsiteY13" fmla="*/ 952978 h 1314450"/>
                <a:gd name="connsiteX14" fmla="*/ 1133475 w 1466850"/>
                <a:gd name="connsiteY14" fmla="*/ 952500 h 1314450"/>
                <a:gd name="connsiteX15" fmla="*/ 1130353 w 1466850"/>
                <a:gd name="connsiteY15" fmla="*/ 904826 h 1314450"/>
                <a:gd name="connsiteX16" fmla="*/ 1071562 w 1466850"/>
                <a:gd name="connsiteY16" fmla="*/ 900113 h 1314450"/>
                <a:gd name="connsiteX17" fmla="*/ 1071562 w 1466850"/>
                <a:gd name="connsiteY17" fmla="*/ 866676 h 1314450"/>
                <a:gd name="connsiteX18" fmla="*/ 1002745 w 1466850"/>
                <a:gd name="connsiteY18" fmla="*/ 867731 h 1314450"/>
                <a:gd name="connsiteX19" fmla="*/ 999647 w 1466850"/>
                <a:gd name="connsiteY19" fmla="*/ 807483 h 1314450"/>
                <a:gd name="connsiteX20" fmla="*/ 966787 w 1466850"/>
                <a:gd name="connsiteY20" fmla="*/ 804863 h 1314450"/>
                <a:gd name="connsiteX21" fmla="*/ 966787 w 1466850"/>
                <a:gd name="connsiteY21" fmla="*/ 779386 h 1314450"/>
                <a:gd name="connsiteX22" fmla="*/ 904875 w 1466850"/>
                <a:gd name="connsiteY22" fmla="*/ 776288 h 1314450"/>
                <a:gd name="connsiteX23" fmla="*/ 904875 w 1466850"/>
                <a:gd name="connsiteY23" fmla="*/ 742950 h 1314450"/>
                <a:gd name="connsiteX24" fmla="*/ 862012 w 1466850"/>
                <a:gd name="connsiteY24" fmla="*/ 742950 h 1314450"/>
                <a:gd name="connsiteX25" fmla="*/ 861535 w 1466850"/>
                <a:gd name="connsiteY25" fmla="*/ 693660 h 1314450"/>
                <a:gd name="connsiteX26" fmla="*/ 814387 w 1466850"/>
                <a:gd name="connsiteY26" fmla="*/ 690563 h 1314450"/>
                <a:gd name="connsiteX27" fmla="*/ 814387 w 1466850"/>
                <a:gd name="connsiteY27" fmla="*/ 647700 h 1314450"/>
                <a:gd name="connsiteX28" fmla="*/ 776287 w 1466850"/>
                <a:gd name="connsiteY28" fmla="*/ 642937 h 1314450"/>
                <a:gd name="connsiteX29" fmla="*/ 775809 w 1466850"/>
                <a:gd name="connsiteY29" fmla="*/ 586265 h 1314450"/>
                <a:gd name="connsiteX30" fmla="*/ 726520 w 1466850"/>
                <a:gd name="connsiteY30" fmla="*/ 589363 h 1314450"/>
                <a:gd name="connsiteX31" fmla="*/ 719137 w 1466850"/>
                <a:gd name="connsiteY31" fmla="*/ 538163 h 1314450"/>
                <a:gd name="connsiteX32" fmla="*/ 695325 w 1466850"/>
                <a:gd name="connsiteY32" fmla="*/ 538163 h 1314450"/>
                <a:gd name="connsiteX33" fmla="*/ 695325 w 1466850"/>
                <a:gd name="connsiteY33" fmla="*/ 500063 h 1314450"/>
                <a:gd name="connsiteX34" fmla="*/ 662942 w 1466850"/>
                <a:gd name="connsiteY34" fmla="*/ 500063 h 1314450"/>
                <a:gd name="connsiteX35" fmla="*/ 657225 w 1466850"/>
                <a:gd name="connsiteY35" fmla="*/ 438150 h 1314450"/>
                <a:gd name="connsiteX36" fmla="*/ 587451 w 1466850"/>
                <a:gd name="connsiteY36" fmla="*/ 438150 h 1314450"/>
                <a:gd name="connsiteX37" fmla="*/ 590550 w 1466850"/>
                <a:gd name="connsiteY37" fmla="*/ 342900 h 1314450"/>
                <a:gd name="connsiteX38" fmla="*/ 542925 w 1466850"/>
                <a:gd name="connsiteY38" fmla="*/ 342900 h 1314450"/>
                <a:gd name="connsiteX39" fmla="*/ 545545 w 1466850"/>
                <a:gd name="connsiteY39" fmla="*/ 289325 h 1314450"/>
                <a:gd name="connsiteX40" fmla="*/ 474585 w 1466850"/>
                <a:gd name="connsiteY40" fmla="*/ 288370 h 1314450"/>
                <a:gd name="connsiteX41" fmla="*/ 471487 w 1466850"/>
                <a:gd name="connsiteY41" fmla="*/ 238125 h 1314450"/>
                <a:gd name="connsiteX42" fmla="*/ 428625 w 1466850"/>
                <a:gd name="connsiteY42" fmla="*/ 238125 h 1314450"/>
                <a:gd name="connsiteX43" fmla="*/ 428624 w 1466850"/>
                <a:gd name="connsiteY43" fmla="*/ 161925 h 1314450"/>
                <a:gd name="connsiteX44" fmla="*/ 385762 w 1466850"/>
                <a:gd name="connsiteY44" fmla="*/ 161925 h 1314450"/>
                <a:gd name="connsiteX45" fmla="*/ 385762 w 1466850"/>
                <a:gd name="connsiteY45" fmla="*/ 104775 h 1314450"/>
                <a:gd name="connsiteX46" fmla="*/ 223837 w 1466850"/>
                <a:gd name="connsiteY46" fmla="*/ 114300 h 1314450"/>
                <a:gd name="connsiteX47" fmla="*/ 223837 w 1466850"/>
                <a:gd name="connsiteY47" fmla="*/ 71438 h 1314450"/>
                <a:gd name="connsiteX48" fmla="*/ 152400 w 1466850"/>
                <a:gd name="connsiteY48" fmla="*/ 71438 h 1314450"/>
                <a:gd name="connsiteX49" fmla="*/ 152400 w 1466850"/>
                <a:gd name="connsiteY49" fmla="*/ 38100 h 1314450"/>
                <a:gd name="connsiteX50" fmla="*/ 76200 w 1466850"/>
                <a:gd name="connsiteY50" fmla="*/ 33338 h 1314450"/>
                <a:gd name="connsiteX51" fmla="*/ 71437 w 1466850"/>
                <a:gd name="connsiteY51" fmla="*/ 0 h 1314450"/>
                <a:gd name="connsiteX52" fmla="*/ 0 w 1466850"/>
                <a:gd name="connsiteY52" fmla="*/ 4763 h 1314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466850" h="1314450">
                  <a:moveTo>
                    <a:pt x="1466850" y="1314450"/>
                  </a:moveTo>
                  <a:lnTo>
                    <a:pt x="1462087" y="1262063"/>
                  </a:lnTo>
                  <a:lnTo>
                    <a:pt x="1423987" y="1262063"/>
                  </a:lnTo>
                  <a:lnTo>
                    <a:pt x="1423987" y="1228725"/>
                  </a:lnTo>
                  <a:lnTo>
                    <a:pt x="1366837" y="1228725"/>
                  </a:lnTo>
                  <a:lnTo>
                    <a:pt x="1366837" y="1190625"/>
                  </a:lnTo>
                  <a:lnTo>
                    <a:pt x="1338262" y="1190625"/>
                  </a:lnTo>
                  <a:lnTo>
                    <a:pt x="1335642" y="1153480"/>
                  </a:lnTo>
                  <a:lnTo>
                    <a:pt x="1297064" y="1151339"/>
                  </a:lnTo>
                  <a:lnTo>
                    <a:pt x="1301118" y="1085140"/>
                  </a:lnTo>
                  <a:lnTo>
                    <a:pt x="1240869" y="1085617"/>
                  </a:lnTo>
                  <a:cubicBezTo>
                    <a:pt x="1241029" y="1069742"/>
                    <a:pt x="1238568" y="1030288"/>
                    <a:pt x="1238728" y="1014413"/>
                  </a:cubicBezTo>
                  <a:lnTo>
                    <a:pt x="1214437" y="1014413"/>
                  </a:lnTo>
                  <a:lnTo>
                    <a:pt x="1217535" y="952978"/>
                  </a:lnTo>
                  <a:lnTo>
                    <a:pt x="1133475" y="952500"/>
                  </a:lnTo>
                  <a:lnTo>
                    <a:pt x="1130353" y="904826"/>
                  </a:lnTo>
                  <a:lnTo>
                    <a:pt x="1071562" y="900113"/>
                  </a:lnTo>
                  <a:lnTo>
                    <a:pt x="1071562" y="866676"/>
                  </a:lnTo>
                  <a:lnTo>
                    <a:pt x="1002745" y="867731"/>
                  </a:lnTo>
                  <a:cubicBezTo>
                    <a:pt x="1002586" y="851142"/>
                    <a:pt x="999806" y="824072"/>
                    <a:pt x="999647" y="807483"/>
                  </a:cubicBezTo>
                  <a:lnTo>
                    <a:pt x="966787" y="804863"/>
                  </a:lnTo>
                  <a:lnTo>
                    <a:pt x="966787" y="779386"/>
                  </a:lnTo>
                  <a:lnTo>
                    <a:pt x="904875" y="776288"/>
                  </a:lnTo>
                  <a:lnTo>
                    <a:pt x="904875" y="742950"/>
                  </a:lnTo>
                  <a:lnTo>
                    <a:pt x="862012" y="742950"/>
                  </a:lnTo>
                  <a:lnTo>
                    <a:pt x="861535" y="693660"/>
                  </a:lnTo>
                  <a:lnTo>
                    <a:pt x="814387" y="690563"/>
                  </a:lnTo>
                  <a:lnTo>
                    <a:pt x="814387" y="647700"/>
                  </a:lnTo>
                  <a:lnTo>
                    <a:pt x="776287" y="642937"/>
                  </a:lnTo>
                  <a:cubicBezTo>
                    <a:pt x="777001" y="624046"/>
                    <a:pt x="775095" y="605156"/>
                    <a:pt x="775809" y="586265"/>
                  </a:cubicBezTo>
                  <a:lnTo>
                    <a:pt x="726520" y="589363"/>
                  </a:lnTo>
                  <a:lnTo>
                    <a:pt x="719137" y="538163"/>
                  </a:lnTo>
                  <a:lnTo>
                    <a:pt x="695325" y="538163"/>
                  </a:lnTo>
                  <a:lnTo>
                    <a:pt x="695325" y="500063"/>
                  </a:lnTo>
                  <a:lnTo>
                    <a:pt x="662942" y="500063"/>
                  </a:lnTo>
                  <a:lnTo>
                    <a:pt x="657225" y="438150"/>
                  </a:lnTo>
                  <a:lnTo>
                    <a:pt x="587451" y="438150"/>
                  </a:lnTo>
                  <a:lnTo>
                    <a:pt x="590550" y="342900"/>
                  </a:lnTo>
                  <a:lnTo>
                    <a:pt x="542925" y="342900"/>
                  </a:lnTo>
                  <a:lnTo>
                    <a:pt x="545545" y="289325"/>
                  </a:lnTo>
                  <a:lnTo>
                    <a:pt x="474585" y="288370"/>
                  </a:lnTo>
                  <a:lnTo>
                    <a:pt x="471487" y="238125"/>
                  </a:lnTo>
                  <a:lnTo>
                    <a:pt x="428625" y="238125"/>
                  </a:lnTo>
                  <a:cubicBezTo>
                    <a:pt x="428625" y="212725"/>
                    <a:pt x="428624" y="187325"/>
                    <a:pt x="428624" y="161925"/>
                  </a:cubicBezTo>
                  <a:lnTo>
                    <a:pt x="385762" y="161925"/>
                  </a:lnTo>
                  <a:lnTo>
                    <a:pt x="385762" y="104775"/>
                  </a:lnTo>
                  <a:lnTo>
                    <a:pt x="223837" y="114300"/>
                  </a:lnTo>
                  <a:lnTo>
                    <a:pt x="223837" y="71438"/>
                  </a:lnTo>
                  <a:lnTo>
                    <a:pt x="152400" y="71438"/>
                  </a:lnTo>
                  <a:lnTo>
                    <a:pt x="152400" y="38100"/>
                  </a:lnTo>
                  <a:lnTo>
                    <a:pt x="76200" y="33338"/>
                  </a:lnTo>
                  <a:lnTo>
                    <a:pt x="71437" y="0"/>
                  </a:lnTo>
                  <a:lnTo>
                    <a:pt x="0" y="4763"/>
                  </a:lnTo>
                </a:path>
              </a:pathLst>
            </a:custGeom>
            <a:noFill/>
            <a:ln w="28575">
              <a:solidFill>
                <a:srgbClr val="E1471D"/>
              </a:solidFill>
              <a:miter lim="800000"/>
              <a:headEnd/>
              <a:tailEnd/>
            </a:ln>
            <a:extLst>
              <a:ext uri="{909E8E84-426E-40DD-AFC4-6F175D3DCCD1}">
                <a14:hiddenFill xmlns:a14="http://schemas.microsoft.com/office/drawing/2010/main">
                  <a:noFill/>
                </a14:hiddenFill>
              </a:ext>
            </a:extLst>
          </p:spPr>
          <p:txBody>
            <a:bodyPr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grpSp>
      <p:cxnSp>
        <p:nvCxnSpPr>
          <p:cNvPr id="9" name="Straight Connector 8">
            <a:extLst>
              <a:ext uri="{FF2B5EF4-FFF2-40B4-BE49-F238E27FC236}">
                <a16:creationId xmlns:a16="http://schemas.microsoft.com/office/drawing/2014/main" id="{657F4C73-8DF5-A29E-C06E-E002AE463760}"/>
              </a:ext>
            </a:extLst>
          </p:cNvPr>
          <p:cNvCxnSpPr>
            <a:cxnSpLocks/>
          </p:cNvCxnSpPr>
          <p:nvPr/>
        </p:nvCxnSpPr>
        <p:spPr bwMode="auto">
          <a:xfrm flipV="1">
            <a:off x="1136620" y="3737392"/>
            <a:ext cx="6366752" cy="942"/>
          </a:xfrm>
          <a:prstGeom prst="line">
            <a:avLst/>
          </a:prstGeom>
          <a:noFill/>
          <a:ln w="28575" cap="flat" cmpd="sng" algn="ctr">
            <a:solidFill>
              <a:srgbClr val="000000"/>
            </a:solidFill>
            <a:prstDash val="solid"/>
            <a:round/>
            <a:headEnd type="none" w="med" len="med"/>
            <a:tailEnd type="none" w="med" len="med"/>
          </a:ln>
          <a:effectLst/>
        </p:spPr>
      </p:cxnSp>
      <p:sp>
        <p:nvSpPr>
          <p:cNvPr id="32" name="TextBox 31">
            <a:extLst>
              <a:ext uri="{FF2B5EF4-FFF2-40B4-BE49-F238E27FC236}">
                <a16:creationId xmlns:a16="http://schemas.microsoft.com/office/drawing/2014/main" id="{F50B95FF-52C9-80FF-B792-37224DDBC833}"/>
              </a:ext>
            </a:extLst>
          </p:cNvPr>
          <p:cNvSpPr txBox="1"/>
          <p:nvPr/>
        </p:nvSpPr>
        <p:spPr bwMode="auto">
          <a:xfrm>
            <a:off x="2566059" y="4001007"/>
            <a:ext cx="2730726" cy="369332"/>
          </a:xfrm>
          <a:prstGeom prst="rect">
            <a:avLst/>
          </a:prstGeom>
          <a:noFill/>
          <a:ln>
            <a:noFill/>
          </a:ln>
        </p:spPr>
        <p:txBody>
          <a:bodyPr wrap="square" rtlCol="0">
            <a:spAutoFit/>
          </a:bodyPr>
          <a:lstStyle/>
          <a:p>
            <a:pPr algn="ctr" eaLnBrk="0" hangingPunct="0">
              <a:spcBef>
                <a:spcPct val="50000"/>
              </a:spcBef>
            </a:pPr>
            <a:r>
              <a:rPr lang="en-US" sz="1800" b="1" dirty="0">
                <a:solidFill>
                  <a:srgbClr val="000000"/>
                </a:solidFill>
                <a:latin typeface="Calibri" panose="020F0502020204030204" pitchFamily="34" charset="0"/>
                <a:ea typeface="+mn-ea"/>
                <a:cs typeface="Arial" panose="020B0604020202020204" pitchFamily="34" charset="0"/>
              </a:rPr>
              <a:t>	</a:t>
            </a:r>
            <a:r>
              <a:rPr lang="en-US" sz="1200" b="1" dirty="0">
                <a:solidFill>
                  <a:srgbClr val="000000"/>
                </a:solidFill>
                <a:latin typeface="Calibri" panose="020F0502020204030204" pitchFamily="34" charset="0"/>
                <a:ea typeface="+mn-ea"/>
                <a:cs typeface="Arial" panose="020B0604020202020204" pitchFamily="34" charset="0"/>
              </a:rPr>
              <a:t>Mo</a:t>
            </a:r>
            <a:r>
              <a:rPr lang="en-US" sz="1800" b="1" dirty="0">
                <a:solidFill>
                  <a:srgbClr val="000000"/>
                </a:solidFill>
                <a:latin typeface="Calibri" panose="020F0502020204030204" pitchFamily="34" charset="0"/>
                <a:ea typeface="+mn-ea"/>
                <a:cs typeface="Arial" panose="020B0604020202020204" pitchFamily="34" charset="0"/>
              </a:rPr>
              <a:t>	</a:t>
            </a:r>
          </a:p>
        </p:txBody>
      </p:sp>
      <p:sp>
        <p:nvSpPr>
          <p:cNvPr id="33" name="TextBox 32">
            <a:extLst>
              <a:ext uri="{FF2B5EF4-FFF2-40B4-BE49-F238E27FC236}">
                <a16:creationId xmlns:a16="http://schemas.microsoft.com/office/drawing/2014/main" id="{DE3F74B3-5DD4-6C18-11F3-67104E2D34B6}"/>
              </a:ext>
            </a:extLst>
          </p:cNvPr>
          <p:cNvSpPr txBox="1"/>
          <p:nvPr/>
        </p:nvSpPr>
        <p:spPr bwMode="auto">
          <a:xfrm>
            <a:off x="7330629" y="3783354"/>
            <a:ext cx="34548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algn="r">
              <a:lnSpc>
                <a:spcPct val="100000"/>
              </a:lnSpc>
              <a:spcBef>
                <a:spcPct val="50000"/>
              </a:spcBef>
              <a:spcAft>
                <a:spcPct val="0"/>
              </a:spcAft>
              <a:buClrTx/>
              <a:buFontTx/>
              <a:buNone/>
            </a:pPr>
            <a:r>
              <a:rPr lang="en-US" sz="1200" b="0" dirty="0">
                <a:latin typeface="Calibri" panose="020F0502020204030204" pitchFamily="34" charset="0"/>
              </a:rPr>
              <a:t>27</a:t>
            </a:r>
          </a:p>
        </p:txBody>
      </p:sp>
      <p:sp>
        <p:nvSpPr>
          <p:cNvPr id="10" name="Text Box 15">
            <a:extLst>
              <a:ext uri="{FF2B5EF4-FFF2-40B4-BE49-F238E27FC236}">
                <a16:creationId xmlns:a16="http://schemas.microsoft.com/office/drawing/2014/main" id="{A788BDD2-C4BD-985C-B3D8-B61CA4F47B3A}"/>
              </a:ext>
            </a:extLst>
          </p:cNvPr>
          <p:cNvSpPr txBox="1">
            <a:spLocks noChangeArrowheads="1"/>
          </p:cNvSpPr>
          <p:nvPr/>
        </p:nvSpPr>
        <p:spPr bwMode="auto">
          <a:xfrm>
            <a:off x="6579574" y="4108670"/>
            <a:ext cx="2122021" cy="215444"/>
          </a:xfrm>
          <a:prstGeom prst="rect">
            <a:avLst/>
          </a:prstGeom>
          <a:noFill/>
          <a:ln>
            <a:noFill/>
          </a:ln>
        </p:spPr>
        <p:txBody>
          <a:bodyPr wrap="square" anchor="b">
            <a:spAutoFit/>
          </a:bodyPr>
          <a:lstStyle>
            <a:lvl1pPr>
              <a:defRPr b="1">
                <a:solidFill>
                  <a:schemeClr val="tx1"/>
                </a:solidFill>
                <a:latin typeface="Arial" charset="0"/>
              </a:defRPr>
            </a:lvl1pPr>
            <a:lvl2pPr marL="742950" indent="-285750">
              <a:defRPr b="1">
                <a:solidFill>
                  <a:schemeClr val="tx1"/>
                </a:solidFill>
                <a:latin typeface="Arial" charset="0"/>
              </a:defRPr>
            </a:lvl2pPr>
            <a:lvl3pPr marL="1143000" indent="-228600">
              <a:defRPr b="1">
                <a:solidFill>
                  <a:schemeClr val="tx1"/>
                </a:solidFill>
                <a:latin typeface="Arial" charset="0"/>
              </a:defRPr>
            </a:lvl3pPr>
            <a:lvl4pPr marL="1600200" indent="-228600">
              <a:defRPr b="1">
                <a:solidFill>
                  <a:schemeClr val="tx1"/>
                </a:solidFill>
                <a:latin typeface="Arial" charset="0"/>
              </a:defRPr>
            </a:lvl4pPr>
            <a:lvl5pPr marL="2057400" indent="-228600">
              <a:defRPr b="1">
                <a:solidFill>
                  <a:schemeClr val="tx1"/>
                </a:solidFill>
                <a:latin typeface="Arial" charset="0"/>
              </a:defRPr>
            </a:lvl5pPr>
            <a:lvl6pPr marL="2514600" indent="-228600" eaLnBrk="0" fontAlgn="base" hangingPunct="0">
              <a:spcBef>
                <a:spcPct val="0"/>
              </a:spcBef>
              <a:spcAft>
                <a:spcPct val="0"/>
              </a:spcAft>
              <a:defRPr b="1">
                <a:solidFill>
                  <a:schemeClr val="tx1"/>
                </a:solidFill>
                <a:latin typeface="Arial" charset="0"/>
              </a:defRPr>
            </a:lvl6pPr>
            <a:lvl7pPr marL="2971800" indent="-228600" eaLnBrk="0" fontAlgn="base" hangingPunct="0">
              <a:spcBef>
                <a:spcPct val="0"/>
              </a:spcBef>
              <a:spcAft>
                <a:spcPct val="0"/>
              </a:spcAft>
              <a:defRPr b="1">
                <a:solidFill>
                  <a:schemeClr val="tx1"/>
                </a:solidFill>
                <a:latin typeface="Arial" charset="0"/>
              </a:defRPr>
            </a:lvl7pPr>
            <a:lvl8pPr marL="3429000" indent="-228600" eaLnBrk="0" fontAlgn="base" hangingPunct="0">
              <a:spcBef>
                <a:spcPct val="0"/>
              </a:spcBef>
              <a:spcAft>
                <a:spcPct val="0"/>
              </a:spcAft>
              <a:defRPr b="1">
                <a:solidFill>
                  <a:schemeClr val="tx1"/>
                </a:solidFill>
                <a:latin typeface="Arial" charset="0"/>
              </a:defRPr>
            </a:lvl8pPr>
            <a:lvl9pPr marL="3886200" indent="-228600" eaLnBrk="0" fontAlgn="base" hangingPunct="0">
              <a:spcBef>
                <a:spcPct val="0"/>
              </a:spcBef>
              <a:spcAft>
                <a:spcPct val="0"/>
              </a:spcAft>
              <a:defRPr b="1">
                <a:solidFill>
                  <a:schemeClr val="tx1"/>
                </a:solidFill>
                <a:latin typeface="Arial" charset="0"/>
              </a:defRPr>
            </a:lvl9pPr>
          </a:lstStyle>
          <a:p>
            <a:pPr>
              <a:defRPr/>
            </a:pPr>
            <a:r>
              <a:rPr lang="en-US" altLang="en-US" sz="800" b="0" spc="-10" dirty="0">
                <a:solidFill>
                  <a:srgbClr val="455560"/>
                </a:solidFill>
                <a:latin typeface="Calibri" panose="020F0502020204030204" pitchFamily="34" charset="0"/>
                <a:ea typeface="+mn-ea"/>
                <a:cs typeface="Arial" panose="020B0604020202020204" pitchFamily="34" charset="0"/>
              </a:rPr>
              <a:t>Bardia. NEJM. 2021, 384:1529 </a:t>
            </a:r>
            <a:endParaRPr lang="en-US" altLang="en-US" sz="800" b="0" dirty="0">
              <a:solidFill>
                <a:srgbClr val="455560"/>
              </a:solidFill>
              <a:latin typeface="Calibri" panose="020F0502020204030204" pitchFamily="34" charset="0"/>
              <a:ea typeface="+mn-ea"/>
              <a:cs typeface="Arial" panose="020B0604020202020204" pitchFamily="34" charset="0"/>
            </a:endParaRPr>
          </a:p>
        </p:txBody>
      </p:sp>
      <p:sp>
        <p:nvSpPr>
          <p:cNvPr id="11" name="Rectangle: Rounded Corners 10">
            <a:extLst>
              <a:ext uri="{FF2B5EF4-FFF2-40B4-BE49-F238E27FC236}">
                <a16:creationId xmlns:a16="http://schemas.microsoft.com/office/drawing/2014/main" id="{EDB706C7-1B99-D9CB-38A5-3BFB6230049A}"/>
              </a:ext>
            </a:extLst>
          </p:cNvPr>
          <p:cNvSpPr/>
          <p:nvPr/>
        </p:nvSpPr>
        <p:spPr bwMode="auto">
          <a:xfrm>
            <a:off x="6465075" y="1974872"/>
            <a:ext cx="1741158" cy="300904"/>
          </a:xfrm>
          <a:prstGeom prst="roundRect">
            <a:avLst/>
          </a:prstGeom>
          <a:noFill/>
          <a:ln w="3810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Tree>
    <p:extLst>
      <p:ext uri="{BB962C8B-B14F-4D97-AF65-F5344CB8AC3E}">
        <p14:creationId xmlns:p14="http://schemas.microsoft.com/office/powerpoint/2010/main" val="11051863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D18BC3C2-D028-3DEC-2525-5F3FD2D5BF27}"/>
              </a:ext>
            </a:extLst>
          </p:cNvPr>
          <p:cNvPicPr>
            <a:picLocks noChangeAspect="1"/>
          </p:cNvPicPr>
          <p:nvPr/>
        </p:nvPicPr>
        <p:blipFill>
          <a:blip r:embed="rId2"/>
          <a:stretch>
            <a:fillRect/>
          </a:stretch>
        </p:blipFill>
        <p:spPr>
          <a:xfrm>
            <a:off x="294436" y="823255"/>
            <a:ext cx="5118459" cy="3134016"/>
          </a:xfrm>
          <a:prstGeom prst="rect">
            <a:avLst/>
          </a:prstGeom>
        </p:spPr>
      </p:pic>
      <p:sp>
        <p:nvSpPr>
          <p:cNvPr id="17" name="Title 3">
            <a:extLst>
              <a:ext uri="{FF2B5EF4-FFF2-40B4-BE49-F238E27FC236}">
                <a16:creationId xmlns:a16="http://schemas.microsoft.com/office/drawing/2014/main" id="{FC5851FB-96CF-36A5-2588-B41F401F9994}"/>
              </a:ext>
            </a:extLst>
          </p:cNvPr>
          <p:cNvSpPr txBox="1">
            <a:spLocks/>
          </p:cNvSpPr>
          <p:nvPr/>
        </p:nvSpPr>
        <p:spPr>
          <a:xfrm>
            <a:off x="179351" y="127465"/>
            <a:ext cx="8550081" cy="807256"/>
          </a:xfrm>
          <a:prstGeom prst="rect">
            <a:avLst/>
          </a:prstGeom>
          <a:noFill/>
        </p:spPr>
        <p:txBody>
          <a:bodyPr/>
          <a:lstStyle>
            <a:lvl1pPr algn="ctr" rtl="0" eaLnBrk="1" fontAlgn="base" hangingPunct="1">
              <a:spcBef>
                <a:spcPct val="0"/>
              </a:spcBef>
              <a:spcAft>
                <a:spcPct val="0"/>
              </a:spcAft>
              <a:defRPr sz="3600" i="0">
                <a:solidFill>
                  <a:srgbClr val="002450"/>
                </a:solidFill>
                <a:latin typeface="+mn-lt"/>
                <a:ea typeface="+mj-ea"/>
                <a:cs typeface="+mj-cs"/>
              </a:defRPr>
            </a:lvl1pPr>
            <a:lvl2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2pPr>
            <a:lvl3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3pPr>
            <a:lvl4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4pPr>
            <a:lvl5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5pPr>
            <a:lvl6pPr marL="4572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6pPr>
            <a:lvl7pPr marL="9144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7pPr>
            <a:lvl8pPr marL="13716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8pPr>
            <a:lvl9pPr marL="18288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9pPr>
          </a:lstStyle>
          <a:p>
            <a:pPr algn="l"/>
            <a:r>
              <a:rPr lang="en-US" altLang="en-US" sz="2400" b="1" dirty="0"/>
              <a:t>ASCENT: </a:t>
            </a:r>
            <a:r>
              <a:rPr lang="en-US" sz="2400" b="1" dirty="0"/>
              <a:t>Response in Patients Without Brain Metastasis</a:t>
            </a:r>
            <a:endParaRPr lang="en-US" sz="2400" b="1" kern="0" dirty="0"/>
          </a:p>
        </p:txBody>
      </p:sp>
      <p:graphicFrame>
        <p:nvGraphicFramePr>
          <p:cNvPr id="20" name="Group 32">
            <a:extLst>
              <a:ext uri="{FF2B5EF4-FFF2-40B4-BE49-F238E27FC236}">
                <a16:creationId xmlns:a16="http://schemas.microsoft.com/office/drawing/2014/main" id="{51D3839E-0207-1069-AB8E-9F59D513F658}"/>
              </a:ext>
            </a:extLst>
          </p:cNvPr>
          <p:cNvGraphicFramePr>
            <a:graphicFrameLocks noGrp="1"/>
          </p:cNvGraphicFramePr>
          <p:nvPr>
            <p:extLst>
              <p:ext uri="{D42A27DB-BD31-4B8C-83A1-F6EECF244321}">
                <p14:modId xmlns:p14="http://schemas.microsoft.com/office/powerpoint/2010/main" val="3347909725"/>
              </p:ext>
            </p:extLst>
          </p:nvPr>
        </p:nvGraphicFramePr>
        <p:xfrm>
          <a:off x="5577546" y="865595"/>
          <a:ext cx="3222451" cy="2071658"/>
        </p:xfrm>
        <a:graphic>
          <a:graphicData uri="http://schemas.openxmlformats.org/drawingml/2006/table">
            <a:tbl>
              <a:tblPr>
                <a:tableStyleId>{073A0DAA-6AF3-43AB-8588-CEC1D06C72B9}</a:tableStyleId>
              </a:tblPr>
              <a:tblGrid>
                <a:gridCol w="988096">
                  <a:extLst>
                    <a:ext uri="{9D8B030D-6E8A-4147-A177-3AD203B41FA5}">
                      <a16:colId xmlns:a16="http://schemas.microsoft.com/office/drawing/2014/main" val="20000"/>
                    </a:ext>
                  </a:extLst>
                </a:gridCol>
                <a:gridCol w="1160752">
                  <a:extLst>
                    <a:ext uri="{9D8B030D-6E8A-4147-A177-3AD203B41FA5}">
                      <a16:colId xmlns:a16="http://schemas.microsoft.com/office/drawing/2014/main" val="20001"/>
                    </a:ext>
                  </a:extLst>
                </a:gridCol>
                <a:gridCol w="1073603">
                  <a:extLst>
                    <a:ext uri="{9D8B030D-6E8A-4147-A177-3AD203B41FA5}">
                      <a16:colId xmlns:a16="http://schemas.microsoft.com/office/drawing/2014/main" val="20002"/>
                    </a:ext>
                  </a:extLst>
                </a:gridCol>
              </a:tblGrid>
              <a:tr h="604222">
                <a:tc>
                  <a:txBody>
                    <a:bodyPr/>
                    <a:lstStyle/>
                    <a:p>
                      <a:pPr marL="0" marR="0" lvl="0" indent="0" algn="l" defTabSz="914400" rtl="0" eaLnBrk="1" fontAlgn="base" latinLnBrk="0" hangingPunct="1">
                        <a:lnSpc>
                          <a:spcPct val="100000"/>
                        </a:lnSpc>
                        <a:spcBef>
                          <a:spcPct val="35000"/>
                        </a:spcBef>
                        <a:spcAft>
                          <a:spcPts val="0"/>
                        </a:spcAft>
                        <a:buClr>
                          <a:schemeClr val="accent2"/>
                        </a:buClr>
                        <a:buSzTx/>
                        <a:buFont typeface="Wingdings" pitchFamily="2" charset="2"/>
                        <a:buNone/>
                        <a:tabLst/>
                      </a:pPr>
                      <a:r>
                        <a:rPr kumimoji="0" lang="en-US" sz="1000" b="1" u="none" strike="noStrike" cap="none" normalizeH="0" baseline="0" dirty="0">
                          <a:ln>
                            <a:noFill/>
                          </a:ln>
                          <a:solidFill>
                            <a:schemeClr val="bg1"/>
                          </a:solidFill>
                          <a:effectLst/>
                        </a:rPr>
                        <a:t>Outcome</a:t>
                      </a:r>
                      <a:endParaRPr kumimoji="0" lang="en-US" sz="1000" b="1" i="0" u="none" strike="noStrike" cap="none" normalizeH="0" baseline="0" dirty="0">
                        <a:ln>
                          <a:noFill/>
                        </a:ln>
                        <a:solidFill>
                          <a:schemeClr val="bg1"/>
                        </a:solidFill>
                        <a:effectLst/>
                        <a:latin typeface="Calibri" panose="020F0502020204030204" pitchFamily="34" charset="0"/>
                      </a:endParaRP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000" b="1" u="none" strike="noStrike" cap="none" normalizeH="0" baseline="0" dirty="0">
                          <a:ln>
                            <a:noFill/>
                          </a:ln>
                          <a:solidFill>
                            <a:schemeClr val="bg1"/>
                          </a:solidFill>
                          <a:effectLst/>
                        </a:rPr>
                        <a:t>Sacituzumab Govitecan </a:t>
                      </a:r>
                    </a:p>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000" b="1" u="none" strike="noStrike" cap="none" normalizeH="0" baseline="0" dirty="0">
                          <a:ln>
                            <a:noFill/>
                          </a:ln>
                          <a:solidFill>
                            <a:schemeClr val="bg1"/>
                          </a:solidFill>
                          <a:effectLst/>
                        </a:rPr>
                        <a:t>(n = 235)</a:t>
                      </a:r>
                      <a:endParaRPr kumimoji="0" lang="en-US" sz="1000" b="1" i="0" u="none" strike="noStrike" cap="none" normalizeH="0" baseline="0" dirty="0">
                        <a:ln>
                          <a:noFill/>
                        </a:ln>
                        <a:solidFill>
                          <a:schemeClr val="bg1"/>
                        </a:solidFill>
                        <a:effectLst/>
                        <a:latin typeface="Calibri" panose="020F0502020204030204" pitchFamily="34" charset="0"/>
                      </a:endParaRP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60000"/>
                        <a:lumOff val="40000"/>
                      </a:schemeClr>
                    </a:solidFill>
                  </a:tcPr>
                </a:tc>
                <a:tc>
                  <a:txBody>
                    <a:bodyPr/>
                    <a:lstStyle/>
                    <a:p>
                      <a:pPr marL="0" marR="0" lvl="0" indent="0" algn="ctr" defTabSz="914400" rtl="0" eaLnBrk="1" fontAlgn="base" latinLnBrk="0" hangingPunct="1">
                        <a:lnSpc>
                          <a:spcPct val="100000"/>
                        </a:lnSpc>
                        <a:spcBef>
                          <a:spcPct val="0"/>
                        </a:spcBef>
                        <a:spcAft>
                          <a:spcPts val="0"/>
                        </a:spcAft>
                        <a:buClrTx/>
                        <a:buSzTx/>
                        <a:buFontTx/>
                        <a:buNone/>
                        <a:tabLst/>
                      </a:pPr>
                      <a:r>
                        <a:rPr kumimoji="0" lang="en-US" sz="1000" b="1" u="none" strike="noStrike" cap="none" normalizeH="0" baseline="0" dirty="0">
                          <a:ln>
                            <a:noFill/>
                          </a:ln>
                          <a:solidFill>
                            <a:schemeClr val="bg1"/>
                          </a:solidFill>
                          <a:effectLst/>
                        </a:rPr>
                        <a:t>Physician’s Choice CT</a:t>
                      </a:r>
                    </a:p>
                    <a:p>
                      <a:pPr marL="0" marR="0" lvl="0" indent="0" algn="ctr" defTabSz="914400" rtl="0" eaLnBrk="1" fontAlgn="base" latinLnBrk="0" hangingPunct="1">
                        <a:lnSpc>
                          <a:spcPct val="100000"/>
                        </a:lnSpc>
                        <a:spcBef>
                          <a:spcPct val="0"/>
                        </a:spcBef>
                        <a:spcAft>
                          <a:spcPts val="0"/>
                        </a:spcAft>
                        <a:buClrTx/>
                        <a:buSzTx/>
                        <a:buFontTx/>
                        <a:buNone/>
                        <a:tabLst/>
                      </a:pPr>
                      <a:r>
                        <a:rPr kumimoji="0" lang="en-US" sz="1000" b="1" u="none" strike="noStrike" cap="none" normalizeH="0" baseline="0" dirty="0">
                          <a:ln>
                            <a:noFill/>
                          </a:ln>
                          <a:solidFill>
                            <a:schemeClr val="bg1"/>
                          </a:solidFill>
                          <a:effectLst/>
                        </a:rPr>
                        <a:t>(n = 233)</a:t>
                      </a:r>
                      <a:endParaRPr kumimoji="0" lang="en-US" sz="1000" b="1" i="0" u="none" strike="noStrike" cap="none" normalizeH="0" baseline="0" dirty="0">
                        <a:ln>
                          <a:noFill/>
                        </a:ln>
                        <a:solidFill>
                          <a:schemeClr val="bg1"/>
                        </a:solidFill>
                        <a:effectLst/>
                        <a:latin typeface="Calibri" panose="020F0502020204030204" pitchFamily="34" charset="0"/>
                      </a:endParaRP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60000"/>
                        <a:lumOff val="40000"/>
                      </a:schemeClr>
                    </a:solidFill>
                  </a:tcPr>
                </a:tc>
                <a:extLst>
                  <a:ext uri="{0D108BD9-81ED-4DB2-BD59-A6C34878D82A}">
                    <a16:rowId xmlns:a16="http://schemas.microsoft.com/office/drawing/2014/main" val="10000"/>
                  </a:ext>
                </a:extLst>
              </a:tr>
              <a:tr h="258961">
                <a:tc>
                  <a:txBody>
                    <a:bodyPr/>
                    <a:lstStyle/>
                    <a:p>
                      <a:pPr marL="0" marR="0" lvl="0" indent="0" algn="l" defTabSz="914400" rtl="0" eaLnBrk="1" fontAlgn="base" latinLnBrk="0" hangingPunct="1">
                        <a:lnSpc>
                          <a:spcPct val="100000"/>
                        </a:lnSpc>
                        <a:spcBef>
                          <a:spcPct val="35000"/>
                        </a:spcBef>
                        <a:spcAft>
                          <a:spcPts val="0"/>
                        </a:spcAft>
                        <a:buClr>
                          <a:schemeClr val="accent2"/>
                        </a:buClr>
                        <a:buSzTx/>
                        <a:buFont typeface="Wingdings" pitchFamily="2" charset="2"/>
                        <a:buNone/>
                        <a:tabLst/>
                      </a:pPr>
                      <a:r>
                        <a:rPr kumimoji="0" lang="en-US" sz="1000" b="0" u="none" strike="noStrike" cap="none" normalizeH="0" baseline="0" dirty="0">
                          <a:ln>
                            <a:noFill/>
                          </a:ln>
                          <a:solidFill>
                            <a:schemeClr val="tx1"/>
                          </a:solidFill>
                          <a:effectLst/>
                        </a:rPr>
                        <a:t>ORR, n (%)</a:t>
                      </a:r>
                      <a:endParaRPr kumimoji="0" lang="en-US" sz="1000" b="0" i="0" u="none" strike="noStrike" cap="none" normalizeH="0" baseline="0" dirty="0">
                        <a:ln>
                          <a:noFill/>
                        </a:ln>
                        <a:solidFill>
                          <a:schemeClr val="tx1"/>
                        </a:solidFill>
                        <a:effectLst/>
                        <a:latin typeface="Calibri" panose="020F0502020204030204" pitchFamily="34" charset="0"/>
                      </a:endParaRPr>
                    </a:p>
                  </a:txBody>
                  <a:tcPr marL="121881" marR="121881"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base" latinLnBrk="0" hangingPunct="1">
                        <a:lnSpc>
                          <a:spcPct val="100000"/>
                        </a:lnSpc>
                        <a:spcBef>
                          <a:spcPct val="35000"/>
                        </a:spcBef>
                        <a:spcAft>
                          <a:spcPts val="0"/>
                        </a:spcAft>
                        <a:buClr>
                          <a:schemeClr val="accent2"/>
                        </a:buClr>
                        <a:buSzTx/>
                        <a:buFont typeface="Wingdings" pitchFamily="2" charset="2"/>
                        <a:buNone/>
                        <a:tabLst/>
                      </a:pPr>
                      <a:r>
                        <a:rPr kumimoji="0" lang="en-US" sz="1000" b="0" u="none" strike="noStrike" cap="none" normalizeH="0" baseline="0" dirty="0">
                          <a:ln>
                            <a:noFill/>
                          </a:ln>
                          <a:solidFill>
                            <a:schemeClr val="tx1"/>
                          </a:solidFill>
                          <a:effectLst/>
                        </a:rPr>
                        <a:t>82 (35)</a:t>
                      </a:r>
                      <a:endParaRPr kumimoji="0" lang="en-US" sz="1000" b="0" i="0" u="none" strike="noStrike" cap="none" normalizeH="0" baseline="0" dirty="0">
                        <a:ln>
                          <a:noFill/>
                        </a:ln>
                        <a:solidFill>
                          <a:schemeClr val="tx1"/>
                        </a:solidFill>
                        <a:effectLst/>
                        <a:latin typeface="Calibri" panose="020F0502020204030204" pitchFamily="34" charset="0"/>
                      </a:endParaRP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0" lang="en-US" sz="1000" b="0" u="none" strike="noStrike" cap="none" normalizeH="0" baseline="0" dirty="0">
                          <a:ln>
                            <a:noFill/>
                          </a:ln>
                          <a:solidFill>
                            <a:schemeClr val="tx1"/>
                          </a:solidFill>
                          <a:effectLst/>
                        </a:rPr>
                        <a:t>11 (5)</a:t>
                      </a:r>
                      <a:endParaRPr lang="en-US" sz="1000" dirty="0">
                        <a:solidFill>
                          <a:schemeClr val="tx1"/>
                        </a:solidFill>
                      </a:endParaRP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871761766"/>
                  </a:ext>
                </a:extLst>
              </a:tr>
              <a:tr h="258961">
                <a:tc>
                  <a:txBody>
                    <a:bodyPr/>
                    <a:lstStyle/>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defRPr/>
                      </a:pPr>
                      <a:r>
                        <a:rPr kumimoji="0" lang="en-US" sz="1000" b="0" u="none" strike="noStrike" kern="1200" cap="none" normalizeH="0" baseline="0" dirty="0">
                          <a:ln>
                            <a:noFill/>
                          </a:ln>
                          <a:solidFill>
                            <a:schemeClr val="tx1"/>
                          </a:solidFill>
                          <a:effectLst/>
                        </a:rPr>
                        <a:t>CR</a:t>
                      </a:r>
                      <a:endParaRPr kumimoji="0" lang="en-US" sz="1000" b="0" i="0" u="none" strike="noStrike" kern="1200" cap="none" normalizeH="0" baseline="0" dirty="0">
                        <a:ln>
                          <a:noFill/>
                        </a:ln>
                        <a:solidFill>
                          <a:schemeClr val="tx1"/>
                        </a:solidFill>
                        <a:effectLst/>
                        <a:latin typeface="Calibri" panose="020F0502020204030204" pitchFamily="34" charset="0"/>
                        <a:ea typeface="+mn-ea"/>
                        <a:cs typeface="+mn-cs"/>
                      </a:endParaRPr>
                    </a:p>
                  </a:txBody>
                  <a:tcPr marL="121881" marR="121881"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base" latinLnBrk="0" hangingPunct="1">
                        <a:lnSpc>
                          <a:spcPct val="100000"/>
                        </a:lnSpc>
                        <a:spcBef>
                          <a:spcPct val="35000"/>
                        </a:spcBef>
                        <a:spcAft>
                          <a:spcPts val="0"/>
                        </a:spcAft>
                        <a:buClr>
                          <a:schemeClr val="accent2"/>
                        </a:buClr>
                        <a:buSzTx/>
                        <a:buFont typeface="Wingdings" pitchFamily="2" charset="2"/>
                        <a:buNone/>
                        <a:tabLst/>
                      </a:pPr>
                      <a:r>
                        <a:rPr kumimoji="0" lang="en-US" sz="1000" b="0" u="none" strike="noStrike" kern="1200" cap="none" normalizeH="0" baseline="0" dirty="0">
                          <a:ln>
                            <a:noFill/>
                          </a:ln>
                          <a:solidFill>
                            <a:schemeClr val="tx1"/>
                          </a:solidFill>
                          <a:effectLst/>
                        </a:rPr>
                        <a:t>10 (4)</a:t>
                      </a:r>
                      <a:endParaRPr kumimoji="0" lang="en-US" sz="1000" b="0" i="0" u="none" strike="noStrike" kern="1200" cap="none" normalizeH="0" baseline="0" dirty="0">
                        <a:ln>
                          <a:noFill/>
                        </a:ln>
                        <a:solidFill>
                          <a:schemeClr val="tx1"/>
                        </a:solidFill>
                        <a:effectLst/>
                        <a:latin typeface="Calibri" panose="020F0502020204030204" pitchFamily="34" charset="0"/>
                        <a:ea typeface="+mn-ea"/>
                        <a:cs typeface="+mn-cs"/>
                      </a:endParaRP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0" lang="en-US" sz="1000" b="0" u="none" strike="noStrike" kern="1200" cap="none" normalizeH="0" baseline="0" dirty="0">
                          <a:ln>
                            <a:noFill/>
                          </a:ln>
                          <a:solidFill>
                            <a:schemeClr val="tx1"/>
                          </a:solidFill>
                          <a:effectLst/>
                        </a:rPr>
                        <a:t>2 (1)</a:t>
                      </a:r>
                      <a:endParaRPr kumimoji="0" lang="en-US" sz="1000" b="0" i="0" u="none" strike="noStrike" kern="1200" cap="none" normalizeH="0" baseline="0" dirty="0">
                        <a:ln>
                          <a:noFill/>
                        </a:ln>
                        <a:solidFill>
                          <a:schemeClr val="tx1"/>
                        </a:solidFill>
                        <a:effectLst/>
                        <a:latin typeface="Calibri" panose="020F0502020204030204" pitchFamily="34" charset="0"/>
                        <a:ea typeface="+mn-ea"/>
                        <a:cs typeface="+mn-cs"/>
                      </a:endParaRP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56459604"/>
                  </a:ext>
                </a:extLst>
              </a:tr>
              <a:tr h="258961">
                <a:tc>
                  <a:txBody>
                    <a:bodyPr/>
                    <a:lstStyle/>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defRPr/>
                      </a:pPr>
                      <a:r>
                        <a:rPr kumimoji="0" lang="en-US" sz="1000" b="0" u="none" strike="noStrike" kern="1200" cap="none" normalizeH="0" baseline="0" dirty="0">
                          <a:ln>
                            <a:noFill/>
                          </a:ln>
                          <a:solidFill>
                            <a:schemeClr val="tx1"/>
                          </a:solidFill>
                          <a:effectLst/>
                        </a:rPr>
                        <a:t>PR</a:t>
                      </a:r>
                      <a:endParaRPr kumimoji="0" lang="en-US" sz="1000" b="0" i="0" u="none" strike="noStrike" kern="1200" cap="none" normalizeH="0" baseline="0" dirty="0">
                        <a:ln>
                          <a:noFill/>
                        </a:ln>
                        <a:solidFill>
                          <a:schemeClr val="tx1"/>
                        </a:solidFill>
                        <a:effectLst/>
                        <a:latin typeface="Calibri" panose="020F0502020204030204" pitchFamily="34" charset="0"/>
                        <a:ea typeface="+mn-ea"/>
                        <a:cs typeface="+mn-cs"/>
                      </a:endParaRPr>
                    </a:p>
                  </a:txBody>
                  <a:tcPr marL="121881" marR="121881"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base" latinLnBrk="0" hangingPunct="1">
                        <a:lnSpc>
                          <a:spcPct val="100000"/>
                        </a:lnSpc>
                        <a:spcBef>
                          <a:spcPct val="35000"/>
                        </a:spcBef>
                        <a:spcAft>
                          <a:spcPts val="0"/>
                        </a:spcAft>
                        <a:buClr>
                          <a:schemeClr val="accent2"/>
                        </a:buClr>
                        <a:buSzTx/>
                        <a:buFont typeface="Wingdings" pitchFamily="2" charset="2"/>
                        <a:buNone/>
                        <a:tabLst/>
                      </a:pPr>
                      <a:r>
                        <a:rPr kumimoji="0" lang="en-US" sz="1000" b="0" u="none" strike="noStrike" kern="1200" cap="none" normalizeH="0" baseline="0" dirty="0">
                          <a:ln>
                            <a:noFill/>
                          </a:ln>
                          <a:solidFill>
                            <a:schemeClr val="tx1"/>
                          </a:solidFill>
                          <a:effectLst/>
                        </a:rPr>
                        <a:t>72 (31)</a:t>
                      </a:r>
                      <a:endParaRPr kumimoji="0" lang="en-US" sz="1000" b="0" i="0" u="none" strike="noStrike" kern="1200" cap="none" normalizeH="0" baseline="0" dirty="0">
                        <a:ln>
                          <a:noFill/>
                        </a:ln>
                        <a:solidFill>
                          <a:schemeClr val="tx1"/>
                        </a:solidFill>
                        <a:effectLst/>
                        <a:latin typeface="Calibri" panose="020F0502020204030204" pitchFamily="34" charset="0"/>
                        <a:ea typeface="+mn-ea"/>
                        <a:cs typeface="+mn-cs"/>
                      </a:endParaRP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base" latinLnBrk="0" hangingPunct="1">
                        <a:lnSpc>
                          <a:spcPct val="100000"/>
                        </a:lnSpc>
                        <a:spcBef>
                          <a:spcPct val="35000"/>
                        </a:spcBef>
                        <a:spcAft>
                          <a:spcPts val="0"/>
                        </a:spcAft>
                        <a:buClr>
                          <a:schemeClr val="accent2"/>
                        </a:buClr>
                        <a:buSzTx/>
                        <a:buFont typeface="Wingdings" pitchFamily="2" charset="2"/>
                        <a:buNone/>
                        <a:tabLst/>
                      </a:pPr>
                      <a:r>
                        <a:rPr kumimoji="0" lang="en-US" sz="1000" b="0" u="none" strike="noStrike" kern="1200" cap="none" normalizeH="0" baseline="0" dirty="0">
                          <a:ln>
                            <a:noFill/>
                          </a:ln>
                          <a:solidFill>
                            <a:schemeClr val="tx1"/>
                          </a:solidFill>
                          <a:effectLst/>
                        </a:rPr>
                        <a:t>9 (4)</a:t>
                      </a:r>
                      <a:endParaRPr kumimoji="0" lang="en-US" sz="1000" b="0" i="0" u="none" strike="noStrike" kern="1200" cap="none" normalizeH="0" baseline="0" dirty="0">
                        <a:ln>
                          <a:noFill/>
                        </a:ln>
                        <a:solidFill>
                          <a:schemeClr val="tx1"/>
                        </a:solidFill>
                        <a:effectLst/>
                        <a:latin typeface="Calibri" panose="020F0502020204030204" pitchFamily="34" charset="0"/>
                        <a:ea typeface="+mn-ea"/>
                        <a:cs typeface="+mn-cs"/>
                      </a:endParaRP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6750541"/>
                  </a:ext>
                </a:extLst>
              </a:tr>
              <a:tr h="258961">
                <a:tc>
                  <a:txBody>
                    <a:bodyPr/>
                    <a:lstStyle/>
                    <a:p>
                      <a:pPr marL="0" marR="0" lvl="0" indent="0" algn="l" defTabSz="914400" rtl="0" eaLnBrk="1" fontAlgn="base" latinLnBrk="0" hangingPunct="1">
                        <a:lnSpc>
                          <a:spcPct val="100000"/>
                        </a:lnSpc>
                        <a:spcBef>
                          <a:spcPct val="35000"/>
                        </a:spcBef>
                        <a:spcAft>
                          <a:spcPts val="0"/>
                        </a:spcAft>
                        <a:buClr>
                          <a:schemeClr val="accent2"/>
                        </a:buClr>
                        <a:buSzTx/>
                        <a:buFont typeface="Wingdings" pitchFamily="2" charset="2"/>
                        <a:buNone/>
                        <a:tabLst/>
                      </a:pPr>
                      <a:r>
                        <a:rPr kumimoji="0" lang="en-US" sz="1000" b="0" u="none" strike="noStrike" cap="none" normalizeH="0" baseline="0" dirty="0">
                          <a:ln>
                            <a:noFill/>
                          </a:ln>
                          <a:solidFill>
                            <a:schemeClr val="tx1"/>
                          </a:solidFill>
                          <a:effectLst/>
                        </a:rPr>
                        <a:t>CBR, n (%)</a:t>
                      </a:r>
                      <a:endParaRPr kumimoji="0" lang="en-US" sz="1000" b="0" i="0" u="none" strike="noStrike" cap="none" normalizeH="0" baseline="0" dirty="0">
                        <a:ln>
                          <a:noFill/>
                        </a:ln>
                        <a:solidFill>
                          <a:schemeClr val="tx1"/>
                        </a:solidFill>
                        <a:effectLst/>
                        <a:latin typeface="Calibri" panose="020F0502020204030204" pitchFamily="34" charset="0"/>
                      </a:endParaRPr>
                    </a:p>
                  </a:txBody>
                  <a:tcPr marL="121881" marR="121881"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base" latinLnBrk="0" hangingPunct="1">
                        <a:lnSpc>
                          <a:spcPct val="100000"/>
                        </a:lnSpc>
                        <a:spcBef>
                          <a:spcPct val="35000"/>
                        </a:spcBef>
                        <a:spcAft>
                          <a:spcPts val="0"/>
                        </a:spcAft>
                        <a:buClr>
                          <a:schemeClr val="accent2"/>
                        </a:buClr>
                        <a:buSzTx/>
                        <a:buFont typeface="Wingdings" pitchFamily="2" charset="2"/>
                        <a:buNone/>
                        <a:tabLst/>
                      </a:pPr>
                      <a:r>
                        <a:rPr kumimoji="0" lang="en-US" sz="1000" b="0" u="none" strike="noStrike" kern="1200" cap="none" normalizeH="0" baseline="0" dirty="0">
                          <a:ln>
                            <a:noFill/>
                          </a:ln>
                          <a:solidFill>
                            <a:schemeClr val="tx1"/>
                          </a:solidFill>
                          <a:effectLst/>
                        </a:rPr>
                        <a:t>105 (45)</a:t>
                      </a:r>
                      <a:endParaRPr kumimoji="0" lang="en-US" sz="1000" b="0" i="0" u="none" strike="noStrike" kern="1200" cap="none" normalizeH="0" baseline="0" dirty="0">
                        <a:ln>
                          <a:noFill/>
                        </a:ln>
                        <a:solidFill>
                          <a:schemeClr val="tx1"/>
                        </a:solidFill>
                        <a:effectLst/>
                        <a:latin typeface="Calibri" panose="020F0502020204030204" pitchFamily="34" charset="0"/>
                        <a:ea typeface="+mn-ea"/>
                        <a:cs typeface="+mn-cs"/>
                      </a:endParaRP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base" latinLnBrk="0" hangingPunct="1">
                        <a:lnSpc>
                          <a:spcPct val="100000"/>
                        </a:lnSpc>
                        <a:spcBef>
                          <a:spcPct val="35000"/>
                        </a:spcBef>
                        <a:spcAft>
                          <a:spcPts val="0"/>
                        </a:spcAft>
                        <a:buClr>
                          <a:schemeClr val="accent2"/>
                        </a:buClr>
                        <a:buSzTx/>
                        <a:buFont typeface="Wingdings" pitchFamily="2" charset="2"/>
                        <a:buNone/>
                        <a:tabLst/>
                      </a:pPr>
                      <a:r>
                        <a:rPr kumimoji="0" lang="en-US" sz="1000" b="0" u="none" strike="noStrike" kern="1200" cap="none" normalizeH="0" baseline="0" dirty="0">
                          <a:ln>
                            <a:noFill/>
                          </a:ln>
                          <a:solidFill>
                            <a:schemeClr val="tx1"/>
                          </a:solidFill>
                          <a:effectLst/>
                        </a:rPr>
                        <a:t>20 (9)</a:t>
                      </a:r>
                      <a:endParaRPr kumimoji="0" lang="en-US" sz="1000" b="0" i="0" u="none" strike="noStrike" kern="1200" cap="none" normalizeH="0" baseline="0" dirty="0">
                        <a:ln>
                          <a:noFill/>
                        </a:ln>
                        <a:solidFill>
                          <a:schemeClr val="tx1"/>
                        </a:solidFill>
                        <a:effectLst/>
                        <a:latin typeface="Calibri" panose="020F0502020204030204" pitchFamily="34" charset="0"/>
                        <a:ea typeface="+mn-ea"/>
                        <a:cs typeface="+mn-cs"/>
                      </a:endParaRP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00461809"/>
                  </a:ext>
                </a:extLst>
              </a:tr>
              <a:tr h="431592">
                <a:tc>
                  <a:txBody>
                    <a:bodyPr/>
                    <a:lstStyle/>
                    <a:p>
                      <a:pPr marL="0" marR="0" lvl="0" indent="0" algn="l" defTabSz="914400" rtl="0" eaLnBrk="1" fontAlgn="base" latinLnBrk="0" hangingPunct="1">
                        <a:lnSpc>
                          <a:spcPct val="100000"/>
                        </a:lnSpc>
                        <a:spcBef>
                          <a:spcPct val="35000"/>
                        </a:spcBef>
                        <a:spcAft>
                          <a:spcPts val="0"/>
                        </a:spcAft>
                        <a:buClr>
                          <a:schemeClr val="accent2"/>
                        </a:buClr>
                        <a:buSzTx/>
                        <a:buFont typeface="Wingdings" pitchFamily="2" charset="2"/>
                        <a:buNone/>
                        <a:tabLst/>
                        <a:defRPr/>
                      </a:pPr>
                      <a:r>
                        <a:rPr kumimoji="0" lang="en-US" sz="1000" b="0" u="none" strike="noStrike" cap="none" normalizeH="0" baseline="0" dirty="0">
                          <a:ln>
                            <a:noFill/>
                          </a:ln>
                          <a:solidFill>
                            <a:schemeClr val="tx1"/>
                          </a:solidFill>
                          <a:effectLst/>
                        </a:rPr>
                        <a:t>Median DoR, mo</a:t>
                      </a:r>
                      <a:endParaRPr kumimoji="0" lang="en-US" sz="1000" b="0" i="0" u="none" strike="noStrike" cap="none" normalizeH="0" baseline="0" dirty="0">
                        <a:ln>
                          <a:noFill/>
                        </a:ln>
                        <a:solidFill>
                          <a:schemeClr val="tx1"/>
                        </a:solidFill>
                        <a:effectLst/>
                        <a:latin typeface="Calibri" panose="020F0502020204030204" pitchFamily="34" charset="0"/>
                      </a:endParaRPr>
                    </a:p>
                  </a:txBody>
                  <a:tcPr marL="121881" marR="121881"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35000"/>
                        </a:spcBef>
                        <a:spcAft>
                          <a:spcPts val="0"/>
                        </a:spcAft>
                        <a:buClr>
                          <a:schemeClr val="accent2"/>
                        </a:buClr>
                        <a:buSzTx/>
                        <a:buFont typeface="Wingdings" pitchFamily="2" charset="2"/>
                        <a:buNone/>
                        <a:tabLst/>
                        <a:defRPr/>
                      </a:pPr>
                      <a:r>
                        <a:rPr kumimoji="0" lang="en-US" sz="1000" b="0" u="none" strike="noStrike" kern="1200" cap="none" normalizeH="0" baseline="0" dirty="0">
                          <a:ln>
                            <a:noFill/>
                          </a:ln>
                          <a:solidFill>
                            <a:schemeClr val="tx1"/>
                          </a:solidFill>
                          <a:effectLst/>
                        </a:rPr>
                        <a:t>6.3</a:t>
                      </a:r>
                      <a:endParaRPr kumimoji="0" lang="en-US" sz="1000" b="0" i="0" u="none" strike="noStrike" kern="1200" cap="none" normalizeH="0" baseline="30000" dirty="0">
                        <a:ln>
                          <a:noFill/>
                        </a:ln>
                        <a:solidFill>
                          <a:schemeClr val="tx1"/>
                        </a:solidFill>
                        <a:effectLst/>
                        <a:latin typeface="Calibri" panose="020F0502020204030204" pitchFamily="34" charset="0"/>
                        <a:ea typeface="+mn-ea"/>
                        <a:cs typeface="+mn-cs"/>
                      </a:endParaRP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base" latinLnBrk="0" hangingPunct="1">
                        <a:lnSpc>
                          <a:spcPct val="100000"/>
                        </a:lnSpc>
                        <a:spcBef>
                          <a:spcPct val="35000"/>
                        </a:spcBef>
                        <a:spcAft>
                          <a:spcPts val="0"/>
                        </a:spcAft>
                        <a:buClr>
                          <a:schemeClr val="accent2"/>
                        </a:buClr>
                        <a:buSzTx/>
                        <a:buFont typeface="Wingdings" pitchFamily="2" charset="2"/>
                        <a:buNone/>
                        <a:tabLst/>
                        <a:defRPr/>
                      </a:pPr>
                      <a:r>
                        <a:rPr kumimoji="0" lang="en-US" sz="1000" b="0" u="none" strike="noStrike" kern="1200" cap="none" normalizeH="0" baseline="0" dirty="0">
                          <a:ln>
                            <a:noFill/>
                          </a:ln>
                          <a:solidFill>
                            <a:schemeClr val="tx1"/>
                          </a:solidFill>
                          <a:effectLst/>
                        </a:rPr>
                        <a:t>3.6</a:t>
                      </a:r>
                      <a:endParaRPr kumimoji="0" lang="en-US" sz="1000" b="0" i="0" u="none" strike="noStrike" kern="1200" cap="none" normalizeH="0" baseline="0" dirty="0">
                        <a:ln>
                          <a:noFill/>
                        </a:ln>
                        <a:solidFill>
                          <a:schemeClr val="tx1"/>
                        </a:solidFill>
                        <a:effectLst/>
                        <a:latin typeface="Calibri" panose="020F0502020204030204" pitchFamily="34" charset="0"/>
                        <a:ea typeface="+mn-ea"/>
                        <a:cs typeface="+mn-cs"/>
                      </a:endParaRP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4814739"/>
                  </a:ext>
                </a:extLst>
              </a:tr>
            </a:tbl>
          </a:graphicData>
        </a:graphic>
      </p:graphicFrame>
      <p:sp>
        <p:nvSpPr>
          <p:cNvPr id="21" name="Text Box 30">
            <a:extLst>
              <a:ext uri="{FF2B5EF4-FFF2-40B4-BE49-F238E27FC236}">
                <a16:creationId xmlns:a16="http://schemas.microsoft.com/office/drawing/2014/main" id="{90D2C0AA-E421-0221-625D-E3EFBDDFBE88}"/>
              </a:ext>
            </a:extLst>
          </p:cNvPr>
          <p:cNvSpPr txBox="1">
            <a:spLocks noChangeArrowheads="1"/>
          </p:cNvSpPr>
          <p:nvPr/>
        </p:nvSpPr>
        <p:spPr bwMode="auto">
          <a:xfrm>
            <a:off x="630346" y="3926266"/>
            <a:ext cx="3415359" cy="305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488" tIns="44450" rIns="90488" bIns="44450">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35000"/>
              </a:spcBef>
              <a:spcAft>
                <a:spcPct val="25000"/>
              </a:spcAft>
              <a:buClr>
                <a:schemeClr val="folHlink"/>
              </a:buClr>
              <a:buFont typeface="Arial" panose="020B0604020202020204" pitchFamily="34" charset="0"/>
              <a:buNone/>
            </a:pPr>
            <a:r>
              <a:rPr lang="en-US" altLang="en-US" sz="1000" b="0" dirty="0">
                <a:solidFill>
                  <a:schemeClr val="tx1"/>
                </a:solidFill>
                <a:latin typeface="Calibri" panose="020F0502020204030204" pitchFamily="34" charset="0"/>
              </a:rPr>
              <a:t>*Indicates patients with no change from baseline</a:t>
            </a:r>
            <a:r>
              <a:rPr lang="en-US" altLang="en-US" sz="1400" b="0" dirty="0">
                <a:solidFill>
                  <a:schemeClr val="bg1"/>
                </a:solidFill>
                <a:latin typeface="Calibri" panose="020F0502020204030204" pitchFamily="34" charset="0"/>
              </a:rPr>
              <a:t>.</a:t>
            </a:r>
            <a:endParaRPr lang="en-US" altLang="en-US" sz="1400" dirty="0">
              <a:solidFill>
                <a:schemeClr val="bg1"/>
              </a:solidFill>
              <a:latin typeface="Calibri" panose="020F0502020204030204" pitchFamily="34" charset="0"/>
            </a:endParaRPr>
          </a:p>
        </p:txBody>
      </p:sp>
      <p:sp>
        <p:nvSpPr>
          <p:cNvPr id="2" name="Text Box 15">
            <a:extLst>
              <a:ext uri="{FF2B5EF4-FFF2-40B4-BE49-F238E27FC236}">
                <a16:creationId xmlns:a16="http://schemas.microsoft.com/office/drawing/2014/main" id="{8DE056B8-FB71-46FD-9BE9-8DDA538B584F}"/>
              </a:ext>
            </a:extLst>
          </p:cNvPr>
          <p:cNvSpPr txBox="1">
            <a:spLocks noChangeArrowheads="1"/>
          </p:cNvSpPr>
          <p:nvPr/>
        </p:nvSpPr>
        <p:spPr bwMode="auto">
          <a:xfrm>
            <a:off x="6579574" y="4108670"/>
            <a:ext cx="2122021" cy="215444"/>
          </a:xfrm>
          <a:prstGeom prst="rect">
            <a:avLst/>
          </a:prstGeom>
          <a:noFill/>
          <a:ln>
            <a:noFill/>
          </a:ln>
        </p:spPr>
        <p:txBody>
          <a:bodyPr wrap="square" anchor="b">
            <a:spAutoFit/>
          </a:bodyPr>
          <a:lstStyle>
            <a:lvl1pPr>
              <a:defRPr b="1">
                <a:solidFill>
                  <a:schemeClr val="tx1"/>
                </a:solidFill>
                <a:latin typeface="Arial" charset="0"/>
              </a:defRPr>
            </a:lvl1pPr>
            <a:lvl2pPr marL="742950" indent="-285750">
              <a:defRPr b="1">
                <a:solidFill>
                  <a:schemeClr val="tx1"/>
                </a:solidFill>
                <a:latin typeface="Arial" charset="0"/>
              </a:defRPr>
            </a:lvl2pPr>
            <a:lvl3pPr marL="1143000" indent="-228600">
              <a:defRPr b="1">
                <a:solidFill>
                  <a:schemeClr val="tx1"/>
                </a:solidFill>
                <a:latin typeface="Arial" charset="0"/>
              </a:defRPr>
            </a:lvl3pPr>
            <a:lvl4pPr marL="1600200" indent="-228600">
              <a:defRPr b="1">
                <a:solidFill>
                  <a:schemeClr val="tx1"/>
                </a:solidFill>
                <a:latin typeface="Arial" charset="0"/>
              </a:defRPr>
            </a:lvl4pPr>
            <a:lvl5pPr marL="2057400" indent="-228600">
              <a:defRPr b="1">
                <a:solidFill>
                  <a:schemeClr val="tx1"/>
                </a:solidFill>
                <a:latin typeface="Arial" charset="0"/>
              </a:defRPr>
            </a:lvl5pPr>
            <a:lvl6pPr marL="2514600" indent="-228600" eaLnBrk="0" fontAlgn="base" hangingPunct="0">
              <a:spcBef>
                <a:spcPct val="0"/>
              </a:spcBef>
              <a:spcAft>
                <a:spcPct val="0"/>
              </a:spcAft>
              <a:defRPr b="1">
                <a:solidFill>
                  <a:schemeClr val="tx1"/>
                </a:solidFill>
                <a:latin typeface="Arial" charset="0"/>
              </a:defRPr>
            </a:lvl6pPr>
            <a:lvl7pPr marL="2971800" indent="-228600" eaLnBrk="0" fontAlgn="base" hangingPunct="0">
              <a:spcBef>
                <a:spcPct val="0"/>
              </a:spcBef>
              <a:spcAft>
                <a:spcPct val="0"/>
              </a:spcAft>
              <a:defRPr b="1">
                <a:solidFill>
                  <a:schemeClr val="tx1"/>
                </a:solidFill>
                <a:latin typeface="Arial" charset="0"/>
              </a:defRPr>
            </a:lvl7pPr>
            <a:lvl8pPr marL="3429000" indent="-228600" eaLnBrk="0" fontAlgn="base" hangingPunct="0">
              <a:spcBef>
                <a:spcPct val="0"/>
              </a:spcBef>
              <a:spcAft>
                <a:spcPct val="0"/>
              </a:spcAft>
              <a:defRPr b="1">
                <a:solidFill>
                  <a:schemeClr val="tx1"/>
                </a:solidFill>
                <a:latin typeface="Arial" charset="0"/>
              </a:defRPr>
            </a:lvl8pPr>
            <a:lvl9pPr marL="3886200" indent="-228600" eaLnBrk="0" fontAlgn="base" hangingPunct="0">
              <a:spcBef>
                <a:spcPct val="0"/>
              </a:spcBef>
              <a:spcAft>
                <a:spcPct val="0"/>
              </a:spcAft>
              <a:defRPr b="1">
                <a:solidFill>
                  <a:schemeClr val="tx1"/>
                </a:solidFill>
                <a:latin typeface="Arial" charset="0"/>
              </a:defRPr>
            </a:lvl9pPr>
          </a:lstStyle>
          <a:p>
            <a:pPr>
              <a:defRPr/>
            </a:pPr>
            <a:r>
              <a:rPr lang="en-US" altLang="en-US" sz="800" b="0" spc="-10" dirty="0">
                <a:solidFill>
                  <a:srgbClr val="455560"/>
                </a:solidFill>
                <a:latin typeface="Calibri" panose="020F0502020204030204" pitchFamily="34" charset="0"/>
                <a:ea typeface="+mn-ea"/>
                <a:cs typeface="Arial" panose="020B0604020202020204" pitchFamily="34" charset="0"/>
              </a:rPr>
              <a:t>Bardia. NEJM. 2021, 384:1529 </a:t>
            </a:r>
            <a:endParaRPr lang="en-US" altLang="en-US" sz="800" b="0" dirty="0">
              <a:solidFill>
                <a:srgbClr val="455560"/>
              </a:solidFill>
              <a:latin typeface="Calibri" panose="020F0502020204030204" pitchFamily="34" charset="0"/>
              <a:ea typeface="+mn-ea"/>
              <a:cs typeface="Arial" panose="020B0604020202020204" pitchFamily="34" charset="0"/>
            </a:endParaRPr>
          </a:p>
        </p:txBody>
      </p:sp>
      <p:sp>
        <p:nvSpPr>
          <p:cNvPr id="3" name="Rectangle: Rounded Corners 2">
            <a:extLst>
              <a:ext uri="{FF2B5EF4-FFF2-40B4-BE49-F238E27FC236}">
                <a16:creationId xmlns:a16="http://schemas.microsoft.com/office/drawing/2014/main" id="{275A09D9-58CA-C3CA-30A9-39247F6A5C78}"/>
              </a:ext>
            </a:extLst>
          </p:cNvPr>
          <p:cNvSpPr/>
          <p:nvPr/>
        </p:nvSpPr>
        <p:spPr bwMode="auto">
          <a:xfrm>
            <a:off x="6579573" y="1443176"/>
            <a:ext cx="2220423" cy="300904"/>
          </a:xfrm>
          <a:prstGeom prst="roundRect">
            <a:avLst/>
          </a:prstGeom>
          <a:noFill/>
          <a:ln w="3810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
        <p:nvSpPr>
          <p:cNvPr id="4" name="Rectangle: Rounded Corners 3">
            <a:extLst>
              <a:ext uri="{FF2B5EF4-FFF2-40B4-BE49-F238E27FC236}">
                <a16:creationId xmlns:a16="http://schemas.microsoft.com/office/drawing/2014/main" id="{CDB4C685-E55F-712C-2890-82D4C3061306}"/>
              </a:ext>
            </a:extLst>
          </p:cNvPr>
          <p:cNvSpPr/>
          <p:nvPr/>
        </p:nvSpPr>
        <p:spPr bwMode="auto">
          <a:xfrm>
            <a:off x="6579573" y="2239811"/>
            <a:ext cx="2220423" cy="300904"/>
          </a:xfrm>
          <a:prstGeom prst="roundRect">
            <a:avLst/>
          </a:prstGeom>
          <a:noFill/>
          <a:ln w="3810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Tree>
    <p:extLst>
      <p:ext uri="{BB962C8B-B14F-4D97-AF65-F5344CB8AC3E}">
        <p14:creationId xmlns:p14="http://schemas.microsoft.com/office/powerpoint/2010/main" val="4903680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Group 32">
            <a:extLst>
              <a:ext uri="{FF2B5EF4-FFF2-40B4-BE49-F238E27FC236}">
                <a16:creationId xmlns:a16="http://schemas.microsoft.com/office/drawing/2014/main" id="{386862BF-3D35-69F5-5816-13D152E4C0F0}"/>
              </a:ext>
            </a:extLst>
          </p:cNvPr>
          <p:cNvGraphicFramePr>
            <a:graphicFrameLocks noGrp="1"/>
          </p:cNvGraphicFramePr>
          <p:nvPr>
            <p:extLst>
              <p:ext uri="{D42A27DB-BD31-4B8C-83A1-F6EECF244321}">
                <p14:modId xmlns:p14="http://schemas.microsoft.com/office/powerpoint/2010/main" val="3414584921"/>
              </p:ext>
            </p:extLst>
          </p:nvPr>
        </p:nvGraphicFramePr>
        <p:xfrm>
          <a:off x="273437" y="635708"/>
          <a:ext cx="5377610" cy="3657840"/>
        </p:xfrm>
        <a:graphic>
          <a:graphicData uri="http://schemas.openxmlformats.org/drawingml/2006/table">
            <a:tbl>
              <a:tblPr/>
              <a:tblGrid>
                <a:gridCol w="1354778">
                  <a:extLst>
                    <a:ext uri="{9D8B030D-6E8A-4147-A177-3AD203B41FA5}">
                      <a16:colId xmlns:a16="http://schemas.microsoft.com/office/drawing/2014/main" val="20000"/>
                    </a:ext>
                  </a:extLst>
                </a:gridCol>
                <a:gridCol w="670472">
                  <a:extLst>
                    <a:ext uri="{9D8B030D-6E8A-4147-A177-3AD203B41FA5}">
                      <a16:colId xmlns:a16="http://schemas.microsoft.com/office/drawing/2014/main" val="20001"/>
                    </a:ext>
                  </a:extLst>
                </a:gridCol>
                <a:gridCol w="670472">
                  <a:extLst>
                    <a:ext uri="{9D8B030D-6E8A-4147-A177-3AD203B41FA5}">
                      <a16:colId xmlns:a16="http://schemas.microsoft.com/office/drawing/2014/main" val="1235170519"/>
                    </a:ext>
                  </a:extLst>
                </a:gridCol>
                <a:gridCol w="670472">
                  <a:extLst>
                    <a:ext uri="{9D8B030D-6E8A-4147-A177-3AD203B41FA5}">
                      <a16:colId xmlns:a16="http://schemas.microsoft.com/office/drawing/2014/main" val="2791846019"/>
                    </a:ext>
                  </a:extLst>
                </a:gridCol>
                <a:gridCol w="670472">
                  <a:extLst>
                    <a:ext uri="{9D8B030D-6E8A-4147-A177-3AD203B41FA5}">
                      <a16:colId xmlns:a16="http://schemas.microsoft.com/office/drawing/2014/main" val="20002"/>
                    </a:ext>
                  </a:extLst>
                </a:gridCol>
                <a:gridCol w="670472">
                  <a:extLst>
                    <a:ext uri="{9D8B030D-6E8A-4147-A177-3AD203B41FA5}">
                      <a16:colId xmlns:a16="http://schemas.microsoft.com/office/drawing/2014/main" val="1095671386"/>
                    </a:ext>
                  </a:extLst>
                </a:gridCol>
                <a:gridCol w="670472">
                  <a:extLst>
                    <a:ext uri="{9D8B030D-6E8A-4147-A177-3AD203B41FA5}">
                      <a16:colId xmlns:a16="http://schemas.microsoft.com/office/drawing/2014/main" val="3045077714"/>
                    </a:ext>
                  </a:extLst>
                </a:gridCol>
              </a:tblGrid>
              <a:tr h="223120">
                <a:tc rowSpan="2">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35000"/>
                        </a:spcBef>
                        <a:spcAft>
                          <a:spcPts val="0"/>
                        </a:spcAft>
                        <a:buClr>
                          <a:schemeClr val="accent2"/>
                        </a:buClr>
                        <a:buSzTx/>
                        <a:buFont typeface="Wingdings" pitchFamily="2" charset="2"/>
                        <a:buNone/>
                        <a:tabLst/>
                      </a:pPr>
                      <a:r>
                        <a:rPr kumimoji="0" lang="en-US" sz="1000" b="1" i="0" u="none" strike="noStrike" cap="none" normalizeH="0" baseline="0" dirty="0">
                          <a:ln>
                            <a:noFill/>
                          </a:ln>
                          <a:solidFill>
                            <a:schemeClr val="tx1"/>
                          </a:solidFill>
                          <a:effectLst/>
                          <a:latin typeface="Calibri" panose="020F0502020204030204" pitchFamily="34" charset="0"/>
                        </a:rPr>
                        <a:t>TRAEs, %</a:t>
                      </a: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75000"/>
                      </a:schemeClr>
                    </a:solidFill>
                  </a:tcPr>
                </a:tc>
                <a:tc gridSpan="3">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000" b="1" i="0" u="none" strike="noStrike" cap="none" normalizeH="0" baseline="0" dirty="0">
                          <a:ln>
                            <a:noFill/>
                          </a:ln>
                          <a:solidFill>
                            <a:schemeClr val="tx1"/>
                          </a:solidFill>
                          <a:effectLst/>
                          <a:latin typeface="Calibri" panose="020F0502020204030204" pitchFamily="34" charset="0"/>
                        </a:rPr>
                        <a:t>SG (n = 258)</a:t>
                      </a: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75000"/>
                      </a:schemeClr>
                    </a:solidFill>
                  </a:tcPr>
                </a:tc>
                <a:tc hMerge="1">
                  <a:txBody>
                    <a:bodyPr/>
                    <a:lstStyle/>
                    <a:p>
                      <a:endParaRPr lang="en-US"/>
                    </a:p>
                  </a:txBody>
                  <a:tcPr/>
                </a:tc>
                <a:tc hMerge="1">
                  <a:txBody>
                    <a:bodyPr/>
                    <a:lstStyle/>
                    <a:p>
                      <a:endParaRPr lang="en-US"/>
                    </a:p>
                  </a:txBody>
                  <a:tcPr/>
                </a:tc>
                <a:tc gridSpan="3">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ts val="0"/>
                        </a:spcAft>
                        <a:buClrTx/>
                        <a:buSzTx/>
                        <a:buFontTx/>
                        <a:buNone/>
                        <a:tabLst/>
                      </a:pPr>
                      <a:r>
                        <a:rPr kumimoji="0" lang="en-US" sz="1000" b="1" i="0" u="none" strike="noStrike" cap="none" normalizeH="0" baseline="0" dirty="0">
                          <a:ln>
                            <a:noFill/>
                          </a:ln>
                          <a:solidFill>
                            <a:schemeClr val="tx1"/>
                          </a:solidFill>
                          <a:effectLst/>
                          <a:latin typeface="Calibri" panose="020F0502020204030204" pitchFamily="34" charset="0"/>
                        </a:rPr>
                        <a:t>TPC (n = 224)</a:t>
                      </a: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75000"/>
                      </a:schemeClr>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223120">
                <a:tc vMerge="1">
                  <a:txBody>
                    <a:bodyPr/>
                    <a:lstStyle/>
                    <a:p>
                      <a:pPr marL="0" marR="0" lvl="0" indent="0" algn="l" defTabSz="914400" rtl="0" eaLnBrk="1" fontAlgn="base" latinLnBrk="0" hangingPunct="1">
                        <a:lnSpc>
                          <a:spcPct val="100000"/>
                        </a:lnSpc>
                        <a:spcBef>
                          <a:spcPct val="35000"/>
                        </a:spcBef>
                        <a:spcAft>
                          <a:spcPts val="0"/>
                        </a:spcAft>
                        <a:buClr>
                          <a:schemeClr val="accent2"/>
                        </a:buClr>
                        <a:buSzTx/>
                        <a:buFont typeface="Wingdings" pitchFamily="2" charset="2"/>
                        <a:buNone/>
                        <a:tabLst/>
                      </a:pPr>
                      <a:endParaRPr kumimoji="0" lang="en-US" sz="2000" b="1" i="0" u="none" strike="noStrike" cap="none" normalizeH="0" baseline="0" dirty="0">
                        <a:ln>
                          <a:noFill/>
                        </a:ln>
                        <a:solidFill>
                          <a:schemeClr val="tx1"/>
                        </a:solidFill>
                        <a:effectLst/>
                        <a:latin typeface="Calibri" panose="020F0502020204030204" pitchFamily="34" charset="0"/>
                      </a:endParaRP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6"/>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000" b="1" i="0" u="none" strike="noStrike" cap="none" normalizeH="0" baseline="0" dirty="0">
                          <a:ln>
                            <a:noFill/>
                          </a:ln>
                          <a:solidFill>
                            <a:schemeClr val="tx1"/>
                          </a:solidFill>
                          <a:effectLst/>
                          <a:latin typeface="Calibri" panose="020F0502020204030204" pitchFamily="34" charset="0"/>
                        </a:rPr>
                        <a:t>Any Gr</a:t>
                      </a: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lumMod val="40000"/>
                        <a:lumOff val="60000"/>
                      </a:schemeClr>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000" b="1" i="0" u="none" strike="noStrike" cap="none" normalizeH="0" baseline="0" dirty="0">
                          <a:ln>
                            <a:noFill/>
                          </a:ln>
                          <a:solidFill>
                            <a:schemeClr val="tx1"/>
                          </a:solidFill>
                          <a:effectLst/>
                          <a:latin typeface="Calibri" panose="020F0502020204030204" pitchFamily="34" charset="0"/>
                        </a:rPr>
                        <a:t>Gr 3</a:t>
                      </a: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lumMod val="40000"/>
                        <a:lumOff val="60000"/>
                      </a:schemeClr>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000" b="1" i="0" u="none" strike="noStrike" cap="none" normalizeH="0" baseline="0" dirty="0">
                          <a:ln>
                            <a:noFill/>
                          </a:ln>
                          <a:solidFill>
                            <a:schemeClr val="tx1"/>
                          </a:solidFill>
                          <a:effectLst/>
                          <a:latin typeface="Calibri" panose="020F0502020204030204" pitchFamily="34" charset="0"/>
                        </a:rPr>
                        <a:t>Gr 4</a:t>
                      </a: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lumMod val="40000"/>
                        <a:lumOff val="60000"/>
                      </a:schemeClr>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000" b="1" i="0" u="none" strike="noStrike" cap="none" normalizeH="0" baseline="0" dirty="0">
                          <a:ln>
                            <a:noFill/>
                          </a:ln>
                          <a:solidFill>
                            <a:schemeClr val="tx1"/>
                          </a:solidFill>
                          <a:effectLst/>
                          <a:latin typeface="Calibri" panose="020F0502020204030204" pitchFamily="34" charset="0"/>
                        </a:rPr>
                        <a:t>Any Gr</a:t>
                      </a: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lumMod val="40000"/>
                        <a:lumOff val="60000"/>
                      </a:schemeClr>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000" b="1" i="0" u="none" strike="noStrike" cap="none" normalizeH="0" baseline="0" dirty="0">
                          <a:ln>
                            <a:noFill/>
                          </a:ln>
                          <a:solidFill>
                            <a:schemeClr val="tx1"/>
                          </a:solidFill>
                          <a:effectLst/>
                          <a:latin typeface="Calibri" panose="020F0502020204030204" pitchFamily="34" charset="0"/>
                        </a:rPr>
                        <a:t>Gr 3</a:t>
                      </a: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lumMod val="40000"/>
                        <a:lumOff val="60000"/>
                      </a:schemeClr>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000" b="1" i="0" u="none" strike="noStrike" cap="none" normalizeH="0" baseline="0" dirty="0">
                          <a:ln>
                            <a:noFill/>
                          </a:ln>
                          <a:solidFill>
                            <a:schemeClr val="tx1"/>
                          </a:solidFill>
                          <a:effectLst/>
                          <a:latin typeface="Calibri" panose="020F0502020204030204" pitchFamily="34" charset="0"/>
                        </a:rPr>
                        <a:t>Gr 4</a:t>
                      </a: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lumMod val="40000"/>
                        <a:lumOff val="60000"/>
                      </a:schemeClr>
                    </a:solidFill>
                  </a:tcPr>
                </a:tc>
                <a:extLst>
                  <a:ext uri="{0D108BD9-81ED-4DB2-BD59-A6C34878D82A}">
                    <a16:rowId xmlns:a16="http://schemas.microsoft.com/office/drawing/2014/main" val="1207173991"/>
                  </a:ext>
                </a:extLst>
              </a:tr>
              <a:tr h="223120">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0"/>
                        </a:spcBef>
                        <a:spcAft>
                          <a:spcPts val="0"/>
                        </a:spcAft>
                        <a:buClrTx/>
                        <a:buSzTx/>
                        <a:buFontTx/>
                        <a:buNone/>
                        <a:tabLst/>
                      </a:pPr>
                      <a:r>
                        <a:rPr kumimoji="0" lang="en-US" sz="1000" b="0" i="0" u="none" strike="noStrike" cap="none" normalizeH="0" baseline="0" dirty="0">
                          <a:ln>
                            <a:noFill/>
                          </a:ln>
                          <a:solidFill>
                            <a:schemeClr val="bg2">
                              <a:lumMod val="10000"/>
                            </a:schemeClr>
                          </a:solidFill>
                          <a:effectLst/>
                          <a:latin typeface="Calibri" panose="020F0502020204030204" pitchFamily="34" charset="0"/>
                        </a:rPr>
                        <a:t>Neutropenia</a:t>
                      </a:r>
                    </a:p>
                  </a:txBody>
                  <a:tcPr marL="121881" marR="121881"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DCDCF"/>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35000"/>
                        </a:spcBef>
                        <a:spcAft>
                          <a:spcPts val="0"/>
                        </a:spcAft>
                        <a:buClr>
                          <a:schemeClr val="accent2"/>
                        </a:buClr>
                        <a:buSzTx/>
                        <a:buFont typeface="Wingdings" pitchFamily="2" charset="2"/>
                        <a:buNone/>
                        <a:tabLst/>
                      </a:pPr>
                      <a:r>
                        <a:rPr kumimoji="0" lang="en-US" sz="10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t>63</a:t>
                      </a: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DCDCF"/>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35000"/>
                        </a:spcBef>
                        <a:spcAft>
                          <a:spcPts val="0"/>
                        </a:spcAft>
                        <a:buClr>
                          <a:schemeClr val="accent2"/>
                        </a:buClr>
                        <a:buSzTx/>
                        <a:buFont typeface="Wingdings" pitchFamily="2" charset="2"/>
                        <a:buNone/>
                        <a:tabLst/>
                      </a:pPr>
                      <a:r>
                        <a:rPr kumimoji="0" lang="en-US" sz="10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t>34</a:t>
                      </a: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DCDCF"/>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35000"/>
                        </a:spcBef>
                        <a:spcAft>
                          <a:spcPts val="0"/>
                        </a:spcAft>
                        <a:buClr>
                          <a:schemeClr val="accent2"/>
                        </a:buClr>
                        <a:buSzTx/>
                        <a:buFont typeface="Wingdings" pitchFamily="2" charset="2"/>
                        <a:buNone/>
                        <a:tabLst/>
                      </a:pPr>
                      <a:r>
                        <a:rPr kumimoji="0" lang="en-US" sz="10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t>17</a:t>
                      </a: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DCDCF"/>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35000"/>
                        </a:spcBef>
                        <a:spcAft>
                          <a:spcPts val="0"/>
                        </a:spcAft>
                        <a:buClr>
                          <a:schemeClr val="accent2"/>
                        </a:buClr>
                        <a:buSzTx/>
                        <a:buFont typeface="Wingdings" pitchFamily="2" charset="2"/>
                        <a:buNone/>
                        <a:tabLst/>
                      </a:pPr>
                      <a:r>
                        <a:rPr kumimoji="0" lang="en-US" sz="10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t>43</a:t>
                      </a: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DCDCF"/>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35000"/>
                        </a:spcBef>
                        <a:spcAft>
                          <a:spcPts val="0"/>
                        </a:spcAft>
                        <a:buClr>
                          <a:schemeClr val="accent2"/>
                        </a:buClr>
                        <a:buSzTx/>
                        <a:buFont typeface="Wingdings" pitchFamily="2" charset="2"/>
                        <a:buNone/>
                        <a:tabLst/>
                      </a:pPr>
                      <a:r>
                        <a:rPr kumimoji="0" lang="en-US" sz="10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t>20</a:t>
                      </a: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DCDCF"/>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35000"/>
                        </a:spcBef>
                        <a:spcAft>
                          <a:spcPts val="0"/>
                        </a:spcAft>
                        <a:buClr>
                          <a:schemeClr val="accent2"/>
                        </a:buClr>
                        <a:buSzTx/>
                        <a:buFont typeface="Wingdings" pitchFamily="2" charset="2"/>
                        <a:buNone/>
                        <a:tabLst/>
                      </a:pPr>
                      <a:r>
                        <a:rPr kumimoji="0" lang="en-US" sz="10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t>13</a:t>
                      </a: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DCDCF"/>
                    </a:solidFill>
                  </a:tcPr>
                </a:tc>
                <a:extLst>
                  <a:ext uri="{0D108BD9-81ED-4DB2-BD59-A6C34878D82A}">
                    <a16:rowId xmlns:a16="http://schemas.microsoft.com/office/drawing/2014/main" val="10001"/>
                  </a:ext>
                </a:extLst>
              </a:tr>
              <a:tr h="223120">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35000"/>
                        </a:spcBef>
                        <a:spcAft>
                          <a:spcPts val="0"/>
                        </a:spcAft>
                        <a:buClr>
                          <a:schemeClr val="accent2"/>
                        </a:buClr>
                        <a:buSzTx/>
                        <a:buFont typeface="Wingdings" pitchFamily="2" charset="2"/>
                        <a:buNone/>
                        <a:tabLst/>
                      </a:pPr>
                      <a:r>
                        <a:rPr kumimoji="0" lang="en-US" sz="1000" b="0" i="0" u="none" strike="noStrike" cap="none" normalizeH="0" baseline="0" dirty="0">
                          <a:ln>
                            <a:noFill/>
                          </a:ln>
                          <a:solidFill>
                            <a:schemeClr val="bg2">
                              <a:lumMod val="10000"/>
                            </a:schemeClr>
                          </a:solidFill>
                          <a:effectLst/>
                          <a:latin typeface="Calibri" panose="020F0502020204030204" pitchFamily="34" charset="0"/>
                        </a:rPr>
                        <a:t>Anemia</a:t>
                      </a:r>
                    </a:p>
                  </a:txBody>
                  <a:tcPr marL="121881" marR="121881"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lumMod val="95000"/>
                      </a:srgbClr>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35000"/>
                        </a:spcBef>
                        <a:spcAft>
                          <a:spcPts val="0"/>
                        </a:spcAft>
                        <a:buClr>
                          <a:schemeClr val="accent2"/>
                        </a:buClr>
                        <a:buSzTx/>
                        <a:buFont typeface="Wingdings" pitchFamily="2" charset="2"/>
                        <a:buNone/>
                        <a:tabLst/>
                      </a:pPr>
                      <a:r>
                        <a:rPr kumimoji="0" lang="en-US" sz="1000" b="0" i="0" u="none" strike="noStrike" cap="none" normalizeH="0" baseline="0" dirty="0">
                          <a:ln>
                            <a:noFill/>
                          </a:ln>
                          <a:solidFill>
                            <a:schemeClr val="bg2">
                              <a:lumMod val="10000"/>
                            </a:schemeClr>
                          </a:solidFill>
                          <a:effectLst/>
                          <a:latin typeface="Calibri" panose="020F0502020204030204" pitchFamily="34" charset="0"/>
                        </a:rPr>
                        <a:t>34</a:t>
                      </a: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lumMod val="95000"/>
                      </a:srgbClr>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35000"/>
                        </a:spcBef>
                        <a:spcAft>
                          <a:spcPts val="0"/>
                        </a:spcAft>
                        <a:buClr>
                          <a:schemeClr val="accent2"/>
                        </a:buClr>
                        <a:buSzTx/>
                        <a:buFont typeface="Wingdings" pitchFamily="2" charset="2"/>
                        <a:buNone/>
                        <a:tabLst/>
                      </a:pPr>
                      <a:r>
                        <a:rPr kumimoji="0" lang="en-US" sz="1000" b="0" i="0" u="none" strike="noStrike" cap="none" normalizeH="0" baseline="0" dirty="0">
                          <a:ln>
                            <a:noFill/>
                          </a:ln>
                          <a:solidFill>
                            <a:schemeClr val="bg2">
                              <a:lumMod val="10000"/>
                            </a:schemeClr>
                          </a:solidFill>
                          <a:effectLst/>
                          <a:latin typeface="Calibri" panose="020F0502020204030204" pitchFamily="34" charset="0"/>
                        </a:rPr>
                        <a:t>8</a:t>
                      </a: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lumMod val="95000"/>
                      </a:srgbClr>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35000"/>
                        </a:spcBef>
                        <a:spcAft>
                          <a:spcPts val="0"/>
                        </a:spcAft>
                        <a:buClr>
                          <a:schemeClr val="accent2"/>
                        </a:buClr>
                        <a:buSzTx/>
                        <a:buFont typeface="Wingdings" pitchFamily="2" charset="2"/>
                        <a:buNone/>
                        <a:tabLst/>
                      </a:pPr>
                      <a:r>
                        <a:rPr kumimoji="0" lang="en-US" sz="1000" b="0" i="0" u="none" strike="noStrike" cap="none" normalizeH="0" baseline="0" dirty="0">
                          <a:ln>
                            <a:noFill/>
                          </a:ln>
                          <a:solidFill>
                            <a:schemeClr val="bg2">
                              <a:lumMod val="10000"/>
                            </a:schemeClr>
                          </a:solidFill>
                          <a:effectLst/>
                          <a:latin typeface="Calibri" panose="020F0502020204030204" pitchFamily="34" charset="0"/>
                        </a:rPr>
                        <a:t>0</a:t>
                      </a: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lumMod val="95000"/>
                      </a:srgbClr>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35000"/>
                        </a:spcBef>
                        <a:spcAft>
                          <a:spcPts val="0"/>
                        </a:spcAft>
                        <a:buClr>
                          <a:schemeClr val="accent2"/>
                        </a:buClr>
                        <a:buSzTx/>
                        <a:buFont typeface="Wingdings" pitchFamily="2" charset="2"/>
                        <a:buNone/>
                        <a:tabLst/>
                      </a:pPr>
                      <a:r>
                        <a:rPr kumimoji="0" lang="en-US" sz="1000" b="0" i="0" u="none" strike="noStrike" cap="none" normalizeH="0" baseline="0" dirty="0">
                          <a:ln>
                            <a:noFill/>
                          </a:ln>
                          <a:solidFill>
                            <a:schemeClr val="bg2">
                              <a:lumMod val="10000"/>
                            </a:schemeClr>
                          </a:solidFill>
                          <a:effectLst/>
                          <a:latin typeface="Calibri" panose="020F0502020204030204" pitchFamily="34" charset="0"/>
                        </a:rPr>
                        <a:t>24</a:t>
                      </a: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lumMod val="95000"/>
                      </a:srgbClr>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35000"/>
                        </a:spcBef>
                        <a:spcAft>
                          <a:spcPts val="0"/>
                        </a:spcAft>
                        <a:buClr>
                          <a:schemeClr val="accent2"/>
                        </a:buClr>
                        <a:buSzTx/>
                        <a:buFont typeface="Wingdings" pitchFamily="2" charset="2"/>
                        <a:buNone/>
                        <a:tabLst/>
                      </a:pPr>
                      <a:r>
                        <a:rPr kumimoji="0" lang="en-US" sz="1000" b="0" i="0" u="none" strike="noStrike" cap="none" normalizeH="0" baseline="0" dirty="0">
                          <a:ln>
                            <a:noFill/>
                          </a:ln>
                          <a:solidFill>
                            <a:schemeClr val="bg2">
                              <a:lumMod val="10000"/>
                            </a:schemeClr>
                          </a:solidFill>
                          <a:effectLst/>
                          <a:latin typeface="Calibri" panose="020F0502020204030204" pitchFamily="34" charset="0"/>
                        </a:rPr>
                        <a:t>5</a:t>
                      </a: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lumMod val="95000"/>
                      </a:srgbClr>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35000"/>
                        </a:spcBef>
                        <a:spcAft>
                          <a:spcPts val="0"/>
                        </a:spcAft>
                        <a:buClr>
                          <a:schemeClr val="accent2"/>
                        </a:buClr>
                        <a:buSzTx/>
                        <a:buFont typeface="Wingdings" pitchFamily="2" charset="2"/>
                        <a:buNone/>
                        <a:tabLst/>
                      </a:pPr>
                      <a:r>
                        <a:rPr kumimoji="0" lang="en-US" sz="1000" b="0" i="0" u="none" strike="noStrike" cap="none" normalizeH="0" baseline="0" dirty="0">
                          <a:ln>
                            <a:noFill/>
                          </a:ln>
                          <a:solidFill>
                            <a:schemeClr val="bg2">
                              <a:lumMod val="10000"/>
                            </a:schemeClr>
                          </a:solidFill>
                          <a:effectLst/>
                          <a:latin typeface="Calibri" panose="020F0502020204030204" pitchFamily="34" charset="0"/>
                        </a:rPr>
                        <a:t>0</a:t>
                      </a: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lumMod val="95000"/>
                      </a:srgbClr>
                    </a:solidFill>
                  </a:tcPr>
                </a:tc>
                <a:extLst>
                  <a:ext uri="{0D108BD9-81ED-4DB2-BD59-A6C34878D82A}">
                    <a16:rowId xmlns:a16="http://schemas.microsoft.com/office/drawing/2014/main" val="10002"/>
                  </a:ext>
                </a:extLst>
              </a:tr>
              <a:tr h="223120">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0"/>
                        </a:spcBef>
                        <a:spcAft>
                          <a:spcPts val="0"/>
                        </a:spcAft>
                        <a:buClrTx/>
                        <a:buSzTx/>
                        <a:buFontTx/>
                        <a:buNone/>
                        <a:tabLst/>
                      </a:pPr>
                      <a:r>
                        <a:rPr kumimoji="0" lang="en-US" sz="1000" b="0" i="0" u="none" strike="noStrike" cap="none" normalizeH="0" baseline="0" dirty="0">
                          <a:ln>
                            <a:noFill/>
                          </a:ln>
                          <a:solidFill>
                            <a:schemeClr val="bg2">
                              <a:lumMod val="10000"/>
                            </a:schemeClr>
                          </a:solidFill>
                          <a:effectLst/>
                          <a:latin typeface="Calibri" panose="020F0502020204030204" pitchFamily="34" charset="0"/>
                        </a:rPr>
                        <a:t>Leukopenia</a:t>
                      </a:r>
                    </a:p>
                  </a:txBody>
                  <a:tcPr marL="121881" marR="121881"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DCDCF"/>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35000"/>
                        </a:spcBef>
                        <a:spcAft>
                          <a:spcPts val="0"/>
                        </a:spcAft>
                        <a:buClr>
                          <a:schemeClr val="accent2"/>
                        </a:buClr>
                        <a:buSzTx/>
                        <a:buFont typeface="Wingdings" pitchFamily="2" charset="2"/>
                        <a:buNone/>
                        <a:tabLst/>
                      </a:pPr>
                      <a:r>
                        <a:rPr kumimoji="0" lang="en-US" sz="1000" b="0" i="0" u="none" strike="noStrike" cap="none" normalizeH="0" baseline="0" dirty="0">
                          <a:ln>
                            <a:noFill/>
                          </a:ln>
                          <a:solidFill>
                            <a:schemeClr val="bg2">
                              <a:lumMod val="10000"/>
                            </a:schemeClr>
                          </a:solidFill>
                          <a:effectLst/>
                          <a:latin typeface="Calibri" panose="020F0502020204030204" pitchFamily="34" charset="0"/>
                        </a:rPr>
                        <a:t>16</a:t>
                      </a: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DCDCF"/>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35000"/>
                        </a:spcBef>
                        <a:spcAft>
                          <a:spcPts val="0"/>
                        </a:spcAft>
                        <a:buClr>
                          <a:schemeClr val="accent2"/>
                        </a:buClr>
                        <a:buSzTx/>
                        <a:buFont typeface="Wingdings" pitchFamily="2" charset="2"/>
                        <a:buNone/>
                        <a:tabLst/>
                      </a:pPr>
                      <a:r>
                        <a:rPr kumimoji="0" lang="en-US" sz="1000" b="0" i="0" u="none" strike="noStrike" cap="none" normalizeH="0" baseline="0" dirty="0">
                          <a:ln>
                            <a:noFill/>
                          </a:ln>
                          <a:solidFill>
                            <a:schemeClr val="bg2">
                              <a:lumMod val="10000"/>
                            </a:schemeClr>
                          </a:solidFill>
                          <a:effectLst/>
                          <a:latin typeface="Calibri" panose="020F0502020204030204" pitchFamily="34" charset="0"/>
                        </a:rPr>
                        <a:t>9</a:t>
                      </a: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DCDCF"/>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35000"/>
                        </a:spcBef>
                        <a:spcAft>
                          <a:spcPts val="0"/>
                        </a:spcAft>
                        <a:buClr>
                          <a:schemeClr val="accent2"/>
                        </a:buClr>
                        <a:buSzTx/>
                        <a:buFont typeface="Wingdings" pitchFamily="2" charset="2"/>
                        <a:buNone/>
                        <a:tabLst/>
                      </a:pPr>
                      <a:r>
                        <a:rPr kumimoji="0" lang="en-US" sz="1000" b="0" i="0" u="none" strike="noStrike" cap="none" normalizeH="0" baseline="0" dirty="0">
                          <a:ln>
                            <a:noFill/>
                          </a:ln>
                          <a:solidFill>
                            <a:schemeClr val="bg2">
                              <a:lumMod val="10000"/>
                            </a:schemeClr>
                          </a:solidFill>
                          <a:effectLst/>
                          <a:latin typeface="Calibri" panose="020F0502020204030204" pitchFamily="34" charset="0"/>
                        </a:rPr>
                        <a:t>1</a:t>
                      </a: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DCDCF"/>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35000"/>
                        </a:spcBef>
                        <a:spcAft>
                          <a:spcPts val="0"/>
                        </a:spcAft>
                        <a:buClr>
                          <a:schemeClr val="accent2"/>
                        </a:buClr>
                        <a:buSzTx/>
                        <a:buFont typeface="Wingdings" pitchFamily="2" charset="2"/>
                        <a:buNone/>
                        <a:tabLst/>
                      </a:pPr>
                      <a:r>
                        <a:rPr kumimoji="0" lang="en-US" sz="1000" b="0" i="0" u="none" strike="noStrike" cap="none" normalizeH="0" baseline="0" dirty="0">
                          <a:ln>
                            <a:noFill/>
                          </a:ln>
                          <a:solidFill>
                            <a:schemeClr val="bg2">
                              <a:lumMod val="10000"/>
                            </a:schemeClr>
                          </a:solidFill>
                          <a:effectLst/>
                          <a:latin typeface="Calibri" panose="020F0502020204030204" pitchFamily="34" charset="0"/>
                        </a:rPr>
                        <a:t>11</a:t>
                      </a: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DCDCF"/>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35000"/>
                        </a:spcBef>
                        <a:spcAft>
                          <a:spcPts val="0"/>
                        </a:spcAft>
                        <a:buClr>
                          <a:schemeClr val="accent2"/>
                        </a:buClr>
                        <a:buSzTx/>
                        <a:buFont typeface="Wingdings" pitchFamily="2" charset="2"/>
                        <a:buNone/>
                        <a:tabLst/>
                      </a:pPr>
                      <a:r>
                        <a:rPr kumimoji="0" lang="en-US" sz="1000" b="0" i="0" u="none" strike="noStrike" cap="none" normalizeH="0" baseline="0" dirty="0">
                          <a:ln>
                            <a:noFill/>
                          </a:ln>
                          <a:solidFill>
                            <a:schemeClr val="bg2">
                              <a:lumMod val="10000"/>
                            </a:schemeClr>
                          </a:solidFill>
                          <a:effectLst/>
                          <a:latin typeface="Calibri" panose="020F0502020204030204" pitchFamily="34" charset="0"/>
                        </a:rPr>
                        <a:t>4</a:t>
                      </a: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DCDCF"/>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35000"/>
                        </a:spcBef>
                        <a:spcAft>
                          <a:spcPts val="0"/>
                        </a:spcAft>
                        <a:buClr>
                          <a:schemeClr val="accent2"/>
                        </a:buClr>
                        <a:buSzTx/>
                        <a:buFont typeface="Wingdings" pitchFamily="2" charset="2"/>
                        <a:buNone/>
                        <a:tabLst/>
                      </a:pPr>
                      <a:r>
                        <a:rPr kumimoji="0" lang="en-US" sz="1000" b="0" i="0" u="none" strike="noStrike" cap="none" normalizeH="0" baseline="0" dirty="0">
                          <a:ln>
                            <a:noFill/>
                          </a:ln>
                          <a:solidFill>
                            <a:schemeClr val="bg2">
                              <a:lumMod val="10000"/>
                            </a:schemeClr>
                          </a:solidFill>
                          <a:effectLst/>
                          <a:latin typeface="Calibri" panose="020F0502020204030204" pitchFamily="34" charset="0"/>
                        </a:rPr>
                        <a:t>1</a:t>
                      </a: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DCDCF"/>
                    </a:solidFill>
                  </a:tcPr>
                </a:tc>
                <a:extLst>
                  <a:ext uri="{0D108BD9-81ED-4DB2-BD59-A6C34878D82A}">
                    <a16:rowId xmlns:a16="http://schemas.microsoft.com/office/drawing/2014/main" val="10003"/>
                  </a:ext>
                </a:extLst>
              </a:tr>
              <a:tr h="223120">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35000"/>
                        </a:spcBef>
                        <a:spcAft>
                          <a:spcPts val="0"/>
                        </a:spcAft>
                        <a:buClr>
                          <a:schemeClr val="accent2"/>
                        </a:buClr>
                        <a:buSzTx/>
                        <a:buFont typeface="Wingdings" pitchFamily="2" charset="2"/>
                        <a:buNone/>
                        <a:tabLst/>
                      </a:pPr>
                      <a:r>
                        <a:rPr kumimoji="0" lang="en-US" sz="1000" b="0" i="0" u="none" strike="noStrike" cap="none" normalizeH="0" baseline="0" dirty="0">
                          <a:ln>
                            <a:noFill/>
                          </a:ln>
                          <a:solidFill>
                            <a:schemeClr val="bg2">
                              <a:lumMod val="10000"/>
                            </a:schemeClr>
                          </a:solidFill>
                          <a:effectLst/>
                          <a:latin typeface="Calibri" panose="020F0502020204030204" pitchFamily="34" charset="0"/>
                        </a:rPr>
                        <a:t>Thrombocytopenia</a:t>
                      </a:r>
                    </a:p>
                  </a:txBody>
                  <a:tcPr marL="121881" marR="121881"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lumMod val="95000"/>
                      </a:srgbClr>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35000"/>
                        </a:spcBef>
                        <a:spcAft>
                          <a:spcPts val="0"/>
                        </a:spcAft>
                        <a:buClr>
                          <a:schemeClr val="accent2"/>
                        </a:buClr>
                        <a:buSzTx/>
                        <a:buFont typeface="Wingdings" pitchFamily="2" charset="2"/>
                        <a:buNone/>
                        <a:tabLst/>
                      </a:pPr>
                      <a:r>
                        <a:rPr kumimoji="0" lang="en-US" sz="1000" b="0" i="0" u="none" strike="noStrike" cap="none" normalizeH="0" baseline="0" dirty="0">
                          <a:ln>
                            <a:noFill/>
                          </a:ln>
                          <a:solidFill>
                            <a:schemeClr val="bg2">
                              <a:lumMod val="10000"/>
                            </a:schemeClr>
                          </a:solidFill>
                          <a:effectLst/>
                          <a:latin typeface="Calibri" panose="020F0502020204030204" pitchFamily="34" charset="0"/>
                        </a:rPr>
                        <a:t>5</a:t>
                      </a: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lumMod val="95000"/>
                      </a:srgbClr>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35000"/>
                        </a:spcBef>
                        <a:spcAft>
                          <a:spcPts val="0"/>
                        </a:spcAft>
                        <a:buClr>
                          <a:schemeClr val="accent2"/>
                        </a:buClr>
                        <a:buSzTx/>
                        <a:buFont typeface="Wingdings" pitchFamily="2" charset="2"/>
                        <a:buNone/>
                        <a:tabLst/>
                      </a:pPr>
                      <a:r>
                        <a:rPr kumimoji="0" lang="en-US" sz="1000" b="0" i="0" u="none" strike="noStrike" cap="none" normalizeH="0" baseline="0" dirty="0">
                          <a:ln>
                            <a:noFill/>
                          </a:ln>
                          <a:solidFill>
                            <a:schemeClr val="bg2">
                              <a:lumMod val="10000"/>
                            </a:schemeClr>
                          </a:solidFill>
                          <a:effectLst/>
                          <a:latin typeface="Calibri" panose="020F0502020204030204" pitchFamily="34" charset="0"/>
                        </a:rPr>
                        <a:t>1</a:t>
                      </a: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lumMod val="95000"/>
                      </a:srgbClr>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35000"/>
                        </a:spcBef>
                        <a:spcAft>
                          <a:spcPts val="0"/>
                        </a:spcAft>
                        <a:buClr>
                          <a:schemeClr val="accent2"/>
                        </a:buClr>
                        <a:buSzTx/>
                        <a:buFont typeface="Wingdings" pitchFamily="2" charset="2"/>
                        <a:buNone/>
                        <a:tabLst/>
                      </a:pPr>
                      <a:r>
                        <a:rPr kumimoji="0" lang="en-US" sz="1000" b="0" i="0" u="none" strike="noStrike" cap="none" normalizeH="0" baseline="0" dirty="0">
                          <a:ln>
                            <a:noFill/>
                          </a:ln>
                          <a:solidFill>
                            <a:schemeClr val="bg2">
                              <a:lumMod val="10000"/>
                            </a:schemeClr>
                          </a:solidFill>
                          <a:effectLst/>
                          <a:latin typeface="Calibri" panose="020F0502020204030204" pitchFamily="34" charset="0"/>
                        </a:rPr>
                        <a:t>1</a:t>
                      </a: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lumMod val="95000"/>
                      </a:srgbClr>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35000"/>
                        </a:spcBef>
                        <a:spcAft>
                          <a:spcPts val="0"/>
                        </a:spcAft>
                        <a:buClr>
                          <a:schemeClr val="accent2"/>
                        </a:buClr>
                        <a:buSzTx/>
                        <a:buFont typeface="Wingdings" pitchFamily="2" charset="2"/>
                        <a:buNone/>
                        <a:tabLst/>
                      </a:pPr>
                      <a:r>
                        <a:rPr kumimoji="0" lang="en-US" sz="1000" b="0" i="0" u="none" strike="noStrike" cap="none" normalizeH="0" baseline="0" dirty="0">
                          <a:ln>
                            <a:noFill/>
                          </a:ln>
                          <a:solidFill>
                            <a:schemeClr val="bg2">
                              <a:lumMod val="10000"/>
                            </a:schemeClr>
                          </a:solidFill>
                          <a:effectLst/>
                          <a:latin typeface="Calibri" panose="020F0502020204030204" pitchFamily="34" charset="0"/>
                        </a:rPr>
                        <a:t>11</a:t>
                      </a: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lumMod val="95000"/>
                      </a:srgbClr>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35000"/>
                        </a:spcBef>
                        <a:spcAft>
                          <a:spcPts val="0"/>
                        </a:spcAft>
                        <a:buClr>
                          <a:schemeClr val="accent2"/>
                        </a:buClr>
                        <a:buSzTx/>
                        <a:buFont typeface="Wingdings" pitchFamily="2" charset="2"/>
                        <a:buNone/>
                        <a:tabLst/>
                      </a:pPr>
                      <a:r>
                        <a:rPr kumimoji="0" lang="en-US" sz="1000" b="0" i="0" u="none" strike="noStrike" cap="none" normalizeH="0" baseline="0" dirty="0">
                          <a:ln>
                            <a:noFill/>
                          </a:ln>
                          <a:solidFill>
                            <a:schemeClr val="bg2">
                              <a:lumMod val="10000"/>
                            </a:schemeClr>
                          </a:solidFill>
                          <a:effectLst/>
                          <a:latin typeface="Calibri" panose="020F0502020204030204" pitchFamily="34" charset="0"/>
                        </a:rPr>
                        <a:t>1</a:t>
                      </a: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lumMod val="95000"/>
                      </a:srgbClr>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35000"/>
                        </a:spcBef>
                        <a:spcAft>
                          <a:spcPts val="0"/>
                        </a:spcAft>
                        <a:buClr>
                          <a:schemeClr val="accent2"/>
                        </a:buClr>
                        <a:buSzTx/>
                        <a:buFont typeface="Wingdings" pitchFamily="2" charset="2"/>
                        <a:buNone/>
                        <a:tabLst/>
                      </a:pPr>
                      <a:r>
                        <a:rPr kumimoji="0" lang="en-US" sz="1000" b="0" i="0" u="none" strike="noStrike" cap="none" normalizeH="0" baseline="0" dirty="0">
                          <a:ln>
                            <a:noFill/>
                          </a:ln>
                          <a:solidFill>
                            <a:schemeClr val="bg2">
                              <a:lumMod val="10000"/>
                            </a:schemeClr>
                          </a:solidFill>
                          <a:effectLst/>
                          <a:latin typeface="Calibri" panose="020F0502020204030204" pitchFamily="34" charset="0"/>
                        </a:rPr>
                        <a:t>0</a:t>
                      </a: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lumMod val="95000"/>
                      </a:srgbClr>
                    </a:solidFill>
                  </a:tcPr>
                </a:tc>
                <a:extLst>
                  <a:ext uri="{0D108BD9-81ED-4DB2-BD59-A6C34878D82A}">
                    <a16:rowId xmlns:a16="http://schemas.microsoft.com/office/drawing/2014/main" val="10004"/>
                  </a:ext>
                </a:extLst>
              </a:tr>
              <a:tr h="223120">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35000"/>
                        </a:spcBef>
                        <a:spcAft>
                          <a:spcPts val="0"/>
                        </a:spcAft>
                        <a:buClr>
                          <a:schemeClr val="accent2"/>
                        </a:buClr>
                        <a:buSzTx/>
                        <a:buFont typeface="Wingdings" pitchFamily="2" charset="2"/>
                        <a:buNone/>
                        <a:tabLst/>
                      </a:pPr>
                      <a:r>
                        <a:rPr kumimoji="0" lang="en-US" sz="1000" b="0" i="0" u="none" strike="noStrike" cap="none" normalizeH="0" baseline="0" dirty="0">
                          <a:ln>
                            <a:noFill/>
                          </a:ln>
                          <a:solidFill>
                            <a:schemeClr val="bg2">
                              <a:lumMod val="10000"/>
                            </a:schemeClr>
                          </a:solidFill>
                          <a:effectLst/>
                          <a:latin typeface="Calibri" panose="020F0502020204030204" pitchFamily="34" charset="0"/>
                        </a:rPr>
                        <a:t>Febrile neutropenia</a:t>
                      </a:r>
                    </a:p>
                  </a:txBody>
                  <a:tcPr marL="121881" marR="121881"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DCDCF"/>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35000"/>
                        </a:spcBef>
                        <a:spcAft>
                          <a:spcPts val="0"/>
                        </a:spcAft>
                        <a:buClr>
                          <a:schemeClr val="accent2"/>
                        </a:buClr>
                        <a:buSzTx/>
                        <a:buFont typeface="Wingdings" pitchFamily="2" charset="2"/>
                        <a:buNone/>
                        <a:tabLst/>
                      </a:pPr>
                      <a:r>
                        <a:rPr kumimoji="0" lang="en-US" sz="1000" b="0" i="0" u="none" strike="noStrike" cap="none" normalizeH="0" baseline="0" dirty="0">
                          <a:ln>
                            <a:noFill/>
                          </a:ln>
                          <a:solidFill>
                            <a:schemeClr val="bg2">
                              <a:lumMod val="10000"/>
                            </a:schemeClr>
                          </a:solidFill>
                          <a:effectLst/>
                          <a:latin typeface="Calibri" panose="020F0502020204030204" pitchFamily="34" charset="0"/>
                        </a:rPr>
                        <a:t>6</a:t>
                      </a: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DCDCF"/>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35000"/>
                        </a:spcBef>
                        <a:spcAft>
                          <a:spcPts val="0"/>
                        </a:spcAft>
                        <a:buClr>
                          <a:schemeClr val="accent2"/>
                        </a:buClr>
                        <a:buSzTx/>
                        <a:buFont typeface="Wingdings" pitchFamily="2" charset="2"/>
                        <a:buNone/>
                        <a:tabLst/>
                      </a:pPr>
                      <a:r>
                        <a:rPr kumimoji="0" lang="en-US" sz="1000" b="0" i="0" u="none" strike="noStrike" cap="none" normalizeH="0" baseline="0" dirty="0">
                          <a:ln>
                            <a:noFill/>
                          </a:ln>
                          <a:solidFill>
                            <a:schemeClr val="bg2">
                              <a:lumMod val="10000"/>
                            </a:schemeClr>
                          </a:solidFill>
                          <a:effectLst/>
                          <a:latin typeface="Calibri" panose="020F0502020204030204" pitchFamily="34" charset="0"/>
                        </a:rPr>
                        <a:t>5</a:t>
                      </a: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DCDCF"/>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35000"/>
                        </a:spcBef>
                        <a:spcAft>
                          <a:spcPts val="0"/>
                        </a:spcAft>
                        <a:buClr>
                          <a:schemeClr val="accent2"/>
                        </a:buClr>
                        <a:buSzTx/>
                        <a:buFont typeface="Wingdings" pitchFamily="2" charset="2"/>
                        <a:buNone/>
                        <a:tabLst/>
                      </a:pPr>
                      <a:r>
                        <a:rPr kumimoji="0" lang="en-US" sz="1000" b="0" i="0" u="none" strike="noStrike" cap="none" normalizeH="0" baseline="0" dirty="0">
                          <a:ln>
                            <a:noFill/>
                          </a:ln>
                          <a:solidFill>
                            <a:schemeClr val="bg2">
                              <a:lumMod val="10000"/>
                            </a:schemeClr>
                          </a:solidFill>
                          <a:effectLst/>
                          <a:latin typeface="Calibri" panose="020F0502020204030204" pitchFamily="34" charset="0"/>
                        </a:rPr>
                        <a:t>1</a:t>
                      </a: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DCDCF"/>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35000"/>
                        </a:spcBef>
                        <a:spcAft>
                          <a:spcPts val="0"/>
                        </a:spcAft>
                        <a:buClr>
                          <a:schemeClr val="accent2"/>
                        </a:buClr>
                        <a:buSzTx/>
                        <a:buFont typeface="Wingdings" pitchFamily="2" charset="2"/>
                        <a:buNone/>
                        <a:tabLst/>
                      </a:pPr>
                      <a:r>
                        <a:rPr kumimoji="0" lang="en-US" sz="1000" b="0" i="0" u="none" strike="noStrike" cap="none" normalizeH="0" baseline="0" dirty="0">
                          <a:ln>
                            <a:noFill/>
                          </a:ln>
                          <a:solidFill>
                            <a:schemeClr val="bg2">
                              <a:lumMod val="10000"/>
                            </a:schemeClr>
                          </a:solidFill>
                          <a:effectLst/>
                          <a:latin typeface="Calibri" panose="020F0502020204030204" pitchFamily="34" charset="0"/>
                        </a:rPr>
                        <a:t>2</a:t>
                      </a: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DCDCF"/>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35000"/>
                        </a:spcBef>
                        <a:spcAft>
                          <a:spcPts val="0"/>
                        </a:spcAft>
                        <a:buClr>
                          <a:schemeClr val="accent2"/>
                        </a:buClr>
                        <a:buSzTx/>
                        <a:buFont typeface="Wingdings" pitchFamily="2" charset="2"/>
                        <a:buNone/>
                        <a:tabLst/>
                      </a:pPr>
                      <a:r>
                        <a:rPr kumimoji="0" lang="en-US" sz="1000" b="0" i="0" u="none" strike="noStrike" cap="none" normalizeH="0" baseline="0" dirty="0">
                          <a:ln>
                            <a:noFill/>
                          </a:ln>
                          <a:solidFill>
                            <a:schemeClr val="bg2">
                              <a:lumMod val="10000"/>
                            </a:schemeClr>
                          </a:solidFill>
                          <a:effectLst/>
                          <a:latin typeface="Calibri" panose="020F0502020204030204" pitchFamily="34" charset="0"/>
                        </a:rPr>
                        <a:t>2</a:t>
                      </a: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DCDCF"/>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35000"/>
                        </a:spcBef>
                        <a:spcAft>
                          <a:spcPts val="0"/>
                        </a:spcAft>
                        <a:buClr>
                          <a:schemeClr val="accent2"/>
                        </a:buClr>
                        <a:buSzTx/>
                        <a:buFont typeface="Wingdings" pitchFamily="2" charset="2"/>
                        <a:buNone/>
                        <a:tabLst/>
                      </a:pPr>
                      <a:r>
                        <a:rPr kumimoji="0" lang="en-US" sz="1000" b="0" i="0" u="none" strike="noStrike" cap="none" normalizeH="0" baseline="0" dirty="0">
                          <a:ln>
                            <a:noFill/>
                          </a:ln>
                          <a:solidFill>
                            <a:schemeClr val="bg2">
                              <a:lumMod val="10000"/>
                            </a:schemeClr>
                          </a:solidFill>
                          <a:effectLst/>
                          <a:latin typeface="Calibri" panose="020F0502020204030204" pitchFamily="34" charset="0"/>
                        </a:rPr>
                        <a:t>&lt;1</a:t>
                      </a: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DCDCF"/>
                    </a:solidFill>
                  </a:tcPr>
                </a:tc>
                <a:extLst>
                  <a:ext uri="{0D108BD9-81ED-4DB2-BD59-A6C34878D82A}">
                    <a16:rowId xmlns:a16="http://schemas.microsoft.com/office/drawing/2014/main" val="3871761766"/>
                  </a:ext>
                </a:extLst>
              </a:tr>
              <a:tr h="223120">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35000"/>
                        </a:spcBef>
                        <a:spcAft>
                          <a:spcPts val="0"/>
                        </a:spcAft>
                        <a:buClr>
                          <a:schemeClr val="accent2"/>
                        </a:buClr>
                        <a:buSzTx/>
                        <a:buFont typeface="Wingdings" pitchFamily="2" charset="2"/>
                        <a:buNone/>
                        <a:tabLst/>
                      </a:pPr>
                      <a:r>
                        <a:rPr kumimoji="0" lang="en-US" sz="1000" b="0" i="0" u="none" strike="noStrike" cap="none" normalizeH="0" baseline="0" dirty="0">
                          <a:ln>
                            <a:noFill/>
                          </a:ln>
                          <a:solidFill>
                            <a:schemeClr val="bg2">
                              <a:lumMod val="10000"/>
                            </a:schemeClr>
                          </a:solidFill>
                          <a:effectLst/>
                          <a:latin typeface="Calibri" panose="020F0502020204030204" pitchFamily="34" charset="0"/>
                        </a:rPr>
                        <a:t>Diarrhea</a:t>
                      </a:r>
                    </a:p>
                  </a:txBody>
                  <a:tcPr marL="121881" marR="121881"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lumMod val="95000"/>
                      </a:srgbClr>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35000"/>
                        </a:spcBef>
                        <a:spcAft>
                          <a:spcPts val="0"/>
                        </a:spcAft>
                        <a:buClr>
                          <a:schemeClr val="accent2"/>
                        </a:buClr>
                        <a:buSzTx/>
                        <a:buFont typeface="Wingdings" pitchFamily="2" charset="2"/>
                        <a:buNone/>
                        <a:tabLst/>
                      </a:pPr>
                      <a:r>
                        <a:rPr kumimoji="0" lang="en-US" sz="1000" b="0" i="0" u="none" strike="noStrike" cap="none" normalizeH="0" baseline="0" dirty="0">
                          <a:ln>
                            <a:noFill/>
                          </a:ln>
                          <a:solidFill>
                            <a:schemeClr val="bg2">
                              <a:lumMod val="10000"/>
                            </a:schemeClr>
                          </a:solidFill>
                          <a:effectLst/>
                          <a:latin typeface="Calibri" panose="020F0502020204030204" pitchFamily="34" charset="0"/>
                        </a:rPr>
                        <a:t>59</a:t>
                      </a: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lumMod val="95000"/>
                      </a:srgbClr>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35000"/>
                        </a:spcBef>
                        <a:spcAft>
                          <a:spcPts val="0"/>
                        </a:spcAft>
                        <a:buClr>
                          <a:schemeClr val="accent2"/>
                        </a:buClr>
                        <a:buSzTx/>
                        <a:buFont typeface="Wingdings" pitchFamily="2" charset="2"/>
                        <a:buNone/>
                        <a:tabLst/>
                      </a:pPr>
                      <a:r>
                        <a:rPr kumimoji="0" lang="en-US" sz="1000" b="0" i="0" u="none" strike="noStrike" cap="none" normalizeH="0" baseline="0" dirty="0">
                          <a:ln>
                            <a:noFill/>
                          </a:ln>
                          <a:solidFill>
                            <a:schemeClr val="bg2">
                              <a:lumMod val="10000"/>
                            </a:schemeClr>
                          </a:solidFill>
                          <a:effectLst/>
                          <a:latin typeface="Calibri" panose="020F0502020204030204" pitchFamily="34" charset="0"/>
                        </a:rPr>
                        <a:t>10</a:t>
                      </a: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lumMod val="95000"/>
                      </a:srgbClr>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35000"/>
                        </a:spcBef>
                        <a:spcAft>
                          <a:spcPts val="0"/>
                        </a:spcAft>
                        <a:buClr>
                          <a:schemeClr val="accent2"/>
                        </a:buClr>
                        <a:buSzTx/>
                        <a:buFont typeface="Wingdings" pitchFamily="2" charset="2"/>
                        <a:buNone/>
                        <a:tabLst/>
                      </a:pPr>
                      <a:r>
                        <a:rPr kumimoji="0" lang="en-US" sz="1000" b="0" i="0" u="none" strike="noStrike" cap="none" normalizeH="0" baseline="0" dirty="0">
                          <a:ln>
                            <a:noFill/>
                          </a:ln>
                          <a:solidFill>
                            <a:schemeClr val="bg2">
                              <a:lumMod val="10000"/>
                            </a:schemeClr>
                          </a:solidFill>
                          <a:effectLst/>
                          <a:latin typeface="Calibri" panose="020F0502020204030204" pitchFamily="34" charset="0"/>
                        </a:rPr>
                        <a:t>0</a:t>
                      </a: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lumMod val="95000"/>
                      </a:srgbClr>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35000"/>
                        </a:spcBef>
                        <a:spcAft>
                          <a:spcPts val="0"/>
                        </a:spcAft>
                        <a:buClr>
                          <a:schemeClr val="accent2"/>
                        </a:buClr>
                        <a:buSzTx/>
                        <a:buFont typeface="Wingdings" pitchFamily="2" charset="2"/>
                        <a:buNone/>
                        <a:tabLst/>
                      </a:pPr>
                      <a:r>
                        <a:rPr kumimoji="0" lang="en-US" sz="10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t>12</a:t>
                      </a: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lumMod val="95000"/>
                      </a:srgbClr>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35000"/>
                        </a:spcBef>
                        <a:spcAft>
                          <a:spcPts val="0"/>
                        </a:spcAft>
                        <a:buClr>
                          <a:schemeClr val="accent2"/>
                        </a:buClr>
                        <a:buSzTx/>
                        <a:buFont typeface="Wingdings" pitchFamily="2" charset="2"/>
                        <a:buNone/>
                        <a:tabLst/>
                      </a:pPr>
                      <a:r>
                        <a:rPr kumimoji="0" lang="en-US" sz="10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t>&lt;1</a:t>
                      </a: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lumMod val="95000"/>
                      </a:srgbClr>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35000"/>
                        </a:spcBef>
                        <a:spcAft>
                          <a:spcPts val="0"/>
                        </a:spcAft>
                        <a:buClr>
                          <a:schemeClr val="accent2"/>
                        </a:buClr>
                        <a:buSzTx/>
                        <a:buFont typeface="Wingdings" pitchFamily="2" charset="2"/>
                        <a:buNone/>
                        <a:tabLst/>
                      </a:pPr>
                      <a:r>
                        <a:rPr kumimoji="0" lang="en-US" sz="10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t>0</a:t>
                      </a: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lumMod val="95000"/>
                      </a:srgbClr>
                    </a:solidFill>
                  </a:tcPr>
                </a:tc>
                <a:extLst>
                  <a:ext uri="{0D108BD9-81ED-4DB2-BD59-A6C34878D82A}">
                    <a16:rowId xmlns:a16="http://schemas.microsoft.com/office/drawing/2014/main" val="4256459604"/>
                  </a:ext>
                </a:extLst>
              </a:tr>
              <a:tr h="223120">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35000"/>
                        </a:spcBef>
                        <a:spcAft>
                          <a:spcPts val="0"/>
                        </a:spcAft>
                        <a:buClr>
                          <a:schemeClr val="accent2"/>
                        </a:buClr>
                        <a:buSzTx/>
                        <a:buFont typeface="Wingdings" pitchFamily="2" charset="2"/>
                        <a:buNone/>
                        <a:tabLst/>
                      </a:pPr>
                      <a:r>
                        <a:rPr kumimoji="0" lang="en-US" sz="1000" b="0" i="0" u="none" strike="noStrike" cap="none" normalizeH="0" baseline="0" dirty="0">
                          <a:ln>
                            <a:noFill/>
                          </a:ln>
                          <a:solidFill>
                            <a:schemeClr val="bg2">
                              <a:lumMod val="10000"/>
                            </a:schemeClr>
                          </a:solidFill>
                          <a:effectLst/>
                          <a:latin typeface="Calibri" panose="020F0502020204030204" pitchFamily="34" charset="0"/>
                        </a:rPr>
                        <a:t>Nausea</a:t>
                      </a:r>
                    </a:p>
                  </a:txBody>
                  <a:tcPr marL="121881" marR="121881"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DCDCF"/>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35000"/>
                        </a:spcBef>
                        <a:spcAft>
                          <a:spcPts val="0"/>
                        </a:spcAft>
                        <a:buClr>
                          <a:schemeClr val="accent2"/>
                        </a:buClr>
                        <a:buSzTx/>
                        <a:buFont typeface="Wingdings" pitchFamily="2" charset="2"/>
                        <a:buNone/>
                        <a:tabLst/>
                      </a:pPr>
                      <a:r>
                        <a:rPr kumimoji="0" lang="en-US" sz="1000" b="0" i="0" u="none" strike="noStrike" cap="none" normalizeH="0" baseline="0" dirty="0">
                          <a:ln>
                            <a:noFill/>
                          </a:ln>
                          <a:solidFill>
                            <a:schemeClr val="bg2">
                              <a:lumMod val="10000"/>
                            </a:schemeClr>
                          </a:solidFill>
                          <a:effectLst/>
                          <a:latin typeface="Calibri" panose="020F0502020204030204" pitchFamily="34" charset="0"/>
                        </a:rPr>
                        <a:t>57</a:t>
                      </a: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DCDCF"/>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35000"/>
                        </a:spcBef>
                        <a:spcAft>
                          <a:spcPts val="0"/>
                        </a:spcAft>
                        <a:buClr>
                          <a:schemeClr val="accent2"/>
                        </a:buClr>
                        <a:buSzTx/>
                        <a:buFont typeface="Wingdings" pitchFamily="2" charset="2"/>
                        <a:buNone/>
                        <a:tabLst/>
                      </a:pPr>
                      <a:r>
                        <a:rPr kumimoji="0" lang="en-US" sz="1000" b="0" i="0" u="none" strike="noStrike" cap="none" normalizeH="0" baseline="0" dirty="0">
                          <a:ln>
                            <a:noFill/>
                          </a:ln>
                          <a:solidFill>
                            <a:schemeClr val="bg2">
                              <a:lumMod val="10000"/>
                            </a:schemeClr>
                          </a:solidFill>
                          <a:effectLst/>
                          <a:latin typeface="Calibri" panose="020F0502020204030204" pitchFamily="34" charset="0"/>
                        </a:rPr>
                        <a:t>2</a:t>
                      </a: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DCDCF"/>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35000"/>
                        </a:spcBef>
                        <a:spcAft>
                          <a:spcPts val="0"/>
                        </a:spcAft>
                        <a:buClr>
                          <a:schemeClr val="accent2"/>
                        </a:buClr>
                        <a:buSzTx/>
                        <a:buFont typeface="Wingdings" pitchFamily="2" charset="2"/>
                        <a:buNone/>
                        <a:tabLst/>
                      </a:pPr>
                      <a:r>
                        <a:rPr kumimoji="0" lang="en-US" sz="1000" b="0" i="0" u="none" strike="noStrike" cap="none" normalizeH="0" baseline="0" dirty="0">
                          <a:ln>
                            <a:noFill/>
                          </a:ln>
                          <a:solidFill>
                            <a:schemeClr val="bg2">
                              <a:lumMod val="10000"/>
                            </a:schemeClr>
                          </a:solidFill>
                          <a:effectLst/>
                          <a:latin typeface="Calibri" panose="020F0502020204030204" pitchFamily="34" charset="0"/>
                        </a:rPr>
                        <a:t>&lt;1</a:t>
                      </a: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DCDCF"/>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35000"/>
                        </a:spcBef>
                        <a:spcAft>
                          <a:spcPts val="0"/>
                        </a:spcAft>
                        <a:buClr>
                          <a:schemeClr val="accent2"/>
                        </a:buClr>
                        <a:buSzTx/>
                        <a:buFont typeface="Wingdings" pitchFamily="2" charset="2"/>
                        <a:buNone/>
                        <a:tabLst/>
                      </a:pPr>
                      <a:r>
                        <a:rPr kumimoji="0" lang="en-US" sz="10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t>26</a:t>
                      </a: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DCDCF"/>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35000"/>
                        </a:spcBef>
                        <a:spcAft>
                          <a:spcPts val="0"/>
                        </a:spcAft>
                        <a:buClr>
                          <a:schemeClr val="accent2"/>
                        </a:buClr>
                        <a:buSzTx/>
                        <a:buFont typeface="Wingdings" pitchFamily="2" charset="2"/>
                        <a:buNone/>
                        <a:tabLst/>
                      </a:pPr>
                      <a:r>
                        <a:rPr kumimoji="0" lang="en-US" sz="10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t>&lt;1</a:t>
                      </a: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DCDCF"/>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35000"/>
                        </a:spcBef>
                        <a:spcAft>
                          <a:spcPts val="0"/>
                        </a:spcAft>
                        <a:buClr>
                          <a:schemeClr val="accent2"/>
                        </a:buClr>
                        <a:buSzTx/>
                        <a:buFont typeface="Wingdings" pitchFamily="2" charset="2"/>
                        <a:buNone/>
                        <a:tabLst/>
                      </a:pPr>
                      <a:r>
                        <a:rPr kumimoji="0" lang="en-US" sz="10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t>0</a:t>
                      </a: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DCDCF"/>
                    </a:solidFill>
                  </a:tcPr>
                </a:tc>
                <a:extLst>
                  <a:ext uri="{0D108BD9-81ED-4DB2-BD59-A6C34878D82A}">
                    <a16:rowId xmlns:a16="http://schemas.microsoft.com/office/drawing/2014/main" val="26750541"/>
                  </a:ext>
                </a:extLst>
              </a:tr>
              <a:tr h="223120">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35000"/>
                        </a:spcBef>
                        <a:spcAft>
                          <a:spcPts val="0"/>
                        </a:spcAft>
                        <a:buClr>
                          <a:schemeClr val="accent2"/>
                        </a:buClr>
                        <a:buSzTx/>
                        <a:buFont typeface="Wingdings" pitchFamily="2" charset="2"/>
                        <a:buNone/>
                        <a:tabLst/>
                        <a:defRPr/>
                      </a:pPr>
                      <a:r>
                        <a:rPr kumimoji="0" lang="en-US" sz="1000" b="0" i="0" u="none" strike="noStrike" cap="none" normalizeH="0" baseline="0" dirty="0">
                          <a:ln>
                            <a:noFill/>
                          </a:ln>
                          <a:solidFill>
                            <a:schemeClr val="bg2">
                              <a:lumMod val="10000"/>
                            </a:schemeClr>
                          </a:solidFill>
                          <a:effectLst/>
                          <a:latin typeface="Calibri" panose="020F0502020204030204" pitchFamily="34" charset="0"/>
                        </a:rPr>
                        <a:t>Vomiting</a:t>
                      </a:r>
                    </a:p>
                  </a:txBody>
                  <a:tcPr marL="121881" marR="121881"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lumMod val="95000"/>
                      </a:srgbClr>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35000"/>
                        </a:spcBef>
                        <a:spcAft>
                          <a:spcPts val="0"/>
                        </a:spcAft>
                        <a:buClr>
                          <a:schemeClr val="accent2"/>
                        </a:buClr>
                        <a:buSzTx/>
                        <a:buFont typeface="Wingdings" pitchFamily="2" charset="2"/>
                        <a:buNone/>
                        <a:tabLst/>
                      </a:pPr>
                      <a:r>
                        <a:rPr kumimoji="0" lang="en-US" sz="10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t>29</a:t>
                      </a: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lumMod val="95000"/>
                      </a:srgbClr>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35000"/>
                        </a:spcBef>
                        <a:spcAft>
                          <a:spcPts val="0"/>
                        </a:spcAft>
                        <a:buClr>
                          <a:schemeClr val="accent2"/>
                        </a:buClr>
                        <a:buSzTx/>
                        <a:buFont typeface="Wingdings" pitchFamily="2" charset="2"/>
                        <a:buNone/>
                        <a:tabLst/>
                      </a:pPr>
                      <a:r>
                        <a:rPr kumimoji="0" lang="en-US" sz="10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t>1</a:t>
                      </a: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lumMod val="95000"/>
                      </a:srgbClr>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35000"/>
                        </a:spcBef>
                        <a:spcAft>
                          <a:spcPts val="0"/>
                        </a:spcAft>
                        <a:buClr>
                          <a:schemeClr val="accent2"/>
                        </a:buClr>
                        <a:buSzTx/>
                        <a:buFont typeface="Wingdings" pitchFamily="2" charset="2"/>
                        <a:buNone/>
                        <a:tabLst/>
                      </a:pPr>
                      <a:r>
                        <a:rPr kumimoji="0" lang="en-US" sz="10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t>&lt;1</a:t>
                      </a: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lumMod val="95000"/>
                      </a:srgbClr>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kumimoji="0" lang="en-US" sz="10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t>10</a:t>
                      </a: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lumMod val="95000"/>
                      </a:srgbClr>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kumimoji="0" lang="en-US" sz="10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t>&lt;1</a:t>
                      </a: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lumMod val="95000"/>
                      </a:srgbClr>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kumimoji="0" lang="en-US" sz="10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t>0</a:t>
                      </a: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lumMod val="95000"/>
                      </a:srgbClr>
                    </a:solidFill>
                  </a:tcPr>
                </a:tc>
                <a:extLst>
                  <a:ext uri="{0D108BD9-81ED-4DB2-BD59-A6C34878D82A}">
                    <a16:rowId xmlns:a16="http://schemas.microsoft.com/office/drawing/2014/main" val="4100461809"/>
                  </a:ext>
                </a:extLst>
              </a:tr>
              <a:tr h="223120">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35000"/>
                        </a:spcBef>
                        <a:spcAft>
                          <a:spcPts val="0"/>
                        </a:spcAft>
                        <a:buClr>
                          <a:schemeClr val="accent2"/>
                        </a:buClr>
                        <a:buSzTx/>
                        <a:buFont typeface="Wingdings" pitchFamily="2" charset="2"/>
                        <a:buNone/>
                        <a:tabLst/>
                        <a:defRPr/>
                      </a:pPr>
                      <a:r>
                        <a:rPr kumimoji="0" lang="en-US" sz="1000" b="0" i="0" u="none" strike="noStrike" cap="none" normalizeH="0" baseline="0" dirty="0">
                          <a:ln>
                            <a:noFill/>
                          </a:ln>
                          <a:solidFill>
                            <a:schemeClr val="bg2">
                              <a:lumMod val="10000"/>
                            </a:schemeClr>
                          </a:solidFill>
                          <a:effectLst/>
                          <a:latin typeface="Calibri" panose="020F0502020204030204" pitchFamily="34" charset="0"/>
                        </a:rPr>
                        <a:t>Constipation</a:t>
                      </a:r>
                    </a:p>
                  </a:txBody>
                  <a:tcPr marL="121881" marR="121881"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DCDCF"/>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35000"/>
                        </a:spcBef>
                        <a:spcAft>
                          <a:spcPts val="0"/>
                        </a:spcAft>
                        <a:buClr>
                          <a:schemeClr val="accent2"/>
                        </a:buClr>
                        <a:buSzTx/>
                        <a:buFont typeface="Wingdings" pitchFamily="2" charset="2"/>
                        <a:buNone/>
                        <a:tabLst/>
                      </a:pPr>
                      <a:r>
                        <a:rPr kumimoji="0" lang="en-US" sz="10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t>17</a:t>
                      </a: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DCDCF"/>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35000"/>
                        </a:spcBef>
                        <a:spcAft>
                          <a:spcPts val="0"/>
                        </a:spcAft>
                        <a:buClr>
                          <a:schemeClr val="accent2"/>
                        </a:buClr>
                        <a:buSzTx/>
                        <a:buFont typeface="Wingdings" pitchFamily="2" charset="2"/>
                        <a:buNone/>
                        <a:tabLst/>
                      </a:pPr>
                      <a:r>
                        <a:rPr kumimoji="0" lang="en-US" sz="10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t>0</a:t>
                      </a: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DCDCF"/>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35000"/>
                        </a:spcBef>
                        <a:spcAft>
                          <a:spcPts val="0"/>
                        </a:spcAft>
                        <a:buClr>
                          <a:schemeClr val="accent2"/>
                        </a:buClr>
                        <a:buSzTx/>
                        <a:buFont typeface="Wingdings" pitchFamily="2" charset="2"/>
                        <a:buNone/>
                        <a:tabLst/>
                      </a:pPr>
                      <a:r>
                        <a:rPr kumimoji="0" lang="en-US" sz="10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t>0</a:t>
                      </a: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DCDCF"/>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35000"/>
                        </a:spcBef>
                        <a:spcAft>
                          <a:spcPts val="0"/>
                        </a:spcAft>
                        <a:buClr>
                          <a:schemeClr val="accent2"/>
                        </a:buClr>
                        <a:buSzTx/>
                        <a:buFont typeface="Wingdings" pitchFamily="2" charset="2"/>
                        <a:buNone/>
                        <a:tabLst/>
                      </a:pPr>
                      <a:r>
                        <a:rPr kumimoji="0" lang="en-US" sz="10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t>14</a:t>
                      </a: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DCDCF"/>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35000"/>
                        </a:spcBef>
                        <a:spcAft>
                          <a:spcPts val="0"/>
                        </a:spcAft>
                        <a:buClr>
                          <a:schemeClr val="accent2"/>
                        </a:buClr>
                        <a:buSzTx/>
                        <a:buFont typeface="Wingdings" pitchFamily="2" charset="2"/>
                        <a:buNone/>
                        <a:tabLst/>
                      </a:pPr>
                      <a:r>
                        <a:rPr kumimoji="0" lang="en-US" sz="10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t>0</a:t>
                      </a: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DCDCF"/>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35000"/>
                        </a:spcBef>
                        <a:spcAft>
                          <a:spcPts val="0"/>
                        </a:spcAft>
                        <a:buClr>
                          <a:schemeClr val="accent2"/>
                        </a:buClr>
                        <a:buSzTx/>
                        <a:buFont typeface="Wingdings" pitchFamily="2" charset="2"/>
                        <a:buNone/>
                        <a:tabLst/>
                      </a:pPr>
                      <a:r>
                        <a:rPr kumimoji="0" lang="en-US" sz="10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t>0</a:t>
                      </a: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DCDCF"/>
                    </a:solidFill>
                  </a:tcPr>
                </a:tc>
                <a:extLst>
                  <a:ext uri="{0D108BD9-81ED-4DB2-BD59-A6C34878D82A}">
                    <a16:rowId xmlns:a16="http://schemas.microsoft.com/office/drawing/2014/main" val="104814739"/>
                  </a:ext>
                </a:extLst>
              </a:tr>
              <a:tr h="223120">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35000"/>
                        </a:spcBef>
                        <a:spcAft>
                          <a:spcPts val="0"/>
                        </a:spcAft>
                        <a:buClr>
                          <a:schemeClr val="accent2"/>
                        </a:buClr>
                        <a:buSzTx/>
                        <a:buFont typeface="Wingdings" pitchFamily="2" charset="2"/>
                        <a:buNone/>
                        <a:tabLst/>
                      </a:pPr>
                      <a:r>
                        <a:rPr kumimoji="0" lang="en-US" sz="1000" b="0" i="0" u="none" strike="noStrike" cap="none" normalizeH="0" baseline="0" dirty="0">
                          <a:ln>
                            <a:noFill/>
                          </a:ln>
                          <a:solidFill>
                            <a:schemeClr val="bg2">
                              <a:lumMod val="10000"/>
                            </a:schemeClr>
                          </a:solidFill>
                          <a:effectLst/>
                          <a:latin typeface="Calibri" panose="020F0502020204030204" pitchFamily="34" charset="0"/>
                        </a:rPr>
                        <a:t>Abdominal pain</a:t>
                      </a:r>
                    </a:p>
                  </a:txBody>
                  <a:tcPr marL="121881" marR="121881"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2F2F2"/>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35000"/>
                        </a:spcBef>
                        <a:spcAft>
                          <a:spcPts val="0"/>
                        </a:spcAft>
                        <a:buClr>
                          <a:schemeClr val="accent2"/>
                        </a:buClr>
                        <a:buSzTx/>
                        <a:buFont typeface="Wingdings" pitchFamily="2" charset="2"/>
                        <a:buNone/>
                        <a:tabLst/>
                      </a:pPr>
                      <a:r>
                        <a:rPr kumimoji="0" lang="en-US" sz="10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t>11</a:t>
                      </a: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2F2F2"/>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35000"/>
                        </a:spcBef>
                        <a:spcAft>
                          <a:spcPts val="0"/>
                        </a:spcAft>
                        <a:buClr>
                          <a:schemeClr val="accent2"/>
                        </a:buClr>
                        <a:buSzTx/>
                        <a:buFont typeface="Wingdings" pitchFamily="2" charset="2"/>
                        <a:buNone/>
                        <a:tabLst/>
                      </a:pPr>
                      <a:r>
                        <a:rPr kumimoji="0" lang="en-US" sz="10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t>1</a:t>
                      </a: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2F2F2"/>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35000"/>
                        </a:spcBef>
                        <a:spcAft>
                          <a:spcPts val="0"/>
                        </a:spcAft>
                        <a:buClr>
                          <a:schemeClr val="accent2"/>
                        </a:buClr>
                        <a:buSzTx/>
                        <a:buFont typeface="Wingdings" pitchFamily="2" charset="2"/>
                        <a:buNone/>
                        <a:tabLst/>
                      </a:pPr>
                      <a:r>
                        <a:rPr kumimoji="0" lang="en-US" sz="10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t>0</a:t>
                      </a: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2F2F2"/>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35000"/>
                        </a:spcBef>
                        <a:spcAft>
                          <a:spcPts val="0"/>
                        </a:spcAft>
                        <a:buClr>
                          <a:schemeClr val="accent2"/>
                        </a:buClr>
                        <a:buSzTx/>
                        <a:buFont typeface="Wingdings" pitchFamily="2" charset="2"/>
                        <a:buNone/>
                        <a:tabLst/>
                      </a:pPr>
                      <a:r>
                        <a:rPr kumimoji="0" lang="en-US" sz="10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t>4</a:t>
                      </a: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2F2F2"/>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35000"/>
                        </a:spcBef>
                        <a:spcAft>
                          <a:spcPts val="0"/>
                        </a:spcAft>
                        <a:buClr>
                          <a:schemeClr val="accent2"/>
                        </a:buClr>
                        <a:buSzTx/>
                        <a:buFont typeface="Wingdings" pitchFamily="2" charset="2"/>
                        <a:buNone/>
                        <a:tabLst/>
                      </a:pPr>
                      <a:r>
                        <a:rPr kumimoji="0" lang="en-US" sz="10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t>&lt;1</a:t>
                      </a: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2F2F2"/>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35000"/>
                        </a:spcBef>
                        <a:spcAft>
                          <a:spcPts val="0"/>
                        </a:spcAft>
                        <a:buClr>
                          <a:schemeClr val="accent2"/>
                        </a:buClr>
                        <a:buSzTx/>
                        <a:buFont typeface="Wingdings" pitchFamily="2" charset="2"/>
                        <a:buNone/>
                        <a:tabLst/>
                      </a:pPr>
                      <a:r>
                        <a:rPr kumimoji="0" lang="en-US" sz="10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t>0</a:t>
                      </a: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2F2F2"/>
                    </a:solidFill>
                  </a:tcPr>
                </a:tc>
                <a:extLst>
                  <a:ext uri="{0D108BD9-81ED-4DB2-BD59-A6C34878D82A}">
                    <a16:rowId xmlns:a16="http://schemas.microsoft.com/office/drawing/2014/main" val="183672537"/>
                  </a:ext>
                </a:extLst>
              </a:tr>
              <a:tr h="223120">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35000"/>
                        </a:spcBef>
                        <a:spcAft>
                          <a:spcPts val="0"/>
                        </a:spcAft>
                        <a:buClr>
                          <a:schemeClr val="accent2"/>
                        </a:buClr>
                        <a:buSzTx/>
                        <a:buFont typeface="Wingdings" pitchFamily="2" charset="2"/>
                        <a:buNone/>
                        <a:tabLst/>
                        <a:defRPr/>
                      </a:pPr>
                      <a:r>
                        <a:rPr kumimoji="0" lang="en-US" sz="1000" b="0" i="0" u="none" strike="noStrike" cap="none" normalizeH="0" baseline="0" dirty="0">
                          <a:ln>
                            <a:noFill/>
                          </a:ln>
                          <a:solidFill>
                            <a:schemeClr val="bg2">
                              <a:lumMod val="10000"/>
                            </a:schemeClr>
                          </a:solidFill>
                          <a:effectLst/>
                          <a:latin typeface="Calibri" panose="020F0502020204030204" pitchFamily="34" charset="0"/>
                        </a:rPr>
                        <a:t>Fatigue</a:t>
                      </a:r>
                    </a:p>
                  </a:txBody>
                  <a:tcPr marL="121881" marR="121881"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DCDCF"/>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35000"/>
                        </a:spcBef>
                        <a:spcAft>
                          <a:spcPts val="0"/>
                        </a:spcAft>
                        <a:buClr>
                          <a:schemeClr val="accent2"/>
                        </a:buClr>
                        <a:buSzTx/>
                        <a:buFont typeface="Wingdings" pitchFamily="2" charset="2"/>
                        <a:buNone/>
                        <a:tabLst/>
                      </a:pPr>
                      <a:r>
                        <a:rPr kumimoji="0" lang="en-US" sz="10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t>45</a:t>
                      </a: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DCDCF"/>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35000"/>
                        </a:spcBef>
                        <a:spcAft>
                          <a:spcPts val="0"/>
                        </a:spcAft>
                        <a:buClr>
                          <a:schemeClr val="accent2"/>
                        </a:buClr>
                        <a:buSzTx/>
                        <a:buFont typeface="Wingdings" pitchFamily="2" charset="2"/>
                        <a:buNone/>
                        <a:tabLst/>
                      </a:pPr>
                      <a:r>
                        <a:rPr kumimoji="0" lang="en-US" sz="10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t>3</a:t>
                      </a: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DCDCF"/>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35000"/>
                        </a:spcBef>
                        <a:spcAft>
                          <a:spcPts val="0"/>
                        </a:spcAft>
                        <a:buClr>
                          <a:schemeClr val="accent2"/>
                        </a:buClr>
                        <a:buSzTx/>
                        <a:buFont typeface="Wingdings" pitchFamily="2" charset="2"/>
                        <a:buNone/>
                        <a:tabLst/>
                      </a:pPr>
                      <a:r>
                        <a:rPr kumimoji="0" lang="en-US" sz="10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t>0</a:t>
                      </a: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DCDCF"/>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35000"/>
                        </a:spcBef>
                        <a:spcAft>
                          <a:spcPts val="0"/>
                        </a:spcAft>
                        <a:buClr>
                          <a:schemeClr val="accent2"/>
                        </a:buClr>
                        <a:buSzTx/>
                        <a:buFont typeface="Wingdings" pitchFamily="2" charset="2"/>
                        <a:buNone/>
                        <a:tabLst/>
                      </a:pPr>
                      <a:r>
                        <a:rPr kumimoji="0" lang="en-US" sz="10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t>30</a:t>
                      </a: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DCDCF"/>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35000"/>
                        </a:spcBef>
                        <a:spcAft>
                          <a:spcPts val="0"/>
                        </a:spcAft>
                        <a:buClr>
                          <a:schemeClr val="accent2"/>
                        </a:buClr>
                        <a:buSzTx/>
                        <a:buFont typeface="Wingdings" pitchFamily="2" charset="2"/>
                        <a:buNone/>
                        <a:tabLst/>
                      </a:pPr>
                      <a:r>
                        <a:rPr kumimoji="0" lang="en-US" sz="10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t>5</a:t>
                      </a: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DCDCF"/>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35000"/>
                        </a:spcBef>
                        <a:spcAft>
                          <a:spcPts val="0"/>
                        </a:spcAft>
                        <a:buClr>
                          <a:schemeClr val="accent2"/>
                        </a:buClr>
                        <a:buSzTx/>
                        <a:buFont typeface="Wingdings" pitchFamily="2" charset="2"/>
                        <a:buNone/>
                        <a:tabLst/>
                      </a:pPr>
                      <a:r>
                        <a:rPr kumimoji="0" lang="en-US" sz="10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t>0</a:t>
                      </a: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DCDCF"/>
                    </a:solidFill>
                  </a:tcPr>
                </a:tc>
                <a:extLst>
                  <a:ext uri="{0D108BD9-81ED-4DB2-BD59-A6C34878D82A}">
                    <a16:rowId xmlns:a16="http://schemas.microsoft.com/office/drawing/2014/main" val="4148703589"/>
                  </a:ext>
                </a:extLst>
              </a:tr>
              <a:tr h="223120">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35000"/>
                        </a:spcBef>
                        <a:spcAft>
                          <a:spcPts val="0"/>
                        </a:spcAft>
                        <a:buClr>
                          <a:schemeClr val="accent2"/>
                        </a:buClr>
                        <a:buSzTx/>
                        <a:buFont typeface="Wingdings" pitchFamily="2" charset="2"/>
                        <a:buNone/>
                        <a:tabLst/>
                      </a:pPr>
                      <a:r>
                        <a:rPr kumimoji="0" lang="en-US" sz="1000" b="0" i="0" u="none" strike="noStrike" cap="none" normalizeH="0" baseline="0" dirty="0">
                          <a:ln>
                            <a:noFill/>
                          </a:ln>
                          <a:solidFill>
                            <a:schemeClr val="bg2">
                              <a:lumMod val="10000"/>
                            </a:schemeClr>
                          </a:solidFill>
                          <a:effectLst/>
                          <a:latin typeface="Calibri" panose="020F0502020204030204" pitchFamily="34" charset="0"/>
                        </a:rPr>
                        <a:t>Asthenia</a:t>
                      </a:r>
                    </a:p>
                  </a:txBody>
                  <a:tcPr marL="121881" marR="121881"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2F2F2"/>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35000"/>
                        </a:spcBef>
                        <a:spcAft>
                          <a:spcPts val="0"/>
                        </a:spcAft>
                        <a:buClr>
                          <a:schemeClr val="accent2"/>
                        </a:buClr>
                        <a:buSzTx/>
                        <a:buFont typeface="Wingdings" pitchFamily="2" charset="2"/>
                        <a:buNone/>
                        <a:tabLst/>
                      </a:pPr>
                      <a:r>
                        <a:rPr kumimoji="0" lang="en-US" sz="10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t>12</a:t>
                      </a: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2F2F2"/>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35000"/>
                        </a:spcBef>
                        <a:spcAft>
                          <a:spcPts val="0"/>
                        </a:spcAft>
                        <a:buClr>
                          <a:schemeClr val="accent2"/>
                        </a:buClr>
                        <a:buSzTx/>
                        <a:buFont typeface="Wingdings" pitchFamily="2" charset="2"/>
                        <a:buNone/>
                        <a:tabLst/>
                      </a:pPr>
                      <a:r>
                        <a:rPr kumimoji="0" lang="en-US" sz="10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t>1</a:t>
                      </a: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2F2F2"/>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35000"/>
                        </a:spcBef>
                        <a:spcAft>
                          <a:spcPts val="0"/>
                        </a:spcAft>
                        <a:buClr>
                          <a:schemeClr val="accent2"/>
                        </a:buClr>
                        <a:buSzTx/>
                        <a:buFont typeface="Wingdings" pitchFamily="2" charset="2"/>
                        <a:buNone/>
                        <a:tabLst/>
                      </a:pPr>
                      <a:r>
                        <a:rPr kumimoji="0" lang="en-US" sz="10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t>0</a:t>
                      </a: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2F2F2"/>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35000"/>
                        </a:spcBef>
                        <a:spcAft>
                          <a:spcPts val="0"/>
                        </a:spcAft>
                        <a:buClr>
                          <a:schemeClr val="accent2"/>
                        </a:buClr>
                        <a:buSzTx/>
                        <a:buFont typeface="Wingdings" pitchFamily="2" charset="2"/>
                        <a:buNone/>
                        <a:tabLst/>
                      </a:pPr>
                      <a:r>
                        <a:rPr kumimoji="0" lang="en-US" sz="10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t>10</a:t>
                      </a: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2F2F2"/>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35000"/>
                        </a:spcBef>
                        <a:spcAft>
                          <a:spcPts val="0"/>
                        </a:spcAft>
                        <a:buClr>
                          <a:schemeClr val="accent2"/>
                        </a:buClr>
                        <a:buSzTx/>
                        <a:buFont typeface="Wingdings" pitchFamily="2" charset="2"/>
                        <a:buNone/>
                        <a:tabLst/>
                      </a:pPr>
                      <a:r>
                        <a:rPr kumimoji="0" lang="en-US" sz="10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t>1</a:t>
                      </a: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2F2F2"/>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35000"/>
                        </a:spcBef>
                        <a:spcAft>
                          <a:spcPts val="0"/>
                        </a:spcAft>
                        <a:buClr>
                          <a:schemeClr val="accent2"/>
                        </a:buClr>
                        <a:buSzTx/>
                        <a:buFont typeface="Wingdings" pitchFamily="2" charset="2"/>
                        <a:buNone/>
                        <a:tabLst/>
                      </a:pPr>
                      <a:r>
                        <a:rPr kumimoji="0" lang="en-US" sz="10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t>0</a:t>
                      </a: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2F2F2"/>
                    </a:solidFill>
                  </a:tcPr>
                </a:tc>
                <a:extLst>
                  <a:ext uri="{0D108BD9-81ED-4DB2-BD59-A6C34878D82A}">
                    <a16:rowId xmlns:a16="http://schemas.microsoft.com/office/drawing/2014/main" val="1819604362"/>
                  </a:ext>
                </a:extLst>
              </a:tr>
              <a:tr h="223120">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35000"/>
                        </a:spcBef>
                        <a:spcAft>
                          <a:spcPts val="0"/>
                        </a:spcAft>
                        <a:buClr>
                          <a:schemeClr val="accent2"/>
                        </a:buClr>
                        <a:buSzTx/>
                        <a:buFont typeface="Wingdings" pitchFamily="2" charset="2"/>
                        <a:buNone/>
                        <a:tabLst/>
                      </a:pPr>
                      <a:r>
                        <a:rPr kumimoji="0" lang="en-US" sz="1000" b="0" i="0" u="none" strike="noStrike" cap="none" normalizeH="0" baseline="0" dirty="0">
                          <a:ln>
                            <a:noFill/>
                          </a:ln>
                          <a:solidFill>
                            <a:schemeClr val="bg2">
                              <a:lumMod val="10000"/>
                            </a:schemeClr>
                          </a:solidFill>
                          <a:effectLst/>
                          <a:latin typeface="Calibri" panose="020F0502020204030204" pitchFamily="34" charset="0"/>
                        </a:rPr>
                        <a:t>Alopecia</a:t>
                      </a:r>
                    </a:p>
                  </a:txBody>
                  <a:tcPr marL="121881" marR="121881"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DCDCF"/>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35000"/>
                        </a:spcBef>
                        <a:spcAft>
                          <a:spcPts val="0"/>
                        </a:spcAft>
                        <a:buClr>
                          <a:schemeClr val="accent2"/>
                        </a:buClr>
                        <a:buSzTx/>
                        <a:buFont typeface="Wingdings" pitchFamily="2" charset="2"/>
                        <a:buNone/>
                        <a:tabLst/>
                      </a:pPr>
                      <a:r>
                        <a:rPr kumimoji="0" lang="en-US" sz="10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t>46</a:t>
                      </a: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DCDCF"/>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35000"/>
                        </a:spcBef>
                        <a:spcAft>
                          <a:spcPts val="0"/>
                        </a:spcAft>
                        <a:buClr>
                          <a:schemeClr val="accent2"/>
                        </a:buClr>
                        <a:buSzTx/>
                        <a:buFont typeface="Wingdings" pitchFamily="2" charset="2"/>
                        <a:buNone/>
                        <a:tabLst/>
                      </a:pPr>
                      <a:r>
                        <a:rPr kumimoji="0" lang="en-US" sz="10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t>0</a:t>
                      </a: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DCDCF"/>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35000"/>
                        </a:spcBef>
                        <a:spcAft>
                          <a:spcPts val="0"/>
                        </a:spcAft>
                        <a:buClr>
                          <a:schemeClr val="accent2"/>
                        </a:buClr>
                        <a:buSzTx/>
                        <a:buFont typeface="Wingdings" pitchFamily="2" charset="2"/>
                        <a:buNone/>
                        <a:tabLst/>
                      </a:pPr>
                      <a:r>
                        <a:rPr kumimoji="0" lang="en-US" sz="10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t>0</a:t>
                      </a: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DCDCF"/>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35000"/>
                        </a:spcBef>
                        <a:spcAft>
                          <a:spcPts val="0"/>
                        </a:spcAft>
                        <a:buClr>
                          <a:schemeClr val="accent2"/>
                        </a:buClr>
                        <a:buSzTx/>
                        <a:buFont typeface="Wingdings" pitchFamily="2" charset="2"/>
                        <a:buNone/>
                        <a:tabLst/>
                      </a:pPr>
                      <a:r>
                        <a:rPr kumimoji="0" lang="en-US" sz="10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t>16</a:t>
                      </a: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DCDCF"/>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35000"/>
                        </a:spcBef>
                        <a:spcAft>
                          <a:spcPts val="0"/>
                        </a:spcAft>
                        <a:buClr>
                          <a:schemeClr val="accent2"/>
                        </a:buClr>
                        <a:buSzTx/>
                        <a:buFont typeface="Wingdings" pitchFamily="2" charset="2"/>
                        <a:buNone/>
                        <a:tabLst/>
                      </a:pPr>
                      <a:r>
                        <a:rPr kumimoji="0" lang="en-US" sz="10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t>0</a:t>
                      </a: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DCDCF"/>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35000"/>
                        </a:spcBef>
                        <a:spcAft>
                          <a:spcPts val="0"/>
                        </a:spcAft>
                        <a:buClr>
                          <a:schemeClr val="accent2"/>
                        </a:buClr>
                        <a:buSzTx/>
                        <a:buFont typeface="Wingdings" pitchFamily="2" charset="2"/>
                        <a:buNone/>
                        <a:tabLst/>
                      </a:pPr>
                      <a:r>
                        <a:rPr kumimoji="0" lang="en-US" sz="10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t>0</a:t>
                      </a: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DCDCF"/>
                    </a:solidFill>
                  </a:tcPr>
                </a:tc>
                <a:extLst>
                  <a:ext uri="{0D108BD9-81ED-4DB2-BD59-A6C34878D82A}">
                    <a16:rowId xmlns:a16="http://schemas.microsoft.com/office/drawing/2014/main" val="4093403309"/>
                  </a:ext>
                </a:extLst>
              </a:tr>
            </a:tbl>
          </a:graphicData>
        </a:graphic>
      </p:graphicFrame>
      <p:sp>
        <p:nvSpPr>
          <p:cNvPr id="5" name="Content Placeholder 14">
            <a:extLst>
              <a:ext uri="{FF2B5EF4-FFF2-40B4-BE49-F238E27FC236}">
                <a16:creationId xmlns:a16="http://schemas.microsoft.com/office/drawing/2014/main" id="{560ED862-349B-1823-8F7C-9CA44C6BBE18}"/>
              </a:ext>
            </a:extLst>
          </p:cNvPr>
          <p:cNvSpPr txBox="1">
            <a:spLocks/>
          </p:cNvSpPr>
          <p:nvPr/>
        </p:nvSpPr>
        <p:spPr bwMode="auto">
          <a:xfrm>
            <a:off x="5918205" y="645991"/>
            <a:ext cx="2625996" cy="2412062"/>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lnSpc>
                <a:spcPct val="90000"/>
              </a:lnSpc>
              <a:spcBef>
                <a:spcPts val="1000"/>
              </a:spcBef>
              <a:spcAft>
                <a:spcPts val="700"/>
              </a:spcAft>
              <a:buClr>
                <a:schemeClr val="bg1"/>
              </a:buClr>
              <a:buFont typeface="Wingdings" panose="05000000000000000000" pitchFamily="2" charset="2"/>
              <a:buChar char="§"/>
              <a:defRPr sz="2800">
                <a:solidFill>
                  <a:schemeClr val="bg1"/>
                </a:solidFill>
                <a:latin typeface="Calibri" panose="020F0502020204030204" pitchFamily="34" charset="0"/>
                <a:ea typeface="+mn-ea"/>
                <a:cs typeface="+mn-cs"/>
              </a:defRPr>
            </a:lvl1pPr>
            <a:lvl2pPr marL="742950" indent="-285750" algn="l" rtl="0" eaLnBrk="1" fontAlgn="base" hangingPunct="1">
              <a:lnSpc>
                <a:spcPct val="90000"/>
              </a:lnSpc>
              <a:spcBef>
                <a:spcPts val="1000"/>
              </a:spcBef>
              <a:spcAft>
                <a:spcPts val="700"/>
              </a:spcAft>
              <a:buClr>
                <a:schemeClr val="bg1"/>
              </a:buClr>
              <a:buFont typeface="Arial" panose="020B0604020202020204" pitchFamily="34" charset="0"/>
              <a:buChar char="‒"/>
              <a:defRPr sz="2600">
                <a:solidFill>
                  <a:schemeClr val="bg1"/>
                </a:solidFill>
                <a:latin typeface="Calibri" panose="020F0502020204030204" pitchFamily="34" charset="0"/>
              </a:defRPr>
            </a:lvl2pPr>
            <a:lvl3pPr marL="11430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400">
                <a:solidFill>
                  <a:schemeClr val="bg1"/>
                </a:solidFill>
                <a:latin typeface="Calibri" panose="020F0502020204030204" pitchFamily="34" charset="0"/>
              </a:defRPr>
            </a:lvl3pPr>
            <a:lvl4pPr marL="16002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200">
                <a:solidFill>
                  <a:schemeClr val="bg1"/>
                </a:solidFill>
                <a:latin typeface="Calibri" panose="020F0502020204030204" pitchFamily="34" charset="0"/>
              </a:defRPr>
            </a:lvl4pPr>
            <a:lvl5pPr marL="20574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5pPr>
            <a:lvl6pPr marL="2514600" indent="-228600" algn="l" rtl="0" eaLnBrk="1" fontAlgn="base" hangingPunct="1">
              <a:lnSpc>
                <a:spcPct val="90000"/>
              </a:lnSpc>
              <a:spcBef>
                <a:spcPct val="35000"/>
              </a:spcBef>
              <a:spcAft>
                <a:spcPct val="25000"/>
              </a:spcAft>
              <a:buClr>
                <a:schemeClr val="accent2"/>
              </a:buClr>
              <a:buFont typeface="Arial" charset="0"/>
              <a:buChar char="–"/>
              <a:defRPr sz="1800">
                <a:solidFill>
                  <a:schemeClr val="tx1"/>
                </a:solidFill>
                <a:latin typeface="+mn-lt"/>
              </a:defRPr>
            </a:lvl6pPr>
            <a:lvl7pPr marL="2971800" indent="-228600" algn="l" rtl="0" eaLnBrk="1" fontAlgn="base" hangingPunct="1">
              <a:lnSpc>
                <a:spcPct val="90000"/>
              </a:lnSpc>
              <a:spcBef>
                <a:spcPct val="35000"/>
              </a:spcBef>
              <a:spcAft>
                <a:spcPct val="25000"/>
              </a:spcAft>
              <a:buClr>
                <a:schemeClr val="accent2"/>
              </a:buClr>
              <a:buFont typeface="Arial" charset="0"/>
              <a:buChar char="–"/>
              <a:defRPr sz="1800">
                <a:solidFill>
                  <a:schemeClr val="tx1"/>
                </a:solidFill>
                <a:latin typeface="+mn-lt"/>
              </a:defRPr>
            </a:lvl7pPr>
            <a:lvl8pPr marL="3429000" indent="-228600" algn="l" rtl="0" eaLnBrk="1" fontAlgn="base" hangingPunct="1">
              <a:lnSpc>
                <a:spcPct val="90000"/>
              </a:lnSpc>
              <a:spcBef>
                <a:spcPct val="35000"/>
              </a:spcBef>
              <a:spcAft>
                <a:spcPct val="25000"/>
              </a:spcAft>
              <a:buClr>
                <a:schemeClr val="accent2"/>
              </a:buClr>
              <a:buFont typeface="Arial" charset="0"/>
              <a:buChar char="–"/>
              <a:defRPr sz="1800">
                <a:solidFill>
                  <a:schemeClr val="tx1"/>
                </a:solidFill>
                <a:latin typeface="+mn-lt"/>
              </a:defRPr>
            </a:lvl8pPr>
            <a:lvl9pPr marL="3886200" indent="-228600" algn="l" rtl="0" eaLnBrk="1" fontAlgn="base" hangingPunct="1">
              <a:lnSpc>
                <a:spcPct val="90000"/>
              </a:lnSpc>
              <a:spcBef>
                <a:spcPct val="35000"/>
              </a:spcBef>
              <a:spcAft>
                <a:spcPct val="25000"/>
              </a:spcAft>
              <a:buClr>
                <a:schemeClr val="accent2"/>
              </a:buClr>
              <a:buFont typeface="Arial" charset="0"/>
              <a:buChar char="–"/>
              <a:defRPr sz="1800">
                <a:solidFill>
                  <a:schemeClr val="tx1"/>
                </a:solidFill>
                <a:latin typeface="+mn-lt"/>
              </a:defRPr>
            </a:lvl9pPr>
          </a:lstStyle>
          <a:p>
            <a:pPr marL="342900" marR="0" lvl="0" indent="-342900" algn="l" defTabSz="914400" rtl="0" eaLnBrk="1" fontAlgn="base" latinLnBrk="0" hangingPunct="1">
              <a:lnSpc>
                <a:spcPct val="90000"/>
              </a:lnSpc>
              <a:spcBef>
                <a:spcPts val="1000"/>
              </a:spcBef>
              <a:spcAft>
                <a:spcPts val="700"/>
              </a:spcAft>
              <a:buClr>
                <a:srgbClr val="000000"/>
              </a:buClr>
              <a:buSzTx/>
              <a:buFont typeface="Wingdings" panose="05000000000000000000" pitchFamily="2" charset="2"/>
              <a:buChar char="§"/>
              <a:tabLst/>
              <a:defRPr/>
            </a:pPr>
            <a:r>
              <a:rPr kumimoji="0" lang="en-US" sz="12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No treatment-related deaths, grade ≥3 neuropathy, or grade ≥4 ILD with SG</a:t>
            </a:r>
          </a:p>
          <a:p>
            <a:pPr marL="342900" marR="0" lvl="0" indent="-342900" algn="l" defTabSz="914400" rtl="0" eaLnBrk="1" fontAlgn="base" latinLnBrk="0" hangingPunct="1">
              <a:lnSpc>
                <a:spcPct val="90000"/>
              </a:lnSpc>
              <a:spcBef>
                <a:spcPts val="1000"/>
              </a:spcBef>
              <a:spcAft>
                <a:spcPts val="700"/>
              </a:spcAft>
              <a:buClr>
                <a:srgbClr val="000000"/>
              </a:buClr>
              <a:buSzTx/>
              <a:buFont typeface="Wingdings" panose="05000000000000000000" pitchFamily="2" charset="2"/>
              <a:buChar char="§"/>
              <a:tabLst/>
              <a:defRPr/>
            </a:pPr>
            <a:r>
              <a:rPr kumimoji="0" lang="en-US" sz="12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1 treatment-related death (neutropenic sepsis) with TPC</a:t>
            </a:r>
          </a:p>
          <a:p>
            <a:pPr marL="342900" marR="0" lvl="0" indent="-342900" algn="l" defTabSz="914400" rtl="0" eaLnBrk="1" fontAlgn="base" latinLnBrk="0" hangingPunct="1">
              <a:lnSpc>
                <a:spcPct val="90000"/>
              </a:lnSpc>
              <a:spcBef>
                <a:spcPts val="1000"/>
              </a:spcBef>
              <a:spcAft>
                <a:spcPts val="700"/>
              </a:spcAft>
              <a:buClr>
                <a:srgbClr val="000000"/>
              </a:buClr>
              <a:buSzTx/>
              <a:buFont typeface="Wingdings" panose="05000000000000000000" pitchFamily="2" charset="2"/>
              <a:buChar char="§"/>
              <a:tabLst/>
              <a:defRPr/>
            </a:pPr>
            <a:r>
              <a:rPr kumimoji="0" lang="en-US" sz="12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AEs leading to discontinuation:</a:t>
            </a:r>
          </a:p>
          <a:p>
            <a:pPr marL="742950" marR="0" lvl="1" indent="-285750" algn="l" defTabSz="914400" rtl="0" eaLnBrk="1" fontAlgn="base" latinLnBrk="0" hangingPunct="1">
              <a:lnSpc>
                <a:spcPct val="90000"/>
              </a:lnSpc>
              <a:spcBef>
                <a:spcPts val="1000"/>
              </a:spcBef>
              <a:spcAft>
                <a:spcPts val="700"/>
              </a:spcAft>
              <a:buClr>
                <a:srgbClr val="000000"/>
              </a:buClr>
              <a:buSzTx/>
              <a:buFont typeface="Arial" panose="020B0604020202020204" pitchFamily="34" charset="0"/>
              <a:buChar char="‒"/>
              <a:tabLst/>
              <a:defRPr/>
            </a:pPr>
            <a:r>
              <a:rPr kumimoji="0" lang="en-US" sz="1200" b="0" i="0" u="none" strike="noStrike" kern="0" cap="none" spc="0" normalizeH="0" baseline="0" noProof="0" dirty="0">
                <a:ln>
                  <a:noFill/>
                </a:ln>
                <a:solidFill>
                  <a:srgbClr val="000000"/>
                </a:solidFill>
                <a:effectLst/>
                <a:uLnTx/>
                <a:uFillTx/>
                <a:latin typeface="Calibri" panose="020F0502020204030204" pitchFamily="34" charset="0"/>
              </a:rPr>
              <a:t>SG, 5%</a:t>
            </a:r>
          </a:p>
          <a:p>
            <a:pPr marL="742950" marR="0" lvl="1" indent="-285750" algn="l" defTabSz="914400" rtl="0" eaLnBrk="1" fontAlgn="base" latinLnBrk="0" hangingPunct="1">
              <a:lnSpc>
                <a:spcPct val="90000"/>
              </a:lnSpc>
              <a:spcBef>
                <a:spcPts val="1000"/>
              </a:spcBef>
              <a:spcAft>
                <a:spcPts val="700"/>
              </a:spcAft>
              <a:buClr>
                <a:srgbClr val="000000"/>
              </a:buClr>
              <a:buSzTx/>
              <a:buFont typeface="Arial" panose="020B0604020202020204" pitchFamily="34" charset="0"/>
              <a:buChar char="‒"/>
              <a:tabLst/>
              <a:defRPr/>
            </a:pPr>
            <a:r>
              <a:rPr kumimoji="0" lang="en-US" sz="1200" b="0" i="0" u="none" strike="noStrike" kern="0" cap="none" spc="0" normalizeH="0" baseline="0" noProof="0" dirty="0">
                <a:ln>
                  <a:noFill/>
                </a:ln>
                <a:solidFill>
                  <a:srgbClr val="000000"/>
                </a:solidFill>
                <a:effectLst/>
                <a:uLnTx/>
                <a:uFillTx/>
                <a:latin typeface="Calibri" panose="020F0502020204030204" pitchFamily="34" charset="0"/>
              </a:rPr>
              <a:t>TPC, 5%</a:t>
            </a:r>
          </a:p>
        </p:txBody>
      </p:sp>
      <p:sp>
        <p:nvSpPr>
          <p:cNvPr id="6" name="Title 3">
            <a:extLst>
              <a:ext uri="{FF2B5EF4-FFF2-40B4-BE49-F238E27FC236}">
                <a16:creationId xmlns:a16="http://schemas.microsoft.com/office/drawing/2014/main" id="{016E553D-749D-3532-9C6C-A176F4AD1BBA}"/>
              </a:ext>
            </a:extLst>
          </p:cNvPr>
          <p:cNvSpPr txBox="1">
            <a:spLocks/>
          </p:cNvSpPr>
          <p:nvPr/>
        </p:nvSpPr>
        <p:spPr>
          <a:xfrm>
            <a:off x="179351" y="127465"/>
            <a:ext cx="8550081" cy="807256"/>
          </a:xfrm>
          <a:prstGeom prst="rect">
            <a:avLst/>
          </a:prstGeom>
          <a:noFill/>
        </p:spPr>
        <p:txBody>
          <a:bodyPr/>
          <a:lstStyle>
            <a:lvl1pPr algn="ctr" rtl="0" eaLnBrk="1" fontAlgn="base" hangingPunct="1">
              <a:spcBef>
                <a:spcPct val="0"/>
              </a:spcBef>
              <a:spcAft>
                <a:spcPct val="0"/>
              </a:spcAft>
              <a:defRPr sz="3600" i="0">
                <a:solidFill>
                  <a:srgbClr val="002450"/>
                </a:solidFill>
                <a:latin typeface="+mn-lt"/>
                <a:ea typeface="+mj-ea"/>
                <a:cs typeface="+mj-cs"/>
              </a:defRPr>
            </a:lvl1pPr>
            <a:lvl2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2pPr>
            <a:lvl3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3pPr>
            <a:lvl4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4pPr>
            <a:lvl5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5pPr>
            <a:lvl6pPr marL="4572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6pPr>
            <a:lvl7pPr marL="9144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7pPr>
            <a:lvl8pPr marL="13716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8pPr>
            <a:lvl9pPr marL="18288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9pPr>
          </a:lstStyle>
          <a:p>
            <a:pPr algn="l"/>
            <a:r>
              <a:rPr lang="en-US" altLang="en-US" sz="2400" b="1" dirty="0"/>
              <a:t>ASCENT: </a:t>
            </a:r>
            <a:r>
              <a:rPr lang="en-US" sz="2400" b="1" dirty="0"/>
              <a:t>Safety</a:t>
            </a:r>
            <a:endParaRPr lang="en-US" sz="2400" b="1" kern="0" dirty="0"/>
          </a:p>
        </p:txBody>
      </p:sp>
      <p:sp>
        <p:nvSpPr>
          <p:cNvPr id="3" name="Text Box 15">
            <a:extLst>
              <a:ext uri="{FF2B5EF4-FFF2-40B4-BE49-F238E27FC236}">
                <a16:creationId xmlns:a16="http://schemas.microsoft.com/office/drawing/2014/main" id="{A242DDCD-8D53-7607-19B4-F78C1EA10DCD}"/>
              </a:ext>
            </a:extLst>
          </p:cNvPr>
          <p:cNvSpPr txBox="1">
            <a:spLocks noChangeArrowheads="1"/>
          </p:cNvSpPr>
          <p:nvPr/>
        </p:nvSpPr>
        <p:spPr bwMode="auto">
          <a:xfrm>
            <a:off x="6579574" y="4108670"/>
            <a:ext cx="2122021" cy="215444"/>
          </a:xfrm>
          <a:prstGeom prst="rect">
            <a:avLst/>
          </a:prstGeom>
          <a:noFill/>
          <a:ln>
            <a:noFill/>
          </a:ln>
        </p:spPr>
        <p:txBody>
          <a:bodyPr wrap="square" anchor="b">
            <a:spAutoFit/>
          </a:bodyPr>
          <a:lstStyle>
            <a:lvl1pPr>
              <a:defRPr b="1">
                <a:solidFill>
                  <a:schemeClr val="tx1"/>
                </a:solidFill>
                <a:latin typeface="Arial" charset="0"/>
              </a:defRPr>
            </a:lvl1pPr>
            <a:lvl2pPr marL="742950" indent="-285750">
              <a:defRPr b="1">
                <a:solidFill>
                  <a:schemeClr val="tx1"/>
                </a:solidFill>
                <a:latin typeface="Arial" charset="0"/>
              </a:defRPr>
            </a:lvl2pPr>
            <a:lvl3pPr marL="1143000" indent="-228600">
              <a:defRPr b="1">
                <a:solidFill>
                  <a:schemeClr val="tx1"/>
                </a:solidFill>
                <a:latin typeface="Arial" charset="0"/>
              </a:defRPr>
            </a:lvl3pPr>
            <a:lvl4pPr marL="1600200" indent="-228600">
              <a:defRPr b="1">
                <a:solidFill>
                  <a:schemeClr val="tx1"/>
                </a:solidFill>
                <a:latin typeface="Arial" charset="0"/>
              </a:defRPr>
            </a:lvl4pPr>
            <a:lvl5pPr marL="2057400" indent="-228600">
              <a:defRPr b="1">
                <a:solidFill>
                  <a:schemeClr val="tx1"/>
                </a:solidFill>
                <a:latin typeface="Arial" charset="0"/>
              </a:defRPr>
            </a:lvl5pPr>
            <a:lvl6pPr marL="2514600" indent="-228600" eaLnBrk="0" fontAlgn="base" hangingPunct="0">
              <a:spcBef>
                <a:spcPct val="0"/>
              </a:spcBef>
              <a:spcAft>
                <a:spcPct val="0"/>
              </a:spcAft>
              <a:defRPr b="1">
                <a:solidFill>
                  <a:schemeClr val="tx1"/>
                </a:solidFill>
                <a:latin typeface="Arial" charset="0"/>
              </a:defRPr>
            </a:lvl6pPr>
            <a:lvl7pPr marL="2971800" indent="-228600" eaLnBrk="0" fontAlgn="base" hangingPunct="0">
              <a:spcBef>
                <a:spcPct val="0"/>
              </a:spcBef>
              <a:spcAft>
                <a:spcPct val="0"/>
              </a:spcAft>
              <a:defRPr b="1">
                <a:solidFill>
                  <a:schemeClr val="tx1"/>
                </a:solidFill>
                <a:latin typeface="Arial" charset="0"/>
              </a:defRPr>
            </a:lvl7pPr>
            <a:lvl8pPr marL="3429000" indent="-228600" eaLnBrk="0" fontAlgn="base" hangingPunct="0">
              <a:spcBef>
                <a:spcPct val="0"/>
              </a:spcBef>
              <a:spcAft>
                <a:spcPct val="0"/>
              </a:spcAft>
              <a:defRPr b="1">
                <a:solidFill>
                  <a:schemeClr val="tx1"/>
                </a:solidFill>
                <a:latin typeface="Arial" charset="0"/>
              </a:defRPr>
            </a:lvl8pPr>
            <a:lvl9pPr marL="3886200" indent="-228600" eaLnBrk="0" fontAlgn="base" hangingPunct="0">
              <a:spcBef>
                <a:spcPct val="0"/>
              </a:spcBef>
              <a:spcAft>
                <a:spcPct val="0"/>
              </a:spcAft>
              <a:defRPr b="1">
                <a:solidFill>
                  <a:schemeClr val="tx1"/>
                </a:solidFill>
                <a:latin typeface="Arial" charset="0"/>
              </a:defRPr>
            </a:lvl9pPr>
          </a:lstStyle>
          <a:p>
            <a:pPr>
              <a:defRPr/>
            </a:pPr>
            <a:r>
              <a:rPr lang="en-US" altLang="en-US" sz="800" b="0" spc="-10" dirty="0">
                <a:solidFill>
                  <a:srgbClr val="455560"/>
                </a:solidFill>
                <a:latin typeface="Calibri" panose="020F0502020204030204" pitchFamily="34" charset="0"/>
                <a:ea typeface="+mn-ea"/>
                <a:cs typeface="Arial" panose="020B0604020202020204" pitchFamily="34" charset="0"/>
              </a:rPr>
              <a:t>Bardia. NEJM. 2021, 384:1529 </a:t>
            </a:r>
            <a:endParaRPr lang="en-US" altLang="en-US" sz="800" b="0" dirty="0">
              <a:solidFill>
                <a:srgbClr val="455560"/>
              </a:solidFill>
              <a:latin typeface="Calibri" panose="020F0502020204030204" pitchFamily="34" charset="0"/>
              <a:ea typeface="+mn-ea"/>
              <a:cs typeface="Arial" panose="020B0604020202020204" pitchFamily="34" charset="0"/>
            </a:endParaRPr>
          </a:p>
        </p:txBody>
      </p:sp>
      <p:sp>
        <p:nvSpPr>
          <p:cNvPr id="4" name="Rectangle: Rounded Corners 3">
            <a:extLst>
              <a:ext uri="{FF2B5EF4-FFF2-40B4-BE49-F238E27FC236}">
                <a16:creationId xmlns:a16="http://schemas.microsoft.com/office/drawing/2014/main" id="{2AFD4783-47E0-374E-9EAF-F406BA0980CC}"/>
              </a:ext>
            </a:extLst>
          </p:cNvPr>
          <p:cNvSpPr/>
          <p:nvPr/>
        </p:nvSpPr>
        <p:spPr bwMode="auto">
          <a:xfrm>
            <a:off x="1668126" y="2313229"/>
            <a:ext cx="3946815" cy="744823"/>
          </a:xfrm>
          <a:prstGeom prst="roundRect">
            <a:avLst/>
          </a:prstGeom>
          <a:noFill/>
          <a:ln w="3810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
        <p:nvSpPr>
          <p:cNvPr id="7" name="Rectangle: Rounded Corners 6">
            <a:extLst>
              <a:ext uri="{FF2B5EF4-FFF2-40B4-BE49-F238E27FC236}">
                <a16:creationId xmlns:a16="http://schemas.microsoft.com/office/drawing/2014/main" id="{BE1B20A2-02EE-90F2-0D75-6AE0EF88A9F8}"/>
              </a:ext>
            </a:extLst>
          </p:cNvPr>
          <p:cNvSpPr/>
          <p:nvPr/>
        </p:nvSpPr>
        <p:spPr bwMode="auto">
          <a:xfrm>
            <a:off x="1612619" y="4017368"/>
            <a:ext cx="4038427" cy="300904"/>
          </a:xfrm>
          <a:prstGeom prst="roundRect">
            <a:avLst/>
          </a:prstGeom>
          <a:noFill/>
          <a:ln w="3810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Tree>
    <p:extLst>
      <p:ext uri="{BB962C8B-B14F-4D97-AF65-F5344CB8AC3E}">
        <p14:creationId xmlns:p14="http://schemas.microsoft.com/office/powerpoint/2010/main" val="32432641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animBg="1"/>
    </p:bld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392B849-647B-8457-DD97-F192DD88AF28}"/>
              </a:ext>
            </a:extLst>
          </p:cNvPr>
          <p:cNvPicPr>
            <a:picLocks noChangeAspect="1"/>
          </p:cNvPicPr>
          <p:nvPr/>
        </p:nvPicPr>
        <p:blipFill>
          <a:blip r:embed="rId2"/>
          <a:stretch>
            <a:fillRect/>
          </a:stretch>
        </p:blipFill>
        <p:spPr>
          <a:xfrm>
            <a:off x="-8822" y="23348"/>
            <a:ext cx="9144000" cy="4325353"/>
          </a:xfrm>
          <a:prstGeom prst="rect">
            <a:avLst/>
          </a:prstGeom>
        </p:spPr>
      </p:pic>
      <p:sp>
        <p:nvSpPr>
          <p:cNvPr id="2" name="Text Box 15">
            <a:extLst>
              <a:ext uri="{FF2B5EF4-FFF2-40B4-BE49-F238E27FC236}">
                <a16:creationId xmlns:a16="http://schemas.microsoft.com/office/drawing/2014/main" id="{E36E10E0-C57B-99FD-F663-9DA19C79CC8B}"/>
              </a:ext>
            </a:extLst>
          </p:cNvPr>
          <p:cNvSpPr txBox="1">
            <a:spLocks noChangeArrowheads="1"/>
          </p:cNvSpPr>
          <p:nvPr/>
        </p:nvSpPr>
        <p:spPr bwMode="auto">
          <a:xfrm>
            <a:off x="7443742" y="4102827"/>
            <a:ext cx="1551267" cy="215444"/>
          </a:xfrm>
          <a:prstGeom prst="rect">
            <a:avLst/>
          </a:prstGeom>
          <a:noFill/>
          <a:ln>
            <a:noFill/>
          </a:ln>
        </p:spPr>
        <p:txBody>
          <a:bodyPr wrap="square" anchor="b">
            <a:spAutoFit/>
          </a:bodyPr>
          <a:lstStyle>
            <a:lvl1pPr>
              <a:defRPr b="1">
                <a:solidFill>
                  <a:schemeClr val="tx1"/>
                </a:solidFill>
                <a:latin typeface="Arial" charset="0"/>
              </a:defRPr>
            </a:lvl1pPr>
            <a:lvl2pPr marL="742950" indent="-285750">
              <a:defRPr b="1">
                <a:solidFill>
                  <a:schemeClr val="tx1"/>
                </a:solidFill>
                <a:latin typeface="Arial" charset="0"/>
              </a:defRPr>
            </a:lvl2pPr>
            <a:lvl3pPr marL="1143000" indent="-228600">
              <a:defRPr b="1">
                <a:solidFill>
                  <a:schemeClr val="tx1"/>
                </a:solidFill>
                <a:latin typeface="Arial" charset="0"/>
              </a:defRPr>
            </a:lvl3pPr>
            <a:lvl4pPr marL="1600200" indent="-228600">
              <a:defRPr b="1">
                <a:solidFill>
                  <a:schemeClr val="tx1"/>
                </a:solidFill>
                <a:latin typeface="Arial" charset="0"/>
              </a:defRPr>
            </a:lvl4pPr>
            <a:lvl5pPr marL="2057400" indent="-228600">
              <a:defRPr b="1">
                <a:solidFill>
                  <a:schemeClr val="tx1"/>
                </a:solidFill>
                <a:latin typeface="Arial" charset="0"/>
              </a:defRPr>
            </a:lvl5pPr>
            <a:lvl6pPr marL="2514600" indent="-228600" eaLnBrk="0" fontAlgn="base" hangingPunct="0">
              <a:spcBef>
                <a:spcPct val="0"/>
              </a:spcBef>
              <a:spcAft>
                <a:spcPct val="0"/>
              </a:spcAft>
              <a:defRPr b="1">
                <a:solidFill>
                  <a:schemeClr val="tx1"/>
                </a:solidFill>
                <a:latin typeface="Arial" charset="0"/>
              </a:defRPr>
            </a:lvl6pPr>
            <a:lvl7pPr marL="2971800" indent="-228600" eaLnBrk="0" fontAlgn="base" hangingPunct="0">
              <a:spcBef>
                <a:spcPct val="0"/>
              </a:spcBef>
              <a:spcAft>
                <a:spcPct val="0"/>
              </a:spcAft>
              <a:defRPr b="1">
                <a:solidFill>
                  <a:schemeClr val="tx1"/>
                </a:solidFill>
                <a:latin typeface="Arial" charset="0"/>
              </a:defRPr>
            </a:lvl7pPr>
            <a:lvl8pPr marL="3429000" indent="-228600" eaLnBrk="0" fontAlgn="base" hangingPunct="0">
              <a:spcBef>
                <a:spcPct val="0"/>
              </a:spcBef>
              <a:spcAft>
                <a:spcPct val="0"/>
              </a:spcAft>
              <a:defRPr b="1">
                <a:solidFill>
                  <a:schemeClr val="tx1"/>
                </a:solidFill>
                <a:latin typeface="Arial" charset="0"/>
              </a:defRPr>
            </a:lvl8pPr>
            <a:lvl9pPr marL="3886200" indent="-228600" eaLnBrk="0" fontAlgn="base" hangingPunct="0">
              <a:spcBef>
                <a:spcPct val="0"/>
              </a:spcBef>
              <a:spcAft>
                <a:spcPct val="0"/>
              </a:spcAft>
              <a:defRPr b="1">
                <a:solidFill>
                  <a:schemeClr val="tx1"/>
                </a:solidFill>
                <a:latin typeface="Arial" charset="0"/>
              </a:defRPr>
            </a:lvl9pPr>
          </a:lstStyle>
          <a:p>
            <a:pPr>
              <a:defRPr/>
            </a:pPr>
            <a:r>
              <a:rPr lang="en-US" altLang="en-US" sz="800" b="0" spc="-10" dirty="0" err="1">
                <a:solidFill>
                  <a:srgbClr val="455560"/>
                </a:solidFill>
                <a:latin typeface="Calibri" panose="020F0502020204030204" pitchFamily="34" charset="0"/>
                <a:ea typeface="+mn-ea"/>
                <a:cs typeface="Arial" panose="020B0604020202020204" pitchFamily="34" charset="0"/>
              </a:rPr>
              <a:t>Rugo</a:t>
            </a:r>
            <a:r>
              <a:rPr lang="en-US" altLang="en-US" sz="800" b="0" spc="-10" dirty="0">
                <a:solidFill>
                  <a:srgbClr val="455560"/>
                </a:solidFill>
                <a:latin typeface="Calibri" panose="020F0502020204030204" pitchFamily="34" charset="0"/>
                <a:ea typeface="+mn-ea"/>
                <a:cs typeface="Arial" panose="020B0604020202020204" pitchFamily="34" charset="0"/>
              </a:rPr>
              <a:t>. SABCS GS1-11, Dec 2022 </a:t>
            </a:r>
            <a:endParaRPr lang="en-US" altLang="en-US" sz="800" b="0" dirty="0">
              <a:solidFill>
                <a:srgbClr val="455560"/>
              </a:solidFill>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1046906837"/>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DC654CA-436F-016D-0709-F9E69C563193}"/>
              </a:ext>
            </a:extLst>
          </p:cNvPr>
          <p:cNvPicPr>
            <a:picLocks noChangeAspect="1"/>
          </p:cNvPicPr>
          <p:nvPr/>
        </p:nvPicPr>
        <p:blipFill>
          <a:blip r:embed="rId2"/>
          <a:stretch>
            <a:fillRect/>
          </a:stretch>
        </p:blipFill>
        <p:spPr>
          <a:xfrm>
            <a:off x="246976" y="0"/>
            <a:ext cx="8897024" cy="4369214"/>
          </a:xfrm>
          <a:prstGeom prst="rect">
            <a:avLst/>
          </a:prstGeom>
        </p:spPr>
      </p:pic>
    </p:spTree>
    <p:extLst>
      <p:ext uri="{BB962C8B-B14F-4D97-AF65-F5344CB8AC3E}">
        <p14:creationId xmlns:p14="http://schemas.microsoft.com/office/powerpoint/2010/main" val="1441349471"/>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339C7B15-C6EF-8E38-8CF6-47F38D018FC5}"/>
              </a:ext>
            </a:extLst>
          </p:cNvPr>
          <p:cNvPicPr>
            <a:picLocks noChangeAspect="1"/>
          </p:cNvPicPr>
          <p:nvPr/>
        </p:nvPicPr>
        <p:blipFill>
          <a:blip r:embed="rId2"/>
          <a:stretch>
            <a:fillRect/>
          </a:stretch>
        </p:blipFill>
        <p:spPr>
          <a:xfrm>
            <a:off x="-14698" y="3826"/>
            <a:ext cx="9158698" cy="4370992"/>
          </a:xfrm>
          <a:prstGeom prst="rect">
            <a:avLst/>
          </a:prstGeom>
        </p:spPr>
      </p:pic>
      <p:sp>
        <p:nvSpPr>
          <p:cNvPr id="2" name="Rectangle: Rounded Corners 1">
            <a:extLst>
              <a:ext uri="{FF2B5EF4-FFF2-40B4-BE49-F238E27FC236}">
                <a16:creationId xmlns:a16="http://schemas.microsoft.com/office/drawing/2014/main" id="{66D2FD9A-9369-B64E-F333-894ACACC7A84}"/>
              </a:ext>
            </a:extLst>
          </p:cNvPr>
          <p:cNvSpPr/>
          <p:nvPr/>
        </p:nvSpPr>
        <p:spPr bwMode="auto">
          <a:xfrm>
            <a:off x="2632187" y="1092607"/>
            <a:ext cx="1314632" cy="300904"/>
          </a:xfrm>
          <a:prstGeom prst="roundRect">
            <a:avLst/>
          </a:prstGeom>
          <a:noFill/>
          <a:ln w="3810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
        <p:nvSpPr>
          <p:cNvPr id="3" name="Rectangle: Rounded Corners 2">
            <a:extLst>
              <a:ext uri="{FF2B5EF4-FFF2-40B4-BE49-F238E27FC236}">
                <a16:creationId xmlns:a16="http://schemas.microsoft.com/office/drawing/2014/main" id="{E6E4D3CD-4CF6-B084-BA31-27B3DD8EF2F9}"/>
              </a:ext>
            </a:extLst>
          </p:cNvPr>
          <p:cNvSpPr/>
          <p:nvPr/>
        </p:nvSpPr>
        <p:spPr bwMode="auto">
          <a:xfrm>
            <a:off x="7277222" y="1113058"/>
            <a:ext cx="1218226" cy="300904"/>
          </a:xfrm>
          <a:prstGeom prst="roundRect">
            <a:avLst/>
          </a:prstGeom>
          <a:noFill/>
          <a:ln w="3810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Tree>
    <p:extLst>
      <p:ext uri="{BB962C8B-B14F-4D97-AF65-F5344CB8AC3E}">
        <p14:creationId xmlns:p14="http://schemas.microsoft.com/office/powerpoint/2010/main" val="15864290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3E535E9-E647-43E8-B3E3-7E4947585C0D}"/>
              </a:ext>
            </a:extLst>
          </p:cNvPr>
          <p:cNvPicPr>
            <a:picLocks noChangeAspect="1"/>
          </p:cNvPicPr>
          <p:nvPr/>
        </p:nvPicPr>
        <p:blipFill>
          <a:blip r:embed="rId2"/>
          <a:stretch>
            <a:fillRect/>
          </a:stretch>
        </p:blipFill>
        <p:spPr>
          <a:xfrm>
            <a:off x="-41163" y="145948"/>
            <a:ext cx="9180312" cy="4211414"/>
          </a:xfrm>
          <a:prstGeom prst="rect">
            <a:avLst/>
          </a:prstGeom>
        </p:spPr>
      </p:pic>
      <p:sp>
        <p:nvSpPr>
          <p:cNvPr id="2" name="Rectangle: Rounded Corners 1">
            <a:extLst>
              <a:ext uri="{FF2B5EF4-FFF2-40B4-BE49-F238E27FC236}">
                <a16:creationId xmlns:a16="http://schemas.microsoft.com/office/drawing/2014/main" id="{26644657-700D-5039-88F6-B15C9B98524C}"/>
              </a:ext>
            </a:extLst>
          </p:cNvPr>
          <p:cNvSpPr/>
          <p:nvPr/>
        </p:nvSpPr>
        <p:spPr bwMode="auto">
          <a:xfrm>
            <a:off x="4759193" y="1060471"/>
            <a:ext cx="3581333" cy="465527"/>
          </a:xfrm>
          <a:prstGeom prst="roundRect">
            <a:avLst/>
          </a:prstGeom>
          <a:noFill/>
          <a:ln w="3810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
        <p:nvSpPr>
          <p:cNvPr id="4" name="Rectangle: Rounded Corners 3">
            <a:extLst>
              <a:ext uri="{FF2B5EF4-FFF2-40B4-BE49-F238E27FC236}">
                <a16:creationId xmlns:a16="http://schemas.microsoft.com/office/drawing/2014/main" id="{481D6380-4E00-F6D2-CC06-9D22532F7632}"/>
              </a:ext>
            </a:extLst>
          </p:cNvPr>
          <p:cNvSpPr/>
          <p:nvPr/>
        </p:nvSpPr>
        <p:spPr bwMode="auto">
          <a:xfrm>
            <a:off x="4808700" y="3033176"/>
            <a:ext cx="3627763" cy="432549"/>
          </a:xfrm>
          <a:prstGeom prst="roundRect">
            <a:avLst/>
          </a:prstGeom>
          <a:noFill/>
          <a:ln w="3810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Tree>
    <p:extLst>
      <p:ext uri="{BB962C8B-B14F-4D97-AF65-F5344CB8AC3E}">
        <p14:creationId xmlns:p14="http://schemas.microsoft.com/office/powerpoint/2010/main" val="19910671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4"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S_UNIQUEID" val="550"/>
</p:tagLst>
</file>

<file path=ppt/tags/tag3.xml><?xml version="1.0" encoding="utf-8"?>
<p:tagLst xmlns:a="http://schemas.openxmlformats.org/drawingml/2006/main" xmlns:r="http://schemas.openxmlformats.org/officeDocument/2006/relationships" xmlns:p="http://schemas.openxmlformats.org/presentationml/2006/main">
  <p:tag name="AS_UNIQUEID" val="550"/>
</p:tagLst>
</file>

<file path=ppt/tags/tag4.xml><?xml version="1.0" encoding="utf-8"?>
<p:tagLst xmlns:a="http://schemas.openxmlformats.org/drawingml/2006/main" xmlns:r="http://schemas.openxmlformats.org/officeDocument/2006/relationships" xmlns:p="http://schemas.openxmlformats.org/presentationml/2006/main">
  <p:tag name="AS_UNIQUEID" val="550"/>
</p:tagLst>
</file>

<file path=ppt/theme/theme1.xml><?xml version="1.0" encoding="utf-8"?>
<a:theme xmlns:a="http://schemas.openxmlformats.org/drawingml/2006/main" name="MLC2015_PPT_Slides">
  <a:themeElements>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lank Presentation">
      <a:majorFont>
        <a:latin typeface="Georgia"/>
        <a:ea typeface="ＭＳ Ｐゴシック"/>
        <a:cs typeface="ＭＳ Ｐゴシック"/>
      </a:majorFont>
      <a:minorFont>
        <a:latin typeface="Arial"/>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defRPr>
        </a:defPPr>
      </a:lstStyle>
    </a:ln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4A6459BA09A55A48A26552F8CF890A5E" ma:contentTypeVersion="14" ma:contentTypeDescription="Create a new document." ma:contentTypeScope="" ma:versionID="23f5c8f08b1a1d65690ec793b377a057">
  <xsd:schema xmlns:xsd="http://www.w3.org/2001/XMLSchema" xmlns:xs="http://www.w3.org/2001/XMLSchema" xmlns:p="http://schemas.microsoft.com/office/2006/metadata/properties" xmlns:ns3="5d185315-3185-4f85-882e-9624ef9185a2" xmlns:ns4="bd2a530d-6ddd-4962-a7b9-5fc3be46eaed" targetNamespace="http://schemas.microsoft.com/office/2006/metadata/properties" ma:root="true" ma:fieldsID="eead1677efee3c2be5ce849ca58fdede" ns3:_="" ns4:_="">
    <xsd:import namespace="5d185315-3185-4f85-882e-9624ef9185a2"/>
    <xsd:import namespace="bd2a530d-6ddd-4962-a7b9-5fc3be46eaed"/>
    <xsd:element name="properties">
      <xsd:complexType>
        <xsd:sequence>
          <xsd:element name="documentManagement">
            <xsd:complexType>
              <xsd:all>
                <xsd:element ref="ns3:MediaServiceMetadata" minOccurs="0"/>
                <xsd:element ref="ns3:MediaServiceFastMetadata" minOccurs="0"/>
                <xsd:element ref="ns3:MediaServiceAutoKeyPoints" minOccurs="0"/>
                <xsd:element ref="ns3:MediaServiceKeyPoints" minOccurs="0"/>
                <xsd:element ref="ns3:MediaServiceAutoTags" minOccurs="0"/>
                <xsd:element ref="ns3:MediaServiceGenerationTime" minOccurs="0"/>
                <xsd:element ref="ns3:MediaServiceEventHashCode" minOccurs="0"/>
                <xsd:element ref="ns3:MediaServiceDateTaken" minOccurs="0"/>
                <xsd:element ref="ns3:MediaServiceOCR" minOccurs="0"/>
                <xsd:element ref="ns3:MediaLengthInSeconds" minOccurs="0"/>
                <xsd:element ref="ns3:MediaServiceLocation" minOccurs="0"/>
                <xsd:element ref="ns4:SharedWithUsers" minOccurs="0"/>
                <xsd:element ref="ns4:SharedWithDetails" minOccurs="0"/>
                <xsd:element ref="ns4: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d185315-3185-4f85-882e-9624ef9185a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DateTaken" ma:index="15" nillable="true" ma:displayName="MediaServiceDateTaken" ma:hidden="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LengthInSeconds" ma:index="17" nillable="true" ma:displayName="Length (seconds)" ma:internalName="MediaLengthInSeconds" ma:readOnly="true">
      <xsd:simpleType>
        <xsd:restriction base="dms:Unknown"/>
      </xsd:simpleType>
    </xsd:element>
    <xsd:element name="MediaServiceLocation" ma:index="18"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d2a530d-6ddd-4962-a7b9-5fc3be46eaed" elementFormDefault="qualified">
    <xsd:import namespace="http://schemas.microsoft.com/office/2006/documentManagement/types"/>
    <xsd:import namespace="http://schemas.microsoft.com/office/infopath/2007/PartnerControls"/>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element name="SharingHintHash" ma:index="21"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BEC0C9A-B742-4687-A9CB-8B149E7DD7A8}">
  <ds:schemaRefs>
    <ds:schemaRef ds:uri="http://purl.org/dc/dcmitype/"/>
    <ds:schemaRef ds:uri="http://purl.org/dc/elements/1.1/"/>
    <ds:schemaRef ds:uri="bd2a530d-6ddd-4962-a7b9-5fc3be46eaed"/>
    <ds:schemaRef ds:uri="5d185315-3185-4f85-882e-9624ef9185a2"/>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 ds:uri="http://purl.org/dc/terms/"/>
  </ds:schemaRefs>
</ds:datastoreItem>
</file>

<file path=customXml/itemProps2.xml><?xml version="1.0" encoding="utf-8"?>
<ds:datastoreItem xmlns:ds="http://schemas.openxmlformats.org/officeDocument/2006/customXml" ds:itemID="{895DAC3F-13AB-46E7-8F34-0AA229403CB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d185315-3185-4f85-882e-9624ef9185a2"/>
    <ds:schemaRef ds:uri="bd2a530d-6ddd-4962-a7b9-5fc3be46eae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7D2C464-C771-4E2C-A4E0-A9031062A07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6793</TotalTime>
  <Words>97</Words>
  <Application>Microsoft Office PowerPoint</Application>
  <PresentationFormat>Custom</PresentationFormat>
  <Paragraphs>32</Paragraphs>
  <Slides>214</Slides>
  <Notes>82</Notes>
  <HiddenSlides>2</HiddenSlides>
  <MMClips>0</MMClips>
  <ScaleCrop>false</ScaleCrop>
  <HeadingPairs>
    <vt:vector size="4" baseType="variant">
      <vt:variant>
        <vt:lpstr>Theme</vt:lpstr>
      </vt:variant>
      <vt:variant>
        <vt:i4>1</vt:i4>
      </vt:variant>
      <vt:variant>
        <vt:lpstr>Slide Titles</vt:lpstr>
      </vt:variant>
      <vt:variant>
        <vt:i4>214</vt:i4>
      </vt:variant>
    </vt:vector>
  </HeadingPairs>
  <TitlesOfParts>
    <vt:vector size="215" baseType="lpstr">
      <vt:lpstr>MLC2015_PPT_Slides</vt:lpstr>
      <vt:lpstr>PowerPoint Presentation</vt:lpstr>
      <vt:lpstr>Welcome</vt:lpstr>
      <vt:lpstr>Thank You to Our Supporters</vt:lpstr>
      <vt:lpstr>Thank You to Our Supporters</vt:lpstr>
      <vt:lpstr>Thank You to Our Supporters</vt:lpstr>
      <vt:lpstr>Thank You to Our Supporters</vt:lpstr>
      <vt:lpstr>Program Chair</vt:lpstr>
      <vt:lpstr>Program Chair</vt:lpstr>
      <vt:lpstr>PowerPoint Presentation</vt:lpstr>
      <vt:lpstr>Endocrine Based Therapy in HER2- Breast Cancer</vt:lpstr>
      <vt:lpstr>Objectives</vt:lpstr>
      <vt:lpstr>PowerPoint Presentation</vt:lpstr>
      <vt:lpstr>PowerPoint Presentation</vt:lpstr>
      <vt:lpstr>Drug Characteristics</vt:lpstr>
      <vt:lpstr>PowerPoint Presentation</vt:lpstr>
      <vt:lpstr>PowerPoint Presentation</vt:lpstr>
      <vt:lpstr>Adjuvant CDK 4/6 trials</vt:lpstr>
      <vt:lpstr>monarchE update</vt:lpstr>
      <vt:lpstr>PowerPoint Presentation</vt:lpstr>
      <vt:lpstr>PowerPoint Presentation</vt:lpstr>
      <vt:lpstr>Adjuvant abema in older cohort</vt:lpstr>
      <vt:lpstr>monarchE Takeaway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djuvant CDK 4/6 inhibitor</vt:lpstr>
      <vt:lpstr>PowerPoint Presentation</vt:lpstr>
      <vt:lpstr>Summary of 1L CDK 4/6 inhibitor trials</vt:lpstr>
      <vt:lpstr>OS comparison in 1L</vt:lpstr>
      <vt:lpstr>PowerPoint Presentation</vt:lpstr>
      <vt:lpstr>Baseline Patient Population</vt:lpstr>
      <vt:lpstr>Primary Endpoint: PFS</vt:lpstr>
      <vt:lpstr>Secondary Endpoints</vt:lpstr>
      <vt:lpstr>Right Choice Takeaway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ummary</vt:lpstr>
      <vt:lpstr>Thank you</vt:lpstr>
      <vt:lpstr>PowerPoint Presentation</vt:lpstr>
      <vt:lpstr>Endocrine Therapy in Metastatic HR+/HER2- Breast Cancer: Beyond CDK4/6 Inhibitors</vt:lpstr>
      <vt:lpstr>Changing landscape of ER-positive metastatic breast cancer</vt:lpstr>
      <vt:lpstr>PowerPoint Presentation</vt:lpstr>
      <vt:lpstr>Genomic Landscape of Endocrine-Resistant  Advanced Breast Cancers</vt:lpstr>
      <vt:lpstr>ESR1 Gain of Function Mutations </vt:lpstr>
      <vt:lpstr>Oral SERDs</vt:lpstr>
      <vt:lpstr>EMERALD Phase 3 with Elacestrant </vt:lpstr>
      <vt:lpstr>Baseline Characteristics</vt:lpstr>
      <vt:lpstr>EMERALD:  Primary Endpoint: PFS by IRC</vt:lpstr>
      <vt:lpstr>EMERALD:  Primary Endpoint: PFS by IRC</vt:lpstr>
      <vt:lpstr>PFS by Duration of CDK4/6 Inhibitor (All Pts) </vt:lpstr>
      <vt:lpstr>PFS by Duration of CDK4/6i (ESR1mut) </vt:lpstr>
      <vt:lpstr>Oral SERDS: Mixed Results to Date</vt:lpstr>
      <vt:lpstr>High dose Tamoxifen Study Schema</vt:lpstr>
      <vt:lpstr>PI3K/Akt/mTOR Pathway</vt:lpstr>
      <vt:lpstr>mTOR Inhibitors </vt:lpstr>
      <vt:lpstr>SOLAR-1: PI3K Inhibition with Fulvestrant</vt:lpstr>
      <vt:lpstr>PFS improved in PI3K mutant cohort</vt:lpstr>
      <vt:lpstr>BYLieve: PI3K inhibition after CDK4/6i</vt:lpstr>
      <vt:lpstr>Primary Endpoint and PFS Results</vt:lpstr>
      <vt:lpstr>FAKTION: Phase 2 of AKT Inhibitor: Capivasertib </vt:lpstr>
      <vt:lpstr>FAKTION: PFS/OS (ITT population)</vt:lpstr>
      <vt:lpstr>CAPItello-291: Randomized Phase 3 of Fulvestrant +/- Capivasertib </vt:lpstr>
      <vt:lpstr>Patient and Tumor Characteristics</vt:lpstr>
      <vt:lpstr>PowerPoint Presentation</vt:lpstr>
      <vt:lpstr>PowerPoint Presentation</vt:lpstr>
      <vt:lpstr>PowerPoint Presentation</vt:lpstr>
      <vt:lpstr>HER2 and other pathways</vt:lpstr>
      <vt:lpstr>PowerPoint Presentation</vt:lpstr>
      <vt:lpstr>Efficacy in Patients Treated with N+F+T</vt:lpstr>
      <vt:lpstr>Best change in tumor from baseline corresponding histology and central biomarker analysis</vt:lpstr>
      <vt:lpstr>PowerPoint Presentation</vt:lpstr>
      <vt:lpstr>Rationale for combination </vt:lpstr>
      <vt:lpstr>Summary</vt:lpstr>
      <vt:lpstr>PowerPoint Presentation</vt:lpstr>
      <vt:lpstr>Antibody-Drug Conjugates in  HER2-negative Breast Cancer</vt:lpstr>
      <vt:lpstr>Disclosure Information</vt:lpstr>
      <vt:lpstr>Antibody-Drug Conjugates in Breast Cancer</vt:lpstr>
      <vt:lpstr>Sacituzumab govitecan</vt:lpstr>
      <vt:lpstr>ASCENT: Phase III Sacituzumab Govitecan vs Single-Agent CT in Metastatic TNBC After ≥ 2 Prior CT Regimen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Exposure-Adjusted Incidence Rates (EAIRs)</vt:lpstr>
      <vt:lpstr>Exposure-Adjusted Incidence Rates (EAIRs)</vt:lpstr>
      <vt:lpstr>PowerPoint Presentation</vt:lpstr>
      <vt:lpstr>PowerPoint Presentation</vt:lpstr>
      <vt:lpstr>Sacituzumab govitecan FDA indications</vt:lpstr>
      <vt:lpstr>Sacituzumab govitecan trials</vt:lpstr>
      <vt:lpstr>PowerPoint Presentation</vt:lpstr>
      <vt:lpstr>New Anti-TROP2 ADCs in Breast Cancer</vt:lpstr>
      <vt:lpstr>PowerPoint Presentation</vt:lpstr>
      <vt:lpstr>New Target ADCs in Breast Cancer</vt:lpstr>
      <vt:lpstr>PowerPoint Presentation</vt:lpstr>
      <vt:lpstr>PowerPoint Presentation</vt:lpstr>
      <vt:lpstr>PowerPoint Presentation</vt:lpstr>
      <vt:lpstr>PowerPoint Presentation</vt:lpstr>
      <vt:lpstr>PowerPoint Presentation</vt:lpstr>
      <vt:lpstr>Updates in HER2+ and HER2-low  Breast Cancer</vt:lpstr>
      <vt:lpstr>Disclosures</vt:lpstr>
      <vt:lpstr>Objectives</vt:lpstr>
      <vt:lpstr>PowerPoint Presentation</vt:lpstr>
      <vt:lpstr>PowerPoint Presentation</vt:lpstr>
      <vt:lpstr>Updated Primary Endpoint: PFS by BICR</vt:lpstr>
      <vt:lpstr>Prior Therapies</vt:lpstr>
      <vt:lpstr>Key Secondary Endpoint: Overall Survival</vt:lpstr>
      <vt:lpstr>Overall Survival by Subgroups</vt:lpstr>
      <vt:lpstr>Conclusions</vt:lpstr>
      <vt:lpstr>Evolution of Treatments for HER2+ Metastatic Breast Cancer</vt:lpstr>
      <vt:lpstr>DESTINY-Breast02</vt:lpstr>
      <vt:lpstr>Baseline Characteristics</vt:lpstr>
      <vt:lpstr>Prior Therapies</vt:lpstr>
      <vt:lpstr>Primary Endpoint: PFS by BICR</vt:lpstr>
      <vt:lpstr>PowerPoint Presentation</vt:lpstr>
      <vt:lpstr>Key Secondary Endpoint: OS</vt:lpstr>
      <vt:lpstr>Overall Safety Summary</vt:lpstr>
      <vt:lpstr>Most Common TEAEs (≥15% of Patients in Either Treatment Arm)</vt:lpstr>
      <vt:lpstr>Adverse Events of Special Interest: ILD and LV Dysfunction</vt:lpstr>
      <vt:lpstr>Conclusions</vt:lpstr>
      <vt:lpstr>HER2- Low</vt:lpstr>
      <vt:lpstr>HER2 expression in breast cancer</vt:lpstr>
      <vt:lpstr>Trastuzumab Deruxtecan in Previously Treated HER2-Low Advanced Breast Cancer</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 </vt:lpstr>
      <vt:lpstr>PowerPoint Presentation</vt:lpstr>
      <vt:lpstr>Novel Targets in Breast Cancer</vt:lpstr>
      <vt:lpstr>Disclosures</vt:lpstr>
      <vt:lpstr>Novel Drugs</vt:lpstr>
      <vt:lpstr>Druggable targets by NGS</vt:lpstr>
      <vt:lpstr>Druggable targets by NGS</vt:lpstr>
      <vt:lpstr>Targeting PIK3CA</vt:lpstr>
      <vt:lpstr>Targeting PIK3CA</vt:lpstr>
      <vt:lpstr>Druggable targets by NGS</vt:lpstr>
      <vt:lpstr>Targeting ESR1-mutant</vt:lpstr>
      <vt:lpstr>Druggable targets by NGS</vt:lpstr>
      <vt:lpstr>Targeting HER2</vt:lpstr>
      <vt:lpstr>New therapies for HER2 amplification</vt:lpstr>
      <vt:lpstr>Targeting HER2</vt:lpstr>
      <vt:lpstr>Targeting HER2</vt:lpstr>
      <vt:lpstr>Targeting HER2 mutations in ER+ BC</vt:lpstr>
      <vt:lpstr>Novel Drugs</vt:lpstr>
      <vt:lpstr>Synthetic lethal therapeutics</vt:lpstr>
      <vt:lpstr>Novel ADC targets</vt:lpstr>
      <vt:lpstr>Novel ADC targets</vt:lpstr>
      <vt:lpstr>Novel Drugs</vt:lpstr>
      <vt:lpstr>Immunotherapy</vt:lpstr>
      <vt:lpstr>Immunotherapy</vt:lpstr>
      <vt:lpstr>New Targets</vt:lpstr>
      <vt:lpstr>PowerPoint Presentation</vt:lpstr>
      <vt:lpstr>ctDNA for detection of Minimal Residual Disease</vt:lpstr>
      <vt:lpstr>Outline</vt:lpstr>
      <vt:lpstr>circulating tumor DNA</vt:lpstr>
      <vt:lpstr>circulating tumor DNA in the clinic</vt:lpstr>
      <vt:lpstr>circulating tumor DNA - detection</vt:lpstr>
      <vt:lpstr>circulating tumor DNA - detection</vt:lpstr>
      <vt:lpstr>Outline</vt:lpstr>
      <vt:lpstr>ctDNA and neoadjuvant response</vt:lpstr>
      <vt:lpstr>ctDNA and neoadjuvant response</vt:lpstr>
      <vt:lpstr>ctDNA and neoadjuvant response</vt:lpstr>
      <vt:lpstr>ctDNA and neoadjuvant response</vt:lpstr>
      <vt:lpstr>ctDNA and neoadjuvant response</vt:lpstr>
      <vt:lpstr>Outline</vt:lpstr>
      <vt:lpstr>ctDNA and breast cancer relapse</vt:lpstr>
      <vt:lpstr>ctDNA and breast cancer relapse</vt:lpstr>
      <vt:lpstr>ctDNA and breast cancer relapse</vt:lpstr>
      <vt:lpstr>ctDNA and breast cancer relapse - late relapse</vt:lpstr>
      <vt:lpstr>ctDNA and breast cancer relapse - late relapse</vt:lpstr>
      <vt:lpstr>Outline</vt:lpstr>
      <vt:lpstr>ctDNA and adjuvant therapy – HR+</vt:lpstr>
      <vt:lpstr>ctDNA and adjuvant therapy – HR+</vt:lpstr>
      <vt:lpstr>ctDNA and adjuvant therapy – HR+</vt:lpstr>
      <vt:lpstr>ctDNA and adjuvant therapy – HR+</vt:lpstr>
      <vt:lpstr>ctDNA and adjuvant therapy - TNBC</vt:lpstr>
      <vt:lpstr>ctDNA and adjuvant therapy - TNBC</vt:lpstr>
      <vt:lpstr>ctDNA and adjuvant therapy - TNBC</vt:lpstr>
      <vt:lpstr>ctDNA and adjuvant therapy - TNBC</vt:lpstr>
      <vt:lpstr>ctDNA and adjuvant therapy</vt:lpstr>
      <vt:lpstr>Selected ongoing intervention trials</vt:lpstr>
      <vt:lpstr>Conclusions</vt:lpstr>
      <vt:lpstr>ctDNA and breast cancer relapse</vt:lpstr>
      <vt:lpstr>ctDNA and breast cancer relapse</vt:lpstr>
      <vt:lpstr>PowerPoint Presentation</vt:lpstr>
      <vt:lpstr>PowerPoint Presentation</vt:lpstr>
      <vt:lpstr>Thank You to Our Supporters</vt:lpstr>
      <vt:lpstr>Program Chair</vt:lpstr>
      <vt:lpstr>PowerPoint Presentation</vt:lpstr>
    </vt:vector>
  </TitlesOfParts>
  <Company>Intellispher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elly Donald</dc:creator>
  <cp:lastModifiedBy>Sarah Nemshick</cp:lastModifiedBy>
  <cp:revision>176</cp:revision>
  <dcterms:modified xsi:type="dcterms:W3CDTF">2023-09-15T16:31: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A6459BA09A55A48A26552F8CF890A5E</vt:lpwstr>
  </property>
</Properties>
</file>